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4a" ContentType="audio/mp4"/>
  <Default Extension="mp4" ContentType="video/mp4"/>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3.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4.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07"/>
  </p:notesMasterIdLst>
  <p:sldIdLst>
    <p:sldId id="2147473811" r:id="rId5"/>
    <p:sldId id="353" r:id="rId6"/>
    <p:sldId id="354" r:id="rId7"/>
    <p:sldId id="356" r:id="rId8"/>
    <p:sldId id="355" r:id="rId9"/>
    <p:sldId id="357" r:id="rId10"/>
    <p:sldId id="361" r:id="rId11"/>
    <p:sldId id="362" r:id="rId12"/>
    <p:sldId id="363" r:id="rId13"/>
    <p:sldId id="364" r:id="rId14"/>
    <p:sldId id="372" r:id="rId15"/>
    <p:sldId id="365" r:id="rId16"/>
    <p:sldId id="371" r:id="rId17"/>
    <p:sldId id="366" r:id="rId18"/>
    <p:sldId id="367" r:id="rId19"/>
    <p:sldId id="369" r:id="rId20"/>
    <p:sldId id="358" r:id="rId21"/>
    <p:sldId id="2147473812" r:id="rId22"/>
    <p:sldId id="2147473810" r:id="rId23"/>
    <p:sldId id="2147473813" r:id="rId24"/>
    <p:sldId id="2147377775" r:id="rId25"/>
    <p:sldId id="2147473814" r:id="rId26"/>
    <p:sldId id="2147473789" r:id="rId27"/>
    <p:sldId id="2147473791" r:id="rId28"/>
    <p:sldId id="2147473835" r:id="rId29"/>
    <p:sldId id="2147473854" r:id="rId30"/>
    <p:sldId id="2147473855" r:id="rId31"/>
    <p:sldId id="2147473819" r:id="rId32"/>
    <p:sldId id="2147473820" r:id="rId33"/>
    <p:sldId id="2147473856" r:id="rId34"/>
    <p:sldId id="2147473824" r:id="rId35"/>
    <p:sldId id="2147473857" r:id="rId36"/>
    <p:sldId id="2147473858" r:id="rId37"/>
    <p:sldId id="2147473859" r:id="rId38"/>
    <p:sldId id="2147473860" r:id="rId39"/>
    <p:sldId id="2147473815" r:id="rId40"/>
    <p:sldId id="309" r:id="rId41"/>
    <p:sldId id="3322" r:id="rId42"/>
    <p:sldId id="3323" r:id="rId43"/>
    <p:sldId id="2147473842" r:id="rId44"/>
    <p:sldId id="2147473843" r:id="rId45"/>
    <p:sldId id="2147473844" r:id="rId46"/>
    <p:sldId id="2147473816" r:id="rId47"/>
    <p:sldId id="2147473828" r:id="rId48"/>
    <p:sldId id="2147473829" r:id="rId49"/>
    <p:sldId id="2147473831" r:id="rId50"/>
    <p:sldId id="2147473833" r:id="rId51"/>
    <p:sldId id="2147473818" r:id="rId52"/>
    <p:sldId id="256" r:id="rId53"/>
    <p:sldId id="281" r:id="rId54"/>
    <p:sldId id="282" r:id="rId55"/>
    <p:sldId id="285" r:id="rId56"/>
    <p:sldId id="288" r:id="rId57"/>
    <p:sldId id="259" r:id="rId58"/>
    <p:sldId id="280" r:id="rId59"/>
    <p:sldId id="286" r:id="rId60"/>
    <p:sldId id="261" r:id="rId61"/>
    <p:sldId id="258" r:id="rId62"/>
    <p:sldId id="262" r:id="rId63"/>
    <p:sldId id="263" r:id="rId64"/>
    <p:sldId id="283" r:id="rId65"/>
    <p:sldId id="287" r:id="rId66"/>
    <p:sldId id="2064" r:id="rId67"/>
    <p:sldId id="2050" r:id="rId68"/>
    <p:sldId id="2051" r:id="rId69"/>
    <p:sldId id="2046" r:id="rId70"/>
    <p:sldId id="2047" r:id="rId71"/>
    <p:sldId id="2056" r:id="rId72"/>
    <p:sldId id="2058" r:id="rId73"/>
    <p:sldId id="2048" r:id="rId74"/>
    <p:sldId id="2049" r:id="rId75"/>
    <p:sldId id="2052" r:id="rId76"/>
    <p:sldId id="2053" r:id="rId77"/>
    <p:sldId id="2054" r:id="rId78"/>
    <p:sldId id="2055" r:id="rId79"/>
    <p:sldId id="2059" r:id="rId80"/>
    <p:sldId id="2060" r:id="rId81"/>
    <p:sldId id="2061" r:id="rId82"/>
    <p:sldId id="2063" r:id="rId83"/>
    <p:sldId id="2066" r:id="rId84"/>
    <p:sldId id="289" r:id="rId85"/>
    <p:sldId id="2147473845" r:id="rId86"/>
    <p:sldId id="277" r:id="rId87"/>
    <p:sldId id="304" r:id="rId88"/>
    <p:sldId id="275" r:id="rId89"/>
    <p:sldId id="294" r:id="rId90"/>
    <p:sldId id="279" r:id="rId91"/>
    <p:sldId id="300" r:id="rId92"/>
    <p:sldId id="2147473846" r:id="rId93"/>
    <p:sldId id="301" r:id="rId94"/>
    <p:sldId id="2147473847" r:id="rId95"/>
    <p:sldId id="302" r:id="rId96"/>
    <p:sldId id="2147473848" r:id="rId97"/>
    <p:sldId id="303" r:id="rId98"/>
    <p:sldId id="2147473817" r:id="rId99"/>
    <p:sldId id="257" r:id="rId100"/>
    <p:sldId id="2147473849" r:id="rId101"/>
    <p:sldId id="2147473850" r:id="rId102"/>
    <p:sldId id="260" r:id="rId103"/>
    <p:sldId id="2147473851" r:id="rId104"/>
    <p:sldId id="2147473852" r:id="rId105"/>
    <p:sldId id="2147473853" r:id="rId106"/>
  </p:sldIdLst>
  <p:sldSz cx="12192000" cy="6858000"/>
  <p:notesSz cx="6858000" cy="9144000"/>
  <p:defaultTextStyle>
    <a:defPPr>
      <a:defRPr lang="en-NG"/>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00" autoAdjust="0"/>
    <p:restoredTop sz="90038" autoAdjust="0"/>
  </p:normalViewPr>
  <p:slideViewPr>
    <p:cSldViewPr snapToGrid="0">
      <p:cViewPr varScale="1">
        <p:scale>
          <a:sx n="63" d="100"/>
          <a:sy n="63" d="100"/>
        </p:scale>
        <p:origin x="1020" y="6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07" Type="http://schemas.openxmlformats.org/officeDocument/2006/relationships/notesMaster" Target="notesMasters/notesMaster1.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presProps" Target="presProps.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slide" Target="slides/slide102.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viewProps" Target="viewProps.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theme" Target="theme/theme1.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0.99989571545393718"/>
          <c:h val="1"/>
        </c:manualLayout>
      </c:layout>
      <c:doughnutChart>
        <c:varyColors val="1"/>
        <c:ser>
          <c:idx val="0"/>
          <c:order val="0"/>
          <c:tx>
            <c:strRef>
              <c:f>Sheet1!$B$1</c:f>
              <c:strCache>
                <c:ptCount val="1"/>
                <c:pt idx="0">
                  <c:v>Sales</c:v>
                </c:pt>
              </c:strCache>
            </c:strRef>
          </c:tx>
          <c:spPr>
            <a:ln>
              <a:noFill/>
            </a:ln>
          </c:spPr>
          <c:dPt>
            <c:idx val="0"/>
            <c:bubble3D val="0"/>
            <c:spPr>
              <a:solidFill>
                <a:srgbClr val="FFFF00"/>
              </a:solidFill>
              <a:ln w="19050">
                <a:noFill/>
              </a:ln>
              <a:effectLst/>
            </c:spPr>
            <c:extLst>
              <c:ext xmlns:c16="http://schemas.microsoft.com/office/drawing/2014/chart" uri="{C3380CC4-5D6E-409C-BE32-E72D297353CC}">
                <c16:uniqueId val="{00000001-6E62-234E-9FEB-B2B5EEB8CA68}"/>
              </c:ext>
            </c:extLst>
          </c:dPt>
          <c:dPt>
            <c:idx val="1"/>
            <c:bubble3D val="0"/>
            <c:spPr>
              <a:solidFill>
                <a:srgbClr val="FFC000"/>
              </a:solidFill>
              <a:ln w="19050">
                <a:noFill/>
              </a:ln>
              <a:effectLst/>
            </c:spPr>
            <c:extLst>
              <c:ext xmlns:c16="http://schemas.microsoft.com/office/drawing/2014/chart" uri="{C3380CC4-5D6E-409C-BE32-E72D297353CC}">
                <c16:uniqueId val="{00000001-FAE8-7F42-8EF0-9ED5D96F292C}"/>
              </c:ext>
            </c:extLst>
          </c:dPt>
          <c:dPt>
            <c:idx val="2"/>
            <c:bubble3D val="0"/>
            <c:spPr>
              <a:solidFill>
                <a:schemeClr val="bg1">
                  <a:lumMod val="85000"/>
                </a:schemeClr>
              </a:solidFill>
              <a:ln w="19050">
                <a:noFill/>
              </a:ln>
              <a:effectLst/>
            </c:spPr>
            <c:extLst>
              <c:ext xmlns:c16="http://schemas.microsoft.com/office/drawing/2014/chart" uri="{C3380CC4-5D6E-409C-BE32-E72D297353CC}">
                <c16:uniqueId val="{00000002-FAE8-7F42-8EF0-9ED5D96F292C}"/>
              </c:ext>
            </c:extLst>
          </c:dPt>
          <c:cat>
            <c:strRef>
              <c:f>Sheet1!$A$2:$A$4</c:f>
              <c:strCache>
                <c:ptCount val="3"/>
                <c:pt idx="0">
                  <c:v>1st Qtr</c:v>
                </c:pt>
                <c:pt idx="1">
                  <c:v>2nd Qtr</c:v>
                </c:pt>
                <c:pt idx="2">
                  <c:v>3rd Qtr</c:v>
                </c:pt>
              </c:strCache>
            </c:strRef>
          </c:cat>
          <c:val>
            <c:numRef>
              <c:f>Sheet1!$B$2:$B$4</c:f>
              <c:numCache>
                <c:formatCode>General</c:formatCode>
                <c:ptCount val="3"/>
                <c:pt idx="0">
                  <c:v>2</c:v>
                </c:pt>
                <c:pt idx="1">
                  <c:v>1</c:v>
                </c:pt>
                <c:pt idx="2">
                  <c:v>2</c:v>
                </c:pt>
              </c:numCache>
            </c:numRef>
          </c:val>
          <c:extLst>
            <c:ext xmlns:c16="http://schemas.microsoft.com/office/drawing/2014/chart" uri="{C3380CC4-5D6E-409C-BE32-E72D297353CC}">
              <c16:uniqueId val="{00000000-FAE8-7F42-8EF0-9ED5D96F292C}"/>
            </c:ext>
          </c:extLst>
        </c:ser>
        <c:dLbls>
          <c:showLegendKey val="0"/>
          <c:showVal val="0"/>
          <c:showCatName val="0"/>
          <c:showSerName val="0"/>
          <c:showPercent val="0"/>
          <c:showBubbleSize val="0"/>
          <c:showLeaderLines val="1"/>
        </c:dLbls>
        <c:firstSliceAng val="0"/>
        <c:holeSize val="8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0.99989571545393718"/>
          <c:h val="1"/>
        </c:manualLayout>
      </c:layout>
      <c:doughnutChart>
        <c:varyColors val="1"/>
        <c:ser>
          <c:idx val="0"/>
          <c:order val="0"/>
          <c:tx>
            <c:strRef>
              <c:f>Sheet1!$B$1</c:f>
              <c:strCache>
                <c:ptCount val="1"/>
                <c:pt idx="0">
                  <c:v>Sales</c:v>
                </c:pt>
              </c:strCache>
            </c:strRef>
          </c:tx>
          <c:spPr>
            <a:ln>
              <a:noFill/>
            </a:ln>
          </c:spPr>
          <c:dPt>
            <c:idx val="0"/>
            <c:bubble3D val="0"/>
            <c:spPr>
              <a:solidFill>
                <a:srgbClr val="FF0000"/>
              </a:solidFill>
              <a:ln w="19050">
                <a:noFill/>
              </a:ln>
              <a:effectLst/>
            </c:spPr>
            <c:extLst>
              <c:ext xmlns:c16="http://schemas.microsoft.com/office/drawing/2014/chart" uri="{C3380CC4-5D6E-409C-BE32-E72D297353CC}">
                <c16:uniqueId val="{00000001-0150-3242-8F2A-FDAA8FB0D6E5}"/>
              </c:ext>
            </c:extLst>
          </c:dPt>
          <c:dPt>
            <c:idx val="1"/>
            <c:bubble3D val="0"/>
            <c:spPr>
              <a:solidFill>
                <a:srgbClr val="C00000"/>
              </a:solidFill>
              <a:ln w="19050">
                <a:noFill/>
              </a:ln>
              <a:effectLst/>
            </c:spPr>
            <c:extLst>
              <c:ext xmlns:c16="http://schemas.microsoft.com/office/drawing/2014/chart" uri="{C3380CC4-5D6E-409C-BE32-E72D297353CC}">
                <c16:uniqueId val="{00000001-FAE8-7F42-8EF0-9ED5D96F292C}"/>
              </c:ext>
            </c:extLst>
          </c:dPt>
          <c:dPt>
            <c:idx val="2"/>
            <c:bubble3D val="0"/>
            <c:spPr>
              <a:solidFill>
                <a:schemeClr val="bg1">
                  <a:lumMod val="85000"/>
                </a:schemeClr>
              </a:solidFill>
              <a:ln w="19050">
                <a:noFill/>
              </a:ln>
              <a:effectLst/>
            </c:spPr>
            <c:extLst>
              <c:ext xmlns:c16="http://schemas.microsoft.com/office/drawing/2014/chart" uri="{C3380CC4-5D6E-409C-BE32-E72D297353CC}">
                <c16:uniqueId val="{00000002-FAE8-7F42-8EF0-9ED5D96F292C}"/>
              </c:ext>
            </c:extLst>
          </c:dPt>
          <c:cat>
            <c:strRef>
              <c:f>Sheet1!$A$2:$A$4</c:f>
              <c:strCache>
                <c:ptCount val="3"/>
                <c:pt idx="0">
                  <c:v>1st Qtr</c:v>
                </c:pt>
                <c:pt idx="1">
                  <c:v>2nd Qtr</c:v>
                </c:pt>
                <c:pt idx="2">
                  <c:v>3rd Qtr</c:v>
                </c:pt>
              </c:strCache>
            </c:strRef>
          </c:cat>
          <c:val>
            <c:numRef>
              <c:f>Sheet1!$B$2:$B$4</c:f>
              <c:numCache>
                <c:formatCode>General</c:formatCode>
                <c:ptCount val="3"/>
                <c:pt idx="0">
                  <c:v>2</c:v>
                </c:pt>
                <c:pt idx="1">
                  <c:v>1</c:v>
                </c:pt>
                <c:pt idx="2">
                  <c:v>2</c:v>
                </c:pt>
              </c:numCache>
            </c:numRef>
          </c:val>
          <c:extLst>
            <c:ext xmlns:c16="http://schemas.microsoft.com/office/drawing/2014/chart" uri="{C3380CC4-5D6E-409C-BE32-E72D297353CC}">
              <c16:uniqueId val="{00000000-FAE8-7F42-8EF0-9ED5D96F292C}"/>
            </c:ext>
          </c:extLst>
        </c:ser>
        <c:dLbls>
          <c:showLegendKey val="0"/>
          <c:showVal val="0"/>
          <c:showCatName val="0"/>
          <c:showSerName val="0"/>
          <c:showPercent val="0"/>
          <c:showBubbleSize val="0"/>
          <c:showLeaderLines val="1"/>
        </c:dLbls>
        <c:firstSliceAng val="0"/>
        <c:holeSize val="8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0.99989571545393718"/>
          <c:h val="1"/>
        </c:manualLayout>
      </c:layout>
      <c:doughnutChart>
        <c:varyColors val="1"/>
        <c:ser>
          <c:idx val="0"/>
          <c:order val="0"/>
          <c:tx>
            <c:strRef>
              <c:f>Sheet1!$B$1</c:f>
              <c:strCache>
                <c:ptCount val="1"/>
                <c:pt idx="0">
                  <c:v>Sales</c:v>
                </c:pt>
              </c:strCache>
            </c:strRef>
          </c:tx>
          <c:spPr>
            <a:ln>
              <a:noFill/>
            </a:ln>
          </c:spPr>
          <c:dPt>
            <c:idx val="0"/>
            <c:bubble3D val="0"/>
            <c:spPr>
              <a:solidFill>
                <a:srgbClr val="7030A0"/>
              </a:solidFill>
              <a:ln w="19050">
                <a:noFill/>
              </a:ln>
              <a:effectLst/>
            </c:spPr>
            <c:extLst>
              <c:ext xmlns:c16="http://schemas.microsoft.com/office/drawing/2014/chart" uri="{C3380CC4-5D6E-409C-BE32-E72D297353CC}">
                <c16:uniqueId val="{00000001-0150-3242-8F2A-FDAA8FB0D6E5}"/>
              </c:ext>
            </c:extLst>
          </c:dPt>
          <c:dPt>
            <c:idx val="1"/>
            <c:bubble3D val="0"/>
            <c:spPr>
              <a:solidFill>
                <a:schemeClr val="accent4">
                  <a:lumMod val="60000"/>
                  <a:lumOff val="40000"/>
                </a:schemeClr>
              </a:solidFill>
              <a:ln w="19050">
                <a:noFill/>
              </a:ln>
              <a:effectLst/>
            </c:spPr>
            <c:extLst>
              <c:ext xmlns:c16="http://schemas.microsoft.com/office/drawing/2014/chart" uri="{C3380CC4-5D6E-409C-BE32-E72D297353CC}">
                <c16:uniqueId val="{00000001-FAE8-7F42-8EF0-9ED5D96F292C}"/>
              </c:ext>
            </c:extLst>
          </c:dPt>
          <c:dPt>
            <c:idx val="2"/>
            <c:bubble3D val="0"/>
            <c:spPr>
              <a:solidFill>
                <a:schemeClr val="bg1">
                  <a:lumMod val="85000"/>
                </a:schemeClr>
              </a:solidFill>
              <a:ln w="19050">
                <a:noFill/>
              </a:ln>
              <a:effectLst/>
            </c:spPr>
            <c:extLst>
              <c:ext xmlns:c16="http://schemas.microsoft.com/office/drawing/2014/chart" uri="{C3380CC4-5D6E-409C-BE32-E72D297353CC}">
                <c16:uniqueId val="{00000002-FAE8-7F42-8EF0-9ED5D96F292C}"/>
              </c:ext>
            </c:extLst>
          </c:dPt>
          <c:cat>
            <c:strRef>
              <c:f>Sheet1!$A$2:$A$4</c:f>
              <c:strCache>
                <c:ptCount val="3"/>
                <c:pt idx="0">
                  <c:v>1st Qtr</c:v>
                </c:pt>
                <c:pt idx="1">
                  <c:v>2nd Qtr</c:v>
                </c:pt>
                <c:pt idx="2">
                  <c:v>3rd Qtr</c:v>
                </c:pt>
              </c:strCache>
            </c:strRef>
          </c:cat>
          <c:val>
            <c:numRef>
              <c:f>Sheet1!$B$2:$B$4</c:f>
              <c:numCache>
                <c:formatCode>General</c:formatCode>
                <c:ptCount val="3"/>
                <c:pt idx="0">
                  <c:v>2</c:v>
                </c:pt>
                <c:pt idx="1">
                  <c:v>1</c:v>
                </c:pt>
                <c:pt idx="2">
                  <c:v>2</c:v>
                </c:pt>
              </c:numCache>
            </c:numRef>
          </c:val>
          <c:extLst>
            <c:ext xmlns:c16="http://schemas.microsoft.com/office/drawing/2014/chart" uri="{C3380CC4-5D6E-409C-BE32-E72D297353CC}">
              <c16:uniqueId val="{00000000-FAE8-7F42-8EF0-9ED5D96F292C}"/>
            </c:ext>
          </c:extLst>
        </c:ser>
        <c:dLbls>
          <c:showLegendKey val="0"/>
          <c:showVal val="0"/>
          <c:showCatName val="0"/>
          <c:showSerName val="0"/>
          <c:showPercent val="0"/>
          <c:showBubbleSize val="0"/>
          <c:showLeaderLines val="1"/>
        </c:dLbls>
        <c:firstSliceAng val="0"/>
        <c:holeSize val="8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0.99989571545393718"/>
          <c:h val="1"/>
        </c:manualLayout>
      </c:layout>
      <c:doughnutChart>
        <c:varyColors val="1"/>
        <c:dLbls>
          <c:showLegendKey val="0"/>
          <c:showVal val="0"/>
          <c:showCatName val="0"/>
          <c:showSerName val="0"/>
          <c:showPercent val="0"/>
          <c:showBubbleSize val="0"/>
          <c:showLeaderLines val="0"/>
        </c:dLbls>
        <c:firstSliceAng val="0"/>
        <c:holeSize val="8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0.99989571545393718"/>
          <c:h val="1"/>
        </c:manualLayout>
      </c:layout>
      <c:doughnutChart>
        <c:varyColors val="1"/>
        <c:ser>
          <c:idx val="0"/>
          <c:order val="0"/>
          <c:tx>
            <c:strRef>
              <c:f>Sheet1!$B$1</c:f>
              <c:strCache>
                <c:ptCount val="1"/>
                <c:pt idx="0">
                  <c:v>Sales</c:v>
                </c:pt>
              </c:strCache>
            </c:strRef>
          </c:tx>
          <c:spPr>
            <a:ln>
              <a:noFill/>
            </a:ln>
          </c:spPr>
          <c:dPt>
            <c:idx val="0"/>
            <c:bubble3D val="0"/>
            <c:spPr>
              <a:solidFill>
                <a:schemeClr val="accent6">
                  <a:lumMod val="75000"/>
                </a:schemeClr>
              </a:solidFill>
              <a:ln w="19050">
                <a:solidFill>
                  <a:schemeClr val="accent6"/>
                </a:solidFill>
              </a:ln>
              <a:effectLst/>
            </c:spPr>
            <c:extLst>
              <c:ext xmlns:c16="http://schemas.microsoft.com/office/drawing/2014/chart" uri="{C3380CC4-5D6E-409C-BE32-E72D297353CC}">
                <c16:uniqueId val="{00000001-6E62-234E-9FEB-B2B5EEB8CA68}"/>
              </c:ext>
            </c:extLst>
          </c:dPt>
          <c:dPt>
            <c:idx val="1"/>
            <c:bubble3D val="0"/>
            <c:spPr>
              <a:solidFill>
                <a:schemeClr val="accent6">
                  <a:lumMod val="60000"/>
                  <a:lumOff val="40000"/>
                </a:schemeClr>
              </a:solidFill>
              <a:ln w="19050">
                <a:noFill/>
              </a:ln>
              <a:effectLst/>
            </c:spPr>
            <c:extLst>
              <c:ext xmlns:c16="http://schemas.microsoft.com/office/drawing/2014/chart" uri="{C3380CC4-5D6E-409C-BE32-E72D297353CC}">
                <c16:uniqueId val="{00000001-FAE8-7F42-8EF0-9ED5D96F292C}"/>
              </c:ext>
            </c:extLst>
          </c:dPt>
          <c:dPt>
            <c:idx val="2"/>
            <c:bubble3D val="0"/>
            <c:spPr>
              <a:solidFill>
                <a:schemeClr val="bg1">
                  <a:lumMod val="85000"/>
                </a:schemeClr>
              </a:solidFill>
              <a:ln w="19050">
                <a:noFill/>
              </a:ln>
              <a:effectLst/>
            </c:spPr>
            <c:extLst>
              <c:ext xmlns:c16="http://schemas.microsoft.com/office/drawing/2014/chart" uri="{C3380CC4-5D6E-409C-BE32-E72D297353CC}">
                <c16:uniqueId val="{00000002-FAE8-7F42-8EF0-9ED5D96F292C}"/>
              </c:ext>
            </c:extLst>
          </c:dPt>
          <c:cat>
            <c:strRef>
              <c:f>Sheet1!$A$2:$A$4</c:f>
              <c:strCache>
                <c:ptCount val="3"/>
                <c:pt idx="0">
                  <c:v>1st Qtr</c:v>
                </c:pt>
                <c:pt idx="1">
                  <c:v>2nd Qtr</c:v>
                </c:pt>
                <c:pt idx="2">
                  <c:v>3rd Qtr</c:v>
                </c:pt>
              </c:strCache>
            </c:strRef>
          </c:cat>
          <c:val>
            <c:numRef>
              <c:f>Sheet1!$B$2:$B$4</c:f>
              <c:numCache>
                <c:formatCode>General</c:formatCode>
                <c:ptCount val="3"/>
                <c:pt idx="0">
                  <c:v>2</c:v>
                </c:pt>
                <c:pt idx="1">
                  <c:v>1</c:v>
                </c:pt>
                <c:pt idx="2">
                  <c:v>2</c:v>
                </c:pt>
              </c:numCache>
            </c:numRef>
          </c:val>
          <c:extLst>
            <c:ext xmlns:c16="http://schemas.microsoft.com/office/drawing/2014/chart" uri="{C3380CC4-5D6E-409C-BE32-E72D297353CC}">
              <c16:uniqueId val="{00000000-FAE8-7F42-8EF0-9ED5D96F292C}"/>
            </c:ext>
          </c:extLst>
        </c:ser>
        <c:dLbls>
          <c:showLegendKey val="0"/>
          <c:showVal val="0"/>
          <c:showCatName val="0"/>
          <c:showSerName val="0"/>
          <c:showPercent val="0"/>
          <c:showBubbleSize val="0"/>
          <c:showLeaderLines val="1"/>
        </c:dLbls>
        <c:firstSliceAng val="0"/>
        <c:holeSize val="8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0.99989571545393718"/>
          <c:h val="1"/>
        </c:manualLayout>
      </c:layout>
      <c:doughnutChart>
        <c:varyColors val="1"/>
        <c:ser>
          <c:idx val="0"/>
          <c:order val="0"/>
          <c:tx>
            <c:strRef>
              <c:f>Sheet1!$B$1</c:f>
              <c:strCache>
                <c:ptCount val="1"/>
                <c:pt idx="0">
                  <c:v>Sales</c:v>
                </c:pt>
              </c:strCache>
            </c:strRef>
          </c:tx>
          <c:spPr>
            <a:ln>
              <a:noFill/>
            </a:ln>
          </c:spPr>
          <c:dPt>
            <c:idx val="0"/>
            <c:bubble3D val="0"/>
            <c:spPr>
              <a:solidFill>
                <a:srgbClr val="FF0000"/>
              </a:solidFill>
              <a:ln w="19050">
                <a:noFill/>
              </a:ln>
              <a:effectLst/>
            </c:spPr>
            <c:extLst>
              <c:ext xmlns:c16="http://schemas.microsoft.com/office/drawing/2014/chart" uri="{C3380CC4-5D6E-409C-BE32-E72D297353CC}">
                <c16:uniqueId val="{00000001-0150-3242-8F2A-FDAA8FB0D6E5}"/>
              </c:ext>
            </c:extLst>
          </c:dPt>
          <c:dPt>
            <c:idx val="1"/>
            <c:bubble3D val="0"/>
            <c:spPr>
              <a:solidFill>
                <a:srgbClr val="C00000"/>
              </a:solidFill>
              <a:ln w="19050">
                <a:noFill/>
              </a:ln>
              <a:effectLst/>
            </c:spPr>
            <c:extLst>
              <c:ext xmlns:c16="http://schemas.microsoft.com/office/drawing/2014/chart" uri="{C3380CC4-5D6E-409C-BE32-E72D297353CC}">
                <c16:uniqueId val="{00000001-FAE8-7F42-8EF0-9ED5D96F292C}"/>
              </c:ext>
            </c:extLst>
          </c:dPt>
          <c:dPt>
            <c:idx val="2"/>
            <c:bubble3D val="0"/>
            <c:spPr>
              <a:solidFill>
                <a:schemeClr val="bg1">
                  <a:lumMod val="85000"/>
                </a:schemeClr>
              </a:solidFill>
              <a:ln w="19050">
                <a:noFill/>
              </a:ln>
              <a:effectLst/>
            </c:spPr>
            <c:extLst>
              <c:ext xmlns:c16="http://schemas.microsoft.com/office/drawing/2014/chart" uri="{C3380CC4-5D6E-409C-BE32-E72D297353CC}">
                <c16:uniqueId val="{00000002-FAE8-7F42-8EF0-9ED5D96F292C}"/>
              </c:ext>
            </c:extLst>
          </c:dPt>
          <c:cat>
            <c:strRef>
              <c:f>Sheet1!$A$2:$A$4</c:f>
              <c:strCache>
                <c:ptCount val="3"/>
                <c:pt idx="0">
                  <c:v>1st Qtr</c:v>
                </c:pt>
                <c:pt idx="1">
                  <c:v>2nd Qtr</c:v>
                </c:pt>
                <c:pt idx="2">
                  <c:v>3rd Qtr</c:v>
                </c:pt>
              </c:strCache>
            </c:strRef>
          </c:cat>
          <c:val>
            <c:numRef>
              <c:f>Sheet1!$B$2:$B$4</c:f>
              <c:numCache>
                <c:formatCode>General</c:formatCode>
                <c:ptCount val="3"/>
                <c:pt idx="0">
                  <c:v>2</c:v>
                </c:pt>
                <c:pt idx="1">
                  <c:v>1</c:v>
                </c:pt>
                <c:pt idx="2">
                  <c:v>2</c:v>
                </c:pt>
              </c:numCache>
            </c:numRef>
          </c:val>
          <c:extLst>
            <c:ext xmlns:c16="http://schemas.microsoft.com/office/drawing/2014/chart" uri="{C3380CC4-5D6E-409C-BE32-E72D297353CC}">
              <c16:uniqueId val="{00000000-FAE8-7F42-8EF0-9ED5D96F292C}"/>
            </c:ext>
          </c:extLst>
        </c:ser>
        <c:dLbls>
          <c:showLegendKey val="0"/>
          <c:showVal val="0"/>
          <c:showCatName val="0"/>
          <c:showSerName val="0"/>
          <c:showPercent val="0"/>
          <c:showBubbleSize val="0"/>
          <c:showLeaderLines val="1"/>
        </c:dLbls>
        <c:firstSliceAng val="0"/>
        <c:holeSize val="8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0.99989571545393718"/>
          <c:h val="1"/>
        </c:manualLayout>
      </c:layout>
      <c:doughnutChart>
        <c:varyColors val="1"/>
        <c:ser>
          <c:idx val="0"/>
          <c:order val="0"/>
          <c:tx>
            <c:strRef>
              <c:f>Sheet1!$B$1</c:f>
              <c:strCache>
                <c:ptCount val="1"/>
                <c:pt idx="0">
                  <c:v>Sales</c:v>
                </c:pt>
              </c:strCache>
            </c:strRef>
          </c:tx>
          <c:spPr>
            <a:ln>
              <a:noFill/>
            </a:ln>
          </c:spPr>
          <c:dPt>
            <c:idx val="0"/>
            <c:bubble3D val="0"/>
            <c:spPr>
              <a:solidFill>
                <a:srgbClr val="00B050"/>
              </a:solidFill>
              <a:ln w="19050">
                <a:noFill/>
              </a:ln>
              <a:effectLst/>
            </c:spPr>
            <c:extLst>
              <c:ext xmlns:c16="http://schemas.microsoft.com/office/drawing/2014/chart" uri="{C3380CC4-5D6E-409C-BE32-E72D297353CC}">
                <c16:uniqueId val="{00000001-0150-3242-8F2A-FDAA8FB0D6E5}"/>
              </c:ext>
            </c:extLst>
          </c:dPt>
          <c:dPt>
            <c:idx val="1"/>
            <c:bubble3D val="0"/>
            <c:spPr>
              <a:solidFill>
                <a:srgbClr val="92D050"/>
              </a:solidFill>
              <a:ln w="19050">
                <a:noFill/>
              </a:ln>
              <a:effectLst/>
            </c:spPr>
            <c:extLst>
              <c:ext xmlns:c16="http://schemas.microsoft.com/office/drawing/2014/chart" uri="{C3380CC4-5D6E-409C-BE32-E72D297353CC}">
                <c16:uniqueId val="{00000001-FAE8-7F42-8EF0-9ED5D96F292C}"/>
              </c:ext>
            </c:extLst>
          </c:dPt>
          <c:dPt>
            <c:idx val="2"/>
            <c:bubble3D val="0"/>
            <c:spPr>
              <a:solidFill>
                <a:schemeClr val="bg1">
                  <a:lumMod val="85000"/>
                </a:schemeClr>
              </a:solidFill>
              <a:ln w="19050">
                <a:noFill/>
              </a:ln>
              <a:effectLst/>
            </c:spPr>
            <c:extLst>
              <c:ext xmlns:c16="http://schemas.microsoft.com/office/drawing/2014/chart" uri="{C3380CC4-5D6E-409C-BE32-E72D297353CC}">
                <c16:uniqueId val="{00000002-FAE8-7F42-8EF0-9ED5D96F292C}"/>
              </c:ext>
            </c:extLst>
          </c:dPt>
          <c:cat>
            <c:strRef>
              <c:f>Sheet1!$A$2:$A$4</c:f>
              <c:strCache>
                <c:ptCount val="3"/>
                <c:pt idx="0">
                  <c:v>1st Qtr</c:v>
                </c:pt>
                <c:pt idx="1">
                  <c:v>2nd Qtr</c:v>
                </c:pt>
                <c:pt idx="2">
                  <c:v>3rd Qtr</c:v>
                </c:pt>
              </c:strCache>
            </c:strRef>
          </c:cat>
          <c:val>
            <c:numRef>
              <c:f>Sheet1!$B$2:$B$4</c:f>
              <c:numCache>
                <c:formatCode>General</c:formatCode>
                <c:ptCount val="3"/>
                <c:pt idx="0">
                  <c:v>2</c:v>
                </c:pt>
                <c:pt idx="1">
                  <c:v>1</c:v>
                </c:pt>
                <c:pt idx="2">
                  <c:v>2</c:v>
                </c:pt>
              </c:numCache>
            </c:numRef>
          </c:val>
          <c:extLst>
            <c:ext xmlns:c16="http://schemas.microsoft.com/office/drawing/2014/chart" uri="{C3380CC4-5D6E-409C-BE32-E72D297353CC}">
              <c16:uniqueId val="{00000000-FAE8-7F42-8EF0-9ED5D96F292C}"/>
            </c:ext>
          </c:extLst>
        </c:ser>
        <c:dLbls>
          <c:showLegendKey val="0"/>
          <c:showVal val="0"/>
          <c:showCatName val="0"/>
          <c:showSerName val="0"/>
          <c:showPercent val="0"/>
          <c:showBubbleSize val="0"/>
          <c:showLeaderLines val="1"/>
        </c:dLbls>
        <c:firstSliceAng val="0"/>
        <c:holeSize val="8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0.99989571545393718"/>
          <c:h val="1"/>
        </c:manualLayout>
      </c:layout>
      <c:doughnutChart>
        <c:varyColors val="1"/>
        <c:dLbls>
          <c:showLegendKey val="0"/>
          <c:showVal val="0"/>
          <c:showCatName val="0"/>
          <c:showSerName val="0"/>
          <c:showPercent val="0"/>
          <c:showBubbleSize val="0"/>
          <c:showLeaderLines val="0"/>
        </c:dLbls>
        <c:firstSliceAng val="0"/>
        <c:holeSize val="8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3.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image" Target="../media/image27.png"/><Relationship Id="rId1" Type="http://schemas.openxmlformats.org/officeDocument/2006/relationships/image" Target="../media/image26.jpg"/><Relationship Id="rId5" Type="http://schemas.openxmlformats.org/officeDocument/2006/relationships/image" Target="../media/image30.jpg"/><Relationship Id="rId4" Type="http://schemas.openxmlformats.org/officeDocument/2006/relationships/image" Target="../media/image29.png"/></Relationships>
</file>

<file path=ppt/diagrams/_rels/drawing3.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image" Target="../media/image27.png"/><Relationship Id="rId1" Type="http://schemas.openxmlformats.org/officeDocument/2006/relationships/image" Target="../media/image26.jpg"/><Relationship Id="rId5" Type="http://schemas.openxmlformats.org/officeDocument/2006/relationships/image" Target="../media/image30.jpg"/><Relationship Id="rId4" Type="http://schemas.openxmlformats.org/officeDocument/2006/relationships/image" Target="../media/image29.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A8997E2-7341-45D6-9FA2-1991F0FCB306}" type="doc">
      <dgm:prSet loTypeId="urn:microsoft.com/office/officeart/2005/8/layout/hList3" loCatId="list" qsTypeId="urn:microsoft.com/office/officeart/2005/8/quickstyle/simple3" qsCatId="simple" csTypeId="urn:microsoft.com/office/officeart/2005/8/colors/accent1_2" csCatId="accent1" phldr="1"/>
      <dgm:spPr/>
      <dgm:t>
        <a:bodyPr/>
        <a:lstStyle/>
        <a:p>
          <a:endParaRPr lang="en-NG"/>
        </a:p>
      </dgm:t>
    </dgm:pt>
    <dgm:pt modelId="{AB7454F2-1EBB-4CE8-A3E4-0EFCF8E58C3F}">
      <dgm:prSet/>
      <dgm:spPr/>
      <dgm:t>
        <a:bodyPr/>
        <a:lstStyle/>
        <a:p>
          <a:pPr algn="l"/>
          <a:r>
            <a:rPr lang="en-US">
              <a:latin typeface="Arial" panose="020B0604020202020204" pitchFamily="34" charset="0"/>
              <a:cs typeface="Arial" panose="020B0604020202020204" pitchFamily="34" charset="0"/>
            </a:rPr>
            <a:t>PEPFAR supports communities and host country governments to reach the UNAIDS 95-95-95 global goals: 95 percent of people living with HIV know their HIV status, 95 percent of people who know their HIV status are accessing treatment, and 95 percent of people on treatment have suppressed viral loads. </a:t>
          </a:r>
        </a:p>
        <a:p>
          <a:pPr algn="l"/>
          <a:endParaRPr lang="en-US">
            <a:latin typeface="Arial" panose="020B0604020202020204" pitchFamily="34" charset="0"/>
            <a:cs typeface="Arial" panose="020B0604020202020204" pitchFamily="34" charset="0"/>
          </a:endParaRPr>
        </a:p>
        <a:p>
          <a:pPr algn="l"/>
          <a:r>
            <a:rPr lang="en-US">
              <a:latin typeface="Arial" panose="020B0604020202020204" pitchFamily="34" charset="0"/>
              <a:cs typeface="Arial" panose="020B0604020202020204" pitchFamily="34" charset="0"/>
            </a:rPr>
            <a:t>PEPFAR MER indicators are instrumental in tracking progress towards these targets</a:t>
          </a:r>
          <a:endParaRPr lang="en-NG">
            <a:solidFill>
              <a:schemeClr val="bg1"/>
            </a:solidFill>
            <a:latin typeface="Arial" panose="020B0604020202020204" pitchFamily="34" charset="0"/>
            <a:cs typeface="Arial" panose="020B0604020202020204" pitchFamily="34" charset="0"/>
          </a:endParaRPr>
        </a:p>
      </dgm:t>
    </dgm:pt>
    <dgm:pt modelId="{10E7F161-A6DD-47BA-9F4A-37944CAAFED5}" type="parTrans" cxnId="{7A46A8A6-6BCC-4A6C-A017-F557758714EE}">
      <dgm:prSet/>
      <dgm:spPr/>
      <dgm:t>
        <a:bodyPr/>
        <a:lstStyle/>
        <a:p>
          <a:endParaRPr lang="en-NG"/>
        </a:p>
      </dgm:t>
    </dgm:pt>
    <dgm:pt modelId="{64D8DF04-B54F-46CD-B4C8-17077DBCB32B}" type="sibTrans" cxnId="{7A46A8A6-6BCC-4A6C-A017-F557758714EE}">
      <dgm:prSet/>
      <dgm:spPr/>
      <dgm:t>
        <a:bodyPr/>
        <a:lstStyle/>
        <a:p>
          <a:endParaRPr lang="en-NG"/>
        </a:p>
      </dgm:t>
    </dgm:pt>
    <dgm:pt modelId="{A64423C8-EB0E-4F8B-B257-51D74D885F78}">
      <dgm:prSet/>
      <dgm:spPr>
        <a:solidFill>
          <a:schemeClr val="accent6">
            <a:lumMod val="20000"/>
            <a:lumOff val="80000"/>
          </a:schemeClr>
        </a:solidFill>
      </dgm:spPr>
      <dgm:t>
        <a:bodyPr/>
        <a:lstStyle/>
        <a:p>
          <a:pPr algn="l"/>
          <a:r>
            <a:rPr lang="en-US"/>
            <a:t>          </a:t>
          </a:r>
          <a:endParaRPr lang="en-NG"/>
        </a:p>
      </dgm:t>
    </dgm:pt>
    <dgm:pt modelId="{B40FEB29-EC2D-4961-B636-E45CD7D1C8FD}" type="parTrans" cxnId="{178394F1-F627-4F2A-AF1D-9EE91E9DD942}">
      <dgm:prSet/>
      <dgm:spPr/>
      <dgm:t>
        <a:bodyPr/>
        <a:lstStyle/>
        <a:p>
          <a:endParaRPr lang="en-NG"/>
        </a:p>
      </dgm:t>
    </dgm:pt>
    <dgm:pt modelId="{44BA4A0B-AE1F-4CD6-A0AB-DA20F11F00E0}" type="sibTrans" cxnId="{178394F1-F627-4F2A-AF1D-9EE91E9DD942}">
      <dgm:prSet/>
      <dgm:spPr/>
      <dgm:t>
        <a:bodyPr/>
        <a:lstStyle/>
        <a:p>
          <a:endParaRPr lang="en-NG"/>
        </a:p>
      </dgm:t>
    </dgm:pt>
    <dgm:pt modelId="{D0277FDC-F434-4FA5-81B9-686C9E9F1CCF}">
      <dgm:prSet/>
      <dgm:spPr>
        <a:solidFill>
          <a:schemeClr val="accent1">
            <a:lumMod val="40000"/>
            <a:lumOff val="60000"/>
          </a:schemeClr>
        </a:solidFill>
      </dgm:spPr>
      <dgm:t>
        <a:bodyPr/>
        <a:lstStyle/>
        <a:p>
          <a:pPr algn="l"/>
          <a:endParaRPr lang="en-NG"/>
        </a:p>
      </dgm:t>
    </dgm:pt>
    <dgm:pt modelId="{E9D6C274-7FDE-4C23-A48E-95E005E3C948}" type="sibTrans" cxnId="{AFDE64B6-D977-4041-9A62-D20DB879BC9A}">
      <dgm:prSet/>
      <dgm:spPr/>
      <dgm:t>
        <a:bodyPr/>
        <a:lstStyle/>
        <a:p>
          <a:endParaRPr lang="en-NG"/>
        </a:p>
      </dgm:t>
    </dgm:pt>
    <dgm:pt modelId="{04DBD754-936B-44A1-94A5-4925B502FC95}" type="parTrans" cxnId="{AFDE64B6-D977-4041-9A62-D20DB879BC9A}">
      <dgm:prSet/>
      <dgm:spPr/>
      <dgm:t>
        <a:bodyPr/>
        <a:lstStyle/>
        <a:p>
          <a:endParaRPr lang="en-NG"/>
        </a:p>
      </dgm:t>
    </dgm:pt>
    <dgm:pt modelId="{C8DF7DEA-92E8-43D6-9BBD-AB43406928FC}" type="pres">
      <dgm:prSet presAssocID="{EA8997E2-7341-45D6-9FA2-1991F0FCB306}" presName="composite" presStyleCnt="0">
        <dgm:presLayoutVars>
          <dgm:chMax val="1"/>
          <dgm:dir/>
          <dgm:resizeHandles val="exact"/>
        </dgm:presLayoutVars>
      </dgm:prSet>
      <dgm:spPr/>
    </dgm:pt>
    <dgm:pt modelId="{A2CBD16E-5321-4382-B261-AEE7AFCA97A3}" type="pres">
      <dgm:prSet presAssocID="{AB7454F2-1EBB-4CE8-A3E4-0EFCF8E58C3F}" presName="roof" presStyleLbl="dkBgShp" presStyleIdx="0" presStyleCnt="2" custScaleY="134142" custLinFactNeighborX="0" custLinFactNeighborY="10055"/>
      <dgm:spPr/>
    </dgm:pt>
    <dgm:pt modelId="{5C31F763-ACDD-4290-9B39-263A49ED105D}" type="pres">
      <dgm:prSet presAssocID="{AB7454F2-1EBB-4CE8-A3E4-0EFCF8E58C3F}" presName="pillars" presStyleCnt="0"/>
      <dgm:spPr/>
    </dgm:pt>
    <dgm:pt modelId="{38F7E0AD-9E1D-413B-BC24-CBAD2454283D}" type="pres">
      <dgm:prSet presAssocID="{AB7454F2-1EBB-4CE8-A3E4-0EFCF8E58C3F}" presName="pillar1" presStyleLbl="node1" presStyleIdx="0" presStyleCnt="2" custScaleY="86105" custLinFactNeighborX="0" custLinFactNeighborY="6607">
        <dgm:presLayoutVars>
          <dgm:bulletEnabled val="1"/>
        </dgm:presLayoutVars>
      </dgm:prSet>
      <dgm:spPr/>
    </dgm:pt>
    <dgm:pt modelId="{99DDC5C3-F4E4-4F2F-A9CF-9AAEE6BC272E}" type="pres">
      <dgm:prSet presAssocID="{A64423C8-EB0E-4F8B-B257-51D74D885F78}" presName="pillarX" presStyleLbl="node1" presStyleIdx="1" presStyleCnt="2" custScaleY="87107" custLinFactNeighborX="-883" custLinFactNeighborY="6862">
        <dgm:presLayoutVars>
          <dgm:bulletEnabled val="1"/>
        </dgm:presLayoutVars>
      </dgm:prSet>
      <dgm:spPr/>
    </dgm:pt>
    <dgm:pt modelId="{6B756B58-A2E3-47D4-B977-C05A25050CE0}" type="pres">
      <dgm:prSet presAssocID="{AB7454F2-1EBB-4CE8-A3E4-0EFCF8E58C3F}" presName="base" presStyleLbl="dkBgShp" presStyleIdx="1" presStyleCnt="2"/>
      <dgm:spPr/>
    </dgm:pt>
  </dgm:ptLst>
  <dgm:cxnLst>
    <dgm:cxn modelId="{0BE9422C-3DDC-42C9-B7EF-C08792575657}" type="presOf" srcId="{EA8997E2-7341-45D6-9FA2-1991F0FCB306}" destId="{C8DF7DEA-92E8-43D6-9BBD-AB43406928FC}" srcOrd="0" destOrd="0" presId="urn:microsoft.com/office/officeart/2005/8/layout/hList3"/>
    <dgm:cxn modelId="{7BBFCB3B-7D58-4153-AC88-6353B3C0CE7C}" type="presOf" srcId="{AB7454F2-1EBB-4CE8-A3E4-0EFCF8E58C3F}" destId="{A2CBD16E-5321-4382-B261-AEE7AFCA97A3}" srcOrd="0" destOrd="0" presId="urn:microsoft.com/office/officeart/2005/8/layout/hList3"/>
    <dgm:cxn modelId="{8D825377-CFA7-42F0-A1B6-2BB8E1424245}" type="presOf" srcId="{D0277FDC-F434-4FA5-81B9-686C9E9F1CCF}" destId="{38F7E0AD-9E1D-413B-BC24-CBAD2454283D}" srcOrd="0" destOrd="0" presId="urn:microsoft.com/office/officeart/2005/8/layout/hList3"/>
    <dgm:cxn modelId="{7A46A8A6-6BCC-4A6C-A017-F557758714EE}" srcId="{EA8997E2-7341-45D6-9FA2-1991F0FCB306}" destId="{AB7454F2-1EBB-4CE8-A3E4-0EFCF8E58C3F}" srcOrd="0" destOrd="0" parTransId="{10E7F161-A6DD-47BA-9F4A-37944CAAFED5}" sibTransId="{64D8DF04-B54F-46CD-B4C8-17077DBCB32B}"/>
    <dgm:cxn modelId="{AFDE64B6-D977-4041-9A62-D20DB879BC9A}" srcId="{AB7454F2-1EBB-4CE8-A3E4-0EFCF8E58C3F}" destId="{D0277FDC-F434-4FA5-81B9-686C9E9F1CCF}" srcOrd="0" destOrd="0" parTransId="{04DBD754-936B-44A1-94A5-4925B502FC95}" sibTransId="{E9D6C274-7FDE-4C23-A48E-95E005E3C948}"/>
    <dgm:cxn modelId="{FE1832D3-3770-4341-A38C-C684260CB4B9}" type="presOf" srcId="{A64423C8-EB0E-4F8B-B257-51D74D885F78}" destId="{99DDC5C3-F4E4-4F2F-A9CF-9AAEE6BC272E}" srcOrd="0" destOrd="0" presId="urn:microsoft.com/office/officeart/2005/8/layout/hList3"/>
    <dgm:cxn modelId="{178394F1-F627-4F2A-AF1D-9EE91E9DD942}" srcId="{AB7454F2-1EBB-4CE8-A3E4-0EFCF8E58C3F}" destId="{A64423C8-EB0E-4F8B-B257-51D74D885F78}" srcOrd="1" destOrd="0" parTransId="{B40FEB29-EC2D-4961-B636-E45CD7D1C8FD}" sibTransId="{44BA4A0B-AE1F-4CD6-A0AB-DA20F11F00E0}"/>
    <dgm:cxn modelId="{EB3E6FB5-5365-4740-9B67-EE1588844074}" type="presParOf" srcId="{C8DF7DEA-92E8-43D6-9BBD-AB43406928FC}" destId="{A2CBD16E-5321-4382-B261-AEE7AFCA97A3}" srcOrd="0" destOrd="0" presId="urn:microsoft.com/office/officeart/2005/8/layout/hList3"/>
    <dgm:cxn modelId="{93F5656A-F043-46E0-A40F-12F7B74B0354}" type="presParOf" srcId="{C8DF7DEA-92E8-43D6-9BBD-AB43406928FC}" destId="{5C31F763-ACDD-4290-9B39-263A49ED105D}" srcOrd="1" destOrd="0" presId="urn:microsoft.com/office/officeart/2005/8/layout/hList3"/>
    <dgm:cxn modelId="{34489EA0-A16B-483E-B4F9-82A679D440C4}" type="presParOf" srcId="{5C31F763-ACDD-4290-9B39-263A49ED105D}" destId="{38F7E0AD-9E1D-413B-BC24-CBAD2454283D}" srcOrd="0" destOrd="0" presId="urn:microsoft.com/office/officeart/2005/8/layout/hList3"/>
    <dgm:cxn modelId="{F400DBC9-6F81-42DF-93AD-6CF5DA8EA349}" type="presParOf" srcId="{5C31F763-ACDD-4290-9B39-263A49ED105D}" destId="{99DDC5C3-F4E4-4F2F-A9CF-9AAEE6BC272E}" srcOrd="1" destOrd="0" presId="urn:microsoft.com/office/officeart/2005/8/layout/hList3"/>
    <dgm:cxn modelId="{0B794C6C-D03E-493D-9873-442A92AE7998}" type="presParOf" srcId="{C8DF7DEA-92E8-43D6-9BBD-AB43406928FC}" destId="{6B756B58-A2E3-47D4-B977-C05A25050CE0}" srcOrd="2" destOrd="0" presId="urn:microsoft.com/office/officeart/2005/8/layout/hList3"/>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476C2B7-1D64-4BE2-9775-AE0FED045D32}"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US"/>
        </a:p>
      </dgm:t>
    </dgm:pt>
    <dgm:pt modelId="{4FA92CCE-D99F-4FF7-B388-1B004025968A}">
      <dgm:prSet/>
      <dgm:spPr/>
      <dgm:t>
        <a:bodyPr/>
        <a:lstStyle/>
        <a:p>
          <a:pPr algn="just"/>
          <a:r>
            <a:rPr lang="en-US" dirty="0"/>
            <a:t>HIV Testing Services (HTS) refers to the full range of services that should be provided together with HIV testing – counselling, linkage to appropriate HIV prevention, treatment and care services and other clinical and support services; and coordination with laboratory services to support quality assurance and the delivery of correct</a:t>
          </a:r>
        </a:p>
      </dgm:t>
    </dgm:pt>
    <dgm:pt modelId="{F0B742E5-3980-4023-BA12-DECD3A6DBC7A}" type="parTrans" cxnId="{37241E96-34E4-4235-A309-5AC0731F8CA8}">
      <dgm:prSet/>
      <dgm:spPr/>
      <dgm:t>
        <a:bodyPr/>
        <a:lstStyle/>
        <a:p>
          <a:endParaRPr lang="en-US"/>
        </a:p>
      </dgm:t>
    </dgm:pt>
    <dgm:pt modelId="{182E4D4E-90C7-4F12-8D6D-86C34330178D}" type="sibTrans" cxnId="{37241E96-34E4-4235-A309-5AC0731F8CA8}">
      <dgm:prSet/>
      <dgm:spPr/>
      <dgm:t>
        <a:bodyPr/>
        <a:lstStyle/>
        <a:p>
          <a:endParaRPr lang="en-US"/>
        </a:p>
      </dgm:t>
    </dgm:pt>
    <dgm:pt modelId="{311D1F69-E6AB-4B7F-8174-2C6485980EA1}" type="pres">
      <dgm:prSet presAssocID="{E476C2B7-1D64-4BE2-9775-AE0FED045D32}" presName="linear" presStyleCnt="0">
        <dgm:presLayoutVars>
          <dgm:animLvl val="lvl"/>
          <dgm:resizeHandles val="exact"/>
        </dgm:presLayoutVars>
      </dgm:prSet>
      <dgm:spPr/>
    </dgm:pt>
    <dgm:pt modelId="{3C0C1136-F42F-458A-A6F1-7D0726D4791E}" type="pres">
      <dgm:prSet presAssocID="{4FA92CCE-D99F-4FF7-B388-1B004025968A}" presName="parentText" presStyleLbl="node1" presStyleIdx="0" presStyleCnt="1">
        <dgm:presLayoutVars>
          <dgm:chMax val="0"/>
          <dgm:bulletEnabled val="1"/>
        </dgm:presLayoutVars>
      </dgm:prSet>
      <dgm:spPr/>
    </dgm:pt>
  </dgm:ptLst>
  <dgm:cxnLst>
    <dgm:cxn modelId="{AB109F8B-5872-4B4F-83E1-919E64AB6F8F}" type="presOf" srcId="{E476C2B7-1D64-4BE2-9775-AE0FED045D32}" destId="{311D1F69-E6AB-4B7F-8174-2C6485980EA1}" srcOrd="0" destOrd="0" presId="urn:microsoft.com/office/officeart/2005/8/layout/vList2"/>
    <dgm:cxn modelId="{37241E96-34E4-4235-A309-5AC0731F8CA8}" srcId="{E476C2B7-1D64-4BE2-9775-AE0FED045D32}" destId="{4FA92CCE-D99F-4FF7-B388-1B004025968A}" srcOrd="0" destOrd="0" parTransId="{F0B742E5-3980-4023-BA12-DECD3A6DBC7A}" sibTransId="{182E4D4E-90C7-4F12-8D6D-86C34330178D}"/>
    <dgm:cxn modelId="{5B1EE8EB-C255-40C1-B38A-6495D754D0E4}" type="presOf" srcId="{4FA92CCE-D99F-4FF7-B388-1B004025968A}" destId="{3C0C1136-F42F-458A-A6F1-7D0726D4791E}" srcOrd="0" destOrd="0" presId="urn:microsoft.com/office/officeart/2005/8/layout/vList2"/>
    <dgm:cxn modelId="{EACB418F-72A9-46D0-8B60-EE3E004651DA}" type="presParOf" srcId="{311D1F69-E6AB-4B7F-8174-2C6485980EA1}" destId="{3C0C1136-F42F-458A-A6F1-7D0726D4791E}"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9C32B05-62EA-407A-B21C-2310C7945705}" type="doc">
      <dgm:prSet loTypeId="urn:microsoft.com/office/officeart/2008/layout/AccentedPicture" loCatId="picture" qsTypeId="urn:microsoft.com/office/officeart/2005/8/quickstyle/simple4" qsCatId="simple" csTypeId="urn:microsoft.com/office/officeart/2005/8/colors/colorful3" csCatId="colorful" phldr="1"/>
      <dgm:spPr/>
      <dgm:t>
        <a:bodyPr/>
        <a:lstStyle/>
        <a:p>
          <a:endParaRPr lang="en-US"/>
        </a:p>
      </dgm:t>
    </dgm:pt>
    <dgm:pt modelId="{8EA7219F-BDB2-48EB-9EEB-3133522D132E}">
      <dgm:prSet phldrT="[Text]"/>
      <dgm:spPr/>
      <dgm:t>
        <a:bodyPr/>
        <a:lstStyle/>
        <a:p>
          <a:r>
            <a:rPr lang="en-US" dirty="0">
              <a:solidFill>
                <a:schemeClr val="tx1"/>
              </a:solidFill>
            </a:rPr>
            <a:t>HTS should be delivered using a client-centered approach guided by WHO’s </a:t>
          </a:r>
          <a:r>
            <a:rPr lang="en-US" b="1" dirty="0">
              <a:solidFill>
                <a:schemeClr val="tx1"/>
              </a:solidFill>
            </a:rPr>
            <a:t>5</a:t>
          </a:r>
          <a:r>
            <a:rPr lang="en-US" dirty="0">
              <a:solidFill>
                <a:schemeClr val="tx1"/>
              </a:solidFill>
            </a:rPr>
            <a:t> core principles </a:t>
          </a:r>
        </a:p>
      </dgm:t>
    </dgm:pt>
    <dgm:pt modelId="{3EE8403A-CB7C-4815-85BD-AEBCAEB71B37}" type="parTrans" cxnId="{58AD7EEF-D408-406B-87EE-4691D4C30668}">
      <dgm:prSet/>
      <dgm:spPr/>
      <dgm:t>
        <a:bodyPr/>
        <a:lstStyle/>
        <a:p>
          <a:endParaRPr lang="en-US">
            <a:solidFill>
              <a:schemeClr val="tx2"/>
            </a:solidFill>
          </a:endParaRPr>
        </a:p>
      </dgm:t>
    </dgm:pt>
    <dgm:pt modelId="{C94B7947-85DC-4B21-BB99-DF8438356F98}" type="sibTrans" cxnId="{58AD7EEF-D408-406B-87EE-4691D4C30668}">
      <dgm:prSet/>
      <dgm:spPr>
        <a:solidFill>
          <a:schemeClr val="accent6">
            <a:lumMod val="20000"/>
            <a:lumOff val="80000"/>
          </a:schemeClr>
        </a:solidFill>
      </dgm:spPr>
      <dgm:t>
        <a:bodyPr/>
        <a:lstStyle/>
        <a:p>
          <a:endParaRPr lang="en-US">
            <a:solidFill>
              <a:schemeClr val="tx1"/>
            </a:solidFill>
          </a:endParaRPr>
        </a:p>
      </dgm:t>
    </dgm:pt>
    <dgm:pt modelId="{F3FA86F7-575E-4FDD-B637-1D7276F725A4}">
      <dgm:prSet phldrT="[Text]"/>
      <dgm:spPr/>
      <dgm:t>
        <a:bodyPr/>
        <a:lstStyle/>
        <a:p>
          <a:r>
            <a:rPr lang="en-US" b="1" dirty="0">
              <a:solidFill>
                <a:schemeClr val="tx2"/>
              </a:solidFill>
            </a:rPr>
            <a:t>C</a:t>
          </a:r>
          <a:r>
            <a:rPr lang="en-US" dirty="0">
              <a:solidFill>
                <a:schemeClr val="tx2"/>
              </a:solidFill>
            </a:rPr>
            <a:t>onsent</a:t>
          </a:r>
        </a:p>
      </dgm:t>
    </dgm:pt>
    <dgm:pt modelId="{192CD16B-FA85-49AB-96EA-80094BA41ED5}" type="parTrans" cxnId="{B38DB338-3B1E-4324-A45E-8025E9D81450}">
      <dgm:prSet/>
      <dgm:spPr/>
      <dgm:t>
        <a:bodyPr/>
        <a:lstStyle/>
        <a:p>
          <a:endParaRPr lang="en-US">
            <a:solidFill>
              <a:schemeClr val="tx2"/>
            </a:solidFill>
          </a:endParaRPr>
        </a:p>
      </dgm:t>
    </dgm:pt>
    <dgm:pt modelId="{BEF45895-E33A-456A-85CE-5D5DFC2CF2C9}" type="sibTrans" cxnId="{B38DB338-3B1E-4324-A45E-8025E9D81450}">
      <dgm:prSet/>
      <dgm:spPr/>
      <dgm:t>
        <a:bodyPr/>
        <a:lstStyle/>
        <a:p>
          <a:endParaRPr lang="en-US">
            <a:solidFill>
              <a:schemeClr val="tx2"/>
            </a:solidFill>
          </a:endParaRPr>
        </a:p>
      </dgm:t>
    </dgm:pt>
    <dgm:pt modelId="{8D3744A8-1883-4930-8E0D-B57E26D003C6}">
      <dgm:prSet phldrT="[Text]"/>
      <dgm:spPr/>
      <dgm:t>
        <a:bodyPr/>
        <a:lstStyle/>
        <a:p>
          <a:r>
            <a:rPr lang="en-US" b="1" dirty="0">
              <a:solidFill>
                <a:schemeClr val="tx2"/>
              </a:solidFill>
            </a:rPr>
            <a:t>C</a:t>
          </a:r>
          <a:r>
            <a:rPr lang="en-US" dirty="0">
              <a:solidFill>
                <a:schemeClr val="tx2"/>
              </a:solidFill>
            </a:rPr>
            <a:t>onfidentiality</a:t>
          </a:r>
        </a:p>
      </dgm:t>
    </dgm:pt>
    <dgm:pt modelId="{AC9EAF57-EBF1-4FB7-8ED0-6ECFF59ADE74}" type="parTrans" cxnId="{C8FCCD3C-805E-4A27-964D-25DE1206ADCA}">
      <dgm:prSet/>
      <dgm:spPr/>
      <dgm:t>
        <a:bodyPr/>
        <a:lstStyle/>
        <a:p>
          <a:endParaRPr lang="en-US">
            <a:solidFill>
              <a:schemeClr val="tx2"/>
            </a:solidFill>
          </a:endParaRPr>
        </a:p>
      </dgm:t>
    </dgm:pt>
    <dgm:pt modelId="{D40CF7D9-D0C3-4084-8D2D-359654C28D0F}" type="sibTrans" cxnId="{C8FCCD3C-805E-4A27-964D-25DE1206ADCA}">
      <dgm:prSet/>
      <dgm:spPr/>
      <dgm:t>
        <a:bodyPr/>
        <a:lstStyle/>
        <a:p>
          <a:endParaRPr lang="en-US">
            <a:solidFill>
              <a:schemeClr val="tx2"/>
            </a:solidFill>
          </a:endParaRPr>
        </a:p>
      </dgm:t>
    </dgm:pt>
    <dgm:pt modelId="{BB36F745-62BA-4892-99D7-E4239B0F3843}">
      <dgm:prSet phldrT="[Text]"/>
      <dgm:spPr/>
      <dgm:t>
        <a:bodyPr/>
        <a:lstStyle/>
        <a:p>
          <a:r>
            <a:rPr lang="en-US" b="1" dirty="0">
              <a:solidFill>
                <a:schemeClr val="tx2"/>
              </a:solidFill>
            </a:rPr>
            <a:t>C</a:t>
          </a:r>
          <a:r>
            <a:rPr lang="en-US" dirty="0">
              <a:solidFill>
                <a:schemeClr val="tx2"/>
              </a:solidFill>
            </a:rPr>
            <a:t>onnection to appropriate services (prevention, treatment, care, &amp; support services)</a:t>
          </a:r>
        </a:p>
      </dgm:t>
    </dgm:pt>
    <dgm:pt modelId="{CE269D49-A2E4-44F1-A948-9BE1FE5D6140}" type="parTrans" cxnId="{C96A1F07-338B-48CD-B344-80BE34A6C9DF}">
      <dgm:prSet/>
      <dgm:spPr/>
      <dgm:t>
        <a:bodyPr/>
        <a:lstStyle/>
        <a:p>
          <a:endParaRPr lang="en-US">
            <a:solidFill>
              <a:schemeClr val="tx2"/>
            </a:solidFill>
          </a:endParaRPr>
        </a:p>
      </dgm:t>
    </dgm:pt>
    <dgm:pt modelId="{5CE5B550-A310-4948-9BA1-267AF81C5FA4}" type="sibTrans" cxnId="{C96A1F07-338B-48CD-B344-80BE34A6C9DF}">
      <dgm:prSet/>
      <dgm:spPr/>
      <dgm:t>
        <a:bodyPr/>
        <a:lstStyle/>
        <a:p>
          <a:endParaRPr lang="en-US">
            <a:solidFill>
              <a:schemeClr val="tx2"/>
            </a:solidFill>
          </a:endParaRPr>
        </a:p>
      </dgm:t>
    </dgm:pt>
    <dgm:pt modelId="{C9AAC837-F2B0-40E5-8679-D365145CD32D}">
      <dgm:prSet phldrT="[Text]"/>
      <dgm:spPr/>
      <dgm:t>
        <a:bodyPr/>
        <a:lstStyle/>
        <a:p>
          <a:r>
            <a:rPr lang="en-US" b="1" dirty="0">
              <a:solidFill>
                <a:schemeClr val="tx2"/>
              </a:solidFill>
            </a:rPr>
            <a:t>C</a:t>
          </a:r>
          <a:r>
            <a:rPr lang="en-US" dirty="0">
              <a:solidFill>
                <a:schemeClr val="tx2"/>
              </a:solidFill>
            </a:rPr>
            <a:t>ounselling</a:t>
          </a:r>
        </a:p>
      </dgm:t>
    </dgm:pt>
    <dgm:pt modelId="{BF762BC7-3A73-465D-85A6-3BCDF9B94784}" type="parTrans" cxnId="{D2F8513A-5886-4FAB-9494-6D284BD96A29}">
      <dgm:prSet/>
      <dgm:spPr/>
      <dgm:t>
        <a:bodyPr/>
        <a:lstStyle/>
        <a:p>
          <a:endParaRPr lang="en-US">
            <a:solidFill>
              <a:schemeClr val="tx2"/>
            </a:solidFill>
          </a:endParaRPr>
        </a:p>
      </dgm:t>
    </dgm:pt>
    <dgm:pt modelId="{0CEADA81-66C0-4096-BEDE-B88D7687450C}" type="sibTrans" cxnId="{D2F8513A-5886-4FAB-9494-6D284BD96A29}">
      <dgm:prSet/>
      <dgm:spPr/>
      <dgm:t>
        <a:bodyPr/>
        <a:lstStyle/>
        <a:p>
          <a:endParaRPr lang="en-US">
            <a:solidFill>
              <a:schemeClr val="tx2"/>
            </a:solidFill>
          </a:endParaRPr>
        </a:p>
      </dgm:t>
    </dgm:pt>
    <dgm:pt modelId="{44BAF153-8F14-494A-8D48-BA926DF039CD}">
      <dgm:prSet phldrT="[Text]"/>
      <dgm:spPr/>
      <dgm:t>
        <a:bodyPr/>
        <a:lstStyle/>
        <a:p>
          <a:r>
            <a:rPr lang="en-US" b="1" dirty="0">
              <a:solidFill>
                <a:schemeClr val="tx2"/>
              </a:solidFill>
            </a:rPr>
            <a:t>C</a:t>
          </a:r>
          <a:r>
            <a:rPr lang="en-US" dirty="0">
              <a:solidFill>
                <a:schemeClr val="tx2"/>
              </a:solidFill>
            </a:rPr>
            <a:t>orrect test result</a:t>
          </a:r>
        </a:p>
      </dgm:t>
    </dgm:pt>
    <dgm:pt modelId="{EAC8A12C-B048-4264-AC3D-59980426A29F}" type="parTrans" cxnId="{C82F096F-B506-44A4-835F-81F3FB154D7F}">
      <dgm:prSet/>
      <dgm:spPr/>
      <dgm:t>
        <a:bodyPr/>
        <a:lstStyle/>
        <a:p>
          <a:endParaRPr lang="en-US"/>
        </a:p>
      </dgm:t>
    </dgm:pt>
    <dgm:pt modelId="{7B0AF7A0-4872-4ABE-A833-54723C0A2045}" type="sibTrans" cxnId="{C82F096F-B506-44A4-835F-81F3FB154D7F}">
      <dgm:prSet/>
      <dgm:spPr/>
      <dgm:t>
        <a:bodyPr/>
        <a:lstStyle/>
        <a:p>
          <a:endParaRPr lang="en-US"/>
        </a:p>
      </dgm:t>
    </dgm:pt>
    <dgm:pt modelId="{AEA2DB4F-801A-4999-BED7-D461182C5C42}" type="pres">
      <dgm:prSet presAssocID="{B9C32B05-62EA-407A-B21C-2310C7945705}" presName="Name0" presStyleCnt="0">
        <dgm:presLayoutVars>
          <dgm:dir/>
        </dgm:presLayoutVars>
      </dgm:prSet>
      <dgm:spPr/>
    </dgm:pt>
    <dgm:pt modelId="{2E5DD86A-EE90-42A2-87CC-43A6BF7E0C80}" type="pres">
      <dgm:prSet presAssocID="{C94B7947-85DC-4B21-BB99-DF8438356F98}" presName="picture_1" presStyleLbl="bgImgPlace1" presStyleIdx="0" presStyleCnt="1" custLinFactNeighborX="-929" custLinFactNeighborY="243"/>
      <dgm:spPr/>
    </dgm:pt>
    <dgm:pt modelId="{9A9F818E-AB3E-4EB8-A9BB-5E31C2188600}" type="pres">
      <dgm:prSet presAssocID="{8EA7219F-BDB2-48EB-9EEB-3133522D132E}" presName="text_1" presStyleLbl="node1" presStyleIdx="0" presStyleCnt="0" custLinFactNeighborX="3620" custLinFactNeighborY="-30882">
        <dgm:presLayoutVars>
          <dgm:bulletEnabled val="1"/>
        </dgm:presLayoutVars>
      </dgm:prSet>
      <dgm:spPr/>
    </dgm:pt>
    <dgm:pt modelId="{5641347D-1AD1-44D8-82AC-0601EBAA5414}" type="pres">
      <dgm:prSet presAssocID="{B9C32B05-62EA-407A-B21C-2310C7945705}" presName="linV" presStyleCnt="0"/>
      <dgm:spPr/>
    </dgm:pt>
    <dgm:pt modelId="{5C1C1BF3-6199-4B2C-8A28-D7792A686522}" type="pres">
      <dgm:prSet presAssocID="{F3FA86F7-575E-4FDD-B637-1D7276F725A4}" presName="pair" presStyleCnt="0"/>
      <dgm:spPr/>
    </dgm:pt>
    <dgm:pt modelId="{AD507E5F-ABB3-473D-8B1A-F0D4177F71EE}" type="pres">
      <dgm:prSet presAssocID="{F3FA86F7-575E-4FDD-B637-1D7276F725A4}" presName="spaceH" presStyleLbl="node1" presStyleIdx="0" presStyleCnt="0"/>
      <dgm:spPr/>
    </dgm:pt>
    <dgm:pt modelId="{283AF665-F2C6-407D-A278-6A7FA351559A}" type="pres">
      <dgm:prSet presAssocID="{F3FA86F7-575E-4FDD-B637-1D7276F725A4}" presName="desPictures" presStyleLbl="alignImgPlace1" presStyleIdx="0" presStyleCnt="5"/>
      <dgm:spPr>
        <a:blipFill>
          <a:blip xmlns:r="http://schemas.openxmlformats.org/officeDocument/2006/relationships" r:embed="rId1">
            <a:duotone>
              <a:schemeClr val="accent3">
                <a:hueOff val="0"/>
                <a:satOff val="0"/>
                <a:lumOff val="0"/>
                <a:alphaOff val="0"/>
                <a:shade val="20000"/>
                <a:satMod val="200000"/>
              </a:schemeClr>
              <a:schemeClr val="accent3">
                <a:hueOff val="0"/>
                <a:satOff val="0"/>
                <a:lumOff val="0"/>
                <a:alphaOff val="0"/>
                <a:tint val="12000"/>
                <a:satMod val="190000"/>
              </a:schemeClr>
            </a:duotone>
            <a:extLst>
              <a:ext uri="{28A0092B-C50C-407E-A947-70E740481C1C}">
                <a14:useLocalDpi xmlns:a14="http://schemas.microsoft.com/office/drawing/2010/main" val="0"/>
              </a:ext>
            </a:extLst>
          </a:blip>
          <a:srcRect/>
          <a:stretch>
            <a:fillRect l="-25000" r="-25000"/>
          </a:stretch>
        </a:blipFill>
      </dgm:spPr>
    </dgm:pt>
    <dgm:pt modelId="{548B9430-1CBB-4507-BF09-4D6A7CCA3DC4}" type="pres">
      <dgm:prSet presAssocID="{F3FA86F7-575E-4FDD-B637-1D7276F725A4}" presName="desTextWrapper" presStyleCnt="0"/>
      <dgm:spPr/>
    </dgm:pt>
    <dgm:pt modelId="{69E40544-D821-4178-A52F-5FE01EA74B57}" type="pres">
      <dgm:prSet presAssocID="{F3FA86F7-575E-4FDD-B637-1D7276F725A4}" presName="desText" presStyleLbl="revTx" presStyleIdx="0" presStyleCnt="5">
        <dgm:presLayoutVars>
          <dgm:bulletEnabled val="1"/>
        </dgm:presLayoutVars>
      </dgm:prSet>
      <dgm:spPr/>
    </dgm:pt>
    <dgm:pt modelId="{6DA5B68A-DF60-4E8B-8030-DC032D5F2DD1}" type="pres">
      <dgm:prSet presAssocID="{BEF45895-E33A-456A-85CE-5D5DFC2CF2C9}" presName="spaceV" presStyleCnt="0"/>
      <dgm:spPr/>
    </dgm:pt>
    <dgm:pt modelId="{5D102A51-3EB4-411B-9817-E784676FB566}" type="pres">
      <dgm:prSet presAssocID="{8D3744A8-1883-4930-8E0D-B57E26D003C6}" presName="pair" presStyleCnt="0"/>
      <dgm:spPr/>
    </dgm:pt>
    <dgm:pt modelId="{E5CF8664-97A6-4516-9EB4-289202F7F329}" type="pres">
      <dgm:prSet presAssocID="{8D3744A8-1883-4930-8E0D-B57E26D003C6}" presName="spaceH" presStyleLbl="node1" presStyleIdx="0" presStyleCnt="0"/>
      <dgm:spPr/>
    </dgm:pt>
    <dgm:pt modelId="{DAAB30E5-B529-4802-801E-8434314A0CFC}" type="pres">
      <dgm:prSet presAssocID="{8D3744A8-1883-4930-8E0D-B57E26D003C6}" presName="desPictures" presStyleLbl="alignImgPlace1" presStyleIdx="1" presStyleCnt="5"/>
      <dgm:spPr>
        <a:blipFill>
          <a:blip xmlns:r="http://schemas.openxmlformats.org/officeDocument/2006/relationships" r:embed="rId2">
            <a:duotone>
              <a:schemeClr val="accent3">
                <a:hueOff val="2679667"/>
                <a:satOff val="-3932"/>
                <a:lumOff val="2665"/>
                <a:alphaOff val="0"/>
                <a:shade val="20000"/>
                <a:satMod val="200000"/>
              </a:schemeClr>
              <a:schemeClr val="accent3">
                <a:hueOff val="2679667"/>
                <a:satOff val="-3932"/>
                <a:lumOff val="2665"/>
                <a:alphaOff val="0"/>
                <a:tint val="12000"/>
                <a:satMod val="190000"/>
              </a:schemeClr>
            </a:duotone>
            <a:extLst>
              <a:ext uri="{28A0092B-C50C-407E-A947-70E740481C1C}">
                <a14:useLocalDpi xmlns:a14="http://schemas.microsoft.com/office/drawing/2010/main" val="0"/>
              </a:ext>
            </a:extLst>
          </a:blip>
          <a:srcRect/>
          <a:stretch>
            <a:fillRect/>
          </a:stretch>
        </a:blipFill>
      </dgm:spPr>
    </dgm:pt>
    <dgm:pt modelId="{4B94B978-EC69-4AC5-BA60-31AD5D5FF78D}" type="pres">
      <dgm:prSet presAssocID="{8D3744A8-1883-4930-8E0D-B57E26D003C6}" presName="desTextWrapper" presStyleCnt="0"/>
      <dgm:spPr/>
    </dgm:pt>
    <dgm:pt modelId="{D373BAA4-5C47-4D21-8F3E-3C5960161F11}" type="pres">
      <dgm:prSet presAssocID="{8D3744A8-1883-4930-8E0D-B57E26D003C6}" presName="desText" presStyleLbl="revTx" presStyleIdx="1" presStyleCnt="5">
        <dgm:presLayoutVars>
          <dgm:bulletEnabled val="1"/>
        </dgm:presLayoutVars>
      </dgm:prSet>
      <dgm:spPr/>
    </dgm:pt>
    <dgm:pt modelId="{29DBD9C8-52EE-43D7-81C5-7715CC17B9A0}" type="pres">
      <dgm:prSet presAssocID="{D40CF7D9-D0C3-4084-8D2D-359654C28D0F}" presName="spaceV" presStyleCnt="0"/>
      <dgm:spPr/>
    </dgm:pt>
    <dgm:pt modelId="{A51A5A1D-B3EA-4A42-9E40-0DAF150E2647}" type="pres">
      <dgm:prSet presAssocID="{C9AAC837-F2B0-40E5-8679-D365145CD32D}" presName="pair" presStyleCnt="0"/>
      <dgm:spPr/>
    </dgm:pt>
    <dgm:pt modelId="{C547965D-E97B-4370-B9D3-8C8502CE79AB}" type="pres">
      <dgm:prSet presAssocID="{C9AAC837-F2B0-40E5-8679-D365145CD32D}" presName="spaceH" presStyleLbl="node1" presStyleIdx="0" presStyleCnt="0"/>
      <dgm:spPr/>
    </dgm:pt>
    <dgm:pt modelId="{3BBAD292-6C76-43F1-9D96-D2A61E508160}" type="pres">
      <dgm:prSet presAssocID="{C9AAC837-F2B0-40E5-8679-D365145CD32D}" presName="desPictures" presStyleLbl="alignImgPlace1" presStyleIdx="2" presStyleCnt="5"/>
      <dgm:spPr>
        <a:blipFill>
          <a:blip xmlns:r="http://schemas.openxmlformats.org/officeDocument/2006/relationships" r:embed="rId3">
            <a:duotone>
              <a:schemeClr val="accent3">
                <a:hueOff val="5359334"/>
                <a:satOff val="-7864"/>
                <a:lumOff val="5330"/>
                <a:alphaOff val="0"/>
                <a:shade val="20000"/>
                <a:satMod val="200000"/>
              </a:schemeClr>
              <a:schemeClr val="accent3">
                <a:hueOff val="5359334"/>
                <a:satOff val="-7864"/>
                <a:lumOff val="5330"/>
                <a:alphaOff val="0"/>
                <a:tint val="12000"/>
                <a:satMod val="190000"/>
              </a:schemeClr>
            </a:duotone>
            <a:extLst>
              <a:ext uri="{28A0092B-C50C-407E-A947-70E740481C1C}">
                <a14:useLocalDpi xmlns:a14="http://schemas.microsoft.com/office/drawing/2010/main" val="0"/>
              </a:ext>
            </a:extLst>
          </a:blip>
          <a:srcRect/>
          <a:stretch>
            <a:fillRect l="-33000" r="-33000"/>
          </a:stretch>
        </a:blipFill>
      </dgm:spPr>
    </dgm:pt>
    <dgm:pt modelId="{3A387AE2-C295-4350-A164-FBFFD83D9343}" type="pres">
      <dgm:prSet presAssocID="{C9AAC837-F2B0-40E5-8679-D365145CD32D}" presName="desTextWrapper" presStyleCnt="0"/>
      <dgm:spPr/>
    </dgm:pt>
    <dgm:pt modelId="{381A3916-B6AB-4968-8F51-4382DC082A51}" type="pres">
      <dgm:prSet presAssocID="{C9AAC837-F2B0-40E5-8679-D365145CD32D}" presName="desText" presStyleLbl="revTx" presStyleIdx="2" presStyleCnt="5">
        <dgm:presLayoutVars>
          <dgm:bulletEnabled val="1"/>
        </dgm:presLayoutVars>
      </dgm:prSet>
      <dgm:spPr/>
    </dgm:pt>
    <dgm:pt modelId="{79AD9A41-FE25-429E-A025-8C444B69EF88}" type="pres">
      <dgm:prSet presAssocID="{0CEADA81-66C0-4096-BEDE-B88D7687450C}" presName="spaceV" presStyleCnt="0"/>
      <dgm:spPr/>
    </dgm:pt>
    <dgm:pt modelId="{090F0989-461D-4345-BC44-156EAEFD257B}" type="pres">
      <dgm:prSet presAssocID="{44BAF153-8F14-494A-8D48-BA926DF039CD}" presName="pair" presStyleCnt="0"/>
      <dgm:spPr/>
    </dgm:pt>
    <dgm:pt modelId="{BCDDA418-37E1-4423-9A32-1B42C77307EA}" type="pres">
      <dgm:prSet presAssocID="{44BAF153-8F14-494A-8D48-BA926DF039CD}" presName="spaceH" presStyleLbl="node1" presStyleIdx="0" presStyleCnt="0"/>
      <dgm:spPr/>
    </dgm:pt>
    <dgm:pt modelId="{9AFA2CD0-701F-4D4D-AF4C-27F59FC42538}" type="pres">
      <dgm:prSet presAssocID="{44BAF153-8F14-494A-8D48-BA926DF039CD}" presName="desPictures" presStyleLbl="alignImgPlace1" presStyleIdx="3" presStyleCnt="5"/>
      <dgm:spPr>
        <a:blipFill>
          <a:blip xmlns:r="http://schemas.openxmlformats.org/officeDocument/2006/relationships" r:embed="rId4">
            <a:duotone>
              <a:schemeClr val="accent3">
                <a:hueOff val="8039001"/>
                <a:satOff val="-11797"/>
                <a:lumOff val="7995"/>
                <a:alphaOff val="0"/>
                <a:shade val="20000"/>
                <a:satMod val="200000"/>
              </a:schemeClr>
              <a:schemeClr val="accent3">
                <a:hueOff val="8039001"/>
                <a:satOff val="-11797"/>
                <a:lumOff val="7995"/>
                <a:alphaOff val="0"/>
                <a:tint val="12000"/>
                <a:satMod val="190000"/>
              </a:schemeClr>
            </a:duotone>
            <a:extLst>
              <a:ext uri="{28A0092B-C50C-407E-A947-70E740481C1C}">
                <a14:useLocalDpi xmlns:a14="http://schemas.microsoft.com/office/drawing/2010/main" val="0"/>
              </a:ext>
            </a:extLst>
          </a:blip>
          <a:srcRect/>
          <a:stretch>
            <a:fillRect/>
          </a:stretch>
        </a:blipFill>
      </dgm:spPr>
    </dgm:pt>
    <dgm:pt modelId="{8EF28A57-62E5-4728-A7D0-94A7A6E7A957}" type="pres">
      <dgm:prSet presAssocID="{44BAF153-8F14-494A-8D48-BA926DF039CD}" presName="desTextWrapper" presStyleCnt="0"/>
      <dgm:spPr/>
    </dgm:pt>
    <dgm:pt modelId="{880935BA-4865-4639-8E86-8AF9CF82A1BB}" type="pres">
      <dgm:prSet presAssocID="{44BAF153-8F14-494A-8D48-BA926DF039CD}" presName="desText" presStyleLbl="revTx" presStyleIdx="3" presStyleCnt="5">
        <dgm:presLayoutVars>
          <dgm:bulletEnabled val="1"/>
        </dgm:presLayoutVars>
      </dgm:prSet>
      <dgm:spPr/>
    </dgm:pt>
    <dgm:pt modelId="{2B5B10C4-1DE5-4C0C-AF94-7662B6AC879A}" type="pres">
      <dgm:prSet presAssocID="{7B0AF7A0-4872-4ABE-A833-54723C0A2045}" presName="spaceV" presStyleCnt="0"/>
      <dgm:spPr/>
    </dgm:pt>
    <dgm:pt modelId="{02676783-8158-4600-A3F9-AEA971EC3F54}" type="pres">
      <dgm:prSet presAssocID="{BB36F745-62BA-4892-99D7-E4239B0F3843}" presName="pair" presStyleCnt="0"/>
      <dgm:spPr/>
    </dgm:pt>
    <dgm:pt modelId="{C0A20A20-EC85-4088-B4DC-585F5395F37C}" type="pres">
      <dgm:prSet presAssocID="{BB36F745-62BA-4892-99D7-E4239B0F3843}" presName="spaceH" presStyleLbl="node1" presStyleIdx="0" presStyleCnt="0"/>
      <dgm:spPr/>
    </dgm:pt>
    <dgm:pt modelId="{5F0A3D55-CC24-419A-BA15-2CA947D0DB41}" type="pres">
      <dgm:prSet presAssocID="{BB36F745-62BA-4892-99D7-E4239B0F3843}" presName="desPictures" presStyleLbl="alignImgPlace1" presStyleIdx="4" presStyleCnt="5"/>
      <dgm:spPr>
        <a:blipFill>
          <a:blip xmlns:r="http://schemas.openxmlformats.org/officeDocument/2006/relationships" r:embed="rId5">
            <a:duotone>
              <a:schemeClr val="accent3">
                <a:hueOff val="10718668"/>
                <a:satOff val="-15729"/>
                <a:lumOff val="10660"/>
                <a:alphaOff val="0"/>
                <a:shade val="20000"/>
                <a:satMod val="200000"/>
              </a:schemeClr>
              <a:schemeClr val="accent3">
                <a:hueOff val="10718668"/>
                <a:satOff val="-15729"/>
                <a:lumOff val="10660"/>
                <a:alphaOff val="0"/>
                <a:tint val="12000"/>
                <a:satMod val="190000"/>
              </a:schemeClr>
            </a:duotone>
            <a:extLst>
              <a:ext uri="{28A0092B-C50C-407E-A947-70E740481C1C}">
                <a14:useLocalDpi xmlns:a14="http://schemas.microsoft.com/office/drawing/2010/main" val="0"/>
              </a:ext>
            </a:extLst>
          </a:blip>
          <a:srcRect/>
          <a:stretch>
            <a:fillRect l="-25000" r="-25000"/>
          </a:stretch>
        </a:blipFill>
      </dgm:spPr>
    </dgm:pt>
    <dgm:pt modelId="{40511F79-B0F1-4467-B27A-6E75CEC2AECB}" type="pres">
      <dgm:prSet presAssocID="{BB36F745-62BA-4892-99D7-E4239B0F3843}" presName="desTextWrapper" presStyleCnt="0"/>
      <dgm:spPr/>
    </dgm:pt>
    <dgm:pt modelId="{35930AF7-0ACD-4132-A4F4-B1602E5DEC3E}" type="pres">
      <dgm:prSet presAssocID="{BB36F745-62BA-4892-99D7-E4239B0F3843}" presName="desText" presStyleLbl="revTx" presStyleIdx="4" presStyleCnt="5" custScaleX="150722" custLinFactNeighborX="-559" custLinFactNeighborY="-8843">
        <dgm:presLayoutVars>
          <dgm:bulletEnabled val="1"/>
        </dgm:presLayoutVars>
      </dgm:prSet>
      <dgm:spPr/>
    </dgm:pt>
    <dgm:pt modelId="{CCFC2B90-6692-4788-BDA4-B34CA0E7CCB0}" type="pres">
      <dgm:prSet presAssocID="{B9C32B05-62EA-407A-B21C-2310C7945705}" presName="maxNode" presStyleCnt="0"/>
      <dgm:spPr/>
    </dgm:pt>
    <dgm:pt modelId="{2D2897AB-2F9C-465C-B41F-B378612B32E8}" type="pres">
      <dgm:prSet presAssocID="{B9C32B05-62EA-407A-B21C-2310C7945705}" presName="Name33" presStyleCnt="0"/>
      <dgm:spPr/>
    </dgm:pt>
  </dgm:ptLst>
  <dgm:cxnLst>
    <dgm:cxn modelId="{A1A1A903-5F6D-420A-8852-CA63E7E2E345}" type="presOf" srcId="{F3FA86F7-575E-4FDD-B637-1D7276F725A4}" destId="{69E40544-D821-4178-A52F-5FE01EA74B57}" srcOrd="0" destOrd="0" presId="urn:microsoft.com/office/officeart/2008/layout/AccentedPicture"/>
    <dgm:cxn modelId="{C96A1F07-338B-48CD-B344-80BE34A6C9DF}" srcId="{B9C32B05-62EA-407A-B21C-2310C7945705}" destId="{BB36F745-62BA-4892-99D7-E4239B0F3843}" srcOrd="5" destOrd="0" parTransId="{CE269D49-A2E4-44F1-A948-9BE1FE5D6140}" sibTransId="{5CE5B550-A310-4948-9BA1-267AF81C5FA4}"/>
    <dgm:cxn modelId="{B38DB338-3B1E-4324-A45E-8025E9D81450}" srcId="{B9C32B05-62EA-407A-B21C-2310C7945705}" destId="{F3FA86F7-575E-4FDD-B637-1D7276F725A4}" srcOrd="1" destOrd="0" parTransId="{192CD16B-FA85-49AB-96EA-80094BA41ED5}" sibTransId="{BEF45895-E33A-456A-85CE-5D5DFC2CF2C9}"/>
    <dgm:cxn modelId="{D2F8513A-5886-4FAB-9494-6D284BD96A29}" srcId="{B9C32B05-62EA-407A-B21C-2310C7945705}" destId="{C9AAC837-F2B0-40E5-8679-D365145CD32D}" srcOrd="3" destOrd="0" parTransId="{BF762BC7-3A73-465D-85A6-3BCDF9B94784}" sibTransId="{0CEADA81-66C0-4096-BEDE-B88D7687450C}"/>
    <dgm:cxn modelId="{C8FCCD3C-805E-4A27-964D-25DE1206ADCA}" srcId="{B9C32B05-62EA-407A-B21C-2310C7945705}" destId="{8D3744A8-1883-4930-8E0D-B57E26D003C6}" srcOrd="2" destOrd="0" parTransId="{AC9EAF57-EBF1-4FB7-8ED0-6ECFF59ADE74}" sibTransId="{D40CF7D9-D0C3-4084-8D2D-359654C28D0F}"/>
    <dgm:cxn modelId="{86290A40-D5E6-45AF-A074-73C551F46953}" type="presOf" srcId="{B9C32B05-62EA-407A-B21C-2310C7945705}" destId="{AEA2DB4F-801A-4999-BED7-D461182C5C42}" srcOrd="0" destOrd="0" presId="urn:microsoft.com/office/officeart/2008/layout/AccentedPicture"/>
    <dgm:cxn modelId="{7B6C2D4C-788B-45F5-A0E5-15F58D386C25}" type="presOf" srcId="{C94B7947-85DC-4B21-BB99-DF8438356F98}" destId="{2E5DD86A-EE90-42A2-87CC-43A6BF7E0C80}" srcOrd="0" destOrd="0" presId="urn:microsoft.com/office/officeart/2008/layout/AccentedPicture"/>
    <dgm:cxn modelId="{C82F096F-B506-44A4-835F-81F3FB154D7F}" srcId="{B9C32B05-62EA-407A-B21C-2310C7945705}" destId="{44BAF153-8F14-494A-8D48-BA926DF039CD}" srcOrd="4" destOrd="0" parTransId="{EAC8A12C-B048-4264-AC3D-59980426A29F}" sibTransId="{7B0AF7A0-4872-4ABE-A833-54723C0A2045}"/>
    <dgm:cxn modelId="{BB243E53-06E6-4C95-9E12-DE4A3C3AFA91}" type="presOf" srcId="{C9AAC837-F2B0-40E5-8679-D365145CD32D}" destId="{381A3916-B6AB-4968-8F51-4382DC082A51}" srcOrd="0" destOrd="0" presId="urn:microsoft.com/office/officeart/2008/layout/AccentedPicture"/>
    <dgm:cxn modelId="{D4B34C7D-383B-4797-BD76-F4F4155EB475}" type="presOf" srcId="{44BAF153-8F14-494A-8D48-BA926DF039CD}" destId="{880935BA-4865-4639-8E86-8AF9CF82A1BB}" srcOrd="0" destOrd="0" presId="urn:microsoft.com/office/officeart/2008/layout/AccentedPicture"/>
    <dgm:cxn modelId="{F6F1F980-3D05-46C7-815F-AB8B15AE68B6}" type="presOf" srcId="{BB36F745-62BA-4892-99D7-E4239B0F3843}" destId="{35930AF7-0ACD-4132-A4F4-B1602E5DEC3E}" srcOrd="0" destOrd="0" presId="urn:microsoft.com/office/officeart/2008/layout/AccentedPicture"/>
    <dgm:cxn modelId="{EAFFFCE5-13F5-405A-A1F9-55B77898269E}" type="presOf" srcId="{8EA7219F-BDB2-48EB-9EEB-3133522D132E}" destId="{9A9F818E-AB3E-4EB8-A9BB-5E31C2188600}" srcOrd="0" destOrd="0" presId="urn:microsoft.com/office/officeart/2008/layout/AccentedPicture"/>
    <dgm:cxn modelId="{58AD7EEF-D408-406B-87EE-4691D4C30668}" srcId="{B9C32B05-62EA-407A-B21C-2310C7945705}" destId="{8EA7219F-BDB2-48EB-9EEB-3133522D132E}" srcOrd="0" destOrd="0" parTransId="{3EE8403A-CB7C-4815-85BD-AEBCAEB71B37}" sibTransId="{C94B7947-85DC-4B21-BB99-DF8438356F98}"/>
    <dgm:cxn modelId="{75F456F7-29DB-438B-8972-5A2AB82FBF94}" type="presOf" srcId="{8D3744A8-1883-4930-8E0D-B57E26D003C6}" destId="{D373BAA4-5C47-4D21-8F3E-3C5960161F11}" srcOrd="0" destOrd="0" presId="urn:microsoft.com/office/officeart/2008/layout/AccentedPicture"/>
    <dgm:cxn modelId="{09DAC9E2-A960-4070-BC05-4B4822A4BEF9}" type="presParOf" srcId="{AEA2DB4F-801A-4999-BED7-D461182C5C42}" destId="{2E5DD86A-EE90-42A2-87CC-43A6BF7E0C80}" srcOrd="0" destOrd="0" presId="urn:microsoft.com/office/officeart/2008/layout/AccentedPicture"/>
    <dgm:cxn modelId="{FE7DFA75-3DB5-4760-BF2C-EC099C9688D1}" type="presParOf" srcId="{AEA2DB4F-801A-4999-BED7-D461182C5C42}" destId="{9A9F818E-AB3E-4EB8-A9BB-5E31C2188600}" srcOrd="1" destOrd="0" presId="urn:microsoft.com/office/officeart/2008/layout/AccentedPicture"/>
    <dgm:cxn modelId="{A62DE207-73C5-4C07-9DF6-6A96A9A9B77C}" type="presParOf" srcId="{AEA2DB4F-801A-4999-BED7-D461182C5C42}" destId="{5641347D-1AD1-44D8-82AC-0601EBAA5414}" srcOrd="2" destOrd="0" presId="urn:microsoft.com/office/officeart/2008/layout/AccentedPicture"/>
    <dgm:cxn modelId="{EA0BA315-1B9F-4CF4-B2A9-912284CBDC5C}" type="presParOf" srcId="{5641347D-1AD1-44D8-82AC-0601EBAA5414}" destId="{5C1C1BF3-6199-4B2C-8A28-D7792A686522}" srcOrd="0" destOrd="0" presId="urn:microsoft.com/office/officeart/2008/layout/AccentedPicture"/>
    <dgm:cxn modelId="{81C8A24E-FCAF-4455-8CBB-A2F5DE5B9877}" type="presParOf" srcId="{5C1C1BF3-6199-4B2C-8A28-D7792A686522}" destId="{AD507E5F-ABB3-473D-8B1A-F0D4177F71EE}" srcOrd="0" destOrd="0" presId="urn:microsoft.com/office/officeart/2008/layout/AccentedPicture"/>
    <dgm:cxn modelId="{99136413-B9D1-4346-B0BB-59ED8646D6E6}" type="presParOf" srcId="{5C1C1BF3-6199-4B2C-8A28-D7792A686522}" destId="{283AF665-F2C6-407D-A278-6A7FA351559A}" srcOrd="1" destOrd="0" presId="urn:microsoft.com/office/officeart/2008/layout/AccentedPicture"/>
    <dgm:cxn modelId="{D0337B1C-3CCB-48EF-AD0C-A8C67621292C}" type="presParOf" srcId="{5C1C1BF3-6199-4B2C-8A28-D7792A686522}" destId="{548B9430-1CBB-4507-BF09-4D6A7CCA3DC4}" srcOrd="2" destOrd="0" presId="urn:microsoft.com/office/officeart/2008/layout/AccentedPicture"/>
    <dgm:cxn modelId="{1E66446A-6187-453C-BB76-9E94A4544EC8}" type="presParOf" srcId="{548B9430-1CBB-4507-BF09-4D6A7CCA3DC4}" destId="{69E40544-D821-4178-A52F-5FE01EA74B57}" srcOrd="0" destOrd="0" presId="urn:microsoft.com/office/officeart/2008/layout/AccentedPicture"/>
    <dgm:cxn modelId="{38AAFA57-06E3-4BD7-844B-5ABBD1E36AB0}" type="presParOf" srcId="{5641347D-1AD1-44D8-82AC-0601EBAA5414}" destId="{6DA5B68A-DF60-4E8B-8030-DC032D5F2DD1}" srcOrd="1" destOrd="0" presId="urn:microsoft.com/office/officeart/2008/layout/AccentedPicture"/>
    <dgm:cxn modelId="{8C936611-112B-41BD-B1DD-5C9638CBFBB3}" type="presParOf" srcId="{5641347D-1AD1-44D8-82AC-0601EBAA5414}" destId="{5D102A51-3EB4-411B-9817-E784676FB566}" srcOrd="2" destOrd="0" presId="urn:microsoft.com/office/officeart/2008/layout/AccentedPicture"/>
    <dgm:cxn modelId="{D18C2BFE-E17A-4CD3-860A-4BE79C130DB4}" type="presParOf" srcId="{5D102A51-3EB4-411B-9817-E784676FB566}" destId="{E5CF8664-97A6-4516-9EB4-289202F7F329}" srcOrd="0" destOrd="0" presId="urn:microsoft.com/office/officeart/2008/layout/AccentedPicture"/>
    <dgm:cxn modelId="{EB4DBBE8-77B8-4A2C-91C4-4E6ACE843412}" type="presParOf" srcId="{5D102A51-3EB4-411B-9817-E784676FB566}" destId="{DAAB30E5-B529-4802-801E-8434314A0CFC}" srcOrd="1" destOrd="0" presId="urn:microsoft.com/office/officeart/2008/layout/AccentedPicture"/>
    <dgm:cxn modelId="{1657E098-FBD1-4AA6-B593-FC79702D10FD}" type="presParOf" srcId="{5D102A51-3EB4-411B-9817-E784676FB566}" destId="{4B94B978-EC69-4AC5-BA60-31AD5D5FF78D}" srcOrd="2" destOrd="0" presId="urn:microsoft.com/office/officeart/2008/layout/AccentedPicture"/>
    <dgm:cxn modelId="{255A3C69-D5F2-4D09-BC2B-723433EFDE6E}" type="presParOf" srcId="{4B94B978-EC69-4AC5-BA60-31AD5D5FF78D}" destId="{D373BAA4-5C47-4D21-8F3E-3C5960161F11}" srcOrd="0" destOrd="0" presId="urn:microsoft.com/office/officeart/2008/layout/AccentedPicture"/>
    <dgm:cxn modelId="{442CA9A3-F76D-470F-985E-C2910863BC13}" type="presParOf" srcId="{5641347D-1AD1-44D8-82AC-0601EBAA5414}" destId="{29DBD9C8-52EE-43D7-81C5-7715CC17B9A0}" srcOrd="3" destOrd="0" presId="urn:microsoft.com/office/officeart/2008/layout/AccentedPicture"/>
    <dgm:cxn modelId="{EBE8E0D0-5385-4534-AE1F-FE648C3ED92A}" type="presParOf" srcId="{5641347D-1AD1-44D8-82AC-0601EBAA5414}" destId="{A51A5A1D-B3EA-4A42-9E40-0DAF150E2647}" srcOrd="4" destOrd="0" presId="urn:microsoft.com/office/officeart/2008/layout/AccentedPicture"/>
    <dgm:cxn modelId="{1F85E73F-39BE-423C-BE48-8BB30E447BA2}" type="presParOf" srcId="{A51A5A1D-B3EA-4A42-9E40-0DAF150E2647}" destId="{C547965D-E97B-4370-B9D3-8C8502CE79AB}" srcOrd="0" destOrd="0" presId="urn:microsoft.com/office/officeart/2008/layout/AccentedPicture"/>
    <dgm:cxn modelId="{6F94FDAC-75B5-4F3E-85C8-3027C68B2133}" type="presParOf" srcId="{A51A5A1D-B3EA-4A42-9E40-0DAF150E2647}" destId="{3BBAD292-6C76-43F1-9D96-D2A61E508160}" srcOrd="1" destOrd="0" presId="urn:microsoft.com/office/officeart/2008/layout/AccentedPicture"/>
    <dgm:cxn modelId="{D4FDEBDD-27FC-444D-82C1-352DE9C22830}" type="presParOf" srcId="{A51A5A1D-B3EA-4A42-9E40-0DAF150E2647}" destId="{3A387AE2-C295-4350-A164-FBFFD83D9343}" srcOrd="2" destOrd="0" presId="urn:microsoft.com/office/officeart/2008/layout/AccentedPicture"/>
    <dgm:cxn modelId="{770CBD72-4B86-4EBE-BD14-3D4B95D894C1}" type="presParOf" srcId="{3A387AE2-C295-4350-A164-FBFFD83D9343}" destId="{381A3916-B6AB-4968-8F51-4382DC082A51}" srcOrd="0" destOrd="0" presId="urn:microsoft.com/office/officeart/2008/layout/AccentedPicture"/>
    <dgm:cxn modelId="{B99F8746-72F9-4308-BE02-0CFDA86D073E}" type="presParOf" srcId="{5641347D-1AD1-44D8-82AC-0601EBAA5414}" destId="{79AD9A41-FE25-429E-A025-8C444B69EF88}" srcOrd="5" destOrd="0" presId="urn:microsoft.com/office/officeart/2008/layout/AccentedPicture"/>
    <dgm:cxn modelId="{4230711F-60B2-4FA4-A066-D8E3B7869D73}" type="presParOf" srcId="{5641347D-1AD1-44D8-82AC-0601EBAA5414}" destId="{090F0989-461D-4345-BC44-156EAEFD257B}" srcOrd="6" destOrd="0" presId="urn:microsoft.com/office/officeart/2008/layout/AccentedPicture"/>
    <dgm:cxn modelId="{E842C22A-1FDC-43C5-9620-079AE0C73ADC}" type="presParOf" srcId="{090F0989-461D-4345-BC44-156EAEFD257B}" destId="{BCDDA418-37E1-4423-9A32-1B42C77307EA}" srcOrd="0" destOrd="0" presId="urn:microsoft.com/office/officeart/2008/layout/AccentedPicture"/>
    <dgm:cxn modelId="{8BDED83F-C9E5-46F4-BCD7-168265FB0C72}" type="presParOf" srcId="{090F0989-461D-4345-BC44-156EAEFD257B}" destId="{9AFA2CD0-701F-4D4D-AF4C-27F59FC42538}" srcOrd="1" destOrd="0" presId="urn:microsoft.com/office/officeart/2008/layout/AccentedPicture"/>
    <dgm:cxn modelId="{B72C25CB-BB3E-4FFA-9E5B-73214D0A3746}" type="presParOf" srcId="{090F0989-461D-4345-BC44-156EAEFD257B}" destId="{8EF28A57-62E5-4728-A7D0-94A7A6E7A957}" srcOrd="2" destOrd="0" presId="urn:microsoft.com/office/officeart/2008/layout/AccentedPicture"/>
    <dgm:cxn modelId="{E1158CAB-A9A5-4E59-AAF7-A7DC43747177}" type="presParOf" srcId="{8EF28A57-62E5-4728-A7D0-94A7A6E7A957}" destId="{880935BA-4865-4639-8E86-8AF9CF82A1BB}" srcOrd="0" destOrd="0" presId="urn:microsoft.com/office/officeart/2008/layout/AccentedPicture"/>
    <dgm:cxn modelId="{8F35AEAF-2F02-4236-A4CF-33C9FE35E0F3}" type="presParOf" srcId="{5641347D-1AD1-44D8-82AC-0601EBAA5414}" destId="{2B5B10C4-1DE5-4C0C-AF94-7662B6AC879A}" srcOrd="7" destOrd="0" presId="urn:microsoft.com/office/officeart/2008/layout/AccentedPicture"/>
    <dgm:cxn modelId="{99AE05C7-6DED-499D-8B06-1B3422674600}" type="presParOf" srcId="{5641347D-1AD1-44D8-82AC-0601EBAA5414}" destId="{02676783-8158-4600-A3F9-AEA971EC3F54}" srcOrd="8" destOrd="0" presId="urn:microsoft.com/office/officeart/2008/layout/AccentedPicture"/>
    <dgm:cxn modelId="{B9C0CCD2-D21C-4637-8FA9-40034A306891}" type="presParOf" srcId="{02676783-8158-4600-A3F9-AEA971EC3F54}" destId="{C0A20A20-EC85-4088-B4DC-585F5395F37C}" srcOrd="0" destOrd="0" presId="urn:microsoft.com/office/officeart/2008/layout/AccentedPicture"/>
    <dgm:cxn modelId="{980F427C-FA67-4993-9941-80B58F725642}" type="presParOf" srcId="{02676783-8158-4600-A3F9-AEA971EC3F54}" destId="{5F0A3D55-CC24-419A-BA15-2CA947D0DB41}" srcOrd="1" destOrd="0" presId="urn:microsoft.com/office/officeart/2008/layout/AccentedPicture"/>
    <dgm:cxn modelId="{E41EC568-302F-4D3F-9E17-87869EFD9492}" type="presParOf" srcId="{02676783-8158-4600-A3F9-AEA971EC3F54}" destId="{40511F79-B0F1-4467-B27A-6E75CEC2AECB}" srcOrd="2" destOrd="0" presId="urn:microsoft.com/office/officeart/2008/layout/AccentedPicture"/>
    <dgm:cxn modelId="{1BBF2ED6-CDF4-4339-A73D-1F29C1C01E83}" type="presParOf" srcId="{40511F79-B0F1-4467-B27A-6E75CEC2AECB}" destId="{35930AF7-0ACD-4132-A4F4-B1602E5DEC3E}" srcOrd="0" destOrd="0" presId="urn:microsoft.com/office/officeart/2008/layout/AccentedPicture"/>
    <dgm:cxn modelId="{009183C9-0FF8-481F-9AA7-CE3A3AFB61CE}" type="presParOf" srcId="{AEA2DB4F-801A-4999-BED7-D461182C5C42}" destId="{CCFC2B90-6692-4788-BDA4-B34CA0E7CCB0}" srcOrd="3" destOrd="0" presId="urn:microsoft.com/office/officeart/2008/layout/AccentedPicture"/>
    <dgm:cxn modelId="{90C754DC-03FF-4C44-96A4-79B16AE27268}" type="presParOf" srcId="{CCFC2B90-6692-4788-BDA4-B34CA0E7CCB0}" destId="{2D2897AB-2F9C-465C-B41F-B378612B32E8}" srcOrd="0" destOrd="0" presId="urn:microsoft.com/office/officeart/2008/layout/AccentedPicture"/>
  </dgm:cxnLst>
  <dgm:bg>
    <a:noFill/>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4.xml><?xml version="1.0" encoding="utf-8"?>
<dgm:dataModel xmlns:dgm="http://schemas.openxmlformats.org/drawingml/2006/diagram" xmlns:a="http://schemas.openxmlformats.org/drawingml/2006/main">
  <dgm:ptLst>
    <dgm:pt modelId="{3889C6F2-32CA-4104-983B-47A4E70430FA}"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F92FE0CB-1476-4890-BDCD-6C501C929441}">
      <dgm:prSet/>
      <dgm:spPr>
        <a:solidFill>
          <a:schemeClr val="accent2"/>
        </a:solidFill>
      </dgm:spPr>
      <dgm:t>
        <a:bodyPr/>
        <a:lstStyle/>
        <a:p>
          <a:r>
            <a:rPr lang="en-US"/>
            <a:t>Client Intake Form</a:t>
          </a:r>
        </a:p>
      </dgm:t>
    </dgm:pt>
    <dgm:pt modelId="{2963A080-5D4B-4064-9AB0-7EA9BA86B62D}" type="parTrans" cxnId="{5B8F64AD-8430-4035-BAA6-1242A671B655}">
      <dgm:prSet/>
      <dgm:spPr/>
      <dgm:t>
        <a:bodyPr/>
        <a:lstStyle/>
        <a:p>
          <a:endParaRPr lang="en-US"/>
        </a:p>
      </dgm:t>
    </dgm:pt>
    <dgm:pt modelId="{03091391-8946-48F6-82DA-6B233365C6D3}" type="sibTrans" cxnId="{5B8F64AD-8430-4035-BAA6-1242A671B655}">
      <dgm:prSet/>
      <dgm:spPr/>
      <dgm:t>
        <a:bodyPr/>
        <a:lstStyle/>
        <a:p>
          <a:endParaRPr lang="en-US"/>
        </a:p>
      </dgm:t>
    </dgm:pt>
    <dgm:pt modelId="{8E85219B-4207-43EF-9B57-808D89796820}">
      <dgm:prSet/>
      <dgm:spPr>
        <a:solidFill>
          <a:schemeClr val="accent2"/>
        </a:solidFill>
      </dgm:spPr>
      <dgm:t>
        <a:bodyPr/>
        <a:lstStyle/>
        <a:p>
          <a:r>
            <a:rPr lang="en-US"/>
            <a:t>HIV Request and Result Form</a:t>
          </a:r>
        </a:p>
      </dgm:t>
    </dgm:pt>
    <dgm:pt modelId="{992A3154-F562-4222-9221-258B98DBAEB4}" type="parTrans" cxnId="{49D08057-3AC1-4FDF-B6E2-A1546D115EBF}">
      <dgm:prSet/>
      <dgm:spPr/>
      <dgm:t>
        <a:bodyPr/>
        <a:lstStyle/>
        <a:p>
          <a:endParaRPr lang="en-US"/>
        </a:p>
      </dgm:t>
    </dgm:pt>
    <dgm:pt modelId="{363DA394-A578-4864-9A6A-6B2E1B4DD722}" type="sibTrans" cxnId="{49D08057-3AC1-4FDF-B6E2-A1546D115EBF}">
      <dgm:prSet/>
      <dgm:spPr/>
      <dgm:t>
        <a:bodyPr/>
        <a:lstStyle/>
        <a:p>
          <a:endParaRPr lang="en-US"/>
        </a:p>
      </dgm:t>
    </dgm:pt>
    <dgm:pt modelId="{5BB67B42-242D-4A52-8A67-B0309468B128}">
      <dgm:prSet/>
      <dgm:spPr>
        <a:solidFill>
          <a:schemeClr val="accent2"/>
        </a:solidFill>
      </dgm:spPr>
      <dgm:t>
        <a:bodyPr/>
        <a:lstStyle/>
        <a:p>
          <a:r>
            <a:rPr lang="en-US" dirty="0"/>
            <a:t>Daily HIV &amp; Syphilis Testing Worksheet</a:t>
          </a:r>
        </a:p>
      </dgm:t>
    </dgm:pt>
    <dgm:pt modelId="{8476A4FE-67F0-48E8-907B-980378C82889}" type="parTrans" cxnId="{E0FBBDD5-7FCD-4802-AFA1-3511B4D948CF}">
      <dgm:prSet/>
      <dgm:spPr/>
      <dgm:t>
        <a:bodyPr/>
        <a:lstStyle/>
        <a:p>
          <a:endParaRPr lang="en-US"/>
        </a:p>
      </dgm:t>
    </dgm:pt>
    <dgm:pt modelId="{226EBBB4-1894-4127-8C7C-A1E821C2F9DA}" type="sibTrans" cxnId="{E0FBBDD5-7FCD-4802-AFA1-3511B4D948CF}">
      <dgm:prSet/>
      <dgm:spPr/>
      <dgm:t>
        <a:bodyPr/>
        <a:lstStyle/>
        <a:p>
          <a:endParaRPr lang="en-US"/>
        </a:p>
      </dgm:t>
    </dgm:pt>
    <dgm:pt modelId="{B71979DB-5E58-484E-AA81-74A849DDFA61}">
      <dgm:prSet/>
      <dgm:spPr>
        <a:solidFill>
          <a:schemeClr val="accent2"/>
        </a:solidFill>
      </dgm:spPr>
      <dgm:t>
        <a:bodyPr/>
        <a:lstStyle/>
        <a:p>
          <a:r>
            <a:rPr lang="en-US"/>
            <a:t>HTS Register</a:t>
          </a:r>
        </a:p>
      </dgm:t>
    </dgm:pt>
    <dgm:pt modelId="{A08ED8C8-D2DA-4780-8DC8-BE52ED02FFCC}" type="parTrans" cxnId="{443F3A74-14BE-489E-9B17-9854F9AC2B52}">
      <dgm:prSet/>
      <dgm:spPr/>
      <dgm:t>
        <a:bodyPr/>
        <a:lstStyle/>
        <a:p>
          <a:endParaRPr lang="en-US"/>
        </a:p>
      </dgm:t>
    </dgm:pt>
    <dgm:pt modelId="{D8A09753-3119-4B53-80CB-C9C75B11C719}" type="sibTrans" cxnId="{443F3A74-14BE-489E-9B17-9854F9AC2B52}">
      <dgm:prSet/>
      <dgm:spPr/>
      <dgm:t>
        <a:bodyPr/>
        <a:lstStyle/>
        <a:p>
          <a:endParaRPr lang="en-US"/>
        </a:p>
      </dgm:t>
    </dgm:pt>
    <dgm:pt modelId="{3D5413C2-501B-48C2-80FE-40547AB4AA36}">
      <dgm:prSet/>
      <dgm:spPr>
        <a:solidFill>
          <a:schemeClr val="accent6"/>
        </a:solidFill>
      </dgm:spPr>
      <dgm:t>
        <a:bodyPr/>
        <a:lstStyle/>
        <a:p>
          <a:r>
            <a:rPr lang="en-US"/>
            <a:t>Client Referral Form</a:t>
          </a:r>
        </a:p>
      </dgm:t>
    </dgm:pt>
    <dgm:pt modelId="{697BB262-463D-4913-8830-3D8AB887A878}" type="parTrans" cxnId="{039A8305-91E3-4625-8E4B-5A69E870FE12}">
      <dgm:prSet/>
      <dgm:spPr/>
      <dgm:t>
        <a:bodyPr/>
        <a:lstStyle/>
        <a:p>
          <a:endParaRPr lang="en-US"/>
        </a:p>
      </dgm:t>
    </dgm:pt>
    <dgm:pt modelId="{3DF9E2A3-094C-430C-A5BF-AF8FFD292825}" type="sibTrans" cxnId="{039A8305-91E3-4625-8E4B-5A69E870FE12}">
      <dgm:prSet/>
      <dgm:spPr/>
      <dgm:t>
        <a:bodyPr/>
        <a:lstStyle/>
        <a:p>
          <a:endParaRPr lang="en-US"/>
        </a:p>
      </dgm:t>
    </dgm:pt>
    <dgm:pt modelId="{C49CF3CD-84F5-4CA1-B7AC-0D21AFD162BB}">
      <dgm:prSet/>
      <dgm:spPr>
        <a:solidFill>
          <a:schemeClr val="accent6"/>
        </a:solidFill>
      </dgm:spPr>
      <dgm:t>
        <a:bodyPr/>
        <a:lstStyle/>
        <a:p>
          <a:r>
            <a:rPr lang="en-US" dirty="0"/>
            <a:t>Referral Register</a:t>
          </a:r>
        </a:p>
      </dgm:t>
    </dgm:pt>
    <dgm:pt modelId="{3F8552D0-FD2A-4DD7-A9C5-8E4A278F994C}" type="parTrans" cxnId="{C38FDCCE-FF0D-4C4D-AAB9-AF15CCE658F1}">
      <dgm:prSet/>
      <dgm:spPr/>
      <dgm:t>
        <a:bodyPr/>
        <a:lstStyle/>
        <a:p>
          <a:endParaRPr lang="en-US"/>
        </a:p>
      </dgm:t>
    </dgm:pt>
    <dgm:pt modelId="{A0E79318-EF77-43A3-9A00-2CCA6B60A3A0}" type="sibTrans" cxnId="{C38FDCCE-FF0D-4C4D-AAB9-AF15CCE658F1}">
      <dgm:prSet/>
      <dgm:spPr/>
      <dgm:t>
        <a:bodyPr/>
        <a:lstStyle/>
        <a:p>
          <a:endParaRPr lang="en-US"/>
        </a:p>
      </dgm:t>
    </dgm:pt>
    <dgm:pt modelId="{DE123A9B-2B6E-4226-ABA6-20E24242F94B}">
      <dgm:prSet/>
      <dgm:spPr>
        <a:solidFill>
          <a:schemeClr val="accent1"/>
        </a:solidFill>
      </dgm:spPr>
      <dgm:t>
        <a:bodyPr/>
        <a:lstStyle/>
        <a:p>
          <a:r>
            <a:rPr lang="en-US" dirty="0"/>
            <a:t>Partner Notification Service Form</a:t>
          </a:r>
        </a:p>
      </dgm:t>
    </dgm:pt>
    <dgm:pt modelId="{20F40BF3-8633-47FE-97A8-4A9F99E07B10}" type="parTrans" cxnId="{FFE59356-A093-4589-AF38-23EF410A05D0}">
      <dgm:prSet/>
      <dgm:spPr/>
      <dgm:t>
        <a:bodyPr/>
        <a:lstStyle/>
        <a:p>
          <a:endParaRPr lang="en-US"/>
        </a:p>
      </dgm:t>
    </dgm:pt>
    <dgm:pt modelId="{EC2ABFAC-C745-4231-B8B9-2176F23BD8AF}" type="sibTrans" cxnId="{FFE59356-A093-4589-AF38-23EF410A05D0}">
      <dgm:prSet/>
      <dgm:spPr/>
      <dgm:t>
        <a:bodyPr/>
        <a:lstStyle/>
        <a:p>
          <a:endParaRPr lang="en-US"/>
        </a:p>
      </dgm:t>
    </dgm:pt>
    <dgm:pt modelId="{884F1BB2-3693-4606-A3AE-3B95314D9CC3}">
      <dgm:prSet/>
      <dgm:spPr>
        <a:solidFill>
          <a:schemeClr val="accent1"/>
        </a:solidFill>
      </dgm:spPr>
      <dgm:t>
        <a:bodyPr/>
        <a:lstStyle/>
        <a:p>
          <a:r>
            <a:rPr lang="en-US" dirty="0"/>
            <a:t>Family Index Testing Form</a:t>
          </a:r>
        </a:p>
      </dgm:t>
    </dgm:pt>
    <dgm:pt modelId="{B90BBF37-1C45-4E6C-A490-C33BB3D182C4}" type="parTrans" cxnId="{D6D6D0D0-4937-4765-A240-2CE3E18FE135}">
      <dgm:prSet/>
      <dgm:spPr/>
      <dgm:t>
        <a:bodyPr/>
        <a:lstStyle/>
        <a:p>
          <a:endParaRPr lang="en-US"/>
        </a:p>
      </dgm:t>
    </dgm:pt>
    <dgm:pt modelId="{0C2F5869-FCB6-4EDA-8724-0CC2A4969BAE}" type="sibTrans" cxnId="{D6D6D0D0-4937-4765-A240-2CE3E18FE135}">
      <dgm:prSet/>
      <dgm:spPr/>
      <dgm:t>
        <a:bodyPr/>
        <a:lstStyle/>
        <a:p>
          <a:endParaRPr lang="en-US"/>
        </a:p>
      </dgm:t>
    </dgm:pt>
    <dgm:pt modelId="{EBB37385-D68D-4DA2-8158-CD4946124A92}">
      <dgm:prSet/>
      <dgm:spPr>
        <a:solidFill>
          <a:schemeClr val="accent1"/>
        </a:solidFill>
      </dgm:spPr>
      <dgm:t>
        <a:bodyPr/>
        <a:lstStyle/>
        <a:p>
          <a:r>
            <a:rPr lang="en-US"/>
            <a:t>Index Testing Register</a:t>
          </a:r>
        </a:p>
      </dgm:t>
    </dgm:pt>
    <dgm:pt modelId="{73FA75A5-4A00-460B-B744-6FC883BCFB05}" type="parTrans" cxnId="{AE5F1C59-3B6F-4ABF-8277-F4E481BF1C4E}">
      <dgm:prSet/>
      <dgm:spPr/>
      <dgm:t>
        <a:bodyPr/>
        <a:lstStyle/>
        <a:p>
          <a:endParaRPr lang="en-US"/>
        </a:p>
      </dgm:t>
    </dgm:pt>
    <dgm:pt modelId="{DA635EAF-C1D4-4C68-AD52-B514FEDE805A}" type="sibTrans" cxnId="{AE5F1C59-3B6F-4ABF-8277-F4E481BF1C4E}">
      <dgm:prSet/>
      <dgm:spPr/>
      <dgm:t>
        <a:bodyPr/>
        <a:lstStyle/>
        <a:p>
          <a:endParaRPr lang="en-US"/>
        </a:p>
      </dgm:t>
    </dgm:pt>
    <dgm:pt modelId="{B16A76C0-18EC-4632-B69E-EB4E76B4E075}">
      <dgm:prSet/>
      <dgm:spPr/>
      <dgm:t>
        <a:bodyPr/>
        <a:lstStyle/>
        <a:p>
          <a:r>
            <a:rPr lang="en-US" dirty="0"/>
            <a:t>HIVST Response and Referral Card</a:t>
          </a:r>
        </a:p>
      </dgm:t>
    </dgm:pt>
    <dgm:pt modelId="{129BF64D-A738-4421-A329-871E0D5CDE72}" type="parTrans" cxnId="{C5EF332D-DAC8-48BB-816C-4BE5F591A3E4}">
      <dgm:prSet/>
      <dgm:spPr/>
      <dgm:t>
        <a:bodyPr/>
        <a:lstStyle/>
        <a:p>
          <a:endParaRPr lang="en-US"/>
        </a:p>
      </dgm:t>
    </dgm:pt>
    <dgm:pt modelId="{1E5EDF44-051E-4F2A-A431-FA7C27B2A8F6}" type="sibTrans" cxnId="{C5EF332D-DAC8-48BB-816C-4BE5F591A3E4}">
      <dgm:prSet/>
      <dgm:spPr/>
      <dgm:t>
        <a:bodyPr/>
        <a:lstStyle/>
        <a:p>
          <a:endParaRPr lang="en-US"/>
        </a:p>
      </dgm:t>
    </dgm:pt>
    <dgm:pt modelId="{63E38E44-D627-49DD-B6AD-5F052AAEE41C}">
      <dgm:prSet/>
      <dgm:spPr/>
      <dgm:t>
        <a:bodyPr/>
        <a:lstStyle/>
        <a:p>
          <a:r>
            <a:rPr lang="en-US" dirty="0"/>
            <a:t>HIVST Register</a:t>
          </a:r>
        </a:p>
      </dgm:t>
    </dgm:pt>
    <dgm:pt modelId="{A757BCE8-D096-4807-96F0-DCD73B08BE22}" type="parTrans" cxnId="{0CB185D6-3239-438C-80F6-72D9E023FA24}">
      <dgm:prSet/>
      <dgm:spPr/>
      <dgm:t>
        <a:bodyPr/>
        <a:lstStyle/>
        <a:p>
          <a:endParaRPr lang="en-US"/>
        </a:p>
      </dgm:t>
    </dgm:pt>
    <dgm:pt modelId="{4A93E005-D17F-4209-864E-FC872388D68D}" type="sibTrans" cxnId="{0CB185D6-3239-438C-80F6-72D9E023FA24}">
      <dgm:prSet/>
      <dgm:spPr/>
      <dgm:t>
        <a:bodyPr/>
        <a:lstStyle/>
        <a:p>
          <a:endParaRPr lang="en-US"/>
        </a:p>
      </dgm:t>
    </dgm:pt>
    <dgm:pt modelId="{7E3980F7-9BB5-418E-B163-4ACA5ED1A344}">
      <dgm:prSet/>
      <dgm:spPr>
        <a:solidFill>
          <a:schemeClr val="accent2"/>
        </a:solidFill>
      </dgm:spPr>
      <dgm:t>
        <a:bodyPr/>
        <a:lstStyle/>
        <a:p>
          <a:r>
            <a:rPr lang="en-US" dirty="0"/>
            <a:t>HTS Monthly Summary Form</a:t>
          </a:r>
        </a:p>
      </dgm:t>
    </dgm:pt>
    <dgm:pt modelId="{69FF1CDF-9B80-41DA-9D61-EA82B1A2A93E}" type="parTrans" cxnId="{C03AA1F7-DBCB-4A1E-BDA2-03720A612F58}">
      <dgm:prSet/>
      <dgm:spPr/>
      <dgm:t>
        <a:bodyPr/>
        <a:lstStyle/>
        <a:p>
          <a:endParaRPr lang="en-US"/>
        </a:p>
      </dgm:t>
    </dgm:pt>
    <dgm:pt modelId="{186F4557-60F7-445D-B718-D54C4380EC60}" type="sibTrans" cxnId="{C03AA1F7-DBCB-4A1E-BDA2-03720A612F58}">
      <dgm:prSet/>
      <dgm:spPr/>
      <dgm:t>
        <a:bodyPr/>
        <a:lstStyle/>
        <a:p>
          <a:endParaRPr lang="en-US"/>
        </a:p>
      </dgm:t>
    </dgm:pt>
    <dgm:pt modelId="{4399606B-360A-4103-95F9-E95DFE78BAD3}">
      <dgm:prSet/>
      <dgm:spPr/>
      <dgm:t>
        <a:bodyPr/>
        <a:lstStyle/>
        <a:p>
          <a:r>
            <a:rPr lang="en-US" dirty="0"/>
            <a:t>RTRI Result Documentation Form</a:t>
          </a:r>
        </a:p>
      </dgm:t>
    </dgm:pt>
    <dgm:pt modelId="{A5030674-C69D-484F-82F2-90BB9D459CEA}" type="parTrans" cxnId="{D3787A14-FCE6-4346-ACF1-4AF91A84F713}">
      <dgm:prSet/>
      <dgm:spPr/>
      <dgm:t>
        <a:bodyPr/>
        <a:lstStyle/>
        <a:p>
          <a:endParaRPr lang="en-US"/>
        </a:p>
      </dgm:t>
    </dgm:pt>
    <dgm:pt modelId="{05F74D09-1555-43B7-9DCD-324C5B7CC792}" type="sibTrans" cxnId="{D3787A14-FCE6-4346-ACF1-4AF91A84F713}">
      <dgm:prSet/>
      <dgm:spPr/>
      <dgm:t>
        <a:bodyPr/>
        <a:lstStyle/>
        <a:p>
          <a:endParaRPr lang="en-US"/>
        </a:p>
      </dgm:t>
    </dgm:pt>
    <dgm:pt modelId="{8CEFE379-3067-4DF1-B669-03BF682A74E1}">
      <dgm:prSet/>
      <dgm:spPr/>
      <dgm:t>
        <a:bodyPr/>
        <a:lstStyle/>
        <a:p>
          <a:r>
            <a:rPr lang="en-US" dirty="0"/>
            <a:t>PMTCT HTS Register</a:t>
          </a:r>
        </a:p>
      </dgm:t>
    </dgm:pt>
    <dgm:pt modelId="{6D6AFCE3-9CBB-42BA-8C95-74BFE4EC4555}" type="parTrans" cxnId="{931CC9E8-2BAA-4315-8E6E-D59D43079102}">
      <dgm:prSet/>
      <dgm:spPr/>
      <dgm:t>
        <a:bodyPr/>
        <a:lstStyle/>
        <a:p>
          <a:endParaRPr lang="en-US"/>
        </a:p>
      </dgm:t>
    </dgm:pt>
    <dgm:pt modelId="{DF78D9EB-59FD-489C-8534-3B483A57F7E2}" type="sibTrans" cxnId="{931CC9E8-2BAA-4315-8E6E-D59D43079102}">
      <dgm:prSet/>
      <dgm:spPr/>
      <dgm:t>
        <a:bodyPr/>
        <a:lstStyle/>
        <a:p>
          <a:endParaRPr lang="en-US"/>
        </a:p>
      </dgm:t>
    </dgm:pt>
    <dgm:pt modelId="{B1150C3D-6F9B-4C99-81D1-1F1E3D9113AC}" type="pres">
      <dgm:prSet presAssocID="{3889C6F2-32CA-4104-983B-47A4E70430FA}" presName="diagram" presStyleCnt="0">
        <dgm:presLayoutVars>
          <dgm:dir/>
          <dgm:resizeHandles val="exact"/>
        </dgm:presLayoutVars>
      </dgm:prSet>
      <dgm:spPr/>
    </dgm:pt>
    <dgm:pt modelId="{B509347B-D841-49FB-A8D0-0A2B150F2399}" type="pres">
      <dgm:prSet presAssocID="{F92FE0CB-1476-4890-BDCD-6C501C929441}" presName="node" presStyleLbl="node1" presStyleIdx="0" presStyleCnt="14">
        <dgm:presLayoutVars>
          <dgm:bulletEnabled val="1"/>
        </dgm:presLayoutVars>
      </dgm:prSet>
      <dgm:spPr/>
    </dgm:pt>
    <dgm:pt modelId="{F3D0BCC3-3ABD-4EB5-9007-7D187D0300C4}" type="pres">
      <dgm:prSet presAssocID="{03091391-8946-48F6-82DA-6B233365C6D3}" presName="sibTrans" presStyleCnt="0"/>
      <dgm:spPr/>
    </dgm:pt>
    <dgm:pt modelId="{EE30FAD6-4500-4932-9FD3-8F7F62EEB56E}" type="pres">
      <dgm:prSet presAssocID="{8E85219B-4207-43EF-9B57-808D89796820}" presName="node" presStyleLbl="node1" presStyleIdx="1" presStyleCnt="14">
        <dgm:presLayoutVars>
          <dgm:bulletEnabled val="1"/>
        </dgm:presLayoutVars>
      </dgm:prSet>
      <dgm:spPr/>
    </dgm:pt>
    <dgm:pt modelId="{872FCFAE-2275-46F2-A56C-9B7DE02E346A}" type="pres">
      <dgm:prSet presAssocID="{363DA394-A578-4864-9A6A-6B2E1B4DD722}" presName="sibTrans" presStyleCnt="0"/>
      <dgm:spPr/>
    </dgm:pt>
    <dgm:pt modelId="{C6528D0C-8D29-4295-A178-EA56936B3357}" type="pres">
      <dgm:prSet presAssocID="{5BB67B42-242D-4A52-8A67-B0309468B128}" presName="node" presStyleLbl="node1" presStyleIdx="2" presStyleCnt="14">
        <dgm:presLayoutVars>
          <dgm:bulletEnabled val="1"/>
        </dgm:presLayoutVars>
      </dgm:prSet>
      <dgm:spPr/>
    </dgm:pt>
    <dgm:pt modelId="{3AC329FB-29DA-4B50-9075-C09FFB2C4965}" type="pres">
      <dgm:prSet presAssocID="{226EBBB4-1894-4127-8C7C-A1E821C2F9DA}" presName="sibTrans" presStyleCnt="0"/>
      <dgm:spPr/>
    </dgm:pt>
    <dgm:pt modelId="{644C92D3-460C-45E0-8465-38DC694A09AD}" type="pres">
      <dgm:prSet presAssocID="{B71979DB-5E58-484E-AA81-74A849DDFA61}" presName="node" presStyleLbl="node1" presStyleIdx="3" presStyleCnt="14" custLinFactNeighborX="641" custLinFactNeighborY="1702">
        <dgm:presLayoutVars>
          <dgm:bulletEnabled val="1"/>
        </dgm:presLayoutVars>
      </dgm:prSet>
      <dgm:spPr/>
    </dgm:pt>
    <dgm:pt modelId="{3AEDCB71-B7CC-4E4F-A290-DCF824B8ADF4}" type="pres">
      <dgm:prSet presAssocID="{D8A09753-3119-4B53-80CB-C9C75B11C719}" presName="sibTrans" presStyleCnt="0"/>
      <dgm:spPr/>
    </dgm:pt>
    <dgm:pt modelId="{397CB937-9C39-4185-86FD-F3972B022977}" type="pres">
      <dgm:prSet presAssocID="{3D5413C2-501B-48C2-80FE-40547AB4AA36}" presName="node" presStyleLbl="node1" presStyleIdx="4" presStyleCnt="14" custLinFactX="-8950" custLinFactY="12855" custLinFactNeighborX="-100000" custLinFactNeighborY="100000">
        <dgm:presLayoutVars>
          <dgm:bulletEnabled val="1"/>
        </dgm:presLayoutVars>
      </dgm:prSet>
      <dgm:spPr/>
    </dgm:pt>
    <dgm:pt modelId="{D143233E-25DB-48D1-914B-1BDE90E0A7E8}" type="pres">
      <dgm:prSet presAssocID="{3DF9E2A3-094C-430C-A5BF-AF8FFD292825}" presName="sibTrans" presStyleCnt="0"/>
      <dgm:spPr/>
    </dgm:pt>
    <dgm:pt modelId="{57655B9B-FB5C-4E90-BE81-D553D99E9A20}" type="pres">
      <dgm:prSet presAssocID="{C49CF3CD-84F5-4CA1-B7AC-0D21AFD162BB}" presName="node" presStyleLbl="node1" presStyleIdx="5" presStyleCnt="14" custLinFactX="200000" custLinFactNeighborX="236780" custLinFactNeighborY="-7848">
        <dgm:presLayoutVars>
          <dgm:bulletEnabled val="1"/>
        </dgm:presLayoutVars>
      </dgm:prSet>
      <dgm:spPr/>
    </dgm:pt>
    <dgm:pt modelId="{002CA93D-10EC-4564-BF58-8F84F8E55B5F}" type="pres">
      <dgm:prSet presAssocID="{A0E79318-EF77-43A3-9A00-2CCA6B60A3A0}" presName="sibTrans" presStyleCnt="0"/>
      <dgm:spPr/>
    </dgm:pt>
    <dgm:pt modelId="{65D5E7B5-DF4F-47D4-B8CC-9256FF3C9D57}" type="pres">
      <dgm:prSet presAssocID="{DE123A9B-2B6E-4226-ABA6-20E24242F94B}" presName="node" presStyleLbl="node1" presStyleIdx="6" presStyleCnt="14" custLinFactX="-100000" custLinFactNeighborX="-120656" custLinFactNeighborY="-6029">
        <dgm:presLayoutVars>
          <dgm:bulletEnabled val="1"/>
        </dgm:presLayoutVars>
      </dgm:prSet>
      <dgm:spPr/>
    </dgm:pt>
    <dgm:pt modelId="{D75150F8-EB03-4CC0-8FF9-004ECD4474DE}" type="pres">
      <dgm:prSet presAssocID="{EC2ABFAC-C745-4231-B8B9-2176F23BD8AF}" presName="sibTrans" presStyleCnt="0"/>
      <dgm:spPr/>
    </dgm:pt>
    <dgm:pt modelId="{4BC76E81-E554-47A6-A126-952A8CF200C1}" type="pres">
      <dgm:prSet presAssocID="{884F1BB2-3693-4606-A3AE-3B95314D9CC3}" presName="node" presStyleLbl="node1" presStyleIdx="7" presStyleCnt="14" custLinFactX="-13071" custLinFactNeighborX="-100000" custLinFactNeighborY="273">
        <dgm:presLayoutVars>
          <dgm:bulletEnabled val="1"/>
        </dgm:presLayoutVars>
      </dgm:prSet>
      <dgm:spPr/>
    </dgm:pt>
    <dgm:pt modelId="{D9ED08FF-AAF6-4771-9D2D-F97C57589B7A}" type="pres">
      <dgm:prSet presAssocID="{0C2F5869-FCB6-4EDA-8724-0CC2A4969BAE}" presName="sibTrans" presStyleCnt="0"/>
      <dgm:spPr/>
    </dgm:pt>
    <dgm:pt modelId="{D7F61431-0E09-461D-9750-1EF372024286}" type="pres">
      <dgm:prSet presAssocID="{EBB37385-D68D-4DA2-8158-CD4946124A92}" presName="node" presStyleLbl="node1" presStyleIdx="8" presStyleCnt="14" custLinFactX="-10106" custLinFactNeighborX="-100000" custLinFactNeighborY="-439">
        <dgm:presLayoutVars>
          <dgm:bulletEnabled val="1"/>
        </dgm:presLayoutVars>
      </dgm:prSet>
      <dgm:spPr/>
    </dgm:pt>
    <dgm:pt modelId="{754D5564-26CB-4B31-87F5-89297645D958}" type="pres">
      <dgm:prSet presAssocID="{DA635EAF-C1D4-4C68-AD52-B514FEDE805A}" presName="sibTrans" presStyleCnt="0"/>
      <dgm:spPr/>
    </dgm:pt>
    <dgm:pt modelId="{50F0188E-3E3C-41C9-8AE5-07735DB64FBB}" type="pres">
      <dgm:prSet presAssocID="{B16A76C0-18EC-4632-B69E-EB4E76B4E075}" presName="node" presStyleLbl="node1" presStyleIdx="9" presStyleCnt="14" custLinFactX="-200000" custLinFactY="18264" custLinFactNeighborX="-225744" custLinFactNeighborY="100000">
        <dgm:presLayoutVars>
          <dgm:bulletEnabled val="1"/>
        </dgm:presLayoutVars>
      </dgm:prSet>
      <dgm:spPr/>
    </dgm:pt>
    <dgm:pt modelId="{3D3D26FB-1FA0-4D2D-99F5-EABB527E83B1}" type="pres">
      <dgm:prSet presAssocID="{1E5EDF44-051E-4F2A-A431-FA7C27B2A8F6}" presName="sibTrans" presStyleCnt="0"/>
      <dgm:spPr/>
    </dgm:pt>
    <dgm:pt modelId="{E16CE755-751C-4E81-9358-18ED2C928BAB}" type="pres">
      <dgm:prSet presAssocID="{63E38E44-D627-49DD-B6AD-5F052AAEE41C}" presName="node" presStyleLbl="node1" presStyleIdx="10" presStyleCnt="14" custLinFactNeighborX="87272" custLinFactNeighborY="-1906">
        <dgm:presLayoutVars>
          <dgm:bulletEnabled val="1"/>
        </dgm:presLayoutVars>
      </dgm:prSet>
      <dgm:spPr/>
    </dgm:pt>
    <dgm:pt modelId="{831F2856-27DA-4AAE-9E31-FD0CE3B28D95}" type="pres">
      <dgm:prSet presAssocID="{4A93E005-D17F-4209-864E-FC872388D68D}" presName="sibTrans" presStyleCnt="0"/>
      <dgm:spPr/>
    </dgm:pt>
    <dgm:pt modelId="{50CA300C-A27F-4584-9FD6-AF1EEB73C1C8}" type="pres">
      <dgm:prSet presAssocID="{8CEFE379-3067-4DF1-B669-03BF682A74E1}" presName="node" presStyleLbl="node1" presStyleIdx="11" presStyleCnt="14" custLinFactX="11524" custLinFactNeighborX="100000" custLinFactNeighborY="-1906">
        <dgm:presLayoutVars>
          <dgm:bulletEnabled val="1"/>
        </dgm:presLayoutVars>
      </dgm:prSet>
      <dgm:spPr/>
    </dgm:pt>
    <dgm:pt modelId="{D3DF61B0-E90D-433B-877A-53D5B1F162CB}" type="pres">
      <dgm:prSet presAssocID="{DF78D9EB-59FD-489C-8534-3B483A57F7E2}" presName="sibTrans" presStyleCnt="0"/>
      <dgm:spPr/>
    </dgm:pt>
    <dgm:pt modelId="{065E1994-0F73-4BE6-8FBF-0440BF7DB185}" type="pres">
      <dgm:prSet presAssocID="{4399606B-360A-4103-95F9-E95DFE78BAD3}" presName="node" presStyleLbl="node1" presStyleIdx="12" presStyleCnt="14" custLinFactX="34869" custLinFactNeighborX="100000" custLinFactNeighborY="-3410">
        <dgm:presLayoutVars>
          <dgm:bulletEnabled val="1"/>
        </dgm:presLayoutVars>
      </dgm:prSet>
      <dgm:spPr/>
    </dgm:pt>
    <dgm:pt modelId="{1EB39047-F3C9-4042-BC1F-9028AB3BD30C}" type="pres">
      <dgm:prSet presAssocID="{05F74D09-1555-43B7-9DCD-324C5B7CC792}" presName="sibTrans" presStyleCnt="0"/>
      <dgm:spPr/>
    </dgm:pt>
    <dgm:pt modelId="{600CE2B5-E8FC-47EC-92CD-A1BEBD4F02DE}" type="pres">
      <dgm:prSet presAssocID="{7E3980F7-9BB5-418E-B163-4ACA5ED1A344}" presName="node" presStyleLbl="node1" presStyleIdx="13" presStyleCnt="14" custLinFactX="7543" custLinFactY="-100000" custLinFactNeighborX="100000" custLinFactNeighborY="-129764">
        <dgm:presLayoutVars>
          <dgm:bulletEnabled val="1"/>
        </dgm:presLayoutVars>
      </dgm:prSet>
      <dgm:spPr/>
    </dgm:pt>
  </dgm:ptLst>
  <dgm:cxnLst>
    <dgm:cxn modelId="{039A8305-91E3-4625-8E4B-5A69E870FE12}" srcId="{3889C6F2-32CA-4104-983B-47A4E70430FA}" destId="{3D5413C2-501B-48C2-80FE-40547AB4AA36}" srcOrd="4" destOrd="0" parTransId="{697BB262-463D-4913-8830-3D8AB887A878}" sibTransId="{3DF9E2A3-094C-430C-A5BF-AF8FFD292825}"/>
    <dgm:cxn modelId="{F7E4500D-D0A2-4F73-8BA5-04E37777E161}" type="presOf" srcId="{5BB67B42-242D-4A52-8A67-B0309468B128}" destId="{C6528D0C-8D29-4295-A178-EA56936B3357}" srcOrd="0" destOrd="0" presId="urn:microsoft.com/office/officeart/2005/8/layout/default"/>
    <dgm:cxn modelId="{B9651A10-B801-438A-A6C1-363B20F72065}" type="presOf" srcId="{8E85219B-4207-43EF-9B57-808D89796820}" destId="{EE30FAD6-4500-4932-9FD3-8F7F62EEB56E}" srcOrd="0" destOrd="0" presId="urn:microsoft.com/office/officeart/2005/8/layout/default"/>
    <dgm:cxn modelId="{D3787A14-FCE6-4346-ACF1-4AF91A84F713}" srcId="{3889C6F2-32CA-4104-983B-47A4E70430FA}" destId="{4399606B-360A-4103-95F9-E95DFE78BAD3}" srcOrd="12" destOrd="0" parTransId="{A5030674-C69D-484F-82F2-90BB9D459CEA}" sibTransId="{05F74D09-1555-43B7-9DCD-324C5B7CC792}"/>
    <dgm:cxn modelId="{428DAC1B-56EB-46FF-87DF-4D658FE64E2F}" type="presOf" srcId="{3889C6F2-32CA-4104-983B-47A4E70430FA}" destId="{B1150C3D-6F9B-4C99-81D1-1F1E3D9113AC}" srcOrd="0" destOrd="0" presId="urn:microsoft.com/office/officeart/2005/8/layout/default"/>
    <dgm:cxn modelId="{CF49661D-F4B6-4AFD-8744-DC45554EAE0D}" type="presOf" srcId="{63E38E44-D627-49DD-B6AD-5F052AAEE41C}" destId="{E16CE755-751C-4E81-9358-18ED2C928BAB}" srcOrd="0" destOrd="0" presId="urn:microsoft.com/office/officeart/2005/8/layout/default"/>
    <dgm:cxn modelId="{C5EF332D-DAC8-48BB-816C-4BE5F591A3E4}" srcId="{3889C6F2-32CA-4104-983B-47A4E70430FA}" destId="{B16A76C0-18EC-4632-B69E-EB4E76B4E075}" srcOrd="9" destOrd="0" parTransId="{129BF64D-A738-4421-A329-871E0D5CDE72}" sibTransId="{1E5EDF44-051E-4F2A-A431-FA7C27B2A8F6}"/>
    <dgm:cxn modelId="{DD78D435-24AB-40AC-A8FD-8FA6971240DF}" type="presOf" srcId="{EBB37385-D68D-4DA2-8158-CD4946124A92}" destId="{D7F61431-0E09-461D-9750-1EF372024286}" srcOrd="0" destOrd="0" presId="urn:microsoft.com/office/officeart/2005/8/layout/default"/>
    <dgm:cxn modelId="{18E01843-3EAB-4316-9BB6-6F11C6AEAF9B}" type="presOf" srcId="{7E3980F7-9BB5-418E-B163-4ACA5ED1A344}" destId="{600CE2B5-E8FC-47EC-92CD-A1BEBD4F02DE}" srcOrd="0" destOrd="0" presId="urn:microsoft.com/office/officeart/2005/8/layout/default"/>
    <dgm:cxn modelId="{69477063-F25D-4F6C-858E-64B4A6413C81}" type="presOf" srcId="{8CEFE379-3067-4DF1-B669-03BF682A74E1}" destId="{50CA300C-A27F-4584-9FD6-AF1EEB73C1C8}" srcOrd="0" destOrd="0" presId="urn:microsoft.com/office/officeart/2005/8/layout/default"/>
    <dgm:cxn modelId="{95DCB265-FA3D-4411-BB5E-EB4F0DE9CED3}" type="presOf" srcId="{884F1BB2-3693-4606-A3AE-3B95314D9CC3}" destId="{4BC76E81-E554-47A6-A126-952A8CF200C1}" srcOrd="0" destOrd="0" presId="urn:microsoft.com/office/officeart/2005/8/layout/default"/>
    <dgm:cxn modelId="{443F3A74-14BE-489E-9B17-9854F9AC2B52}" srcId="{3889C6F2-32CA-4104-983B-47A4E70430FA}" destId="{B71979DB-5E58-484E-AA81-74A849DDFA61}" srcOrd="3" destOrd="0" parTransId="{A08ED8C8-D2DA-4780-8DC8-BE52ED02FFCC}" sibTransId="{D8A09753-3119-4B53-80CB-C9C75B11C719}"/>
    <dgm:cxn modelId="{FFE59356-A093-4589-AF38-23EF410A05D0}" srcId="{3889C6F2-32CA-4104-983B-47A4E70430FA}" destId="{DE123A9B-2B6E-4226-ABA6-20E24242F94B}" srcOrd="6" destOrd="0" parTransId="{20F40BF3-8633-47FE-97A8-4A9F99E07B10}" sibTransId="{EC2ABFAC-C745-4231-B8B9-2176F23BD8AF}"/>
    <dgm:cxn modelId="{49D08057-3AC1-4FDF-B6E2-A1546D115EBF}" srcId="{3889C6F2-32CA-4104-983B-47A4E70430FA}" destId="{8E85219B-4207-43EF-9B57-808D89796820}" srcOrd="1" destOrd="0" parTransId="{992A3154-F562-4222-9221-258B98DBAEB4}" sibTransId="{363DA394-A578-4864-9A6A-6B2E1B4DD722}"/>
    <dgm:cxn modelId="{AE5F1C59-3B6F-4ABF-8277-F4E481BF1C4E}" srcId="{3889C6F2-32CA-4104-983B-47A4E70430FA}" destId="{EBB37385-D68D-4DA2-8158-CD4946124A92}" srcOrd="8" destOrd="0" parTransId="{73FA75A5-4A00-460B-B744-6FC883BCFB05}" sibTransId="{DA635EAF-C1D4-4C68-AD52-B514FEDE805A}"/>
    <dgm:cxn modelId="{43FE5289-C7B1-4BF5-903A-A80668DD5D68}" type="presOf" srcId="{4399606B-360A-4103-95F9-E95DFE78BAD3}" destId="{065E1994-0F73-4BE6-8FBF-0440BF7DB185}" srcOrd="0" destOrd="0" presId="urn:microsoft.com/office/officeart/2005/8/layout/default"/>
    <dgm:cxn modelId="{5B8F64AD-8430-4035-BAA6-1242A671B655}" srcId="{3889C6F2-32CA-4104-983B-47A4E70430FA}" destId="{F92FE0CB-1476-4890-BDCD-6C501C929441}" srcOrd="0" destOrd="0" parTransId="{2963A080-5D4B-4064-9AB0-7EA9BA86B62D}" sibTransId="{03091391-8946-48F6-82DA-6B233365C6D3}"/>
    <dgm:cxn modelId="{6BE739B0-3684-43CA-B31B-C9C5EC12BE94}" type="presOf" srcId="{DE123A9B-2B6E-4226-ABA6-20E24242F94B}" destId="{65D5E7B5-DF4F-47D4-B8CC-9256FF3C9D57}" srcOrd="0" destOrd="0" presId="urn:microsoft.com/office/officeart/2005/8/layout/default"/>
    <dgm:cxn modelId="{59AEC5C0-1296-4A2D-AE27-CB3A5452A98D}" type="presOf" srcId="{B71979DB-5E58-484E-AA81-74A849DDFA61}" destId="{644C92D3-460C-45E0-8465-38DC694A09AD}" srcOrd="0" destOrd="0" presId="urn:microsoft.com/office/officeart/2005/8/layout/default"/>
    <dgm:cxn modelId="{C38FDCCE-FF0D-4C4D-AAB9-AF15CCE658F1}" srcId="{3889C6F2-32CA-4104-983B-47A4E70430FA}" destId="{C49CF3CD-84F5-4CA1-B7AC-0D21AFD162BB}" srcOrd="5" destOrd="0" parTransId="{3F8552D0-FD2A-4DD7-A9C5-8E4A278F994C}" sibTransId="{A0E79318-EF77-43A3-9A00-2CCA6B60A3A0}"/>
    <dgm:cxn modelId="{D6D6D0D0-4937-4765-A240-2CE3E18FE135}" srcId="{3889C6F2-32CA-4104-983B-47A4E70430FA}" destId="{884F1BB2-3693-4606-A3AE-3B95314D9CC3}" srcOrd="7" destOrd="0" parTransId="{B90BBF37-1C45-4E6C-A490-C33BB3D182C4}" sibTransId="{0C2F5869-FCB6-4EDA-8724-0CC2A4969BAE}"/>
    <dgm:cxn modelId="{E0FBBDD5-7FCD-4802-AFA1-3511B4D948CF}" srcId="{3889C6F2-32CA-4104-983B-47A4E70430FA}" destId="{5BB67B42-242D-4A52-8A67-B0309468B128}" srcOrd="2" destOrd="0" parTransId="{8476A4FE-67F0-48E8-907B-980378C82889}" sibTransId="{226EBBB4-1894-4127-8C7C-A1E821C2F9DA}"/>
    <dgm:cxn modelId="{0CB185D6-3239-438C-80F6-72D9E023FA24}" srcId="{3889C6F2-32CA-4104-983B-47A4E70430FA}" destId="{63E38E44-D627-49DD-B6AD-5F052AAEE41C}" srcOrd="10" destOrd="0" parTransId="{A757BCE8-D096-4807-96F0-DCD73B08BE22}" sibTransId="{4A93E005-D17F-4209-864E-FC872388D68D}"/>
    <dgm:cxn modelId="{35BCE8D7-3D8F-43C5-A944-181794972AC1}" type="presOf" srcId="{F92FE0CB-1476-4890-BDCD-6C501C929441}" destId="{B509347B-D841-49FB-A8D0-0A2B150F2399}" srcOrd="0" destOrd="0" presId="urn:microsoft.com/office/officeart/2005/8/layout/default"/>
    <dgm:cxn modelId="{931CC9E8-2BAA-4315-8E6E-D59D43079102}" srcId="{3889C6F2-32CA-4104-983B-47A4E70430FA}" destId="{8CEFE379-3067-4DF1-B669-03BF682A74E1}" srcOrd="11" destOrd="0" parTransId="{6D6AFCE3-9CBB-42BA-8C95-74BFE4EC4555}" sibTransId="{DF78D9EB-59FD-489C-8534-3B483A57F7E2}"/>
    <dgm:cxn modelId="{943BE4F5-1DB5-4EC1-908F-EDBFF216B2CC}" type="presOf" srcId="{3D5413C2-501B-48C2-80FE-40547AB4AA36}" destId="{397CB937-9C39-4185-86FD-F3972B022977}" srcOrd="0" destOrd="0" presId="urn:microsoft.com/office/officeart/2005/8/layout/default"/>
    <dgm:cxn modelId="{FD5AA2F6-7C6D-43CB-84A8-BB1145F784E6}" type="presOf" srcId="{B16A76C0-18EC-4632-B69E-EB4E76B4E075}" destId="{50F0188E-3E3C-41C9-8AE5-07735DB64FBB}" srcOrd="0" destOrd="0" presId="urn:microsoft.com/office/officeart/2005/8/layout/default"/>
    <dgm:cxn modelId="{C03AA1F7-DBCB-4A1E-BDA2-03720A612F58}" srcId="{3889C6F2-32CA-4104-983B-47A4E70430FA}" destId="{7E3980F7-9BB5-418E-B163-4ACA5ED1A344}" srcOrd="13" destOrd="0" parTransId="{69FF1CDF-9B80-41DA-9D61-EA82B1A2A93E}" sibTransId="{186F4557-60F7-445D-B718-D54C4380EC60}"/>
    <dgm:cxn modelId="{5DEC17FF-37FA-49BA-975A-12CE76B19164}" type="presOf" srcId="{C49CF3CD-84F5-4CA1-B7AC-0D21AFD162BB}" destId="{57655B9B-FB5C-4E90-BE81-D553D99E9A20}" srcOrd="0" destOrd="0" presId="urn:microsoft.com/office/officeart/2005/8/layout/default"/>
    <dgm:cxn modelId="{6F673D1B-4EE2-4BBA-B895-23D95962CA96}" type="presParOf" srcId="{B1150C3D-6F9B-4C99-81D1-1F1E3D9113AC}" destId="{B509347B-D841-49FB-A8D0-0A2B150F2399}" srcOrd="0" destOrd="0" presId="urn:microsoft.com/office/officeart/2005/8/layout/default"/>
    <dgm:cxn modelId="{1692DB0B-428C-40EC-B181-E92A75E687C8}" type="presParOf" srcId="{B1150C3D-6F9B-4C99-81D1-1F1E3D9113AC}" destId="{F3D0BCC3-3ABD-4EB5-9007-7D187D0300C4}" srcOrd="1" destOrd="0" presId="urn:microsoft.com/office/officeart/2005/8/layout/default"/>
    <dgm:cxn modelId="{70CE6779-A15D-4B4E-8D86-104C47D123B5}" type="presParOf" srcId="{B1150C3D-6F9B-4C99-81D1-1F1E3D9113AC}" destId="{EE30FAD6-4500-4932-9FD3-8F7F62EEB56E}" srcOrd="2" destOrd="0" presId="urn:microsoft.com/office/officeart/2005/8/layout/default"/>
    <dgm:cxn modelId="{647A9F89-B8C8-4741-A4FF-F3D884F98F42}" type="presParOf" srcId="{B1150C3D-6F9B-4C99-81D1-1F1E3D9113AC}" destId="{872FCFAE-2275-46F2-A56C-9B7DE02E346A}" srcOrd="3" destOrd="0" presId="urn:microsoft.com/office/officeart/2005/8/layout/default"/>
    <dgm:cxn modelId="{C4E41174-184C-48A6-AF26-4EF919D31187}" type="presParOf" srcId="{B1150C3D-6F9B-4C99-81D1-1F1E3D9113AC}" destId="{C6528D0C-8D29-4295-A178-EA56936B3357}" srcOrd="4" destOrd="0" presId="urn:microsoft.com/office/officeart/2005/8/layout/default"/>
    <dgm:cxn modelId="{DE730628-92E6-4A77-B100-49F16F17253D}" type="presParOf" srcId="{B1150C3D-6F9B-4C99-81D1-1F1E3D9113AC}" destId="{3AC329FB-29DA-4B50-9075-C09FFB2C4965}" srcOrd="5" destOrd="0" presId="urn:microsoft.com/office/officeart/2005/8/layout/default"/>
    <dgm:cxn modelId="{CC543CFD-F5C0-485E-991B-F663DBC8E6BF}" type="presParOf" srcId="{B1150C3D-6F9B-4C99-81D1-1F1E3D9113AC}" destId="{644C92D3-460C-45E0-8465-38DC694A09AD}" srcOrd="6" destOrd="0" presId="urn:microsoft.com/office/officeart/2005/8/layout/default"/>
    <dgm:cxn modelId="{60B4204E-7ED2-4D86-89A7-C622D83B86C4}" type="presParOf" srcId="{B1150C3D-6F9B-4C99-81D1-1F1E3D9113AC}" destId="{3AEDCB71-B7CC-4E4F-A290-DCF824B8ADF4}" srcOrd="7" destOrd="0" presId="urn:microsoft.com/office/officeart/2005/8/layout/default"/>
    <dgm:cxn modelId="{15669F51-9796-406D-A72E-132C375B0FF0}" type="presParOf" srcId="{B1150C3D-6F9B-4C99-81D1-1F1E3D9113AC}" destId="{397CB937-9C39-4185-86FD-F3972B022977}" srcOrd="8" destOrd="0" presId="urn:microsoft.com/office/officeart/2005/8/layout/default"/>
    <dgm:cxn modelId="{3DAF8EC9-FC98-4194-B774-3548E80464EE}" type="presParOf" srcId="{B1150C3D-6F9B-4C99-81D1-1F1E3D9113AC}" destId="{D143233E-25DB-48D1-914B-1BDE90E0A7E8}" srcOrd="9" destOrd="0" presId="urn:microsoft.com/office/officeart/2005/8/layout/default"/>
    <dgm:cxn modelId="{04217084-7C32-44D0-B93C-E901E5F4EE38}" type="presParOf" srcId="{B1150C3D-6F9B-4C99-81D1-1F1E3D9113AC}" destId="{57655B9B-FB5C-4E90-BE81-D553D99E9A20}" srcOrd="10" destOrd="0" presId="urn:microsoft.com/office/officeart/2005/8/layout/default"/>
    <dgm:cxn modelId="{72C7B1B6-132C-4153-9DEB-D8A57891D429}" type="presParOf" srcId="{B1150C3D-6F9B-4C99-81D1-1F1E3D9113AC}" destId="{002CA93D-10EC-4564-BF58-8F84F8E55B5F}" srcOrd="11" destOrd="0" presId="urn:microsoft.com/office/officeart/2005/8/layout/default"/>
    <dgm:cxn modelId="{5C73E486-12F0-4E23-B73D-621A06A0088E}" type="presParOf" srcId="{B1150C3D-6F9B-4C99-81D1-1F1E3D9113AC}" destId="{65D5E7B5-DF4F-47D4-B8CC-9256FF3C9D57}" srcOrd="12" destOrd="0" presId="urn:microsoft.com/office/officeart/2005/8/layout/default"/>
    <dgm:cxn modelId="{B85E2EA1-8A2C-4B6D-94EB-1F05EE613EF4}" type="presParOf" srcId="{B1150C3D-6F9B-4C99-81D1-1F1E3D9113AC}" destId="{D75150F8-EB03-4CC0-8FF9-004ECD4474DE}" srcOrd="13" destOrd="0" presId="urn:microsoft.com/office/officeart/2005/8/layout/default"/>
    <dgm:cxn modelId="{5F12DDF6-A5FA-49B6-8EF3-E83EFC4437DE}" type="presParOf" srcId="{B1150C3D-6F9B-4C99-81D1-1F1E3D9113AC}" destId="{4BC76E81-E554-47A6-A126-952A8CF200C1}" srcOrd="14" destOrd="0" presId="urn:microsoft.com/office/officeart/2005/8/layout/default"/>
    <dgm:cxn modelId="{E76A9BD6-6777-4C55-B747-2D0FC7818913}" type="presParOf" srcId="{B1150C3D-6F9B-4C99-81D1-1F1E3D9113AC}" destId="{D9ED08FF-AAF6-4771-9D2D-F97C57589B7A}" srcOrd="15" destOrd="0" presId="urn:microsoft.com/office/officeart/2005/8/layout/default"/>
    <dgm:cxn modelId="{CAA3ED8C-4440-4810-849B-08AD1086CA6E}" type="presParOf" srcId="{B1150C3D-6F9B-4C99-81D1-1F1E3D9113AC}" destId="{D7F61431-0E09-461D-9750-1EF372024286}" srcOrd="16" destOrd="0" presId="urn:microsoft.com/office/officeart/2005/8/layout/default"/>
    <dgm:cxn modelId="{7A908AE3-737D-4B0F-ABF5-15F8EC2CBDD9}" type="presParOf" srcId="{B1150C3D-6F9B-4C99-81D1-1F1E3D9113AC}" destId="{754D5564-26CB-4B31-87F5-89297645D958}" srcOrd="17" destOrd="0" presId="urn:microsoft.com/office/officeart/2005/8/layout/default"/>
    <dgm:cxn modelId="{26154AA9-79F6-49C0-8043-8D2FDA3B274E}" type="presParOf" srcId="{B1150C3D-6F9B-4C99-81D1-1F1E3D9113AC}" destId="{50F0188E-3E3C-41C9-8AE5-07735DB64FBB}" srcOrd="18" destOrd="0" presId="urn:microsoft.com/office/officeart/2005/8/layout/default"/>
    <dgm:cxn modelId="{ACD45455-E2B3-46C4-9FE7-32407EBA2DC3}" type="presParOf" srcId="{B1150C3D-6F9B-4C99-81D1-1F1E3D9113AC}" destId="{3D3D26FB-1FA0-4D2D-99F5-EABB527E83B1}" srcOrd="19" destOrd="0" presId="urn:microsoft.com/office/officeart/2005/8/layout/default"/>
    <dgm:cxn modelId="{88A7A6D0-136F-41E0-BA2A-E9F794822FFF}" type="presParOf" srcId="{B1150C3D-6F9B-4C99-81D1-1F1E3D9113AC}" destId="{E16CE755-751C-4E81-9358-18ED2C928BAB}" srcOrd="20" destOrd="0" presId="urn:microsoft.com/office/officeart/2005/8/layout/default"/>
    <dgm:cxn modelId="{CB5E77C1-4E66-4B10-B111-BBFF3EEAEFF5}" type="presParOf" srcId="{B1150C3D-6F9B-4C99-81D1-1F1E3D9113AC}" destId="{831F2856-27DA-4AAE-9E31-FD0CE3B28D95}" srcOrd="21" destOrd="0" presId="urn:microsoft.com/office/officeart/2005/8/layout/default"/>
    <dgm:cxn modelId="{09F808EA-8625-49F9-BD0C-426F8E1E9760}" type="presParOf" srcId="{B1150C3D-6F9B-4C99-81D1-1F1E3D9113AC}" destId="{50CA300C-A27F-4584-9FD6-AF1EEB73C1C8}" srcOrd="22" destOrd="0" presId="urn:microsoft.com/office/officeart/2005/8/layout/default"/>
    <dgm:cxn modelId="{7D4F70EE-9C76-4C22-8F50-14778C6A74F2}" type="presParOf" srcId="{B1150C3D-6F9B-4C99-81D1-1F1E3D9113AC}" destId="{D3DF61B0-E90D-433B-877A-53D5B1F162CB}" srcOrd="23" destOrd="0" presId="urn:microsoft.com/office/officeart/2005/8/layout/default"/>
    <dgm:cxn modelId="{021C194F-EFEB-4A22-96F7-D29D9281A9B1}" type="presParOf" srcId="{B1150C3D-6F9B-4C99-81D1-1F1E3D9113AC}" destId="{065E1994-0F73-4BE6-8FBF-0440BF7DB185}" srcOrd="24" destOrd="0" presId="urn:microsoft.com/office/officeart/2005/8/layout/default"/>
    <dgm:cxn modelId="{9E117F94-EAC6-4563-A0D8-14F27530D4BB}" type="presParOf" srcId="{B1150C3D-6F9B-4C99-81D1-1F1E3D9113AC}" destId="{1EB39047-F3C9-4042-BC1F-9028AB3BD30C}" srcOrd="25" destOrd="0" presId="urn:microsoft.com/office/officeart/2005/8/layout/default"/>
    <dgm:cxn modelId="{1F581423-2F4B-41E3-A006-C909639D951D}" type="presParOf" srcId="{B1150C3D-6F9B-4C99-81D1-1F1E3D9113AC}" destId="{600CE2B5-E8FC-47EC-92CD-A1BEBD4F02DE}" srcOrd="2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2CBD16E-5321-4382-B261-AEE7AFCA97A3}">
      <dsp:nvSpPr>
        <dsp:cNvPr id="0" name=""/>
        <dsp:cNvSpPr/>
      </dsp:nvSpPr>
      <dsp:spPr>
        <a:xfrm>
          <a:off x="0" y="23980"/>
          <a:ext cx="11720135" cy="2117050"/>
        </a:xfrm>
        <a:prstGeom prst="rect">
          <a:avLst/>
        </a:prstGeom>
        <a:solidFill>
          <a:schemeClr val="accent1">
            <a:shade val="8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a:latin typeface="Arial" panose="020B0604020202020204" pitchFamily="34" charset="0"/>
              <a:cs typeface="Arial" panose="020B0604020202020204" pitchFamily="34" charset="0"/>
            </a:rPr>
            <a:t>PEPFAR supports communities and host country governments to reach the UNAIDS 95-95-95 global goals: 95 percent of people living with HIV know their HIV status, 95 percent of people who know their HIV status are accessing treatment, and 95 percent of people on treatment have suppressed viral loads. </a:t>
          </a:r>
        </a:p>
        <a:p>
          <a:pPr marL="0" lvl="0" indent="0" algn="l" defTabSz="933450">
            <a:lnSpc>
              <a:spcPct val="90000"/>
            </a:lnSpc>
            <a:spcBef>
              <a:spcPct val="0"/>
            </a:spcBef>
            <a:spcAft>
              <a:spcPct val="35000"/>
            </a:spcAft>
            <a:buNone/>
          </a:pPr>
          <a:endParaRPr lang="en-US" sz="2100" kern="1200">
            <a:latin typeface="Arial" panose="020B0604020202020204" pitchFamily="34" charset="0"/>
            <a:cs typeface="Arial" panose="020B0604020202020204" pitchFamily="34" charset="0"/>
          </a:endParaRPr>
        </a:p>
        <a:p>
          <a:pPr marL="0" lvl="0" indent="0" algn="l" defTabSz="933450">
            <a:lnSpc>
              <a:spcPct val="90000"/>
            </a:lnSpc>
            <a:spcBef>
              <a:spcPct val="0"/>
            </a:spcBef>
            <a:spcAft>
              <a:spcPct val="35000"/>
            </a:spcAft>
            <a:buNone/>
          </a:pPr>
          <a:r>
            <a:rPr lang="en-US" sz="2100" kern="1200">
              <a:latin typeface="Arial" panose="020B0604020202020204" pitchFamily="34" charset="0"/>
              <a:cs typeface="Arial" panose="020B0604020202020204" pitchFamily="34" charset="0"/>
            </a:rPr>
            <a:t>PEPFAR MER indicators are instrumental in tracking progress towards these targets</a:t>
          </a:r>
          <a:endParaRPr lang="en-NG" sz="2100" kern="1200">
            <a:solidFill>
              <a:schemeClr val="bg1"/>
            </a:solidFill>
            <a:latin typeface="Arial" panose="020B0604020202020204" pitchFamily="34" charset="0"/>
            <a:cs typeface="Arial" panose="020B0604020202020204" pitchFamily="34" charset="0"/>
          </a:endParaRPr>
        </a:p>
      </dsp:txBody>
      <dsp:txXfrm>
        <a:off x="0" y="23980"/>
        <a:ext cx="11720135" cy="2117050"/>
      </dsp:txXfrm>
    </dsp:sp>
    <dsp:sp modelId="{38F7E0AD-9E1D-413B-BC24-CBAD2454283D}">
      <dsp:nvSpPr>
        <dsp:cNvPr id="0" name=""/>
        <dsp:cNvSpPr/>
      </dsp:nvSpPr>
      <dsp:spPr>
        <a:xfrm>
          <a:off x="0" y="2162155"/>
          <a:ext cx="5860067" cy="2853738"/>
        </a:xfrm>
        <a:prstGeom prst="rect">
          <a:avLst/>
        </a:prstGeom>
        <a:solidFill>
          <a:schemeClr val="accent1">
            <a:lumMod val="40000"/>
            <a:lumOff val="60000"/>
          </a:schemeClr>
        </a:soli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47650" tIns="247650" rIns="247650" bIns="247650" numCol="1" spcCol="1270" anchor="ctr" anchorCtr="0">
          <a:noAutofit/>
        </a:bodyPr>
        <a:lstStyle/>
        <a:p>
          <a:pPr marL="0" lvl="0" indent="0" algn="l" defTabSz="2889250">
            <a:lnSpc>
              <a:spcPct val="90000"/>
            </a:lnSpc>
            <a:spcBef>
              <a:spcPct val="0"/>
            </a:spcBef>
            <a:spcAft>
              <a:spcPct val="35000"/>
            </a:spcAft>
            <a:buNone/>
          </a:pPr>
          <a:endParaRPr lang="en-NG" sz="6500" kern="1200"/>
        </a:p>
      </dsp:txBody>
      <dsp:txXfrm>
        <a:off x="0" y="2162155"/>
        <a:ext cx="5860067" cy="2853738"/>
      </dsp:txXfrm>
    </dsp:sp>
    <dsp:sp modelId="{99DDC5C3-F4E4-4F2F-A9CF-9AAEE6BC272E}">
      <dsp:nvSpPr>
        <dsp:cNvPr id="0" name=""/>
        <dsp:cNvSpPr/>
      </dsp:nvSpPr>
      <dsp:spPr>
        <a:xfrm>
          <a:off x="5808323" y="2154002"/>
          <a:ext cx="5860067" cy="2886946"/>
        </a:xfrm>
        <a:prstGeom prst="rect">
          <a:avLst/>
        </a:prstGeom>
        <a:solidFill>
          <a:schemeClr val="accent6">
            <a:lumMod val="20000"/>
            <a:lumOff val="80000"/>
          </a:schemeClr>
        </a:soli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47650" tIns="247650" rIns="247650" bIns="247650" numCol="1" spcCol="1270" anchor="ctr" anchorCtr="0">
          <a:noAutofit/>
        </a:bodyPr>
        <a:lstStyle/>
        <a:p>
          <a:pPr marL="0" lvl="0" indent="0" algn="l" defTabSz="2889250">
            <a:lnSpc>
              <a:spcPct val="90000"/>
            </a:lnSpc>
            <a:spcBef>
              <a:spcPct val="0"/>
            </a:spcBef>
            <a:spcAft>
              <a:spcPct val="35000"/>
            </a:spcAft>
            <a:buNone/>
          </a:pPr>
          <a:r>
            <a:rPr lang="en-US" sz="6500" kern="1200"/>
            <a:t>          </a:t>
          </a:r>
          <a:endParaRPr lang="en-NG" sz="6500" kern="1200"/>
        </a:p>
      </dsp:txBody>
      <dsp:txXfrm>
        <a:off x="5808323" y="2154002"/>
        <a:ext cx="5860067" cy="2886946"/>
      </dsp:txXfrm>
    </dsp:sp>
    <dsp:sp modelId="{6B756B58-A2E3-47D4-B977-C05A25050CE0}">
      <dsp:nvSpPr>
        <dsp:cNvPr id="0" name=""/>
        <dsp:cNvSpPr/>
      </dsp:nvSpPr>
      <dsp:spPr>
        <a:xfrm>
          <a:off x="0" y="5027178"/>
          <a:ext cx="11720135" cy="368250"/>
        </a:xfrm>
        <a:prstGeom prst="rect">
          <a:avLst/>
        </a:prstGeom>
        <a:solidFill>
          <a:schemeClr val="accent1">
            <a:shade val="8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0C1136-F42F-458A-A6F1-7D0726D4791E}">
      <dsp:nvSpPr>
        <dsp:cNvPr id="0" name=""/>
        <dsp:cNvSpPr/>
      </dsp:nvSpPr>
      <dsp:spPr>
        <a:xfrm>
          <a:off x="0" y="12086"/>
          <a:ext cx="10972799" cy="409500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just" defTabSz="1555750">
            <a:lnSpc>
              <a:spcPct val="90000"/>
            </a:lnSpc>
            <a:spcBef>
              <a:spcPct val="0"/>
            </a:spcBef>
            <a:spcAft>
              <a:spcPct val="35000"/>
            </a:spcAft>
            <a:buNone/>
          </a:pPr>
          <a:r>
            <a:rPr lang="en-US" sz="3500" kern="1200" dirty="0"/>
            <a:t>HIV Testing Services (HTS) refers to the full range of services that should be provided together with HIV testing – counselling, linkage to appropriate HIV prevention, treatment and care services and other clinical and support services; and coordination with laboratory services to support quality assurance and the delivery of correct</a:t>
          </a:r>
        </a:p>
      </dsp:txBody>
      <dsp:txXfrm>
        <a:off x="199901" y="211987"/>
        <a:ext cx="10572997" cy="369519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E5DD86A-EE90-42A2-87CC-43A6BF7E0C80}">
      <dsp:nvSpPr>
        <dsp:cNvPr id="0" name=""/>
        <dsp:cNvSpPr/>
      </dsp:nvSpPr>
      <dsp:spPr>
        <a:xfrm>
          <a:off x="48773" y="202676"/>
          <a:ext cx="3012572" cy="3842567"/>
        </a:xfrm>
        <a:prstGeom prst="roundRect">
          <a:avLst/>
        </a:prstGeom>
        <a:solidFill>
          <a:schemeClr val="accent6">
            <a:lumMod val="20000"/>
            <a:lumOff val="80000"/>
          </a:schemeClr>
        </a:solidFill>
        <a:ln>
          <a:noFill/>
        </a:ln>
        <a:effectLst>
          <a:outerShdw blurRad="40000" dist="23000" dir="5400000" rotWithShape="0">
            <a:srgbClr val="000000">
              <a:alpha val="35000"/>
            </a:srgbClr>
          </a:outerShdw>
        </a:effectLst>
      </dsp:spPr>
      <dsp:style>
        <a:lnRef idx="0">
          <a:scrgbClr r="0" g="0" b="0"/>
        </a:lnRef>
        <a:fillRef idx="1">
          <a:scrgbClr r="0" g="0" b="0"/>
        </a:fillRef>
        <a:effectRef idx="2">
          <a:scrgbClr r="0" g="0" b="0"/>
        </a:effectRef>
        <a:fontRef idx="minor"/>
      </dsp:style>
    </dsp:sp>
    <dsp:sp modelId="{9A9F818E-AB3E-4EB8-A9BB-5E31C2188600}">
      <dsp:nvSpPr>
        <dsp:cNvPr id="0" name=""/>
        <dsp:cNvSpPr/>
      </dsp:nvSpPr>
      <dsp:spPr>
        <a:xfrm>
          <a:off x="281235" y="864665"/>
          <a:ext cx="2319681" cy="2305540"/>
        </a:xfrm>
        <a:prstGeom prst="rect">
          <a:avLst/>
        </a:prstGeom>
        <a:noFill/>
        <a:ln>
          <a:noFill/>
        </a:ln>
        <a:effectLst>
          <a:outerShdw blurRad="40000" dist="23000" dir="5400000" rotWithShape="0">
            <a:srgbClr val="000000">
              <a:alpha val="35000"/>
            </a:srgbClr>
          </a:outerShdw>
        </a:effectLst>
        <a:sp3d/>
      </dsp:spPr>
      <dsp:style>
        <a:lnRef idx="0">
          <a:scrgbClr r="0" g="0" b="0"/>
        </a:lnRef>
        <a:fillRef idx="3">
          <a:scrgbClr r="0" g="0" b="0"/>
        </a:fillRef>
        <a:effectRef idx="2">
          <a:scrgbClr r="0" g="0" b="0"/>
        </a:effectRef>
        <a:fontRef idx="minor">
          <a:schemeClr val="lt1"/>
        </a:fontRef>
      </dsp:style>
      <dsp:txBody>
        <a:bodyPr spcFirstLastPara="0" vert="horz" wrap="square" lIns="63500" tIns="63500" rIns="63500" bIns="63500" numCol="1" spcCol="1270" anchor="b" anchorCtr="0">
          <a:noAutofit/>
        </a:bodyPr>
        <a:lstStyle/>
        <a:p>
          <a:pPr marL="0" lvl="0" indent="0" algn="l" defTabSz="1111250">
            <a:lnSpc>
              <a:spcPct val="90000"/>
            </a:lnSpc>
            <a:spcBef>
              <a:spcPct val="0"/>
            </a:spcBef>
            <a:spcAft>
              <a:spcPct val="35000"/>
            </a:spcAft>
            <a:buNone/>
          </a:pPr>
          <a:r>
            <a:rPr lang="en-US" sz="2500" kern="1200" dirty="0">
              <a:solidFill>
                <a:schemeClr val="tx1"/>
              </a:solidFill>
            </a:rPr>
            <a:t>HTS should be delivered using a client-centered approach guided by WHO’s </a:t>
          </a:r>
          <a:r>
            <a:rPr lang="en-US" sz="2500" b="1" kern="1200" dirty="0">
              <a:solidFill>
                <a:schemeClr val="tx1"/>
              </a:solidFill>
            </a:rPr>
            <a:t>5</a:t>
          </a:r>
          <a:r>
            <a:rPr lang="en-US" sz="2500" kern="1200" dirty="0">
              <a:solidFill>
                <a:schemeClr val="tx1"/>
              </a:solidFill>
            </a:rPr>
            <a:t> core principles </a:t>
          </a:r>
        </a:p>
      </dsp:txBody>
      <dsp:txXfrm>
        <a:off x="281235" y="864665"/>
        <a:ext cx="2319681" cy="2305540"/>
      </dsp:txXfrm>
    </dsp:sp>
    <dsp:sp modelId="{283AF665-F2C6-407D-A278-6A7FA351559A}">
      <dsp:nvSpPr>
        <dsp:cNvPr id="0" name=""/>
        <dsp:cNvSpPr/>
      </dsp:nvSpPr>
      <dsp:spPr>
        <a:xfrm>
          <a:off x="2720029" y="1210"/>
          <a:ext cx="738606" cy="738606"/>
        </a:xfrm>
        <a:prstGeom prst="ellipse">
          <a:avLst/>
        </a:prstGeom>
        <a:blipFill>
          <a:blip xmlns:r="http://schemas.openxmlformats.org/officeDocument/2006/relationships" r:embed="rId1">
            <a:duotone>
              <a:schemeClr val="accent3">
                <a:hueOff val="0"/>
                <a:satOff val="0"/>
                <a:lumOff val="0"/>
                <a:alphaOff val="0"/>
                <a:shade val="20000"/>
                <a:satMod val="200000"/>
              </a:schemeClr>
              <a:schemeClr val="accent3">
                <a:hueOff val="0"/>
                <a:satOff val="0"/>
                <a:lumOff val="0"/>
                <a:alphaOff val="0"/>
                <a:tint val="12000"/>
                <a:satMod val="190000"/>
              </a:schemeClr>
            </a:duotone>
            <a:extLst>
              <a:ext uri="{28A0092B-C50C-407E-A947-70E740481C1C}">
                <a14:useLocalDpi xmlns:a14="http://schemas.microsoft.com/office/drawing/2010/main" val="0"/>
              </a:ext>
            </a:extLst>
          </a:blip>
          <a:srcRect/>
          <a:stretch>
            <a:fillRect l="-25000" r="-25000"/>
          </a:stretch>
        </a:blipFill>
        <a:ln>
          <a:noFill/>
        </a:ln>
        <a:effectLst>
          <a:outerShdw blurRad="40000" dist="23000" dir="5400000" rotWithShape="0">
            <a:srgbClr val="000000">
              <a:alpha val="35000"/>
            </a:srgbClr>
          </a:outerShdw>
        </a:effectLst>
      </dsp:spPr>
      <dsp:style>
        <a:lnRef idx="0">
          <a:scrgbClr r="0" g="0" b="0"/>
        </a:lnRef>
        <a:fillRef idx="1">
          <a:scrgbClr r="0" g="0" b="0"/>
        </a:fillRef>
        <a:effectRef idx="2">
          <a:scrgbClr r="0" g="0" b="0"/>
        </a:effectRef>
        <a:fontRef idx="minor"/>
      </dsp:style>
    </dsp:sp>
    <dsp:sp modelId="{69E40544-D821-4178-A52F-5FE01EA74B57}">
      <dsp:nvSpPr>
        <dsp:cNvPr id="0" name=""/>
        <dsp:cNvSpPr/>
      </dsp:nvSpPr>
      <dsp:spPr>
        <a:xfrm>
          <a:off x="3458635" y="1210"/>
          <a:ext cx="4631178" cy="7386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30480" rIns="60960" bIns="30480" numCol="1" spcCol="1270" anchor="ctr" anchorCtr="0">
          <a:noAutofit/>
        </a:bodyPr>
        <a:lstStyle/>
        <a:p>
          <a:pPr marL="0" lvl="0" indent="0" algn="l" defTabSz="1066800">
            <a:lnSpc>
              <a:spcPct val="90000"/>
            </a:lnSpc>
            <a:spcBef>
              <a:spcPct val="0"/>
            </a:spcBef>
            <a:spcAft>
              <a:spcPct val="35000"/>
            </a:spcAft>
            <a:buNone/>
          </a:pPr>
          <a:r>
            <a:rPr lang="en-US" sz="2400" b="1" kern="1200" dirty="0">
              <a:solidFill>
                <a:schemeClr val="tx2"/>
              </a:solidFill>
            </a:rPr>
            <a:t>C</a:t>
          </a:r>
          <a:r>
            <a:rPr lang="en-US" sz="2400" kern="1200" dirty="0">
              <a:solidFill>
                <a:schemeClr val="tx2"/>
              </a:solidFill>
            </a:rPr>
            <a:t>onsent</a:t>
          </a:r>
        </a:p>
      </dsp:txBody>
      <dsp:txXfrm>
        <a:off x="3458635" y="1210"/>
        <a:ext cx="4631178" cy="738606"/>
      </dsp:txXfrm>
    </dsp:sp>
    <dsp:sp modelId="{DAAB30E5-B529-4802-801E-8434314A0CFC}">
      <dsp:nvSpPr>
        <dsp:cNvPr id="0" name=""/>
        <dsp:cNvSpPr/>
      </dsp:nvSpPr>
      <dsp:spPr>
        <a:xfrm>
          <a:off x="2720029" y="872765"/>
          <a:ext cx="738606" cy="738606"/>
        </a:xfrm>
        <a:prstGeom prst="ellipse">
          <a:avLst/>
        </a:prstGeom>
        <a:blipFill>
          <a:blip xmlns:r="http://schemas.openxmlformats.org/officeDocument/2006/relationships" r:embed="rId2">
            <a:duotone>
              <a:schemeClr val="accent3">
                <a:hueOff val="2679667"/>
                <a:satOff val="-3932"/>
                <a:lumOff val="2665"/>
                <a:alphaOff val="0"/>
                <a:shade val="20000"/>
                <a:satMod val="200000"/>
              </a:schemeClr>
              <a:schemeClr val="accent3">
                <a:hueOff val="2679667"/>
                <a:satOff val="-3932"/>
                <a:lumOff val="2665"/>
                <a:alphaOff val="0"/>
                <a:tint val="12000"/>
                <a:satMod val="190000"/>
              </a:schemeClr>
            </a:duotone>
            <a:extLst>
              <a:ext uri="{28A0092B-C50C-407E-A947-70E740481C1C}">
                <a14:useLocalDpi xmlns:a14="http://schemas.microsoft.com/office/drawing/2010/main" val="0"/>
              </a:ext>
            </a:extLst>
          </a:blip>
          <a:srcRect/>
          <a:stretch>
            <a:fillRect/>
          </a:stretch>
        </a:blipFill>
        <a:ln>
          <a:noFill/>
        </a:ln>
        <a:effectLst>
          <a:outerShdw blurRad="40000" dist="23000" dir="5400000" rotWithShape="0">
            <a:srgbClr val="000000">
              <a:alpha val="35000"/>
            </a:srgbClr>
          </a:outerShdw>
        </a:effectLst>
      </dsp:spPr>
      <dsp:style>
        <a:lnRef idx="0">
          <a:scrgbClr r="0" g="0" b="0"/>
        </a:lnRef>
        <a:fillRef idx="1">
          <a:scrgbClr r="0" g="0" b="0"/>
        </a:fillRef>
        <a:effectRef idx="2">
          <a:scrgbClr r="0" g="0" b="0"/>
        </a:effectRef>
        <a:fontRef idx="minor"/>
      </dsp:style>
    </dsp:sp>
    <dsp:sp modelId="{D373BAA4-5C47-4D21-8F3E-3C5960161F11}">
      <dsp:nvSpPr>
        <dsp:cNvPr id="0" name=""/>
        <dsp:cNvSpPr/>
      </dsp:nvSpPr>
      <dsp:spPr>
        <a:xfrm>
          <a:off x="3458635" y="872765"/>
          <a:ext cx="4631178" cy="7386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30480" rIns="60960" bIns="30480" numCol="1" spcCol="1270" anchor="ctr" anchorCtr="0">
          <a:noAutofit/>
        </a:bodyPr>
        <a:lstStyle/>
        <a:p>
          <a:pPr marL="0" lvl="0" indent="0" algn="l" defTabSz="1066800">
            <a:lnSpc>
              <a:spcPct val="90000"/>
            </a:lnSpc>
            <a:spcBef>
              <a:spcPct val="0"/>
            </a:spcBef>
            <a:spcAft>
              <a:spcPct val="35000"/>
            </a:spcAft>
            <a:buNone/>
          </a:pPr>
          <a:r>
            <a:rPr lang="en-US" sz="2400" b="1" kern="1200" dirty="0">
              <a:solidFill>
                <a:schemeClr val="tx2"/>
              </a:solidFill>
            </a:rPr>
            <a:t>C</a:t>
          </a:r>
          <a:r>
            <a:rPr lang="en-US" sz="2400" kern="1200" dirty="0">
              <a:solidFill>
                <a:schemeClr val="tx2"/>
              </a:solidFill>
            </a:rPr>
            <a:t>onfidentiality</a:t>
          </a:r>
        </a:p>
      </dsp:txBody>
      <dsp:txXfrm>
        <a:off x="3458635" y="872765"/>
        <a:ext cx="4631178" cy="738606"/>
      </dsp:txXfrm>
    </dsp:sp>
    <dsp:sp modelId="{3BBAD292-6C76-43F1-9D96-D2A61E508160}">
      <dsp:nvSpPr>
        <dsp:cNvPr id="0" name=""/>
        <dsp:cNvSpPr/>
      </dsp:nvSpPr>
      <dsp:spPr>
        <a:xfrm>
          <a:off x="2720029" y="1744320"/>
          <a:ext cx="738606" cy="738606"/>
        </a:xfrm>
        <a:prstGeom prst="ellipse">
          <a:avLst/>
        </a:prstGeom>
        <a:blipFill>
          <a:blip xmlns:r="http://schemas.openxmlformats.org/officeDocument/2006/relationships" r:embed="rId3">
            <a:duotone>
              <a:schemeClr val="accent3">
                <a:hueOff val="5359334"/>
                <a:satOff val="-7864"/>
                <a:lumOff val="5330"/>
                <a:alphaOff val="0"/>
                <a:shade val="20000"/>
                <a:satMod val="200000"/>
              </a:schemeClr>
              <a:schemeClr val="accent3">
                <a:hueOff val="5359334"/>
                <a:satOff val="-7864"/>
                <a:lumOff val="5330"/>
                <a:alphaOff val="0"/>
                <a:tint val="12000"/>
                <a:satMod val="190000"/>
              </a:schemeClr>
            </a:duotone>
            <a:extLst>
              <a:ext uri="{28A0092B-C50C-407E-A947-70E740481C1C}">
                <a14:useLocalDpi xmlns:a14="http://schemas.microsoft.com/office/drawing/2010/main" val="0"/>
              </a:ext>
            </a:extLst>
          </a:blip>
          <a:srcRect/>
          <a:stretch>
            <a:fillRect l="-33000" r="-33000"/>
          </a:stretch>
        </a:blipFill>
        <a:ln>
          <a:noFill/>
        </a:ln>
        <a:effectLst>
          <a:outerShdw blurRad="40000" dist="23000" dir="5400000" rotWithShape="0">
            <a:srgbClr val="000000">
              <a:alpha val="35000"/>
            </a:srgbClr>
          </a:outerShdw>
        </a:effectLst>
      </dsp:spPr>
      <dsp:style>
        <a:lnRef idx="0">
          <a:scrgbClr r="0" g="0" b="0"/>
        </a:lnRef>
        <a:fillRef idx="1">
          <a:scrgbClr r="0" g="0" b="0"/>
        </a:fillRef>
        <a:effectRef idx="2">
          <a:scrgbClr r="0" g="0" b="0"/>
        </a:effectRef>
        <a:fontRef idx="minor"/>
      </dsp:style>
    </dsp:sp>
    <dsp:sp modelId="{381A3916-B6AB-4968-8F51-4382DC082A51}">
      <dsp:nvSpPr>
        <dsp:cNvPr id="0" name=""/>
        <dsp:cNvSpPr/>
      </dsp:nvSpPr>
      <dsp:spPr>
        <a:xfrm>
          <a:off x="3458635" y="1744320"/>
          <a:ext cx="4631178" cy="7386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30480" rIns="60960" bIns="30480" numCol="1" spcCol="1270" anchor="ctr" anchorCtr="0">
          <a:noAutofit/>
        </a:bodyPr>
        <a:lstStyle/>
        <a:p>
          <a:pPr marL="0" lvl="0" indent="0" algn="l" defTabSz="1066800">
            <a:lnSpc>
              <a:spcPct val="90000"/>
            </a:lnSpc>
            <a:spcBef>
              <a:spcPct val="0"/>
            </a:spcBef>
            <a:spcAft>
              <a:spcPct val="35000"/>
            </a:spcAft>
            <a:buNone/>
          </a:pPr>
          <a:r>
            <a:rPr lang="en-US" sz="2400" b="1" kern="1200" dirty="0">
              <a:solidFill>
                <a:schemeClr val="tx2"/>
              </a:solidFill>
            </a:rPr>
            <a:t>C</a:t>
          </a:r>
          <a:r>
            <a:rPr lang="en-US" sz="2400" kern="1200" dirty="0">
              <a:solidFill>
                <a:schemeClr val="tx2"/>
              </a:solidFill>
            </a:rPr>
            <a:t>ounselling</a:t>
          </a:r>
        </a:p>
      </dsp:txBody>
      <dsp:txXfrm>
        <a:off x="3458635" y="1744320"/>
        <a:ext cx="4631178" cy="738606"/>
      </dsp:txXfrm>
    </dsp:sp>
    <dsp:sp modelId="{9AFA2CD0-701F-4D4D-AF4C-27F59FC42538}">
      <dsp:nvSpPr>
        <dsp:cNvPr id="0" name=""/>
        <dsp:cNvSpPr/>
      </dsp:nvSpPr>
      <dsp:spPr>
        <a:xfrm>
          <a:off x="2720029" y="2615875"/>
          <a:ext cx="738606" cy="738606"/>
        </a:xfrm>
        <a:prstGeom prst="ellipse">
          <a:avLst/>
        </a:prstGeom>
        <a:blipFill>
          <a:blip xmlns:r="http://schemas.openxmlformats.org/officeDocument/2006/relationships" r:embed="rId4">
            <a:duotone>
              <a:schemeClr val="accent3">
                <a:hueOff val="8039001"/>
                <a:satOff val="-11797"/>
                <a:lumOff val="7995"/>
                <a:alphaOff val="0"/>
                <a:shade val="20000"/>
                <a:satMod val="200000"/>
              </a:schemeClr>
              <a:schemeClr val="accent3">
                <a:hueOff val="8039001"/>
                <a:satOff val="-11797"/>
                <a:lumOff val="7995"/>
                <a:alphaOff val="0"/>
                <a:tint val="12000"/>
                <a:satMod val="190000"/>
              </a:schemeClr>
            </a:duotone>
            <a:extLst>
              <a:ext uri="{28A0092B-C50C-407E-A947-70E740481C1C}">
                <a14:useLocalDpi xmlns:a14="http://schemas.microsoft.com/office/drawing/2010/main" val="0"/>
              </a:ext>
            </a:extLst>
          </a:blip>
          <a:srcRect/>
          <a:stretch>
            <a:fillRect/>
          </a:stretch>
        </a:blipFill>
        <a:ln>
          <a:noFill/>
        </a:ln>
        <a:effectLst>
          <a:outerShdw blurRad="40000" dist="23000" dir="5400000" rotWithShape="0">
            <a:srgbClr val="000000">
              <a:alpha val="35000"/>
            </a:srgbClr>
          </a:outerShdw>
        </a:effectLst>
      </dsp:spPr>
      <dsp:style>
        <a:lnRef idx="0">
          <a:scrgbClr r="0" g="0" b="0"/>
        </a:lnRef>
        <a:fillRef idx="1">
          <a:scrgbClr r="0" g="0" b="0"/>
        </a:fillRef>
        <a:effectRef idx="2">
          <a:scrgbClr r="0" g="0" b="0"/>
        </a:effectRef>
        <a:fontRef idx="minor"/>
      </dsp:style>
    </dsp:sp>
    <dsp:sp modelId="{880935BA-4865-4639-8E86-8AF9CF82A1BB}">
      <dsp:nvSpPr>
        <dsp:cNvPr id="0" name=""/>
        <dsp:cNvSpPr/>
      </dsp:nvSpPr>
      <dsp:spPr>
        <a:xfrm>
          <a:off x="3458635" y="2615875"/>
          <a:ext cx="4631178" cy="7386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30480" rIns="60960" bIns="30480" numCol="1" spcCol="1270" anchor="ctr" anchorCtr="0">
          <a:noAutofit/>
        </a:bodyPr>
        <a:lstStyle/>
        <a:p>
          <a:pPr marL="0" lvl="0" indent="0" algn="l" defTabSz="1066800">
            <a:lnSpc>
              <a:spcPct val="90000"/>
            </a:lnSpc>
            <a:spcBef>
              <a:spcPct val="0"/>
            </a:spcBef>
            <a:spcAft>
              <a:spcPct val="35000"/>
            </a:spcAft>
            <a:buNone/>
          </a:pPr>
          <a:r>
            <a:rPr lang="en-US" sz="2400" b="1" kern="1200" dirty="0">
              <a:solidFill>
                <a:schemeClr val="tx2"/>
              </a:solidFill>
            </a:rPr>
            <a:t>C</a:t>
          </a:r>
          <a:r>
            <a:rPr lang="en-US" sz="2400" kern="1200" dirty="0">
              <a:solidFill>
                <a:schemeClr val="tx2"/>
              </a:solidFill>
            </a:rPr>
            <a:t>orrect test result</a:t>
          </a:r>
        </a:p>
      </dsp:txBody>
      <dsp:txXfrm>
        <a:off x="3458635" y="2615875"/>
        <a:ext cx="4631178" cy="738606"/>
      </dsp:txXfrm>
    </dsp:sp>
    <dsp:sp modelId="{5F0A3D55-CC24-419A-BA15-2CA947D0DB41}">
      <dsp:nvSpPr>
        <dsp:cNvPr id="0" name=""/>
        <dsp:cNvSpPr/>
      </dsp:nvSpPr>
      <dsp:spPr>
        <a:xfrm>
          <a:off x="2720029" y="3487430"/>
          <a:ext cx="738606" cy="738606"/>
        </a:xfrm>
        <a:prstGeom prst="ellipse">
          <a:avLst/>
        </a:prstGeom>
        <a:blipFill>
          <a:blip xmlns:r="http://schemas.openxmlformats.org/officeDocument/2006/relationships" r:embed="rId5">
            <a:duotone>
              <a:schemeClr val="accent3">
                <a:hueOff val="10718668"/>
                <a:satOff val="-15729"/>
                <a:lumOff val="10660"/>
                <a:alphaOff val="0"/>
                <a:shade val="20000"/>
                <a:satMod val="200000"/>
              </a:schemeClr>
              <a:schemeClr val="accent3">
                <a:hueOff val="10718668"/>
                <a:satOff val="-15729"/>
                <a:lumOff val="10660"/>
                <a:alphaOff val="0"/>
                <a:tint val="12000"/>
                <a:satMod val="190000"/>
              </a:schemeClr>
            </a:duotone>
            <a:extLst>
              <a:ext uri="{28A0092B-C50C-407E-A947-70E740481C1C}">
                <a14:useLocalDpi xmlns:a14="http://schemas.microsoft.com/office/drawing/2010/main" val="0"/>
              </a:ext>
            </a:extLst>
          </a:blip>
          <a:srcRect/>
          <a:stretch>
            <a:fillRect l="-25000" r="-25000"/>
          </a:stretch>
        </a:blipFill>
        <a:ln>
          <a:noFill/>
        </a:ln>
        <a:effectLst>
          <a:outerShdw blurRad="40000" dist="23000" dir="5400000" rotWithShape="0">
            <a:srgbClr val="000000">
              <a:alpha val="35000"/>
            </a:srgbClr>
          </a:outerShdw>
        </a:effectLst>
      </dsp:spPr>
      <dsp:style>
        <a:lnRef idx="0">
          <a:scrgbClr r="0" g="0" b="0"/>
        </a:lnRef>
        <a:fillRef idx="1">
          <a:scrgbClr r="0" g="0" b="0"/>
        </a:fillRef>
        <a:effectRef idx="2">
          <a:scrgbClr r="0" g="0" b="0"/>
        </a:effectRef>
        <a:fontRef idx="minor"/>
      </dsp:style>
    </dsp:sp>
    <dsp:sp modelId="{35930AF7-0ACD-4132-A4F4-B1602E5DEC3E}">
      <dsp:nvSpPr>
        <dsp:cNvPr id="0" name=""/>
        <dsp:cNvSpPr/>
      </dsp:nvSpPr>
      <dsp:spPr>
        <a:xfrm>
          <a:off x="3432747" y="3422115"/>
          <a:ext cx="6980204" cy="7386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30480" rIns="60960" bIns="30480" numCol="1" spcCol="1270" anchor="ctr" anchorCtr="0">
          <a:noAutofit/>
        </a:bodyPr>
        <a:lstStyle/>
        <a:p>
          <a:pPr marL="0" lvl="0" indent="0" algn="l" defTabSz="1066800">
            <a:lnSpc>
              <a:spcPct val="90000"/>
            </a:lnSpc>
            <a:spcBef>
              <a:spcPct val="0"/>
            </a:spcBef>
            <a:spcAft>
              <a:spcPct val="35000"/>
            </a:spcAft>
            <a:buNone/>
          </a:pPr>
          <a:r>
            <a:rPr lang="en-US" sz="2400" b="1" kern="1200" dirty="0">
              <a:solidFill>
                <a:schemeClr val="tx2"/>
              </a:solidFill>
            </a:rPr>
            <a:t>C</a:t>
          </a:r>
          <a:r>
            <a:rPr lang="en-US" sz="2400" kern="1200" dirty="0">
              <a:solidFill>
                <a:schemeClr val="tx2"/>
              </a:solidFill>
            </a:rPr>
            <a:t>onnection to appropriate services (prevention, treatment, care, &amp; support services)</a:t>
          </a:r>
        </a:p>
      </dsp:txBody>
      <dsp:txXfrm>
        <a:off x="3432747" y="3422115"/>
        <a:ext cx="6980204" cy="73860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09347B-D841-49FB-A8D0-0A2B150F2399}">
      <dsp:nvSpPr>
        <dsp:cNvPr id="0" name=""/>
        <dsp:cNvSpPr/>
      </dsp:nvSpPr>
      <dsp:spPr>
        <a:xfrm>
          <a:off x="3594" y="229666"/>
          <a:ext cx="1946002" cy="1167601"/>
        </a:xfrm>
        <a:prstGeom prst="rect">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a:t>Client Intake Form</a:t>
          </a:r>
        </a:p>
      </dsp:txBody>
      <dsp:txXfrm>
        <a:off x="3594" y="229666"/>
        <a:ext cx="1946002" cy="1167601"/>
      </dsp:txXfrm>
    </dsp:sp>
    <dsp:sp modelId="{EE30FAD6-4500-4932-9FD3-8F7F62EEB56E}">
      <dsp:nvSpPr>
        <dsp:cNvPr id="0" name=""/>
        <dsp:cNvSpPr/>
      </dsp:nvSpPr>
      <dsp:spPr>
        <a:xfrm>
          <a:off x="2144196" y="229666"/>
          <a:ext cx="1946002" cy="1167601"/>
        </a:xfrm>
        <a:prstGeom prst="rect">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a:t>HIV Request and Result Form</a:t>
          </a:r>
        </a:p>
      </dsp:txBody>
      <dsp:txXfrm>
        <a:off x="2144196" y="229666"/>
        <a:ext cx="1946002" cy="1167601"/>
      </dsp:txXfrm>
    </dsp:sp>
    <dsp:sp modelId="{C6528D0C-8D29-4295-A178-EA56936B3357}">
      <dsp:nvSpPr>
        <dsp:cNvPr id="0" name=""/>
        <dsp:cNvSpPr/>
      </dsp:nvSpPr>
      <dsp:spPr>
        <a:xfrm>
          <a:off x="4284798" y="229666"/>
          <a:ext cx="1946002" cy="1167601"/>
        </a:xfrm>
        <a:prstGeom prst="rect">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Daily HIV &amp; Syphilis Testing Worksheet</a:t>
          </a:r>
        </a:p>
      </dsp:txBody>
      <dsp:txXfrm>
        <a:off x="4284798" y="229666"/>
        <a:ext cx="1946002" cy="1167601"/>
      </dsp:txXfrm>
    </dsp:sp>
    <dsp:sp modelId="{644C92D3-460C-45E0-8465-38DC694A09AD}">
      <dsp:nvSpPr>
        <dsp:cNvPr id="0" name=""/>
        <dsp:cNvSpPr/>
      </dsp:nvSpPr>
      <dsp:spPr>
        <a:xfrm>
          <a:off x="6437875" y="249539"/>
          <a:ext cx="1946002" cy="1167601"/>
        </a:xfrm>
        <a:prstGeom prst="rect">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a:t>HTS Register</a:t>
          </a:r>
        </a:p>
      </dsp:txBody>
      <dsp:txXfrm>
        <a:off x="6437875" y="249539"/>
        <a:ext cx="1946002" cy="1167601"/>
      </dsp:txXfrm>
    </dsp:sp>
    <dsp:sp modelId="{397CB937-9C39-4185-86FD-F3972B022977}">
      <dsp:nvSpPr>
        <dsp:cNvPr id="0" name=""/>
        <dsp:cNvSpPr/>
      </dsp:nvSpPr>
      <dsp:spPr>
        <a:xfrm>
          <a:off x="6445834" y="1547363"/>
          <a:ext cx="1946002" cy="1167601"/>
        </a:xfrm>
        <a:prstGeom prst="rect">
          <a:avLst/>
        </a:prstGeom>
        <a:solidFill>
          <a:schemeClr val="accent6"/>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a:t>Client Referral Form</a:t>
          </a:r>
        </a:p>
      </dsp:txBody>
      <dsp:txXfrm>
        <a:off x="6445834" y="1547363"/>
        <a:ext cx="1946002" cy="1167601"/>
      </dsp:txXfrm>
    </dsp:sp>
    <dsp:sp modelId="{57655B9B-FB5C-4E90-BE81-D553D99E9A20}">
      <dsp:nvSpPr>
        <dsp:cNvPr id="0" name=""/>
        <dsp:cNvSpPr/>
      </dsp:nvSpPr>
      <dsp:spPr>
        <a:xfrm>
          <a:off x="8503342" y="1500235"/>
          <a:ext cx="1946002" cy="1167601"/>
        </a:xfrm>
        <a:prstGeom prst="rect">
          <a:avLst/>
        </a:prstGeom>
        <a:solidFill>
          <a:schemeClr val="accent6"/>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Referral Register</a:t>
          </a:r>
        </a:p>
      </dsp:txBody>
      <dsp:txXfrm>
        <a:off x="8503342" y="1500235"/>
        <a:ext cx="1946002" cy="1167601"/>
      </dsp:txXfrm>
    </dsp:sp>
    <dsp:sp modelId="{65D5E7B5-DF4F-47D4-B8CC-9256FF3C9D57}">
      <dsp:nvSpPr>
        <dsp:cNvPr id="0" name=""/>
        <dsp:cNvSpPr/>
      </dsp:nvSpPr>
      <dsp:spPr>
        <a:xfrm>
          <a:off x="0" y="1521473"/>
          <a:ext cx="1946002" cy="1167601"/>
        </a:xfrm>
        <a:prstGeom prst="rect">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Partner Notification Service Form</a:t>
          </a:r>
        </a:p>
      </dsp:txBody>
      <dsp:txXfrm>
        <a:off x="0" y="1521473"/>
        <a:ext cx="1946002" cy="1167601"/>
      </dsp:txXfrm>
    </dsp:sp>
    <dsp:sp modelId="{4BC76E81-E554-47A6-A126-952A8CF200C1}">
      <dsp:nvSpPr>
        <dsp:cNvPr id="0" name=""/>
        <dsp:cNvSpPr/>
      </dsp:nvSpPr>
      <dsp:spPr>
        <a:xfrm>
          <a:off x="2084434" y="1595055"/>
          <a:ext cx="1946002" cy="1167601"/>
        </a:xfrm>
        <a:prstGeom prst="rect">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Family Index Testing Form</a:t>
          </a:r>
        </a:p>
      </dsp:txBody>
      <dsp:txXfrm>
        <a:off x="2084434" y="1595055"/>
        <a:ext cx="1946002" cy="1167601"/>
      </dsp:txXfrm>
    </dsp:sp>
    <dsp:sp modelId="{D7F61431-0E09-461D-9750-1EF372024286}">
      <dsp:nvSpPr>
        <dsp:cNvPr id="0" name=""/>
        <dsp:cNvSpPr/>
      </dsp:nvSpPr>
      <dsp:spPr>
        <a:xfrm>
          <a:off x="4282736" y="1586742"/>
          <a:ext cx="1946002" cy="1167601"/>
        </a:xfrm>
        <a:prstGeom prst="rect">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a:t>Index Testing Register</a:t>
          </a:r>
        </a:p>
      </dsp:txBody>
      <dsp:txXfrm>
        <a:off x="4282736" y="1586742"/>
        <a:ext cx="1946002" cy="1167601"/>
      </dsp:txXfrm>
    </dsp:sp>
    <dsp:sp modelId="{50F0188E-3E3C-41C9-8AE5-07735DB64FBB}">
      <dsp:nvSpPr>
        <dsp:cNvPr id="0" name=""/>
        <dsp:cNvSpPr/>
      </dsp:nvSpPr>
      <dsp:spPr>
        <a:xfrm>
          <a:off x="281016" y="2972720"/>
          <a:ext cx="1946002" cy="1167601"/>
        </a:xfrm>
        <a:prstGeom prst="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HIVST Response and Referral Card</a:t>
          </a:r>
        </a:p>
      </dsp:txBody>
      <dsp:txXfrm>
        <a:off x="281016" y="2972720"/>
        <a:ext cx="1946002" cy="1167601"/>
      </dsp:txXfrm>
    </dsp:sp>
    <dsp:sp modelId="{E16CE755-751C-4E81-9358-18ED2C928BAB}">
      <dsp:nvSpPr>
        <dsp:cNvPr id="0" name=""/>
        <dsp:cNvSpPr/>
      </dsp:nvSpPr>
      <dsp:spPr>
        <a:xfrm>
          <a:off x="2772210" y="2931815"/>
          <a:ext cx="1946002" cy="1167601"/>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HIVST Register</a:t>
          </a:r>
        </a:p>
      </dsp:txBody>
      <dsp:txXfrm>
        <a:off x="2772210" y="2931815"/>
        <a:ext cx="1946002" cy="1167601"/>
      </dsp:txXfrm>
    </dsp:sp>
    <dsp:sp modelId="{50CA300C-A27F-4584-9FD6-AF1EEB73C1C8}">
      <dsp:nvSpPr>
        <dsp:cNvPr id="0" name=""/>
        <dsp:cNvSpPr/>
      </dsp:nvSpPr>
      <dsp:spPr>
        <a:xfrm>
          <a:off x="5384757" y="2931815"/>
          <a:ext cx="1946002" cy="1167601"/>
        </a:xfrm>
        <a:prstGeom prst="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PMTCT HTS Register</a:t>
          </a:r>
        </a:p>
      </dsp:txBody>
      <dsp:txXfrm>
        <a:off x="5384757" y="2931815"/>
        <a:ext cx="1946002" cy="1167601"/>
      </dsp:txXfrm>
    </dsp:sp>
    <dsp:sp modelId="{065E1994-0F73-4BE6-8FBF-0440BF7DB185}">
      <dsp:nvSpPr>
        <dsp:cNvPr id="0" name=""/>
        <dsp:cNvSpPr/>
      </dsp:nvSpPr>
      <dsp:spPr>
        <a:xfrm>
          <a:off x="7979653" y="2914254"/>
          <a:ext cx="1946002" cy="1167601"/>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RTRI Result Documentation Form</a:t>
          </a:r>
        </a:p>
      </dsp:txBody>
      <dsp:txXfrm>
        <a:off x="7979653" y="2914254"/>
        <a:ext cx="1946002" cy="1167601"/>
      </dsp:txXfrm>
    </dsp:sp>
    <dsp:sp modelId="{600CE2B5-E8FC-47EC-92CD-A1BEBD4F02DE}">
      <dsp:nvSpPr>
        <dsp:cNvPr id="0" name=""/>
        <dsp:cNvSpPr/>
      </dsp:nvSpPr>
      <dsp:spPr>
        <a:xfrm>
          <a:off x="8569597" y="271342"/>
          <a:ext cx="1946002" cy="1167601"/>
        </a:xfrm>
        <a:prstGeom prst="rect">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HTS Monthly Summary Form</a:t>
          </a:r>
        </a:p>
      </dsp:txBody>
      <dsp:txXfrm>
        <a:off x="8569597" y="271342"/>
        <a:ext cx="1946002" cy="1167601"/>
      </dsp:txXfrm>
    </dsp:sp>
  </dsp:spTree>
</dsp:drawing>
</file>

<file path=ppt/diagrams/layout1.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8/layout/AccentedPicture">
  <dgm:title val=""/>
  <dgm:desc val=""/>
  <dgm:catLst>
    <dgm:cat type="picture" pri="1000"/>
    <dgm:cat type="pictureconvert" pri="1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varLst>
    <dgm:alg type="composite"/>
    <dgm:shape xmlns:r="http://schemas.openxmlformats.org/officeDocument/2006/relationships" r:blip="">
      <dgm:adjLst/>
    </dgm:shape>
    <dgm:choose name="Name1">
      <dgm:if name="Name2" axis="ch" ptType="node" func="cnt" op="lte" val="1">
        <dgm:constrLst>
          <dgm:constr type="h" for="ch" forName="picture_1" refType="h"/>
          <dgm:constr type="w" for="ch" forName="picture_1" refType="h" refFor="ch" refForName="picture_1" op="equ" fact="0.784"/>
          <dgm:constr type="l" for="ch" forName="picture_1"/>
          <dgm:constr type="t" for="ch" forName="picture_1"/>
          <dgm:constr type="w" for="ch" forName="text_1" refType="w" refFor="ch" refForName="picture_1" fact="0.77"/>
          <dgm:constr type="h" for="ch" forName="text_1" refType="h" refFor="ch" refForName="picture_1" fact="0.6"/>
          <dgm:constr type="l" for="ch" forName="text_1" refType="w" refFor="ch" refForName="picture_1" fact="0.04"/>
          <dgm:constr type="t" for="ch" forName="text_1" refType="h" refFor="ch" refForName="picture_1" fact="0.4"/>
        </dgm:constrLst>
      </dgm:if>
      <dgm:if name="Name3" axis="ch" ptType="node" func="cnt" op="lte" val="5">
        <dgm:choose name="Name4">
          <dgm:if name="Name5" func="var" arg="dir" op="equ" val="norm">
            <dgm:constrLst>
              <dgm:constr type="h" for="ch" forName="picture_1" refType="h" fact="0.909"/>
              <dgm:constr type="w" for="ch" forName="picture_1" refType="h" refFor="ch" refForName="picture_1" op="equ" fact="0.784"/>
              <dgm:constr type="l" for="ch" forName="picture_1"/>
              <dgm:constr type="t" for="ch" forName="picture_1" refType="h" refFor="ch" refForName="picture_1" fact="0.05"/>
              <dgm:constr type="w" for="ch" forName="picture_1" refType="w" op="lte" fact="0.588"/>
              <dgm:constr type="w" for="ch" forName="text_1" refType="w" refFor="ch" refForName="picture_1" fact="0.77"/>
              <dgm:constr type="h" for="ch" forName="text_1" refType="h" refFor="ch" refForName="picture_1" fact="0.6"/>
              <dgm:constr type="l" for="ch" forName="text_1" refType="w" refFor="ch" refForName="picture_1" fact="0.04"/>
              <dgm:constr type="t" for="ch" forName="text_1" refType="h" refFor="ch" refForName="picture_1" fact="0.41"/>
              <dgm:constr type="w" for="ch" forName="linV" refType="w"/>
              <dgm:constr type="h" for="ch" forName="linV" refType="h" refFor="ch" refForName="picture_1" fact="1.1"/>
              <dgm:constr type="l" for="ch" forName="linV"/>
              <dgm:constr type="t" for="ch" forName="linV"/>
              <dgm:constr type="userC" for="des" forName="pair" refType="r" refFor="ch" refForName="picture_1"/>
              <dgm:constr type="h" for="des" forName="pair" refType="h" refFor="ch" refForName="picture_1" fact="0.27"/>
              <dgm:constr type="h" for="des" forName="spaceV" refType="h" refFor="ch" refForName="picture_1" fact="0.0486"/>
              <dgm:constr type="l" for="ch" forName="maxNode" refType="r" refFor="ch" refForName="picture_1"/>
              <dgm:constr type="lOff" for="ch" forName="maxNode" refType="h" refFor="des" refForName="pair" fact="0.5"/>
              <dgm:constr type="r" for="ch" forName="maxNode" refType="w"/>
              <dgm:constr type="t" for="ch" forName="maxNode"/>
              <dgm:constr type="h" for="ch" forName="maxNode" val="1"/>
              <dgm:constr type="userW" for="des" forName="desText" refType="w" refFor="ch" refForName="maxNode"/>
            </dgm:constrLst>
          </dgm:if>
          <dgm:else name="Name6">
            <dgm:constrLst>
              <dgm:constr type="h" for="ch" forName="picture_1" refType="h" fact="0.909"/>
              <dgm:constr type="w" for="ch" forName="picture_1" refType="h" refFor="ch" refForName="picture_1" op="equ" fact="0.784"/>
              <dgm:constr type="r" for="ch" forName="picture_1" refType="w"/>
              <dgm:constr type="t" for="ch" forName="picture_1" refType="h" refFor="ch" refForName="picture_1" fact="0.05"/>
              <dgm:constr type="w" for="ch" forName="picture_1" refType="w" op="lte" fact="0.588"/>
              <dgm:constr type="w" for="ch" forName="text_1" refType="w" refFor="ch" refForName="picture_1" fact="0.77"/>
              <dgm:constr type="h" for="ch" forName="text_1" refType="h" refFor="ch" refForName="picture_1" fact="0.6"/>
              <dgm:constr type="r" for="ch" forName="text_1" refType="w"/>
              <dgm:constr type="t" for="ch" forName="text_1" refType="h" refFor="ch" refForName="picture_1" fact="0.41"/>
              <dgm:constr type="w" for="ch" forName="linV" refType="w"/>
              <dgm:constr type="h" for="ch" forName="linV" refType="h" refFor="ch" refForName="picture_1" fact="1.1"/>
              <dgm:constr type="l" for="ch" forName="linV"/>
              <dgm:constr type="t" for="ch" forName="linV"/>
              <dgm:constr type="userC" for="des" forName="pair" refType="l" refFor="ch" refForName="picture_1"/>
              <dgm:constr type="h" for="des" forName="pair" refType="h" refFor="ch" refForName="picture_1" fact="0.27"/>
              <dgm:constr type="h" for="des" forName="spaceV" refType="h" refFor="ch" refForName="picture_1" fact="0.0486"/>
              <dgm:constr type="r" for="ch" forName="maxNode" refType="l" refFor="ch" refForName="picture_1"/>
              <dgm:constr type="rOff" for="ch" forName="maxNode" refType="h" refFor="des" refForName="pair" fact="-0.5"/>
              <dgm:constr type="l" for="ch" forName="maxNode"/>
              <dgm:constr type="t" for="ch" forName="maxNode"/>
              <dgm:constr type="h" for="ch" forName="maxNode" val="1"/>
              <dgm:constr type="userW" for="des" forName="desText" refType="w" refFor="ch" refForName="maxNode"/>
            </dgm:constrLst>
          </dgm:else>
        </dgm:choose>
      </dgm:if>
      <dgm:else name="Name7">
        <dgm:choose name="Name8">
          <dgm:if name="Name9" func="var" arg="dir" op="equ" val="norm">
            <dgm:constrLst>
              <dgm:constr type="h" for="ch" forName="picture_1" refType="h" fact="0.909"/>
              <dgm:constr type="w" for="ch" forName="picture_1" refType="h" refFor="ch" refForName="picture_1" op="equ" fact="0.784"/>
              <dgm:constr type="l" for="ch" forName="picture_1"/>
              <dgm:constr type="t" for="ch" forName="picture_1" refType="h" refFor="ch" refForName="picture_1" fact="0.05"/>
              <dgm:constr type="w" for="ch" forName="picture_1" refType="w" op="lte" fact="0.588"/>
              <dgm:constr type="w" for="ch" forName="text_1" refType="w" refFor="ch" refForName="picture_1" fact="0.77"/>
              <dgm:constr type="h" for="ch" forName="text_1" refType="h" refFor="ch" refForName="picture_1" fact="0.6"/>
              <dgm:constr type="l" for="ch" forName="text_1" refType="w" refFor="ch" refForName="picture_1" fact="0.04"/>
              <dgm:constr type="t" for="ch" forName="text_1" refType="h" refFor="ch" refForName="picture_1" fact="0.41"/>
              <dgm:constr type="w" for="ch" forName="linV" refType="w"/>
              <dgm:constr type="h" for="ch" forName="linV" refType="h" refFor="ch" refForName="picture_1" fact="1.1"/>
              <dgm:constr type="l" for="ch" forName="linV"/>
              <dgm:constr type="t" for="ch" forName="linV"/>
              <dgm:constr type="userC" for="des" forName="pair" refType="r" refFor="ch" refForName="picture_1"/>
              <dgm:constr type="h" for="des" forName="pair" refType="h" refFor="ch" refForName="picture_1" fact="0.27"/>
              <dgm:constr type="h" for="des" forName="spaceV" refType="h" refFor="ch" refForName="picture_1" fact="0.0486"/>
              <dgm:constr type="l" for="ch" forName="maxNode" refType="r" refFor="ch" refForName="picture_1"/>
              <dgm:constr type="lOff" for="ch" forName="maxNode" refType="h" refFor="des" refForName="pair" fact="0.5"/>
              <dgm:constr type="r" for="ch" forName="maxNode" refType="w"/>
              <dgm:constr type="t" for="ch" forName="maxNode"/>
              <dgm:constr type="h" for="ch" forName="maxNode" val="1"/>
              <dgm:constr type="userW" for="des" forName="desText" refType="w" refFor="ch" refForName="maxNode"/>
            </dgm:constrLst>
          </dgm:if>
          <dgm:else name="Name10">
            <dgm:constrLst>
              <dgm:constr type="h" for="ch" forName="picture_1" refType="h" fact="0.909"/>
              <dgm:constr type="w" for="ch" forName="picture_1" refType="h" refFor="ch" refForName="picture_1" op="equ" fact="0.784"/>
              <dgm:constr type="r" for="ch" forName="picture_1" refType="w"/>
              <dgm:constr type="t" for="ch" forName="picture_1" refType="h" refFor="ch" refForName="picture_1" fact="0.05"/>
              <dgm:constr type="w" for="ch" forName="picture_1" refType="w" op="lte" fact="0.588"/>
              <dgm:constr type="w" for="ch" forName="text_1" refType="w" refFor="ch" refForName="picture_1" fact="0.77"/>
              <dgm:constr type="h" for="ch" forName="text_1" refType="h" refFor="ch" refForName="picture_1" fact="0.6"/>
              <dgm:constr type="r" for="ch" forName="text_1" refType="w"/>
              <dgm:constr type="t" for="ch" forName="text_1" refType="h" refFor="ch" refForName="picture_1" fact="0.41"/>
              <dgm:constr type="w" for="ch" forName="linV" refType="w"/>
              <dgm:constr type="h" for="ch" forName="linV" refType="h" refFor="ch" refForName="picture_1" fact="1.1"/>
              <dgm:constr type="l" for="ch" forName="linV"/>
              <dgm:constr type="t" for="ch" forName="linV"/>
              <dgm:constr type="userC" for="des" forName="pair" refType="l" refFor="ch" refForName="picture_1"/>
              <dgm:constr type="h" for="des" forName="pair" refType="h" refFor="ch" refForName="picture_1" fact="0.27"/>
              <dgm:constr type="h" for="des" forName="spaceV" refType="h" refFor="ch" refForName="picture_1" fact="0.0486"/>
              <dgm:constr type="r" for="ch" forName="maxNode" refType="l" refFor="ch" refForName="picture_1"/>
              <dgm:constr type="rOff" for="ch" forName="maxNode" refType="h" refFor="des" refForName="pair" fact="-0.5"/>
              <dgm:constr type="l" for="ch" forName="maxNode"/>
              <dgm:constr type="t" for="ch" forName="maxNode"/>
              <dgm:constr type="h" for="ch" forName="maxNode" val="1"/>
              <dgm:constr type="userW" for="des" forName="desText" refType="w" refFor="ch" refForName="maxNode"/>
            </dgm:constrLst>
          </dgm:else>
        </dgm:choose>
      </dgm:else>
    </dgm:choose>
    <dgm:forEach name="Name11" axis="ch" ptType="sibTrans" hideLastTrans="0" cnt="1">
      <dgm:layoutNode name="picture_1" styleLbl="bgImgPlace1">
        <dgm:alg type="sp"/>
        <dgm:shape xmlns:r="http://schemas.openxmlformats.org/officeDocument/2006/relationships" type="roundRect" r:blip="" blipPhldr="1">
          <dgm:adjLst/>
        </dgm:shape>
        <dgm:presOf axis="self"/>
      </dgm:layoutNode>
    </dgm:forEach>
    <dgm:forEach name="Name12" axis="ch" ptType="node" cnt="1">
      <dgm:layoutNode name="text_1" styleLbl="node1">
        <dgm:varLst>
          <dgm:bulletEnabled val="1"/>
        </dgm:varLst>
        <dgm:choose name="Name13">
          <dgm:if name="Name14" func="var" arg="dir" op="equ" val="norm">
            <dgm:alg type="tx">
              <dgm:param type="txAnchorVert" val="b"/>
              <dgm:param type="parTxLTRAlign" val="l"/>
              <dgm:param type="shpTxLTRAlignCh" val="l"/>
              <dgm:param type="parTxRTLAlign" val="l"/>
              <dgm:param type="shpTxRTLAlignCh" val="l"/>
            </dgm:alg>
          </dgm:if>
          <dgm:else name="Name15">
            <dgm:alg type="tx">
              <dgm:param type="txAnchorVert" val="b"/>
              <dgm:param type="parTxLTRAlign" val="r"/>
              <dgm:param type="shpTxLTRAlignCh" val="r"/>
              <dgm:param type="parTxRTLAlign" val="r"/>
              <dgm:param type="shpTxRTLAlignCh" val="r"/>
            </dgm:alg>
          </dgm:else>
        </dgm:choose>
        <dgm:shape xmlns:r="http://schemas.openxmlformats.org/officeDocument/2006/relationships" type="rect" r:blip="" hideGeom="1">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forEach>
    <dgm:choose name="Name16">
      <dgm:if name="Name17" axis="ch" ptType="node" func="cnt" op="gte" val="2">
        <dgm:layoutNode name="linV">
          <dgm:choose name="Name18">
            <dgm:if name="Name19" func="var" arg="dir" op="equ" val="norm">
              <dgm:alg type="lin">
                <dgm:param type="linDir" val="fromT"/>
                <dgm:param type="vertAlign" val="t"/>
                <dgm:param type="fallback" val="1D"/>
                <dgm:param type="horzAlign" val="l"/>
                <dgm:param type="nodeHorzAlign" val="l"/>
              </dgm:alg>
            </dgm:if>
            <dgm:else name="Name20">
              <dgm:alg type="lin">
                <dgm:param type="linDir" val="fromT"/>
                <dgm:param type="vertAlign" val="t"/>
                <dgm:param type="fallback" val="1D"/>
                <dgm:param type="horzAlign" val="r"/>
                <dgm:param type="nodeHorzAlign" val="r"/>
              </dgm:alg>
            </dgm:else>
          </dgm:choose>
          <dgm:shape xmlns:r="http://schemas.openxmlformats.org/officeDocument/2006/relationships" r:blip="">
            <dgm:adjLst/>
          </dgm:shape>
          <dgm:constrLst>
            <dgm:constr type="w" for="ch" forName="spaceV" val="1"/>
            <dgm:constr type="w" for="ch" forName="pair" refType="w" op="equ"/>
            <dgm:constr type="w" for="des" forName="desText" op="equ"/>
            <dgm:constr type="primFontSz" for="des" forName="desText" op="equ" val="65"/>
          </dgm:constrLst>
          <dgm:forEach name="Name21" axis="ch" ptType="node" st="2">
            <dgm:layoutNode name="pair">
              <dgm:alg type="composite"/>
              <dgm:shape xmlns:r="http://schemas.openxmlformats.org/officeDocument/2006/relationships" r:blip="">
                <dgm:adjLst/>
              </dgm:shape>
              <dgm:choose name="Name22">
                <dgm:if name="Name23" func="var" arg="dir" op="equ" val="norm">
                  <dgm:constrLst>
                    <dgm:constr type="userC"/>
                    <dgm:constr type="l" for="ch" forName="spaceH"/>
                    <dgm:constr type="r" for="ch" forName="spaceH" refType="userC"/>
                    <dgm:constr type="ctrY" for="ch" forName="spaceH" refType="w" fact="0.5"/>
                    <dgm:constr type="h" for="ch" forName="spaceH" val="1"/>
                    <dgm:constr type="w" for="ch" forName="desPictures" refType="h"/>
                    <dgm:constr type="h" for="ch" forName="desPictures" refType="w" refFor="ch" refForName="desPictures" op="equ"/>
                    <dgm:constr type="ctrX" for="ch" forName="desPictures" refType="userC"/>
                    <dgm:constr type="ctrY" for="ch" forName="desPictures" refType="w" fact="0.5"/>
                    <dgm:constr type="l" for="ch" forName="desTextWrapper" refType="r" refFor="ch" refForName="desPictures"/>
                    <dgm:constr type="ctrY" for="ch" forName="desTextWrapper" refType="w" fact="0.5"/>
                    <dgm:constr type="h" for="ch" forName="desTextWrapper" refType="h"/>
                    <dgm:constr type="h" for="des" forName="desText" refType="h"/>
                  </dgm:constrLst>
                </dgm:if>
                <dgm:else name="Name24">
                  <dgm:constrLst>
                    <dgm:constr type="userC"/>
                    <dgm:constr type="r" for="ch" forName="spaceH" refType="w"/>
                    <dgm:constr type="l" for="ch" forName="spaceH" refType="userC"/>
                    <dgm:constr type="ctrY" for="ch" forName="spaceH" refType="w" fact="0.5"/>
                    <dgm:constr type="h" for="ch" forName="spaceH" val="1"/>
                    <dgm:constr type="w" for="ch" forName="desPictures" refType="h"/>
                    <dgm:constr type="h" for="ch" forName="desPictures" refType="w" refFor="ch" refForName="desPictures" op="equ"/>
                    <dgm:constr type="ctrX" for="ch" forName="desPictures" refType="userC"/>
                    <dgm:constr type="ctrY" for="ch" forName="desPictures" refType="w" fact="0.5"/>
                    <dgm:constr type="r" for="ch" forName="desTextWrapper" refType="l" refFor="ch" refForName="desPictures"/>
                    <dgm:constr type="ctrY" for="ch" forName="desTextWrapper" refType="w" fact="0.5"/>
                    <dgm:constr type="h" for="ch" forName="desTextWrapper" refType="h"/>
                    <dgm:constr type="h" for="des" forName="desText" refType="h"/>
                  </dgm:constrLst>
                </dgm:else>
              </dgm:choose>
              <dgm:layoutNode name="spaceH">
                <dgm:alg type="sp"/>
                <dgm:shape xmlns:r="http://schemas.openxmlformats.org/officeDocument/2006/relationships" type="rect" r:blip="" hideGeom="1">
                  <dgm:adjLst/>
                </dgm:shape>
                <dgm:presOf/>
              </dgm:layoutNode>
              <dgm:layoutNode name="desPictures" styleLbl="alignImgPlace1">
                <dgm:alg type="sp"/>
                <dgm:shape xmlns:r="http://schemas.openxmlformats.org/officeDocument/2006/relationships" type="ellipse" r:blip="" blipPhldr="1">
                  <dgm:adjLst/>
                </dgm:shape>
                <dgm:presOf/>
              </dgm:layoutNode>
              <dgm:layoutNode name="desTextWrapper">
                <dgm:choose name="Name25">
                  <dgm:if name="Name26" func="var" arg="dir" op="equ" val="norm">
                    <dgm:alg type="lin">
                      <dgm:param type="horzAlign" val="l"/>
                    </dgm:alg>
                  </dgm:if>
                  <dgm:else name="Name27">
                    <dgm:alg type="lin">
                      <dgm:param type="horzAlign" val="r"/>
                    </dgm:alg>
                  </dgm:else>
                </dgm:choose>
                <dgm:layoutNode name="desText" styleLbl="revTx">
                  <dgm:varLst>
                    <dgm:bulletEnabled val="1"/>
                  </dgm:varLst>
                  <dgm:choose name="Name28">
                    <dgm:if name="Name29" func="var" arg="dir" op="equ" val="norm">
                      <dgm:alg type="tx">
                        <dgm:param type="parTxLTRAlign" val="l"/>
                        <dgm:param type="shpTxLTRAlignCh" val="l"/>
                        <dgm:param type="parTxRTLAlign" val="r"/>
                        <dgm:param type="shpTxRTLAlignCh" val="r"/>
                      </dgm:alg>
                    </dgm:if>
                    <dgm:else name="Name30">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2"/>
                    <dgm:constr type="rMarg" refType="primFontSz" fact="0.2"/>
                    <dgm:constr type="tMarg" refType="primFontSz" fact="0.1"/>
                    <dgm:constr type="bMarg" refType="primFontSz" fact="0.1"/>
                  </dgm:constrLst>
                  <dgm:ruleLst>
                    <dgm:rule type="w" val="NaN" fact="1" max="NaN"/>
                    <dgm:rule type="primFontSz" val="5" fact="NaN" max="NaN"/>
                  </dgm:ruleLst>
                </dgm:layoutNode>
              </dgm:layoutNode>
            </dgm:layoutNode>
            <dgm:forEach name="Name31" axis="followSib" ptType="sibTrans" cnt="1">
              <dgm:layoutNode name="spaceV">
                <dgm:alg type="sp"/>
                <dgm:shape xmlns:r="http://schemas.openxmlformats.org/officeDocument/2006/relationships" r:blip="">
                  <dgm:adjLst/>
                </dgm:shape>
                <dgm:presOf/>
              </dgm:layoutNode>
            </dgm:forEach>
          </dgm:forEach>
        </dgm:layoutNode>
      </dgm:if>
      <dgm:else name="Name32"/>
    </dgm:choose>
    <dgm:layoutNode name="maxNode">
      <dgm:alg type="lin"/>
      <dgm:shape xmlns:r="http://schemas.openxmlformats.org/officeDocument/2006/relationships" r:blip="">
        <dgm:adjLst/>
      </dgm:shape>
      <dgm:presOf/>
      <dgm:constrLst>
        <dgm:constr type="w" for="ch"/>
        <dgm:constr type="h" for="ch"/>
      </dgm:constrLst>
      <dgm:layoutNode name="Name33">
        <dgm:alg type="sp"/>
        <dgm:shape xmlns:r="http://schemas.openxmlformats.org/officeDocument/2006/relationships" r:blip="">
          <dgm:adjLst/>
        </dgm:shape>
        <dgm:presOf/>
      </dgm:layoutNode>
    </dgm:layoutNode>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D5BE7BA-0ED2-48B6-B8BE-39628A5FE1EE}" type="datetimeFigureOut">
              <a:rPr lang="en-US" smtClean="0"/>
              <a:t>9/23/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B29DE43-971F-4E0B-843F-84333FFBD81F}" type="slidenum">
              <a:rPr lang="en-US" smtClean="0"/>
              <a:t>‹#›</a:t>
            </a:fld>
            <a:endParaRPr lang="en-US"/>
          </a:p>
        </p:txBody>
      </p:sp>
    </p:spTree>
    <p:extLst>
      <p:ext uri="{BB962C8B-B14F-4D97-AF65-F5344CB8AC3E}">
        <p14:creationId xmlns:p14="http://schemas.microsoft.com/office/powerpoint/2010/main" val="3566440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Project is a specific, time-bound initiative with clear objectives and outcom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Program is broader and more sustained than a project. Programs are ongoing efforts designed to achieve long-term health outcomes in a population</a:t>
            </a:r>
          </a:p>
          <a:p>
            <a:endParaRPr lang="en-US" dirty="0"/>
          </a:p>
        </p:txBody>
      </p:sp>
      <p:sp>
        <p:nvSpPr>
          <p:cNvPr id="4" name="Slide Number Placeholder 3"/>
          <p:cNvSpPr>
            <a:spLocks noGrp="1"/>
          </p:cNvSpPr>
          <p:nvPr>
            <p:ph type="sldNum" sz="quarter" idx="5"/>
          </p:nvPr>
        </p:nvSpPr>
        <p:spPr/>
        <p:txBody>
          <a:bodyPr/>
          <a:lstStyle/>
          <a:p>
            <a:fld id="{FB29DE43-971F-4E0B-843F-84333FFBD81F}" type="slidenum">
              <a:rPr lang="en-US" smtClean="0"/>
              <a:t>2</a:t>
            </a:fld>
            <a:endParaRPr lang="en-US"/>
          </a:p>
        </p:txBody>
      </p:sp>
    </p:spTree>
    <p:extLst>
      <p:ext uri="{BB962C8B-B14F-4D97-AF65-F5344CB8AC3E}">
        <p14:creationId xmlns:p14="http://schemas.microsoft.com/office/powerpoint/2010/main" val="26295703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3"/>
        <p:cNvGrpSpPr/>
        <p:nvPr/>
      </p:nvGrpSpPr>
      <p:grpSpPr>
        <a:xfrm>
          <a:off x="0" y="0"/>
          <a:ext cx="0" cy="0"/>
          <a:chOff x="0" y="0"/>
          <a:chExt cx="0" cy="0"/>
        </a:xfrm>
      </p:grpSpPr>
      <p:sp>
        <p:nvSpPr>
          <p:cNvPr id="274" name="Google Shape;274;g8565d7c642_0_18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75" name="Google Shape;275;g8565d7c642_0_18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G" dirty="0"/>
          </a:p>
        </p:txBody>
      </p:sp>
      <p:sp>
        <p:nvSpPr>
          <p:cNvPr id="4" name="Slide Number Placeholder 3"/>
          <p:cNvSpPr>
            <a:spLocks noGrp="1"/>
          </p:cNvSpPr>
          <p:nvPr>
            <p:ph type="sldNum" sz="quarter" idx="5"/>
          </p:nvPr>
        </p:nvSpPr>
        <p:spPr/>
        <p:txBody>
          <a:bodyPr/>
          <a:lstStyle/>
          <a:p>
            <a:fld id="{C8565C38-9B69-4D83-987A-8E13EF325DC2}" type="slidenum">
              <a:rPr lang="en-NG" smtClean="0"/>
              <a:t>47</a:t>
            </a:fld>
            <a:endParaRPr lang="en-NG"/>
          </a:p>
        </p:txBody>
      </p:sp>
    </p:spTree>
    <p:extLst>
      <p:ext uri="{BB962C8B-B14F-4D97-AF65-F5344CB8AC3E}">
        <p14:creationId xmlns:p14="http://schemas.microsoft.com/office/powerpoint/2010/main" val="4749710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S is critical to the HIV program. It is the entry point for HIV prevention, treatment, care, and support services</a:t>
            </a:r>
          </a:p>
        </p:txBody>
      </p:sp>
      <p:sp>
        <p:nvSpPr>
          <p:cNvPr id="4" name="Slide Number Placeholder 3"/>
          <p:cNvSpPr>
            <a:spLocks noGrp="1"/>
          </p:cNvSpPr>
          <p:nvPr>
            <p:ph type="sldNum" sz="quarter" idx="5"/>
          </p:nvPr>
        </p:nvSpPr>
        <p:spPr/>
        <p:txBody>
          <a:bodyPr/>
          <a:lstStyle/>
          <a:p>
            <a:fld id="{C7275901-8EFC-4B4E-B698-EE3C23BAE2B5}" type="slidenum">
              <a:rPr lang="en-US" smtClean="0"/>
              <a:t>50</a:t>
            </a:fld>
            <a:endParaRPr lang="en-US"/>
          </a:p>
        </p:txBody>
      </p:sp>
    </p:spTree>
    <p:extLst>
      <p:ext uri="{BB962C8B-B14F-4D97-AF65-F5344CB8AC3E}">
        <p14:creationId xmlns:p14="http://schemas.microsoft.com/office/powerpoint/2010/main" val="12658598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41"/>
        <p:cNvGrpSpPr/>
        <p:nvPr/>
      </p:nvGrpSpPr>
      <p:grpSpPr>
        <a:xfrm>
          <a:off x="0" y="0"/>
          <a:ext cx="0" cy="0"/>
          <a:chOff x="0" y="0"/>
          <a:chExt cx="0" cy="0"/>
        </a:xfrm>
      </p:grpSpPr>
      <p:sp>
        <p:nvSpPr>
          <p:cNvPr id="542" name="Google Shape;542;p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43" name="Google Shape;543;p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The</a:t>
            </a:r>
            <a:r>
              <a:rPr lang="en-GB" baseline="0"/>
              <a:t> highest HTS yield was recorded in </a:t>
            </a:r>
            <a:r>
              <a:rPr lang="en-GB" b="1" baseline="0">
                <a:solidFill>
                  <a:schemeClr val="accent2"/>
                </a:solidFill>
              </a:rPr>
              <a:t>community index </a:t>
            </a:r>
            <a:r>
              <a:rPr lang="en-GB" baseline="0"/>
              <a:t>while highest % contribution was from </a:t>
            </a:r>
            <a:r>
              <a:rPr lang="en-GB" b="1" baseline="0">
                <a:solidFill>
                  <a:schemeClr val="accent3"/>
                </a:solidFill>
              </a:rPr>
              <a:t>mobile services </a:t>
            </a:r>
            <a:r>
              <a:rPr lang="en-GB" baseline="0"/>
              <a:t>modality</a:t>
            </a:r>
            <a:r>
              <a:rPr lang="en-US" baseline="0"/>
              <a:t>.</a:t>
            </a:r>
            <a:endParaRPr lang="en-GB"/>
          </a:p>
        </p:txBody>
      </p:sp>
      <p:sp>
        <p:nvSpPr>
          <p:cNvPr id="4" name="Slide Number Placeholder 3"/>
          <p:cNvSpPr>
            <a:spLocks noGrp="1"/>
          </p:cNvSpPr>
          <p:nvPr>
            <p:ph type="sldNum" sz="quarter" idx="5"/>
          </p:nvPr>
        </p:nvSpPr>
        <p:spPr/>
        <p:txBody>
          <a:bodyPr/>
          <a:lstStyle/>
          <a:p>
            <a:fld id="{B6ABA1D5-9215-4584-A33F-02F08960262B}" type="slidenum">
              <a:rPr lang="en-US" smtClean="0"/>
              <a:t>81</a:t>
            </a:fld>
            <a:endParaRPr lang="en-US"/>
          </a:p>
        </p:txBody>
      </p:sp>
    </p:spTree>
    <p:extLst>
      <p:ext uri="{BB962C8B-B14F-4D97-AF65-F5344CB8AC3E}">
        <p14:creationId xmlns:p14="http://schemas.microsoft.com/office/powerpoint/2010/main" val="41121581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Greater</a:t>
            </a:r>
            <a:r>
              <a:rPr lang="en-GB" baseline="0" dirty="0"/>
              <a:t> than 70% of HIV-Positive clients are identified in the Community</a:t>
            </a:r>
            <a:endParaRPr lang="en-GB" dirty="0"/>
          </a:p>
          <a:p>
            <a:endParaRPr lang="en-US" dirty="0"/>
          </a:p>
        </p:txBody>
      </p:sp>
      <p:sp>
        <p:nvSpPr>
          <p:cNvPr id="4" name="Slide Number Placeholder 3"/>
          <p:cNvSpPr>
            <a:spLocks noGrp="1"/>
          </p:cNvSpPr>
          <p:nvPr>
            <p:ph type="sldNum" sz="quarter" idx="5"/>
          </p:nvPr>
        </p:nvSpPr>
        <p:spPr/>
        <p:txBody>
          <a:bodyPr/>
          <a:lstStyle/>
          <a:p>
            <a:fld id="{B6ABA1D5-9215-4584-A33F-02F08960262B}" type="slidenum">
              <a:rPr lang="en-US" smtClean="0"/>
              <a:t>83</a:t>
            </a:fld>
            <a:endParaRPr lang="en-US"/>
          </a:p>
        </p:txBody>
      </p:sp>
    </p:spTree>
    <p:extLst>
      <p:ext uri="{BB962C8B-B14F-4D97-AF65-F5344CB8AC3E}">
        <p14:creationId xmlns:p14="http://schemas.microsoft.com/office/powerpoint/2010/main" val="12300694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Greater</a:t>
            </a:r>
            <a:r>
              <a:rPr lang="en-GB" baseline="0" dirty="0"/>
              <a:t> than 70% of HIV-Positive clients are identified in the Community</a:t>
            </a:r>
            <a:endParaRPr lang="en-GB" dirty="0"/>
          </a:p>
          <a:p>
            <a:endParaRPr lang="en-US" dirty="0"/>
          </a:p>
        </p:txBody>
      </p:sp>
      <p:sp>
        <p:nvSpPr>
          <p:cNvPr id="4" name="Slide Number Placeholder 3"/>
          <p:cNvSpPr>
            <a:spLocks noGrp="1"/>
          </p:cNvSpPr>
          <p:nvPr>
            <p:ph type="sldNum" sz="quarter" idx="5"/>
          </p:nvPr>
        </p:nvSpPr>
        <p:spPr/>
        <p:txBody>
          <a:bodyPr/>
          <a:lstStyle/>
          <a:p>
            <a:fld id="{B6ABA1D5-9215-4584-A33F-02F08960262B}" type="slidenum">
              <a:rPr lang="en-US" smtClean="0"/>
              <a:t>84</a:t>
            </a:fld>
            <a:endParaRPr lang="en-US"/>
          </a:p>
        </p:txBody>
      </p:sp>
    </p:spTree>
    <p:extLst>
      <p:ext uri="{BB962C8B-B14F-4D97-AF65-F5344CB8AC3E}">
        <p14:creationId xmlns:p14="http://schemas.microsoft.com/office/powerpoint/2010/main" val="36388124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Greater</a:t>
            </a:r>
            <a:r>
              <a:rPr lang="en-GB" baseline="0" dirty="0"/>
              <a:t> than 70% of HIV-Positive clients are identified in the Community</a:t>
            </a:r>
            <a:endParaRPr lang="en-GB" dirty="0"/>
          </a:p>
          <a:p>
            <a:endParaRPr lang="en-US" dirty="0"/>
          </a:p>
        </p:txBody>
      </p:sp>
      <p:sp>
        <p:nvSpPr>
          <p:cNvPr id="4" name="Slide Number Placeholder 3"/>
          <p:cNvSpPr>
            <a:spLocks noGrp="1"/>
          </p:cNvSpPr>
          <p:nvPr>
            <p:ph type="sldNum" sz="quarter" idx="5"/>
          </p:nvPr>
        </p:nvSpPr>
        <p:spPr/>
        <p:txBody>
          <a:bodyPr/>
          <a:lstStyle/>
          <a:p>
            <a:fld id="{B6ABA1D5-9215-4584-A33F-02F08960262B}" type="slidenum">
              <a:rPr lang="en-US" smtClean="0"/>
              <a:t>85</a:t>
            </a:fld>
            <a:endParaRPr lang="en-US"/>
          </a:p>
        </p:txBody>
      </p:sp>
    </p:spTree>
    <p:extLst>
      <p:ext uri="{BB962C8B-B14F-4D97-AF65-F5344CB8AC3E}">
        <p14:creationId xmlns:p14="http://schemas.microsoft.com/office/powerpoint/2010/main" val="428857924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Greater</a:t>
            </a:r>
            <a:r>
              <a:rPr lang="en-GB" baseline="0" dirty="0"/>
              <a:t> than 70% of HIV-Positive clients are identified in the Community</a:t>
            </a:r>
            <a:endParaRPr lang="en-GB" dirty="0"/>
          </a:p>
          <a:p>
            <a:endParaRPr lang="en-US" dirty="0"/>
          </a:p>
        </p:txBody>
      </p:sp>
      <p:sp>
        <p:nvSpPr>
          <p:cNvPr id="4" name="Slide Number Placeholder 3"/>
          <p:cNvSpPr>
            <a:spLocks noGrp="1"/>
          </p:cNvSpPr>
          <p:nvPr>
            <p:ph type="sldNum" sz="quarter" idx="5"/>
          </p:nvPr>
        </p:nvSpPr>
        <p:spPr/>
        <p:txBody>
          <a:bodyPr/>
          <a:lstStyle/>
          <a:p>
            <a:fld id="{B6ABA1D5-9215-4584-A33F-02F08960262B}" type="slidenum">
              <a:rPr lang="en-US" smtClean="0"/>
              <a:t>86</a:t>
            </a:fld>
            <a:endParaRPr lang="en-US"/>
          </a:p>
        </p:txBody>
      </p:sp>
    </p:spTree>
    <p:extLst>
      <p:ext uri="{BB962C8B-B14F-4D97-AF65-F5344CB8AC3E}">
        <p14:creationId xmlns:p14="http://schemas.microsoft.com/office/powerpoint/2010/main" val="36006571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Greater</a:t>
            </a:r>
            <a:r>
              <a:rPr lang="en-GB" baseline="0" dirty="0"/>
              <a:t> than 70% of HIV-Positive clients are identified in the Community</a:t>
            </a:r>
            <a:endParaRPr lang="en-GB" dirty="0"/>
          </a:p>
          <a:p>
            <a:endParaRPr lang="en-US" dirty="0"/>
          </a:p>
        </p:txBody>
      </p:sp>
      <p:sp>
        <p:nvSpPr>
          <p:cNvPr id="4" name="Slide Number Placeholder 3"/>
          <p:cNvSpPr>
            <a:spLocks noGrp="1"/>
          </p:cNvSpPr>
          <p:nvPr>
            <p:ph type="sldNum" sz="quarter" idx="5"/>
          </p:nvPr>
        </p:nvSpPr>
        <p:spPr/>
        <p:txBody>
          <a:bodyPr/>
          <a:lstStyle/>
          <a:p>
            <a:fld id="{B6ABA1D5-9215-4584-A33F-02F08960262B}" type="slidenum">
              <a:rPr lang="en-US" smtClean="0"/>
              <a:t>87</a:t>
            </a:fld>
            <a:endParaRPr lang="en-US"/>
          </a:p>
        </p:txBody>
      </p:sp>
    </p:spTree>
    <p:extLst>
      <p:ext uri="{BB962C8B-B14F-4D97-AF65-F5344CB8AC3E}">
        <p14:creationId xmlns:p14="http://schemas.microsoft.com/office/powerpoint/2010/main" val="14362728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a:extLst>
              <a:ext uri="{FF2B5EF4-FFF2-40B4-BE49-F238E27FC236}">
                <a16:creationId xmlns:a16="http://schemas.microsoft.com/office/drawing/2014/main" id="{DDCEF34D-A4D1-8742-DA9A-C7CFC7527BD6}"/>
              </a:ext>
            </a:extLst>
          </p:cNvPr>
          <p:cNvSpPr>
            <a:spLocks noGrp="1" noRot="1" noChangeAspect="1" noChangeArrowheads="1" noTextEdit="1"/>
          </p:cNvSpPr>
          <p:nvPr>
            <p:ph type="sldImg"/>
          </p:nvPr>
        </p:nvSpPr>
        <p:spPr>
          <a:ln/>
        </p:spPr>
      </p:sp>
      <p:sp>
        <p:nvSpPr>
          <p:cNvPr id="16387" name="Notes Placeholder 2">
            <a:extLst>
              <a:ext uri="{FF2B5EF4-FFF2-40B4-BE49-F238E27FC236}">
                <a16:creationId xmlns:a16="http://schemas.microsoft.com/office/drawing/2014/main" id="{8029B603-FD9B-AE97-4974-0FD49301EF3F}"/>
              </a:ext>
            </a:extLst>
          </p:cNvPr>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Greater</a:t>
            </a:r>
            <a:r>
              <a:rPr lang="en-GB" baseline="0" dirty="0"/>
              <a:t> than 70% of HIV-Positive clients are identified in the Community</a:t>
            </a:r>
            <a:endParaRPr lang="en-GB" dirty="0"/>
          </a:p>
          <a:p>
            <a:endParaRPr lang="en-US" dirty="0"/>
          </a:p>
        </p:txBody>
      </p:sp>
      <p:sp>
        <p:nvSpPr>
          <p:cNvPr id="4" name="Slide Number Placeholder 3"/>
          <p:cNvSpPr>
            <a:spLocks noGrp="1"/>
          </p:cNvSpPr>
          <p:nvPr>
            <p:ph type="sldNum" sz="quarter" idx="5"/>
          </p:nvPr>
        </p:nvSpPr>
        <p:spPr/>
        <p:txBody>
          <a:bodyPr/>
          <a:lstStyle/>
          <a:p>
            <a:fld id="{B6ABA1D5-9215-4584-A33F-02F08960262B}" type="slidenum">
              <a:rPr lang="en-US" smtClean="0"/>
              <a:t>88</a:t>
            </a:fld>
            <a:endParaRPr lang="en-US"/>
          </a:p>
        </p:txBody>
      </p:sp>
    </p:spTree>
    <p:extLst>
      <p:ext uri="{BB962C8B-B14F-4D97-AF65-F5344CB8AC3E}">
        <p14:creationId xmlns:p14="http://schemas.microsoft.com/office/powerpoint/2010/main" val="40264290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Greater</a:t>
            </a:r>
            <a:r>
              <a:rPr lang="en-GB" baseline="0" dirty="0"/>
              <a:t> than 70% of HIV-Positive clients are identified in the Community</a:t>
            </a:r>
            <a:endParaRPr lang="en-GB" dirty="0"/>
          </a:p>
          <a:p>
            <a:endParaRPr lang="en-US" dirty="0"/>
          </a:p>
        </p:txBody>
      </p:sp>
      <p:sp>
        <p:nvSpPr>
          <p:cNvPr id="4" name="Slide Number Placeholder 3"/>
          <p:cNvSpPr>
            <a:spLocks noGrp="1"/>
          </p:cNvSpPr>
          <p:nvPr>
            <p:ph type="sldNum" sz="quarter" idx="5"/>
          </p:nvPr>
        </p:nvSpPr>
        <p:spPr/>
        <p:txBody>
          <a:bodyPr/>
          <a:lstStyle/>
          <a:p>
            <a:fld id="{B6ABA1D5-9215-4584-A33F-02F08960262B}" type="slidenum">
              <a:rPr lang="en-US" smtClean="0"/>
              <a:t>89</a:t>
            </a:fld>
            <a:endParaRPr lang="en-US"/>
          </a:p>
        </p:txBody>
      </p:sp>
    </p:spTree>
    <p:extLst>
      <p:ext uri="{BB962C8B-B14F-4D97-AF65-F5344CB8AC3E}">
        <p14:creationId xmlns:p14="http://schemas.microsoft.com/office/powerpoint/2010/main" val="100639436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Greater</a:t>
            </a:r>
            <a:r>
              <a:rPr lang="en-GB" baseline="0" dirty="0"/>
              <a:t> than 70% of HIV-Positive clients are identified in the Community</a:t>
            </a:r>
            <a:endParaRPr lang="en-GB" dirty="0"/>
          </a:p>
          <a:p>
            <a:endParaRPr lang="en-US" dirty="0"/>
          </a:p>
        </p:txBody>
      </p:sp>
      <p:sp>
        <p:nvSpPr>
          <p:cNvPr id="4" name="Slide Number Placeholder 3"/>
          <p:cNvSpPr>
            <a:spLocks noGrp="1"/>
          </p:cNvSpPr>
          <p:nvPr>
            <p:ph type="sldNum" sz="quarter" idx="5"/>
          </p:nvPr>
        </p:nvSpPr>
        <p:spPr/>
        <p:txBody>
          <a:bodyPr/>
          <a:lstStyle/>
          <a:p>
            <a:fld id="{B6ABA1D5-9215-4584-A33F-02F08960262B}" type="slidenum">
              <a:rPr lang="en-US" smtClean="0"/>
              <a:t>90</a:t>
            </a:fld>
            <a:endParaRPr lang="en-US"/>
          </a:p>
        </p:txBody>
      </p:sp>
    </p:spTree>
    <p:extLst>
      <p:ext uri="{BB962C8B-B14F-4D97-AF65-F5344CB8AC3E}">
        <p14:creationId xmlns:p14="http://schemas.microsoft.com/office/powerpoint/2010/main" val="262776302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Greater</a:t>
            </a:r>
            <a:r>
              <a:rPr lang="en-GB" baseline="0" dirty="0"/>
              <a:t> than 70% of HIV-Positive clients are identified in the Community</a:t>
            </a:r>
            <a:endParaRPr lang="en-GB" dirty="0"/>
          </a:p>
          <a:p>
            <a:endParaRPr lang="en-US" dirty="0"/>
          </a:p>
        </p:txBody>
      </p:sp>
      <p:sp>
        <p:nvSpPr>
          <p:cNvPr id="4" name="Slide Number Placeholder 3"/>
          <p:cNvSpPr>
            <a:spLocks noGrp="1"/>
          </p:cNvSpPr>
          <p:nvPr>
            <p:ph type="sldNum" sz="quarter" idx="5"/>
          </p:nvPr>
        </p:nvSpPr>
        <p:spPr/>
        <p:txBody>
          <a:bodyPr/>
          <a:lstStyle/>
          <a:p>
            <a:fld id="{B6ABA1D5-9215-4584-A33F-02F08960262B}" type="slidenum">
              <a:rPr lang="en-US" smtClean="0"/>
              <a:t>91</a:t>
            </a:fld>
            <a:endParaRPr lang="en-US"/>
          </a:p>
        </p:txBody>
      </p:sp>
    </p:spTree>
    <p:extLst>
      <p:ext uri="{BB962C8B-B14F-4D97-AF65-F5344CB8AC3E}">
        <p14:creationId xmlns:p14="http://schemas.microsoft.com/office/powerpoint/2010/main" val="203209490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Greater</a:t>
            </a:r>
            <a:r>
              <a:rPr lang="en-GB" baseline="0" dirty="0"/>
              <a:t> than 70% of HIV-Positive clients are identified in the Community</a:t>
            </a:r>
            <a:endParaRPr lang="en-GB" dirty="0"/>
          </a:p>
          <a:p>
            <a:endParaRPr lang="en-US" dirty="0"/>
          </a:p>
        </p:txBody>
      </p:sp>
      <p:sp>
        <p:nvSpPr>
          <p:cNvPr id="4" name="Slide Number Placeholder 3"/>
          <p:cNvSpPr>
            <a:spLocks noGrp="1"/>
          </p:cNvSpPr>
          <p:nvPr>
            <p:ph type="sldNum" sz="quarter" idx="5"/>
          </p:nvPr>
        </p:nvSpPr>
        <p:spPr/>
        <p:txBody>
          <a:bodyPr/>
          <a:lstStyle/>
          <a:p>
            <a:fld id="{B6ABA1D5-9215-4584-A33F-02F08960262B}" type="slidenum">
              <a:rPr lang="en-US" smtClean="0"/>
              <a:t>92</a:t>
            </a:fld>
            <a:endParaRPr lang="en-US"/>
          </a:p>
        </p:txBody>
      </p:sp>
    </p:spTree>
    <p:extLst>
      <p:ext uri="{BB962C8B-B14F-4D97-AF65-F5344CB8AC3E}">
        <p14:creationId xmlns:p14="http://schemas.microsoft.com/office/powerpoint/2010/main" val="2543822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Greater</a:t>
            </a:r>
            <a:r>
              <a:rPr lang="en-GB" baseline="0" dirty="0"/>
              <a:t> than 70% of HIV-Positive clients are identified in the Community</a:t>
            </a:r>
            <a:endParaRPr lang="en-GB" dirty="0"/>
          </a:p>
          <a:p>
            <a:endParaRPr lang="en-US" dirty="0"/>
          </a:p>
        </p:txBody>
      </p:sp>
      <p:sp>
        <p:nvSpPr>
          <p:cNvPr id="4" name="Slide Number Placeholder 3"/>
          <p:cNvSpPr>
            <a:spLocks noGrp="1"/>
          </p:cNvSpPr>
          <p:nvPr>
            <p:ph type="sldNum" sz="quarter" idx="5"/>
          </p:nvPr>
        </p:nvSpPr>
        <p:spPr/>
        <p:txBody>
          <a:bodyPr/>
          <a:lstStyle/>
          <a:p>
            <a:fld id="{B6ABA1D5-9215-4584-A33F-02F08960262B}" type="slidenum">
              <a:rPr lang="en-US" smtClean="0"/>
              <a:t>93</a:t>
            </a:fld>
            <a:endParaRPr lang="en-US"/>
          </a:p>
        </p:txBody>
      </p:sp>
    </p:spTree>
    <p:extLst>
      <p:ext uri="{BB962C8B-B14F-4D97-AF65-F5344CB8AC3E}">
        <p14:creationId xmlns:p14="http://schemas.microsoft.com/office/powerpoint/2010/main" val="238748570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Greater</a:t>
            </a:r>
            <a:r>
              <a:rPr lang="en-GB" baseline="0" dirty="0"/>
              <a:t> than 70% of HIV-Positive clients are identified in the Community</a:t>
            </a:r>
            <a:endParaRPr lang="en-GB" dirty="0"/>
          </a:p>
          <a:p>
            <a:endParaRPr lang="en-US" dirty="0"/>
          </a:p>
        </p:txBody>
      </p:sp>
      <p:sp>
        <p:nvSpPr>
          <p:cNvPr id="4" name="Slide Number Placeholder 3"/>
          <p:cNvSpPr>
            <a:spLocks noGrp="1"/>
          </p:cNvSpPr>
          <p:nvPr>
            <p:ph type="sldNum" sz="quarter" idx="5"/>
          </p:nvPr>
        </p:nvSpPr>
        <p:spPr/>
        <p:txBody>
          <a:bodyPr/>
          <a:lstStyle/>
          <a:p>
            <a:fld id="{B6ABA1D5-9215-4584-A33F-02F08960262B}" type="slidenum">
              <a:rPr lang="en-US" smtClean="0"/>
              <a:t>94</a:t>
            </a:fld>
            <a:endParaRPr lang="en-US"/>
          </a:p>
        </p:txBody>
      </p:sp>
    </p:spTree>
    <p:extLst>
      <p:ext uri="{BB962C8B-B14F-4D97-AF65-F5344CB8AC3E}">
        <p14:creationId xmlns:p14="http://schemas.microsoft.com/office/powerpoint/2010/main" val="13172005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ata</a:t>
            </a:r>
            <a:r>
              <a:rPr lang="en-US" dirty="0"/>
              <a:t> plays a fundamental role in the implementation of public health programs by providing the foundation for decision-making, monitoring progress, and evaluating outcomes. Effective use of data ensures that public health initiatives are evidence-based, targeted, and efficient. Here's a breakdown of the role of data at various stages of public health program implementation:</a:t>
            </a:r>
          </a:p>
        </p:txBody>
      </p:sp>
      <p:sp>
        <p:nvSpPr>
          <p:cNvPr id="4" name="Slide Number Placeholder 3"/>
          <p:cNvSpPr>
            <a:spLocks noGrp="1"/>
          </p:cNvSpPr>
          <p:nvPr>
            <p:ph type="sldNum" sz="quarter" idx="5"/>
          </p:nvPr>
        </p:nvSpPr>
        <p:spPr/>
        <p:txBody>
          <a:bodyPr/>
          <a:lstStyle/>
          <a:p>
            <a:fld id="{FB29DE43-971F-4E0B-843F-84333FFBD81F}" type="slidenum">
              <a:rPr lang="en-US" smtClean="0"/>
              <a:t>18</a:t>
            </a:fld>
            <a:endParaRPr lang="en-US"/>
          </a:p>
        </p:txBody>
      </p:sp>
    </p:spTree>
    <p:extLst>
      <p:ext uri="{BB962C8B-B14F-4D97-AF65-F5344CB8AC3E}">
        <p14:creationId xmlns:p14="http://schemas.microsoft.com/office/powerpoint/2010/main" val="27687841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1. Needs Assessment and Program Design</a:t>
            </a:r>
          </a:p>
          <a:p>
            <a:pPr>
              <a:buFont typeface="Arial" panose="020B0604020202020204" pitchFamily="34" charset="0"/>
              <a:buChar char="•"/>
            </a:pPr>
            <a:r>
              <a:rPr lang="en-US" b="1" dirty="0"/>
              <a:t>Identifying Health Priorities</a:t>
            </a:r>
            <a:r>
              <a:rPr lang="en-US" dirty="0"/>
              <a:t>: Data helps in identifying public health issues, such as disease prevalence, mortality rates, or risk factors in specific populations. By analyzing demographic, epidemiological, and environmental data, public health professionals can determine the greatest needs and target areas for intervention.</a:t>
            </a:r>
          </a:p>
          <a:p>
            <a:pPr>
              <a:buFont typeface="Arial" panose="020B0604020202020204" pitchFamily="34" charset="0"/>
              <a:buChar char="•"/>
            </a:pPr>
            <a:r>
              <a:rPr lang="en-US" b="1" dirty="0"/>
              <a:t>Understanding Risk Factors</a:t>
            </a:r>
            <a:r>
              <a:rPr lang="en-US" dirty="0"/>
              <a:t>: Data can reveal underlying social, economic, and environmental determinants of health, which helps in designing interventions that address the root causes of health issues.</a:t>
            </a:r>
          </a:p>
          <a:p>
            <a:pPr>
              <a:buFont typeface="Arial" panose="020B0604020202020204" pitchFamily="34" charset="0"/>
              <a:buChar char="•"/>
            </a:pPr>
            <a:r>
              <a:rPr lang="en-US" b="1" dirty="0"/>
              <a:t>Setting Program Objectives</a:t>
            </a:r>
            <a:r>
              <a:rPr lang="en-US" dirty="0"/>
              <a:t>: Based on the data gathered during the needs assessment, specific, measurable, achievable, relevant, and time-bound (SMART) objectives can be defined for the program.</a:t>
            </a:r>
          </a:p>
          <a:p>
            <a:pPr>
              <a:buFont typeface="Arial" panose="020B0604020202020204" pitchFamily="34" charset="0"/>
              <a:buChar char="•"/>
            </a:pPr>
            <a:r>
              <a:rPr lang="en-US" b="1" dirty="0"/>
              <a:t>Resource Allocation</a:t>
            </a:r>
            <a:r>
              <a:rPr lang="en-US" dirty="0"/>
              <a:t>: Data informs how resources—financial, human, and material—are allocated. For example, high-prevalence areas of certain diseases may receive more funding and staffing to address specific health challenges.</a:t>
            </a:r>
          </a:p>
          <a:p>
            <a:r>
              <a:rPr lang="en-US" b="1" dirty="0"/>
              <a:t>2. Targeting Interventions</a:t>
            </a:r>
          </a:p>
          <a:p>
            <a:pPr>
              <a:buFont typeface="Arial" panose="020B0604020202020204" pitchFamily="34" charset="0"/>
              <a:buChar char="•"/>
            </a:pPr>
            <a:r>
              <a:rPr lang="en-US" b="1" dirty="0"/>
              <a:t>Defining Target Populations</a:t>
            </a:r>
            <a:r>
              <a:rPr lang="en-US" dirty="0"/>
              <a:t>: Data allows for precise identification of the populations most at risk or in need of public health interventions. This ensures that resources are directed where they will have the greatest impact.</a:t>
            </a:r>
          </a:p>
          <a:p>
            <a:pPr>
              <a:buFont typeface="Arial" panose="020B0604020202020204" pitchFamily="34" charset="0"/>
              <a:buChar char="•"/>
            </a:pPr>
            <a:r>
              <a:rPr lang="en-US" b="1" dirty="0"/>
              <a:t>Geographic Targeting</a:t>
            </a:r>
            <a:r>
              <a:rPr lang="en-US" dirty="0"/>
              <a:t>: Geospatial data (e.g., through Geographic Information Systems - GIS) enables mapping of disease outbreaks or risk factors, allowing public health programs to concentrate efforts in specific regions.</a:t>
            </a:r>
          </a:p>
          <a:p>
            <a:pPr>
              <a:buFont typeface="Arial" panose="020B0604020202020204" pitchFamily="34" charset="0"/>
              <a:buChar char="•"/>
            </a:pPr>
            <a:r>
              <a:rPr lang="en-US" b="1" dirty="0"/>
              <a:t>Tailoring Interventions</a:t>
            </a:r>
            <a:r>
              <a:rPr lang="en-US" dirty="0"/>
              <a:t>: Data can also help in tailoring interventions to the specific needs, behaviors, and preferences of the target population. For instance, data on health behaviors can guide the development of culturally appropriate health education materials.</a:t>
            </a:r>
          </a:p>
          <a:p>
            <a:r>
              <a:rPr lang="en-US" b="1" dirty="0"/>
              <a:t>3. Implementation and Program Management</a:t>
            </a:r>
          </a:p>
          <a:p>
            <a:pPr>
              <a:buFont typeface="Arial" panose="020B0604020202020204" pitchFamily="34" charset="0"/>
              <a:buChar char="•"/>
            </a:pPr>
            <a:r>
              <a:rPr lang="en-US" b="1" dirty="0"/>
              <a:t>Tracking Program Progress</a:t>
            </a:r>
            <a:r>
              <a:rPr lang="en-US" dirty="0"/>
              <a:t>: During the implementation phase, data is used to track the progress of program activities, such as the number of people reached, services delivered, or supplies distributed.</a:t>
            </a:r>
          </a:p>
          <a:p>
            <a:pPr>
              <a:buFont typeface="Arial" panose="020B0604020202020204" pitchFamily="34" charset="0"/>
              <a:buChar char="•"/>
            </a:pPr>
            <a:r>
              <a:rPr lang="en-US" b="1" dirty="0"/>
              <a:t>Performance Metrics</a:t>
            </a:r>
            <a:r>
              <a:rPr lang="en-US" dirty="0"/>
              <a:t>: Data on key performance indicators (KPIs) such as vaccination rates, screening coverage, or treatment adherence rates are collected to monitor the effectiveness of the interventions.</a:t>
            </a:r>
          </a:p>
          <a:p>
            <a:pPr>
              <a:buFont typeface="Arial" panose="020B0604020202020204" pitchFamily="34" charset="0"/>
              <a:buChar char="•"/>
            </a:pPr>
            <a:r>
              <a:rPr lang="en-US" b="1" dirty="0"/>
              <a:t>Adaptation and Continuous Improvement</a:t>
            </a:r>
            <a:r>
              <a:rPr lang="en-US" dirty="0"/>
              <a:t>: Data allows public health programs to be adaptive and responsive. Real-time or periodic data collection enables program managers to identify challenges or bottlenecks early on and make adjustments to improve implementation efficiency.</a:t>
            </a:r>
          </a:p>
          <a:p>
            <a:r>
              <a:rPr lang="en-US" b="1" dirty="0"/>
              <a:t>4. Monitoring and Evaluation</a:t>
            </a:r>
          </a:p>
          <a:p>
            <a:pPr>
              <a:buFont typeface="Arial" panose="020B0604020202020204" pitchFamily="34" charset="0"/>
              <a:buChar char="•"/>
            </a:pPr>
            <a:r>
              <a:rPr lang="en-US" b="1" dirty="0"/>
              <a:t>Outcome Evaluation</a:t>
            </a:r>
            <a:r>
              <a:rPr lang="en-US" dirty="0"/>
              <a:t>: Data plays a key role in assessing whether the public health program achieved its intended outcomes. For example, comparing pre- and post-intervention health indicators like reduced disease incidence, mortality rates, or improved health behaviors helps determine the program's impact.</a:t>
            </a:r>
          </a:p>
          <a:p>
            <a:pPr>
              <a:buFont typeface="Arial" panose="020B0604020202020204" pitchFamily="34" charset="0"/>
              <a:buChar char="•"/>
            </a:pPr>
            <a:r>
              <a:rPr lang="en-US" b="1" dirty="0"/>
              <a:t>Impact Evaluation</a:t>
            </a:r>
            <a:r>
              <a:rPr lang="en-US" dirty="0"/>
              <a:t>: This involves using long-term data to assess whether the program had a broader societal impact, such as improving overall health equity or reducing health disparities.</a:t>
            </a:r>
          </a:p>
          <a:p>
            <a:pPr>
              <a:buFont typeface="Arial" panose="020B0604020202020204" pitchFamily="34" charset="0"/>
              <a:buChar char="•"/>
            </a:pPr>
            <a:r>
              <a:rPr lang="en-US" b="1" dirty="0"/>
              <a:t>Process Evaluation</a:t>
            </a:r>
            <a:r>
              <a:rPr lang="en-US" dirty="0"/>
              <a:t>: Data helps assess how well the program was implemented, whether it was delivered as planned, and if the program reached the intended population. This evaluation can inform future public health initiatives.</a:t>
            </a:r>
          </a:p>
          <a:p>
            <a:r>
              <a:rPr lang="en-US" b="1" dirty="0"/>
              <a:t>6. Policy Development and Advocacy</a:t>
            </a:r>
          </a:p>
          <a:p>
            <a:pPr>
              <a:buFont typeface="Arial" panose="020B0604020202020204" pitchFamily="34" charset="0"/>
              <a:buChar char="•"/>
            </a:pPr>
            <a:r>
              <a:rPr lang="en-US" b="1" dirty="0"/>
              <a:t>Evidence-Based Policy Making</a:t>
            </a:r>
            <a:r>
              <a:rPr lang="en-US" dirty="0"/>
              <a:t>: Data provides the evidence necessary to support policy changes, program expansions, or new health initiatives. For example, data showing high rates of childhood obesity might lead to new policies on school nutrition programs.</a:t>
            </a:r>
          </a:p>
          <a:p>
            <a:pPr>
              <a:buFont typeface="Arial" panose="020B0604020202020204" pitchFamily="34" charset="0"/>
              <a:buChar char="•"/>
            </a:pPr>
            <a:r>
              <a:rPr lang="en-US" b="1" dirty="0"/>
              <a:t>Advocacy for Funding and Support</a:t>
            </a:r>
            <a:r>
              <a:rPr lang="en-US" dirty="0"/>
              <a:t>: Public health programs rely on data to advocate for sustained or increased funding by demonstrating measurable improvements in health outcomes or cost savings due to disease prevention.</a:t>
            </a:r>
          </a:p>
          <a:p>
            <a:pPr>
              <a:buFont typeface="Arial" panose="020B0604020202020204" pitchFamily="34" charset="0"/>
              <a:buChar char="•"/>
            </a:pPr>
            <a:r>
              <a:rPr lang="en-US" b="1" dirty="0"/>
              <a:t>Public Health Messaging</a:t>
            </a:r>
            <a:r>
              <a:rPr lang="en-US" dirty="0"/>
              <a:t>: Data also supports the development of targeted communication strategies for public awareness campaigns. For instance, data on disease transmission patterns can guide messaging on preventive measures like vaccination or hygiene practices.</a:t>
            </a:r>
          </a:p>
          <a:p>
            <a:r>
              <a:rPr lang="en-US" b="1" dirty="0"/>
              <a:t>8. Community Engagement and Feedback</a:t>
            </a:r>
          </a:p>
          <a:p>
            <a:pPr>
              <a:buFont typeface="Arial" panose="020B0604020202020204" pitchFamily="34" charset="0"/>
              <a:buChar char="•"/>
            </a:pPr>
            <a:r>
              <a:rPr lang="en-US" b="1" dirty="0"/>
              <a:t>Data for Community Needs</a:t>
            </a:r>
            <a:r>
              <a:rPr lang="en-US" dirty="0"/>
              <a:t>: Data gathered directly from communities, such as through surveys or focus groups, helps ensure that public health programs align with the specific needs and preferences of the target population.</a:t>
            </a:r>
          </a:p>
          <a:p>
            <a:pPr>
              <a:buFont typeface="Arial" panose="020B0604020202020204" pitchFamily="34" charset="0"/>
              <a:buChar char="•"/>
            </a:pPr>
            <a:r>
              <a:rPr lang="en-US" b="1" dirty="0"/>
              <a:t>Real-Time Feedback</a:t>
            </a:r>
            <a:r>
              <a:rPr lang="en-US" dirty="0"/>
              <a:t>: By collecting and analyzing community feedback data, public health programs can stay responsive to community concerns, ensuring higher acceptance and success of the program.</a:t>
            </a:r>
          </a:p>
          <a:p>
            <a:r>
              <a:rPr lang="en-US" b="1" dirty="0"/>
              <a:t>9. Global Health and Multisectoral Collaboration</a:t>
            </a:r>
          </a:p>
          <a:p>
            <a:pPr>
              <a:buFont typeface="Arial" panose="020B0604020202020204" pitchFamily="34" charset="0"/>
              <a:buChar char="•"/>
            </a:pPr>
            <a:r>
              <a:rPr lang="en-US" b="1" dirty="0"/>
              <a:t>International Comparisons</a:t>
            </a:r>
            <a:r>
              <a:rPr lang="en-US" dirty="0"/>
              <a:t>: Data allows for the comparison of health outcomes and interventions across different countries or regions, providing insights into global health trends and helping to inform best practices.</a:t>
            </a:r>
          </a:p>
          <a:p>
            <a:pPr>
              <a:buFont typeface="Arial" panose="020B0604020202020204" pitchFamily="34" charset="0"/>
              <a:buChar char="•"/>
            </a:pPr>
            <a:r>
              <a:rPr lang="en-US" b="1" dirty="0"/>
              <a:t>Collaborative Efforts</a:t>
            </a:r>
            <a:r>
              <a:rPr lang="en-US" dirty="0"/>
              <a:t>: Public health programs often involve multisectoral collaboration (government, private sector, NGOs). Data facilitates communication, collaboration, and accountability among different stakeholders.</a:t>
            </a:r>
          </a:p>
          <a:p>
            <a:r>
              <a:rPr lang="en-US" b="1" dirty="0"/>
              <a:t>Conclusion</a:t>
            </a:r>
          </a:p>
          <a:p>
            <a:endParaRPr lang="en-US" dirty="0"/>
          </a:p>
        </p:txBody>
      </p:sp>
      <p:sp>
        <p:nvSpPr>
          <p:cNvPr id="4" name="Slide Number Placeholder 3"/>
          <p:cNvSpPr>
            <a:spLocks noGrp="1"/>
          </p:cNvSpPr>
          <p:nvPr>
            <p:ph type="sldNum" sz="quarter" idx="5"/>
          </p:nvPr>
        </p:nvSpPr>
        <p:spPr/>
        <p:txBody>
          <a:bodyPr/>
          <a:lstStyle/>
          <a:p>
            <a:fld id="{FB29DE43-971F-4E0B-843F-84333FFBD81F}" type="slidenum">
              <a:rPr lang="en-US" smtClean="0"/>
              <a:t>19</a:t>
            </a:fld>
            <a:endParaRPr lang="en-US"/>
          </a:p>
        </p:txBody>
      </p:sp>
    </p:spTree>
    <p:extLst>
      <p:ext uri="{BB962C8B-B14F-4D97-AF65-F5344CB8AC3E}">
        <p14:creationId xmlns:p14="http://schemas.microsoft.com/office/powerpoint/2010/main" val="21274791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7">
            <a:extLst>
              <a:ext uri="{FF2B5EF4-FFF2-40B4-BE49-F238E27FC236}">
                <a16:creationId xmlns:a16="http://schemas.microsoft.com/office/drawing/2014/main" id="{4ECEF739-BE05-BB09-2D2C-F1C24919E881}"/>
              </a:ext>
            </a:extLst>
          </p:cNvPr>
          <p:cNvSpPr>
            <a:spLocks noGrp="1" noChangeArrowheads="1"/>
          </p:cNvSpPr>
          <p:nvPr>
            <p:ph type="sldNum" sz="quarter" idx="5"/>
          </p:nvPr>
        </p:nvSpPr>
        <p:spPr>
          <a:noFill/>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00B31C68-E1FB-46B6-8CC7-26A9327E754A}" type="slidenum">
              <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0723" name="Rectangle 2">
            <a:extLst>
              <a:ext uri="{FF2B5EF4-FFF2-40B4-BE49-F238E27FC236}">
                <a16:creationId xmlns:a16="http://schemas.microsoft.com/office/drawing/2014/main" id="{EE593EE5-D789-D7C4-E7E4-2442E1BA5EB7}"/>
              </a:ext>
            </a:extLst>
          </p:cNvPr>
          <p:cNvSpPr>
            <a:spLocks noGrp="1" noRot="1" noChangeAspect="1" noChangeArrowheads="1" noTextEdit="1"/>
          </p:cNvSpPr>
          <p:nvPr>
            <p:ph type="sldImg"/>
          </p:nvPr>
        </p:nvSpPr>
        <p:spPr>
          <a:xfrm>
            <a:off x="371475" y="687388"/>
            <a:ext cx="6116638" cy="3441700"/>
          </a:xfrm>
          <a:ln/>
        </p:spPr>
      </p:sp>
      <p:sp>
        <p:nvSpPr>
          <p:cNvPr id="30724" name="Rectangle 3">
            <a:extLst>
              <a:ext uri="{FF2B5EF4-FFF2-40B4-BE49-F238E27FC236}">
                <a16:creationId xmlns:a16="http://schemas.microsoft.com/office/drawing/2014/main" id="{7CE13CEB-D389-4CD7-9DF3-69EE30314445}"/>
              </a:ext>
            </a:extLst>
          </p:cNvPr>
          <p:cNvSpPr>
            <a:spLocks noGrp="1" noChangeArrowheads="1"/>
          </p:cNvSpPr>
          <p:nvPr>
            <p:ph type="body" idx="1"/>
          </p:nvPr>
        </p:nvSpPr>
        <p:spPr>
          <a:noFill/>
        </p:spPr>
        <p:txBody>
          <a:bodyPr/>
          <a:lstStyle/>
          <a:p>
            <a:pPr eaLnBrk="1" hangingPunct="1"/>
            <a:endParaRPr lang="en-US" altLang="en-US">
              <a:latin typeface="Arial" panose="020B0604020202020204" pitchFamily="34" charset="0"/>
              <a:cs typeface="Arial" panose="020B0604020202020204"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
        <p:cNvGrpSpPr/>
        <p:nvPr/>
      </p:nvGrpSpPr>
      <p:grpSpPr>
        <a:xfrm>
          <a:off x="0" y="0"/>
          <a:ext cx="0" cy="0"/>
          <a:chOff x="0" y="0"/>
          <a:chExt cx="0" cy="0"/>
        </a:xfrm>
      </p:grpSpPr>
      <p:sp>
        <p:nvSpPr>
          <p:cNvPr id="52" name="Google Shape;52;g118dd369383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3" name="Google Shape;53;g118dd369383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5"/>
        <p:cNvGrpSpPr/>
        <p:nvPr/>
      </p:nvGrpSpPr>
      <p:grpSpPr>
        <a:xfrm>
          <a:off x="0" y="0"/>
          <a:ext cx="0" cy="0"/>
          <a:chOff x="0" y="0"/>
          <a:chExt cx="0" cy="0"/>
        </a:xfrm>
      </p:grpSpPr>
      <p:sp>
        <p:nvSpPr>
          <p:cNvPr id="136" name="Google Shape;136;p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37" name="Google Shape;137;p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565C38-9B69-4D83-987A-8E13EF325DC2}" type="slidenum">
              <a:rPr kumimoji="0" lang="en-NG"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NG"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3931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565C38-9B69-4D83-987A-8E13EF325DC2}" type="slidenum">
              <a:rPr kumimoji="0" lang="en-NG"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NG"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87284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7"/>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23" indent="0" algn="ctr">
              <a:buNone/>
              <a:defRPr>
                <a:solidFill>
                  <a:schemeClr val="tx1">
                    <a:tint val="75000"/>
                  </a:schemeClr>
                </a:solidFill>
              </a:defRPr>
            </a:lvl2pPr>
            <a:lvl3pPr marL="914446" indent="0" algn="ctr">
              <a:buNone/>
              <a:defRPr>
                <a:solidFill>
                  <a:schemeClr val="tx1">
                    <a:tint val="75000"/>
                  </a:schemeClr>
                </a:solidFill>
              </a:defRPr>
            </a:lvl3pPr>
            <a:lvl4pPr marL="1371669" indent="0" algn="ctr">
              <a:buNone/>
              <a:defRPr>
                <a:solidFill>
                  <a:schemeClr val="tx1">
                    <a:tint val="75000"/>
                  </a:schemeClr>
                </a:solidFill>
              </a:defRPr>
            </a:lvl4pPr>
            <a:lvl5pPr marL="1828891" indent="0" algn="ctr">
              <a:buNone/>
              <a:defRPr>
                <a:solidFill>
                  <a:schemeClr val="tx1">
                    <a:tint val="75000"/>
                  </a:schemeClr>
                </a:solidFill>
              </a:defRPr>
            </a:lvl5pPr>
            <a:lvl6pPr marL="2286114" indent="0" algn="ctr">
              <a:buNone/>
              <a:defRPr>
                <a:solidFill>
                  <a:schemeClr val="tx1">
                    <a:tint val="75000"/>
                  </a:schemeClr>
                </a:solidFill>
              </a:defRPr>
            </a:lvl6pPr>
            <a:lvl7pPr marL="2743337" indent="0" algn="ctr">
              <a:buNone/>
              <a:defRPr>
                <a:solidFill>
                  <a:schemeClr val="tx1">
                    <a:tint val="75000"/>
                  </a:schemeClr>
                </a:solidFill>
              </a:defRPr>
            </a:lvl7pPr>
            <a:lvl8pPr marL="3200560" indent="0" algn="ctr">
              <a:buNone/>
              <a:defRPr>
                <a:solidFill>
                  <a:schemeClr val="tx1">
                    <a:tint val="75000"/>
                  </a:schemeClr>
                </a:solidFill>
              </a:defRPr>
            </a:lvl8pPr>
            <a:lvl9pPr marL="3657783"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89FBDDAC-06BB-4477-B44D-C5BD1BC9F44F}" type="datetimeFigureOut">
              <a:rPr lang="en-US" smtClean="0"/>
              <a:t>9/23/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7F56C21-B5C9-49A8-8164-414BDC71F170}" type="slidenum">
              <a:rPr lang="en-US" smtClean="0"/>
              <a:t>‹#›</a:t>
            </a:fld>
            <a:endParaRPr lang="en-US"/>
          </a:p>
        </p:txBody>
      </p:sp>
    </p:spTree>
    <p:extLst>
      <p:ext uri="{BB962C8B-B14F-4D97-AF65-F5344CB8AC3E}">
        <p14:creationId xmlns:p14="http://schemas.microsoft.com/office/powerpoint/2010/main" val="7230261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9FBDDAC-06BB-4477-B44D-C5BD1BC9F44F}" type="datetimeFigureOut">
              <a:rPr lang="en-US" smtClean="0"/>
              <a:t>9/23/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7F56C21-B5C9-49A8-8164-414BDC71F170}" type="slidenum">
              <a:rPr lang="en-US" smtClean="0"/>
              <a:t>‹#›</a:t>
            </a:fld>
            <a:endParaRPr lang="en-US"/>
          </a:p>
        </p:txBody>
      </p:sp>
    </p:spTree>
    <p:extLst>
      <p:ext uri="{BB962C8B-B14F-4D97-AF65-F5344CB8AC3E}">
        <p14:creationId xmlns:p14="http://schemas.microsoft.com/office/powerpoint/2010/main" val="39674420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0"/>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40"/>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9FBDDAC-06BB-4477-B44D-C5BD1BC9F44F}" type="datetimeFigureOut">
              <a:rPr lang="en-US" smtClean="0"/>
              <a:t>9/23/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7F56C21-B5C9-49A8-8164-414BDC71F170}" type="slidenum">
              <a:rPr lang="en-US" smtClean="0"/>
              <a:t>‹#›</a:t>
            </a:fld>
            <a:endParaRPr lang="en-US"/>
          </a:p>
        </p:txBody>
      </p:sp>
    </p:spTree>
    <p:extLst>
      <p:ext uri="{BB962C8B-B14F-4D97-AF65-F5344CB8AC3E}">
        <p14:creationId xmlns:p14="http://schemas.microsoft.com/office/powerpoint/2010/main" val="21273288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41162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19774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E9132D6-0004-C34B-A570-7AECE0027133}"/>
              </a:ext>
            </a:extLst>
          </p:cNvPr>
          <p:cNvSpPr>
            <a:spLocks noGrp="1"/>
          </p:cNvSpPr>
          <p:nvPr>
            <p:ph type="pic" sz="quarter" idx="10"/>
          </p:nvPr>
        </p:nvSpPr>
        <p:spPr>
          <a:xfrm>
            <a:off x="0" y="0"/>
            <a:ext cx="4054072" cy="6858000"/>
          </a:xfrm>
          <a:solidFill>
            <a:schemeClr val="bg1">
              <a:lumMod val="95000"/>
            </a:schemeClr>
          </a:solidFill>
        </p:spPr>
        <p:txBody>
          <a:bodyPr/>
          <a:lstStyle/>
          <a:p>
            <a:endParaRPr lang="en-US"/>
          </a:p>
        </p:txBody>
      </p:sp>
    </p:spTree>
    <p:extLst>
      <p:ext uri="{BB962C8B-B14F-4D97-AF65-F5344CB8AC3E}">
        <p14:creationId xmlns:p14="http://schemas.microsoft.com/office/powerpoint/2010/main" val="7161398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ontent + pictur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40C44A-93E6-6C58-5E88-AFDC594EC27A}"/>
              </a:ext>
            </a:extLst>
          </p:cNvPr>
          <p:cNvSpPr>
            <a:spLocks noGrp="1"/>
          </p:cNvSpPr>
          <p:nvPr>
            <p:ph type="title"/>
          </p:nvPr>
        </p:nvSpPr>
        <p:spPr>
          <a:xfrm>
            <a:off x="838201" y="448056"/>
            <a:ext cx="6172200" cy="1581912"/>
          </a:xfrm>
        </p:spPr>
        <p:txBody>
          <a:bodyPr anchor="b" anchorCtr="0">
            <a:noAutofit/>
          </a:bodyPr>
          <a:lstStyle>
            <a:lvl1pPr>
              <a:defRPr sz="3200"/>
            </a:lvl1pPr>
          </a:lstStyle>
          <a:p>
            <a:r>
              <a:rPr lang="en-US"/>
              <a:t>Click to edit Master title style</a:t>
            </a:r>
          </a:p>
        </p:txBody>
      </p:sp>
      <p:sp>
        <p:nvSpPr>
          <p:cNvPr id="4" name="Content Placeholder 10">
            <a:extLst>
              <a:ext uri="{FF2B5EF4-FFF2-40B4-BE49-F238E27FC236}">
                <a16:creationId xmlns:a16="http://schemas.microsoft.com/office/drawing/2014/main" id="{5F30E2A0-23EF-51B1-8ABD-00429EEA0642}"/>
              </a:ext>
            </a:extLst>
          </p:cNvPr>
          <p:cNvSpPr>
            <a:spLocks noGrp="1"/>
          </p:cNvSpPr>
          <p:nvPr>
            <p:ph sz="quarter" idx="14" hasCustomPrompt="1"/>
          </p:nvPr>
        </p:nvSpPr>
        <p:spPr>
          <a:xfrm>
            <a:off x="838200" y="2257063"/>
            <a:ext cx="4894006" cy="3904906"/>
          </a:xfrm>
        </p:spPr>
        <p:txBody>
          <a:bodyPr>
            <a:normAutofit/>
          </a:bodyPr>
          <a:lstStyle>
            <a:lvl1pPr marL="0" indent="0">
              <a:spcBef>
                <a:spcPts val="1000"/>
              </a:spcBef>
              <a:spcAft>
                <a:spcPts val="0"/>
              </a:spcAft>
              <a:buClr>
                <a:schemeClr val="accent2"/>
              </a:buClr>
              <a:buFont typeface="Wingdings" panose="05000000000000000000" pitchFamily="2" charset="2"/>
              <a:buNone/>
              <a:defRPr sz="1800">
                <a:latin typeface="+mn-lt"/>
              </a:defRPr>
            </a:lvl1pPr>
            <a:lvl2pPr marL="0" indent="-228600">
              <a:spcBef>
                <a:spcPts val="1000"/>
              </a:spcBef>
              <a:spcAft>
                <a:spcPts val="1000"/>
              </a:spcAft>
              <a:buClr>
                <a:schemeClr val="accent2"/>
              </a:buClr>
              <a:buFont typeface="Wingdings" panose="05000000000000000000" pitchFamily="2" charset="2"/>
              <a:buChar char="§"/>
              <a:defRPr sz="1800">
                <a:latin typeface="+mn-lt"/>
              </a:defRPr>
            </a:lvl2pPr>
            <a:lvl3pPr marL="457200" indent="-228600">
              <a:spcBef>
                <a:spcPts val="1000"/>
              </a:spcBef>
              <a:spcAft>
                <a:spcPts val="1000"/>
              </a:spcAft>
              <a:buClr>
                <a:schemeClr val="accent2"/>
              </a:buClr>
              <a:buFont typeface="Wingdings" panose="05000000000000000000" pitchFamily="2" charset="2"/>
              <a:buChar char="§"/>
              <a:defRPr sz="1800">
                <a:latin typeface="+mn-lt"/>
              </a:defRPr>
            </a:lvl3pPr>
            <a:lvl4pPr marL="685800" indent="-228600">
              <a:spcBef>
                <a:spcPts val="1000"/>
              </a:spcBef>
              <a:spcAft>
                <a:spcPts val="1000"/>
              </a:spcAft>
              <a:buClr>
                <a:schemeClr val="accent2"/>
              </a:buClr>
              <a:buFont typeface="Wingdings" panose="05000000000000000000" pitchFamily="2" charset="2"/>
              <a:buChar char="§"/>
              <a:defRPr sz="1800">
                <a:latin typeface="+mn-lt"/>
              </a:defRPr>
            </a:lvl4pPr>
            <a:lvl5pPr marL="914400" indent="-228600">
              <a:spcBef>
                <a:spcPts val="1000"/>
              </a:spcBef>
              <a:spcAft>
                <a:spcPts val="1000"/>
              </a:spcAft>
              <a:buClr>
                <a:schemeClr val="accent2"/>
              </a:buClr>
              <a:buFont typeface="Wingdings" panose="05000000000000000000" pitchFamily="2" charset="2"/>
              <a:buChar char="§"/>
              <a:defRPr sz="1800">
                <a:latin typeface="+mn-lt"/>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1" name="Picture Placeholder 10">
            <a:extLst>
              <a:ext uri="{FF2B5EF4-FFF2-40B4-BE49-F238E27FC236}">
                <a16:creationId xmlns:a16="http://schemas.microsoft.com/office/drawing/2014/main" id="{AF15552F-C66B-341F-2D37-0389710BA5E2}"/>
              </a:ext>
            </a:extLst>
          </p:cNvPr>
          <p:cNvSpPr>
            <a:spLocks noGrp="1"/>
          </p:cNvSpPr>
          <p:nvPr>
            <p:ph type="pic" sz="quarter" idx="10"/>
          </p:nvPr>
        </p:nvSpPr>
        <p:spPr>
          <a:xfrm>
            <a:off x="7500938" y="-22225"/>
            <a:ext cx="4714875" cy="6880225"/>
          </a:xfrm>
        </p:spPr>
        <p:txBody>
          <a:bodyPr>
            <a:normAutofit/>
          </a:bodyPr>
          <a:lstStyle>
            <a:lvl1pPr marL="0" indent="0" algn="ctr">
              <a:buNone/>
              <a:defRPr sz="2000"/>
            </a:lvl1pPr>
          </a:lstStyle>
          <a:p>
            <a:r>
              <a:rPr lang="en-US"/>
              <a:t>Click icon to add picture</a:t>
            </a:r>
          </a:p>
        </p:txBody>
      </p:sp>
      <p:sp>
        <p:nvSpPr>
          <p:cNvPr id="12" name="Rectangle 11">
            <a:extLst>
              <a:ext uri="{FF2B5EF4-FFF2-40B4-BE49-F238E27FC236}">
                <a16:creationId xmlns:a16="http://schemas.microsoft.com/office/drawing/2014/main" id="{0D8DCC6D-8B88-7BE0-7240-F743AE09EC48}"/>
              </a:ext>
              <a:ext uri="{C183D7F6-B498-43B3-948B-1728B52AA6E4}">
                <adec:decorative xmlns:adec="http://schemas.microsoft.com/office/drawing/2017/decorative" val="1"/>
              </a:ext>
            </a:extLst>
          </p:cNvPr>
          <p:cNvSpPr/>
          <p:nvPr userDrawn="1"/>
        </p:nvSpPr>
        <p:spPr>
          <a:xfrm>
            <a:off x="993814" y="6303963"/>
            <a:ext cx="4287186" cy="554037"/>
          </a:xfrm>
          <a:prstGeom prst="rect">
            <a:avLst/>
          </a:prstGeom>
          <a:gradFill flip="none" rotWithShape="1">
            <a:gsLst>
              <a:gs pos="0">
                <a:schemeClr val="accent5"/>
              </a:gs>
              <a:gs pos="100000">
                <a:schemeClr val="accent2">
                  <a:lumMod val="97000"/>
                  <a:lumOff val="3000"/>
                </a:schemeClr>
              </a:gs>
              <a:gs pos="50000">
                <a:schemeClr val="accent1"/>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438283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77FB3ACE-D620-4EC3-88A7-3E317E64F19F}" type="datetimeFigureOut">
              <a:rPr lang="en-US" smtClean="0">
                <a:solidFill>
                  <a:prstClr val="black">
                    <a:tint val="75000"/>
                  </a:prstClr>
                </a:solidFill>
              </a:rPr>
              <a:pPr/>
              <a:t>9/23/202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C9A48AB-23F1-45F1-98E5-D2CDC7A5261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2560073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hank You Slide 05">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1340"/>
            <a:ext cx="4094450" cy="6851953"/>
          </a:xfrm>
          <a:custGeom>
            <a:avLst/>
            <a:gdLst>
              <a:gd name="connsiteX0" fmla="*/ 0 w 9739416"/>
              <a:gd name="connsiteY0" fmla="*/ 0 h 13703906"/>
              <a:gd name="connsiteX1" fmla="*/ 9739416 w 9739416"/>
              <a:gd name="connsiteY1" fmla="*/ 0 h 13703906"/>
              <a:gd name="connsiteX2" fmla="*/ 9739416 w 9739416"/>
              <a:gd name="connsiteY2" fmla="*/ 13703906 h 13703906"/>
              <a:gd name="connsiteX3" fmla="*/ 0 w 9739416"/>
              <a:gd name="connsiteY3" fmla="*/ 13703906 h 13703906"/>
            </a:gdLst>
            <a:ahLst/>
            <a:cxnLst>
              <a:cxn ang="0">
                <a:pos x="connsiteX0" y="connsiteY0"/>
              </a:cxn>
              <a:cxn ang="0">
                <a:pos x="connsiteX1" y="connsiteY1"/>
              </a:cxn>
              <a:cxn ang="0">
                <a:pos x="connsiteX2" y="connsiteY2"/>
              </a:cxn>
              <a:cxn ang="0">
                <a:pos x="connsiteX3" y="connsiteY3"/>
              </a:cxn>
            </a:cxnLst>
            <a:rect l="l" t="t" r="r" b="b"/>
            <a:pathLst>
              <a:path w="9739416" h="13703906">
                <a:moveTo>
                  <a:pt x="0" y="0"/>
                </a:moveTo>
                <a:lnTo>
                  <a:pt x="9739416" y="0"/>
                </a:lnTo>
                <a:lnTo>
                  <a:pt x="9739416" y="13703906"/>
                </a:lnTo>
                <a:lnTo>
                  <a:pt x="0" y="13703906"/>
                </a:lnTo>
                <a:close/>
              </a:path>
            </a:pathLst>
          </a:custGeom>
          <a:solidFill>
            <a:schemeClr val="bg2">
              <a:lumMod val="95000"/>
            </a:schemeClr>
          </a:solidFill>
        </p:spPr>
        <p:txBody>
          <a:bodyPr wrap="square" anchor="ctr">
            <a:noAutofit/>
          </a:bodyPr>
          <a:lstStyle>
            <a:lvl1pPr marL="0" indent="0" algn="ctr">
              <a:buNone/>
              <a:defRPr sz="1200"/>
            </a:lvl1pPr>
          </a:lstStyle>
          <a:p>
            <a:endParaRPr lang="en-US"/>
          </a:p>
        </p:txBody>
      </p:sp>
      <p:sp>
        <p:nvSpPr>
          <p:cNvPr id="8" name="Picture Placeholder 7"/>
          <p:cNvSpPr>
            <a:spLocks noGrp="1"/>
          </p:cNvSpPr>
          <p:nvPr>
            <p:ph type="pic" sz="quarter" idx="12"/>
          </p:nvPr>
        </p:nvSpPr>
        <p:spPr>
          <a:xfrm>
            <a:off x="4871235" y="3175049"/>
            <a:ext cx="1622330" cy="1621924"/>
          </a:xfrm>
          <a:custGeom>
            <a:avLst/>
            <a:gdLst>
              <a:gd name="connsiteX0" fmla="*/ 1622530 w 3243815"/>
              <a:gd name="connsiteY0" fmla="*/ 0 h 3243848"/>
              <a:gd name="connsiteX1" fmla="*/ 3243815 w 3243815"/>
              <a:gd name="connsiteY1" fmla="*/ 1621302 h 3243848"/>
              <a:gd name="connsiteX2" fmla="*/ 1622530 w 3243815"/>
              <a:gd name="connsiteY2" fmla="*/ 3243848 h 3243848"/>
              <a:gd name="connsiteX3" fmla="*/ 0 w 3243815"/>
              <a:gd name="connsiteY3" fmla="*/ 1621302 h 3243848"/>
              <a:gd name="connsiteX4" fmla="*/ 1622530 w 3243815"/>
              <a:gd name="connsiteY4" fmla="*/ 0 h 32438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3815" h="3243848">
                <a:moveTo>
                  <a:pt x="1622530" y="0"/>
                </a:moveTo>
                <a:cubicBezTo>
                  <a:pt x="2517160" y="0"/>
                  <a:pt x="3243815" y="724173"/>
                  <a:pt x="3243815" y="1621302"/>
                </a:cubicBezTo>
                <a:cubicBezTo>
                  <a:pt x="3243815" y="2517186"/>
                  <a:pt x="2517160" y="3243848"/>
                  <a:pt x="1622530" y="3243848"/>
                </a:cubicBezTo>
                <a:cubicBezTo>
                  <a:pt x="726654" y="3243848"/>
                  <a:pt x="0" y="2517186"/>
                  <a:pt x="0" y="1621302"/>
                </a:cubicBezTo>
                <a:cubicBezTo>
                  <a:pt x="0" y="724173"/>
                  <a:pt x="726654" y="0"/>
                  <a:pt x="1622530" y="0"/>
                </a:cubicBezTo>
                <a:close/>
              </a:path>
            </a:pathLst>
          </a:custGeom>
          <a:solidFill>
            <a:schemeClr val="bg2">
              <a:lumMod val="95000"/>
            </a:schemeClr>
          </a:solidFill>
        </p:spPr>
        <p:txBody>
          <a:bodyPr wrap="square" anchor="ctr">
            <a:noAutofit/>
          </a:bodyPr>
          <a:lstStyle>
            <a:lvl1pPr marL="0" indent="0" algn="ctr">
              <a:buNone/>
              <a:defRPr sz="1200"/>
            </a:lvl1pPr>
          </a:lstStyle>
          <a:p>
            <a:endParaRPr lang="en-US"/>
          </a:p>
        </p:txBody>
      </p:sp>
    </p:spTree>
    <p:extLst>
      <p:ext uri="{BB962C8B-B14F-4D97-AF65-F5344CB8AC3E}">
        <p14:creationId xmlns:p14="http://schemas.microsoft.com/office/powerpoint/2010/main" val="1794130057"/>
      </p:ext>
    </p:extLst>
  </p:cSld>
  <p:clrMapOvr>
    <a:masterClrMapping/>
  </p:clrMapOvr>
  <p:transition spd="slow"/>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Introduction Slide 12">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8B47C720-DC9A-473E-8E71-32BEF2FE01C7}"/>
              </a:ext>
            </a:extLst>
          </p:cNvPr>
          <p:cNvSpPr>
            <a:spLocks noGrp="1"/>
          </p:cNvSpPr>
          <p:nvPr>
            <p:ph type="pic" sz="quarter" idx="10"/>
          </p:nvPr>
        </p:nvSpPr>
        <p:spPr>
          <a:xfrm>
            <a:off x="3156006" y="1211335"/>
            <a:ext cx="2110416" cy="1826348"/>
          </a:xfrm>
          <a:custGeom>
            <a:avLst/>
            <a:gdLst>
              <a:gd name="connsiteX0" fmla="*/ 1055245 w 4219733"/>
              <a:gd name="connsiteY0" fmla="*/ 0 h 3652695"/>
              <a:gd name="connsiteX1" fmla="*/ 3164488 w 4219733"/>
              <a:gd name="connsiteY1" fmla="*/ 0 h 3652695"/>
              <a:gd name="connsiteX2" fmla="*/ 4219733 w 4219733"/>
              <a:gd name="connsiteY2" fmla="*/ 1827593 h 3652695"/>
              <a:gd name="connsiteX3" fmla="*/ 3164488 w 4219733"/>
              <a:gd name="connsiteY3" fmla="*/ 3652695 h 3652695"/>
              <a:gd name="connsiteX4" fmla="*/ 1055245 w 4219733"/>
              <a:gd name="connsiteY4" fmla="*/ 3652695 h 3652695"/>
              <a:gd name="connsiteX5" fmla="*/ 0 w 4219733"/>
              <a:gd name="connsiteY5" fmla="*/ 1827593 h 3652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19733" h="3652695">
                <a:moveTo>
                  <a:pt x="1055245" y="0"/>
                </a:moveTo>
                <a:lnTo>
                  <a:pt x="3164488" y="0"/>
                </a:lnTo>
                <a:lnTo>
                  <a:pt x="4219733" y="1827593"/>
                </a:lnTo>
                <a:lnTo>
                  <a:pt x="3164488" y="3652695"/>
                </a:lnTo>
                <a:lnTo>
                  <a:pt x="1055245" y="3652695"/>
                </a:lnTo>
                <a:lnTo>
                  <a:pt x="0" y="1827593"/>
                </a:lnTo>
                <a:close/>
              </a:path>
            </a:pathLst>
          </a:custGeom>
          <a:solidFill>
            <a:schemeClr val="bg2">
              <a:lumMod val="95000"/>
            </a:schemeClr>
          </a:solidFill>
        </p:spPr>
        <p:txBody>
          <a:bodyPr wrap="square">
            <a:noAutofit/>
          </a:bodyPr>
          <a:lstStyle>
            <a:lvl1pPr marL="0" indent="0">
              <a:buNone/>
              <a:defRPr/>
            </a:lvl1pPr>
          </a:lstStyle>
          <a:p>
            <a:endParaRPr lang="en-US"/>
          </a:p>
        </p:txBody>
      </p:sp>
    </p:spTree>
    <p:extLst>
      <p:ext uri="{BB962C8B-B14F-4D97-AF65-F5344CB8AC3E}">
        <p14:creationId xmlns:p14="http://schemas.microsoft.com/office/powerpoint/2010/main" val="31351305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9FBDDAC-06BB-4477-B44D-C5BD1BC9F44F}" type="datetimeFigureOut">
              <a:rPr lang="en-US" smtClean="0"/>
              <a:t>9/23/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7F56C21-B5C9-49A8-8164-414BDC71F170}" type="slidenum">
              <a:rPr lang="en-US" smtClean="0"/>
              <a:t>‹#›</a:t>
            </a:fld>
            <a:endParaRPr lang="en-US"/>
          </a:p>
        </p:txBody>
      </p:sp>
    </p:spTree>
    <p:extLst>
      <p:ext uri="{BB962C8B-B14F-4D97-AF65-F5344CB8AC3E}">
        <p14:creationId xmlns:p14="http://schemas.microsoft.com/office/powerpoint/2010/main" val="22936173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2"/>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4"/>
            <a:ext cx="10363200" cy="1500187"/>
          </a:xfrm>
        </p:spPr>
        <p:txBody>
          <a:bodyPr anchor="b"/>
          <a:lstStyle>
            <a:lvl1pPr marL="0" indent="0">
              <a:buNone/>
              <a:defRPr sz="2000">
                <a:solidFill>
                  <a:schemeClr val="tx1">
                    <a:tint val="75000"/>
                  </a:schemeClr>
                </a:solidFill>
              </a:defRPr>
            </a:lvl1pPr>
            <a:lvl2pPr marL="457223" indent="0">
              <a:buNone/>
              <a:defRPr sz="1800">
                <a:solidFill>
                  <a:schemeClr val="tx1">
                    <a:tint val="75000"/>
                  </a:schemeClr>
                </a:solidFill>
              </a:defRPr>
            </a:lvl2pPr>
            <a:lvl3pPr marL="914446" indent="0">
              <a:buNone/>
              <a:defRPr sz="1600">
                <a:solidFill>
                  <a:schemeClr val="tx1">
                    <a:tint val="75000"/>
                  </a:schemeClr>
                </a:solidFill>
              </a:defRPr>
            </a:lvl3pPr>
            <a:lvl4pPr marL="1371669" indent="0">
              <a:buNone/>
              <a:defRPr sz="1400">
                <a:solidFill>
                  <a:schemeClr val="tx1">
                    <a:tint val="75000"/>
                  </a:schemeClr>
                </a:solidFill>
              </a:defRPr>
            </a:lvl4pPr>
            <a:lvl5pPr marL="1828891" indent="0">
              <a:buNone/>
              <a:defRPr sz="1400">
                <a:solidFill>
                  <a:schemeClr val="tx1">
                    <a:tint val="75000"/>
                  </a:schemeClr>
                </a:solidFill>
              </a:defRPr>
            </a:lvl5pPr>
            <a:lvl6pPr marL="2286114" indent="0">
              <a:buNone/>
              <a:defRPr sz="1400">
                <a:solidFill>
                  <a:schemeClr val="tx1">
                    <a:tint val="75000"/>
                  </a:schemeClr>
                </a:solidFill>
              </a:defRPr>
            </a:lvl6pPr>
            <a:lvl7pPr marL="2743337" indent="0">
              <a:buNone/>
              <a:defRPr sz="1400">
                <a:solidFill>
                  <a:schemeClr val="tx1">
                    <a:tint val="75000"/>
                  </a:schemeClr>
                </a:solidFill>
              </a:defRPr>
            </a:lvl7pPr>
            <a:lvl8pPr marL="3200560" indent="0">
              <a:buNone/>
              <a:defRPr sz="1400">
                <a:solidFill>
                  <a:schemeClr val="tx1">
                    <a:tint val="75000"/>
                  </a:schemeClr>
                </a:solidFill>
              </a:defRPr>
            </a:lvl8pPr>
            <a:lvl9pPr marL="3657783"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9FBDDAC-06BB-4477-B44D-C5BD1BC9F44F}" type="datetimeFigureOut">
              <a:rPr lang="en-US" smtClean="0"/>
              <a:t>9/23/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7F56C21-B5C9-49A8-8164-414BDC71F170}" type="slidenum">
              <a:rPr lang="en-US" smtClean="0"/>
              <a:t>‹#›</a:t>
            </a:fld>
            <a:endParaRPr lang="en-US"/>
          </a:p>
        </p:txBody>
      </p:sp>
    </p:spTree>
    <p:extLst>
      <p:ext uri="{BB962C8B-B14F-4D97-AF65-F5344CB8AC3E}">
        <p14:creationId xmlns:p14="http://schemas.microsoft.com/office/powerpoint/2010/main" val="27921100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2"/>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2"/>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9FBDDAC-06BB-4477-B44D-C5BD1BC9F44F}" type="datetimeFigureOut">
              <a:rPr lang="en-US" smtClean="0"/>
              <a:t>9/23/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7F56C21-B5C9-49A8-8164-414BDC71F170}" type="slidenum">
              <a:rPr lang="en-US" smtClean="0"/>
              <a:t>‹#›</a:t>
            </a:fld>
            <a:endParaRPr lang="en-US"/>
          </a:p>
        </p:txBody>
      </p:sp>
    </p:spTree>
    <p:extLst>
      <p:ext uri="{BB962C8B-B14F-4D97-AF65-F5344CB8AC3E}">
        <p14:creationId xmlns:p14="http://schemas.microsoft.com/office/powerpoint/2010/main" val="2696740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1" y="1535114"/>
            <a:ext cx="5386917" cy="639762"/>
          </a:xfrm>
        </p:spPr>
        <p:txBody>
          <a:bodyPr anchor="b"/>
          <a:lstStyle>
            <a:lvl1pPr marL="0" indent="0">
              <a:buNone/>
              <a:defRPr sz="2400" b="1"/>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1"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5114"/>
            <a:ext cx="5389033" cy="639762"/>
          </a:xfrm>
        </p:spPr>
        <p:txBody>
          <a:bodyPr anchor="b"/>
          <a:lstStyle>
            <a:lvl1pPr marL="0" indent="0">
              <a:buNone/>
              <a:defRPr sz="2400" b="1"/>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9FBDDAC-06BB-4477-B44D-C5BD1BC9F44F}" type="datetimeFigureOut">
              <a:rPr lang="en-US" smtClean="0"/>
              <a:t>9/23/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7F56C21-B5C9-49A8-8164-414BDC71F170}" type="slidenum">
              <a:rPr lang="en-US" smtClean="0"/>
              <a:t>‹#›</a:t>
            </a:fld>
            <a:endParaRPr lang="en-US"/>
          </a:p>
        </p:txBody>
      </p:sp>
    </p:spTree>
    <p:extLst>
      <p:ext uri="{BB962C8B-B14F-4D97-AF65-F5344CB8AC3E}">
        <p14:creationId xmlns:p14="http://schemas.microsoft.com/office/powerpoint/2010/main" val="27906141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9FBDDAC-06BB-4477-B44D-C5BD1BC9F44F}" type="datetimeFigureOut">
              <a:rPr lang="en-US" smtClean="0"/>
              <a:t>9/23/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7F56C21-B5C9-49A8-8164-414BDC71F170}" type="slidenum">
              <a:rPr lang="en-US" smtClean="0"/>
              <a:t>‹#›</a:t>
            </a:fld>
            <a:endParaRPr lang="en-US"/>
          </a:p>
        </p:txBody>
      </p:sp>
    </p:spTree>
    <p:extLst>
      <p:ext uri="{BB962C8B-B14F-4D97-AF65-F5344CB8AC3E}">
        <p14:creationId xmlns:p14="http://schemas.microsoft.com/office/powerpoint/2010/main" val="7430134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9FBDDAC-06BB-4477-B44D-C5BD1BC9F44F}" type="datetimeFigureOut">
              <a:rPr lang="en-US" smtClean="0"/>
              <a:t>9/23/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7F56C21-B5C9-49A8-8164-414BDC71F170}" type="slidenum">
              <a:rPr lang="en-US" smtClean="0"/>
              <a:t>‹#›</a:t>
            </a:fld>
            <a:endParaRPr lang="en-US"/>
          </a:p>
        </p:txBody>
      </p:sp>
    </p:spTree>
    <p:extLst>
      <p:ext uri="{BB962C8B-B14F-4D97-AF65-F5344CB8AC3E}">
        <p14:creationId xmlns:p14="http://schemas.microsoft.com/office/powerpoint/2010/main" val="13960076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4" y="273052"/>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2"/>
            <a:ext cx="4011084" cy="4691063"/>
          </a:xfrm>
        </p:spPr>
        <p:txBody>
          <a:bodyPr/>
          <a:lstStyle>
            <a:lvl1pPr marL="0" indent="0">
              <a:buNone/>
              <a:defRPr sz="1400"/>
            </a:lvl1pPr>
            <a:lvl2pPr marL="457223" indent="0">
              <a:buNone/>
              <a:defRPr sz="1200"/>
            </a:lvl2pPr>
            <a:lvl3pPr marL="914446" indent="0">
              <a:buNone/>
              <a:defRPr sz="1000"/>
            </a:lvl3pPr>
            <a:lvl4pPr marL="1371669" indent="0">
              <a:buNone/>
              <a:defRPr sz="900"/>
            </a:lvl4pPr>
            <a:lvl5pPr marL="1828891" indent="0">
              <a:buNone/>
              <a:defRPr sz="900"/>
            </a:lvl5pPr>
            <a:lvl6pPr marL="2286114" indent="0">
              <a:buNone/>
              <a:defRPr sz="900"/>
            </a:lvl6pPr>
            <a:lvl7pPr marL="2743337" indent="0">
              <a:buNone/>
              <a:defRPr sz="900"/>
            </a:lvl7pPr>
            <a:lvl8pPr marL="3200560" indent="0">
              <a:buNone/>
              <a:defRPr sz="900"/>
            </a:lvl8pPr>
            <a:lvl9pPr marL="3657783"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89FBDDAC-06BB-4477-B44D-C5BD1BC9F44F}" type="datetimeFigureOut">
              <a:rPr lang="en-US" smtClean="0"/>
              <a:t>9/23/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7F56C21-B5C9-49A8-8164-414BDC71F170}" type="slidenum">
              <a:rPr lang="en-US" smtClean="0"/>
              <a:t>‹#›</a:t>
            </a:fld>
            <a:endParaRPr lang="en-US"/>
          </a:p>
        </p:txBody>
      </p:sp>
    </p:spTree>
    <p:extLst>
      <p:ext uri="{BB962C8B-B14F-4D97-AF65-F5344CB8AC3E}">
        <p14:creationId xmlns:p14="http://schemas.microsoft.com/office/powerpoint/2010/main" val="16174879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en-US"/>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23" indent="0">
              <a:buNone/>
              <a:defRPr sz="1200"/>
            </a:lvl2pPr>
            <a:lvl3pPr marL="914446" indent="0">
              <a:buNone/>
              <a:defRPr sz="1000"/>
            </a:lvl3pPr>
            <a:lvl4pPr marL="1371669" indent="0">
              <a:buNone/>
              <a:defRPr sz="900"/>
            </a:lvl4pPr>
            <a:lvl5pPr marL="1828891" indent="0">
              <a:buNone/>
              <a:defRPr sz="900"/>
            </a:lvl5pPr>
            <a:lvl6pPr marL="2286114" indent="0">
              <a:buNone/>
              <a:defRPr sz="900"/>
            </a:lvl6pPr>
            <a:lvl7pPr marL="2743337" indent="0">
              <a:buNone/>
              <a:defRPr sz="900"/>
            </a:lvl7pPr>
            <a:lvl8pPr marL="3200560" indent="0">
              <a:buNone/>
              <a:defRPr sz="900"/>
            </a:lvl8pPr>
            <a:lvl9pPr marL="3657783"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89FBDDAC-06BB-4477-B44D-C5BD1BC9F44F}" type="datetimeFigureOut">
              <a:rPr lang="en-US" smtClean="0"/>
              <a:t>9/23/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7F56C21-B5C9-49A8-8164-414BDC71F170}" type="slidenum">
              <a:rPr lang="en-US" smtClean="0"/>
              <a:t>‹#›</a:t>
            </a:fld>
            <a:endParaRPr lang="en-US"/>
          </a:p>
        </p:txBody>
      </p:sp>
    </p:spTree>
    <p:extLst>
      <p:ext uri="{BB962C8B-B14F-4D97-AF65-F5344CB8AC3E}">
        <p14:creationId xmlns:p14="http://schemas.microsoft.com/office/powerpoint/2010/main" val="18184014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3.emf"/><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2.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2">
            <a:lum/>
          </a:blip>
          <a:srcRect/>
          <a:stretch>
            <a:fillRect/>
          </a:stretch>
        </a:blip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9266283-AA73-40E6-899B-B223603CEE62}"/>
              </a:ext>
            </a:extLst>
          </p:cNvPr>
          <p:cNvGraphicFramePr>
            <a:graphicFrameLocks noChangeAspect="1"/>
          </p:cNvGraphicFramePr>
          <p:nvPr>
            <p:custDataLst>
              <p:tags r:id="rId20"/>
            </p:custDataLst>
            <p:extLst>
              <p:ext uri="{D42A27DB-BD31-4B8C-83A1-F6EECF244321}">
                <p14:modId xmlns:p14="http://schemas.microsoft.com/office/powerpoint/2010/main" val="82978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425" imgH="424" progId="TCLayout.ActiveDocument.1">
                  <p:embed/>
                </p:oleObj>
              </mc:Choice>
              <mc:Fallback>
                <p:oleObj name="think-cell Slide" r:id="rId23" imgW="425" imgH="424" progId="TCLayout.ActiveDocument.1">
                  <p:embed/>
                  <p:pic>
                    <p:nvPicPr>
                      <p:cNvPr id="8" name="Object 7" hidden="1">
                        <a:extLst>
                          <a:ext uri="{FF2B5EF4-FFF2-40B4-BE49-F238E27FC236}">
                            <a16:creationId xmlns:a16="http://schemas.microsoft.com/office/drawing/2014/main" id="{49266283-AA73-40E6-899B-B223603CEE62}"/>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2"/>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2"/>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9FBDDAC-06BB-4477-B44D-C5BD1BC9F44F}" type="datetimeFigureOut">
              <a:rPr lang="en-US" smtClean="0"/>
              <a:t>9/23/2024</a:t>
            </a:fld>
            <a:endParaRPr lang="en-US"/>
          </a:p>
        </p:txBody>
      </p:sp>
      <p:sp>
        <p:nvSpPr>
          <p:cNvPr id="5" name="Footer Placeholder 4"/>
          <p:cNvSpPr>
            <a:spLocks noGrp="1"/>
          </p:cNvSpPr>
          <p:nvPr>
            <p:ph type="ftr" sz="quarter" idx="3"/>
          </p:nvPr>
        </p:nvSpPr>
        <p:spPr>
          <a:xfrm>
            <a:off x="4165600" y="6356352"/>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0" y="6356352"/>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7F56C21-B5C9-49A8-8164-414BDC71F170}" type="slidenum">
              <a:rPr lang="en-US" smtClean="0"/>
              <a:t>‹#›</a:t>
            </a:fld>
            <a:endParaRPr lang="en-US"/>
          </a:p>
        </p:txBody>
      </p:sp>
      <p:graphicFrame>
        <p:nvGraphicFramePr>
          <p:cNvPr id="7" name="Object 6" hidden="1">
            <a:extLst>
              <a:ext uri="{FF2B5EF4-FFF2-40B4-BE49-F238E27FC236}">
                <a16:creationId xmlns:a16="http://schemas.microsoft.com/office/drawing/2014/main" id="{366F221E-B873-7DF4-F048-C02C5A4554AF}"/>
              </a:ext>
            </a:extLst>
          </p:cNvPr>
          <p:cNvGraphicFramePr>
            <a:graphicFrameLocks noChangeAspect="1"/>
          </p:cNvGraphicFramePr>
          <p:nvPr>
            <p:custDataLst>
              <p:tags r:id="rId21"/>
            </p:custDataLst>
            <p:extLst>
              <p:ext uri="{D42A27DB-BD31-4B8C-83A1-F6EECF244321}">
                <p14:modId xmlns:p14="http://schemas.microsoft.com/office/powerpoint/2010/main" val="2181411993"/>
              </p:ext>
            </p:extLst>
          </p:nvPr>
        </p:nvGraphicFramePr>
        <p:xfrm>
          <a:off x="1059" y="1059"/>
          <a:ext cx="1059" cy="1059"/>
        </p:xfrm>
        <a:graphic>
          <a:graphicData uri="http://schemas.openxmlformats.org/presentationml/2006/ole">
            <mc:AlternateContent xmlns:mc="http://schemas.openxmlformats.org/markup-compatibility/2006">
              <mc:Choice xmlns:v="urn:schemas-microsoft-com:vml" Requires="v">
                <p:oleObj name="think-cell Slide" r:id="rId25" imgW="421" imgH="420" progId="TCLayout.ActiveDocument.1">
                  <p:embed/>
                </p:oleObj>
              </mc:Choice>
              <mc:Fallback>
                <p:oleObj name="think-cell Slide" r:id="rId25" imgW="421" imgH="420" progId="TCLayout.ActiveDocument.1">
                  <p:embed/>
                  <p:pic>
                    <p:nvPicPr>
                      <p:cNvPr id="7" name="Object 6" hidden="1">
                        <a:extLst>
                          <a:ext uri="{FF2B5EF4-FFF2-40B4-BE49-F238E27FC236}">
                            <a16:creationId xmlns:a16="http://schemas.microsoft.com/office/drawing/2014/main" id="{366F221E-B873-7DF4-F048-C02C5A4554AF}"/>
                          </a:ext>
                        </a:extLst>
                      </p:cNvPr>
                      <p:cNvPicPr/>
                      <p:nvPr/>
                    </p:nvPicPr>
                    <p:blipFill>
                      <a:blip r:embed="rId26"/>
                      <a:stretch>
                        <a:fillRect/>
                      </a:stretch>
                    </p:blipFill>
                    <p:spPr>
                      <a:xfrm>
                        <a:off x="1059" y="1059"/>
                        <a:ext cx="1059" cy="1059"/>
                      </a:xfrm>
                      <a:prstGeom prst="rect">
                        <a:avLst/>
                      </a:prstGeom>
                    </p:spPr>
                  </p:pic>
                </p:oleObj>
              </mc:Fallback>
            </mc:AlternateContent>
          </a:graphicData>
        </a:graphic>
      </p:graphicFrame>
    </p:spTree>
    <p:extLst>
      <p:ext uri="{BB962C8B-B14F-4D97-AF65-F5344CB8AC3E}">
        <p14:creationId xmlns:p14="http://schemas.microsoft.com/office/powerpoint/2010/main" val="419254640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Lst>
  <p:txStyles>
    <p:titleStyle>
      <a:lvl1pPr algn="ctr" defTabSz="914446" rtl="0" eaLnBrk="1" latinLnBrk="0" hangingPunct="1">
        <a:spcBef>
          <a:spcPct val="0"/>
        </a:spcBef>
        <a:buNone/>
        <a:defRPr sz="4400" kern="1200">
          <a:solidFill>
            <a:schemeClr val="tx1"/>
          </a:solidFill>
          <a:latin typeface="+mj-lt"/>
          <a:ea typeface="+mj-ea"/>
          <a:cs typeface="+mj-cs"/>
        </a:defRPr>
      </a:lvl1pPr>
    </p:titleStyle>
    <p:bodyStyle>
      <a:lvl1pPr marL="342917" indent="-342917" algn="l" defTabSz="914446"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87" indent="-285764" algn="l" defTabSz="914446"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57" indent="-228611" algn="l" defTabSz="914446"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80" indent="-228611" algn="l" defTabSz="914446"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503" indent="-228611" algn="l" defTabSz="914446"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726" indent="-228611" algn="l" defTabSz="91444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949" indent="-228611" algn="l" defTabSz="91444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171" indent="-228611" algn="l" defTabSz="91444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394" indent="-228611" algn="l" defTabSz="91444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8" Type="http://schemas.openxmlformats.org/officeDocument/2006/relationships/image" Target="../media/image56.svg"/><Relationship Id="rId3" Type="http://schemas.openxmlformats.org/officeDocument/2006/relationships/image" Target="../media/image53.png"/><Relationship Id="rId7" Type="http://schemas.openxmlformats.org/officeDocument/2006/relationships/image" Target="../media/image55.png"/><Relationship Id="rId12" Type="http://schemas.openxmlformats.org/officeDocument/2006/relationships/image" Target="../media/image58.svg"/><Relationship Id="rId2" Type="http://schemas.openxmlformats.org/officeDocument/2006/relationships/image" Target="../media/image45.png"/><Relationship Id="rId1" Type="http://schemas.openxmlformats.org/officeDocument/2006/relationships/slideLayout" Target="../slideLayouts/slideLayout7.xml"/><Relationship Id="rId6" Type="http://schemas.openxmlformats.org/officeDocument/2006/relationships/image" Target="../media/image47.svg"/><Relationship Id="rId11" Type="http://schemas.openxmlformats.org/officeDocument/2006/relationships/image" Target="../media/image57.png"/><Relationship Id="rId5" Type="http://schemas.openxmlformats.org/officeDocument/2006/relationships/image" Target="../media/image46.png"/><Relationship Id="rId10" Type="http://schemas.openxmlformats.org/officeDocument/2006/relationships/image" Target="../media/image60.svg"/><Relationship Id="rId4" Type="http://schemas.openxmlformats.org/officeDocument/2006/relationships/image" Target="../media/image54.svg"/><Relationship Id="rId9" Type="http://schemas.openxmlformats.org/officeDocument/2006/relationships/image" Target="../media/image59.png"/></Relationships>
</file>

<file path=ppt/slides/_rels/slide101.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54.svg"/><Relationship Id="rId7" Type="http://schemas.openxmlformats.org/officeDocument/2006/relationships/image" Target="../media/image56.svg"/><Relationship Id="rId2" Type="http://schemas.openxmlformats.org/officeDocument/2006/relationships/image" Target="../media/image53.png"/><Relationship Id="rId1" Type="http://schemas.openxmlformats.org/officeDocument/2006/relationships/slideLayout" Target="../slideLayouts/slideLayout7.xml"/><Relationship Id="rId6" Type="http://schemas.openxmlformats.org/officeDocument/2006/relationships/image" Target="../media/image55.png"/><Relationship Id="rId5" Type="http://schemas.openxmlformats.org/officeDocument/2006/relationships/image" Target="../media/image47.svg"/><Relationship Id="rId4" Type="http://schemas.openxmlformats.org/officeDocument/2006/relationships/image" Target="../media/image46.png"/></Relationships>
</file>

<file path=ppt/slides/_rels/slide102.xml.rels><?xml version="1.0" encoding="UTF-8" standalone="yes"?>
<Relationships xmlns="http://schemas.openxmlformats.org/package/2006/relationships"><Relationship Id="rId8" Type="http://schemas.openxmlformats.org/officeDocument/2006/relationships/image" Target="../media/image69.png"/><Relationship Id="rId13" Type="http://schemas.openxmlformats.org/officeDocument/2006/relationships/image" Target="../media/image74.svg"/><Relationship Id="rId18" Type="http://schemas.openxmlformats.org/officeDocument/2006/relationships/image" Target="../media/image45.png"/><Relationship Id="rId3" Type="http://schemas.openxmlformats.org/officeDocument/2006/relationships/image" Target="../media/image64.svg"/><Relationship Id="rId7" Type="http://schemas.openxmlformats.org/officeDocument/2006/relationships/image" Target="../media/image68.svg"/><Relationship Id="rId12" Type="http://schemas.openxmlformats.org/officeDocument/2006/relationships/image" Target="../media/image73.png"/><Relationship Id="rId17" Type="http://schemas.openxmlformats.org/officeDocument/2006/relationships/image" Target="../media/image78.svg"/><Relationship Id="rId2" Type="http://schemas.openxmlformats.org/officeDocument/2006/relationships/image" Target="../media/image63.png"/><Relationship Id="rId16" Type="http://schemas.openxmlformats.org/officeDocument/2006/relationships/image" Target="../media/image77.png"/><Relationship Id="rId1" Type="http://schemas.openxmlformats.org/officeDocument/2006/relationships/slideLayout" Target="../slideLayouts/slideLayout7.xml"/><Relationship Id="rId6" Type="http://schemas.openxmlformats.org/officeDocument/2006/relationships/image" Target="../media/image67.png"/><Relationship Id="rId11" Type="http://schemas.openxmlformats.org/officeDocument/2006/relationships/image" Target="../media/image72.svg"/><Relationship Id="rId5" Type="http://schemas.openxmlformats.org/officeDocument/2006/relationships/image" Target="../media/image66.svg"/><Relationship Id="rId15" Type="http://schemas.openxmlformats.org/officeDocument/2006/relationships/image" Target="../media/image76.svg"/><Relationship Id="rId10" Type="http://schemas.openxmlformats.org/officeDocument/2006/relationships/image" Target="../media/image71.png"/><Relationship Id="rId4" Type="http://schemas.openxmlformats.org/officeDocument/2006/relationships/image" Target="../media/image65.png"/><Relationship Id="rId9" Type="http://schemas.openxmlformats.org/officeDocument/2006/relationships/image" Target="../media/image70.svg"/><Relationship Id="rId14" Type="http://schemas.openxmlformats.org/officeDocument/2006/relationships/image" Target="../media/image75.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audio" Target="../media/media1.m4a"/><Relationship Id="rId1" Type="http://schemas.microsoft.com/office/2007/relationships/media" Target="../media/media1.m4a"/><Relationship Id="rId5" Type="http://schemas.openxmlformats.org/officeDocument/2006/relationships/image" Target="../media/image5.png"/><Relationship Id="rId4" Type="http://schemas.openxmlformats.org/officeDocument/2006/relationships/notesSlide" Target="../notesSlides/notesSlide7.xml"/></Relationships>
</file>

<file path=ppt/slides/_rels/slide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audio" Target="../media/media2.m4a"/><Relationship Id="rId1" Type="http://schemas.microsoft.com/office/2007/relationships/media" Target="../media/media2.m4a"/><Relationship Id="rId5" Type="http://schemas.openxmlformats.org/officeDocument/2006/relationships/image" Target="../media/image5.png"/><Relationship Id="rId4" Type="http://schemas.openxmlformats.org/officeDocument/2006/relationships/image" Target="../media/image10.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audio" Target="../media/media3.m4a"/><Relationship Id="rId1" Type="http://schemas.microsoft.com/office/2007/relationships/media" Target="../media/media3.m4a"/><Relationship Id="rId6" Type="http://schemas.openxmlformats.org/officeDocument/2006/relationships/image" Target="../media/image5.png"/><Relationship Id="rId5" Type="http://schemas.openxmlformats.org/officeDocument/2006/relationships/image" Target="../media/image15.png"/><Relationship Id="rId4" Type="http://schemas.openxmlformats.org/officeDocument/2006/relationships/notesSlide" Target="../notesSlides/notesSlide9.xml"/></Relationships>
</file>

<file path=ppt/slides/_rels/slide3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oleObject" Target="../embeddings/oleObject3.bin"/><Relationship Id="rId7" Type="http://schemas.openxmlformats.org/officeDocument/2006/relationships/diagramQuickStyle" Target="../diagrams/quickStyle1.xml"/><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17.emf"/><Relationship Id="rId9" Type="http://schemas.microsoft.com/office/2007/relationships/diagramDrawing" Target="../diagrams/drawing1.xml"/></Relationships>
</file>

<file path=ppt/slides/_rels/slide3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3.xml"/><Relationship Id="rId5" Type="http://schemas.openxmlformats.org/officeDocument/2006/relationships/chart" Target="../charts/chart4.xml"/><Relationship Id="rId4" Type="http://schemas.openxmlformats.org/officeDocument/2006/relationships/chart" Target="../charts/chart3.xml"/></Relationships>
</file>

<file path=ppt/slides/_rels/slide39.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13.xml"/><Relationship Id="rId5" Type="http://schemas.openxmlformats.org/officeDocument/2006/relationships/chart" Target="../charts/chart8.xml"/><Relationship Id="rId4" Type="http://schemas.openxmlformats.org/officeDocument/2006/relationships/chart" Target="../charts/char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video" Target="../media/media4.mp4"/><Relationship Id="rId1" Type="http://schemas.microsoft.com/office/2007/relationships/media" Target="../media/media4.mp4"/><Relationship Id="rId4" Type="http://schemas.openxmlformats.org/officeDocument/2006/relationships/image" Target="../media/image22.png"/></Relationships>
</file>

<file path=ppt/slides/_rels/slide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image" Target="../media/image23.jpeg"/><Relationship Id="rId1" Type="http://schemas.openxmlformats.org/officeDocument/2006/relationships/slideLayout" Target="../slideLayouts/slideLayout2.xml"/><Relationship Id="rId4" Type="http://schemas.openxmlformats.org/officeDocument/2006/relationships/image" Target="../media/image25.jpeg"/></Relationships>
</file>

<file path=ppt/slides/_rels/slide52.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5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image" Target="../media/image36.jpeg"/><Relationship Id="rId1" Type="http://schemas.openxmlformats.org/officeDocument/2006/relationships/slideLayout" Target="../slideLayouts/slideLayout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xml"/><Relationship Id="rId5" Type="http://schemas.openxmlformats.org/officeDocument/2006/relationships/image" Target="../media/image38.png"/><Relationship Id="rId4" Type="http://schemas.openxmlformats.org/officeDocument/2006/relationships/image" Target="../media/image37.emf"/></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3" Type="http://schemas.openxmlformats.org/officeDocument/2006/relationships/image" Target="../media/image42.jp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44.png"/></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44.png"/></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44.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44.png"/></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openxmlformats.org/officeDocument/2006/relationships/image" Target="../media/image44.png"/></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image" Target="../media/image50.svg"/><Relationship Id="rId2" Type="http://schemas.openxmlformats.org/officeDocument/2006/relationships/image" Target="../media/image45.png"/><Relationship Id="rId1" Type="http://schemas.openxmlformats.org/officeDocument/2006/relationships/slideLayout" Target="../slideLayouts/slideLayout7.xml"/><Relationship Id="rId6" Type="http://schemas.openxmlformats.org/officeDocument/2006/relationships/image" Target="../media/image49.png"/><Relationship Id="rId5" Type="http://schemas.openxmlformats.org/officeDocument/2006/relationships/image" Target="../media/image48.jpeg"/><Relationship Id="rId4" Type="http://schemas.openxmlformats.org/officeDocument/2006/relationships/image" Target="../media/image47.svg"/></Relationships>
</file>

<file path=ppt/slides/_rels/slide9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45.png"/><Relationship Id="rId1" Type="http://schemas.openxmlformats.org/officeDocument/2006/relationships/slideLayout" Target="../slideLayouts/slideLayout7.xml"/><Relationship Id="rId6" Type="http://schemas.openxmlformats.org/officeDocument/2006/relationships/image" Target="../media/image50.svg"/><Relationship Id="rId5" Type="http://schemas.openxmlformats.org/officeDocument/2006/relationships/image" Target="../media/image49.png"/><Relationship Id="rId4" Type="http://schemas.openxmlformats.org/officeDocument/2006/relationships/image" Target="../media/image52.svg"/></Relationships>
</file>

<file path=ppt/slides/_rels/slide98.xml.rels><?xml version="1.0" encoding="UTF-8" standalone="yes"?>
<Relationships xmlns="http://schemas.openxmlformats.org/package/2006/relationships"><Relationship Id="rId8" Type="http://schemas.openxmlformats.org/officeDocument/2006/relationships/image" Target="../media/image56.svg"/><Relationship Id="rId3" Type="http://schemas.openxmlformats.org/officeDocument/2006/relationships/image" Target="../media/image53.png"/><Relationship Id="rId7" Type="http://schemas.openxmlformats.org/officeDocument/2006/relationships/image" Target="../media/image55.png"/><Relationship Id="rId12" Type="http://schemas.openxmlformats.org/officeDocument/2006/relationships/image" Target="../media/image60.svg"/><Relationship Id="rId2" Type="http://schemas.openxmlformats.org/officeDocument/2006/relationships/image" Target="../media/image45.png"/><Relationship Id="rId1" Type="http://schemas.openxmlformats.org/officeDocument/2006/relationships/slideLayout" Target="../slideLayouts/slideLayout7.xml"/><Relationship Id="rId6" Type="http://schemas.openxmlformats.org/officeDocument/2006/relationships/image" Target="../media/image47.svg"/><Relationship Id="rId11" Type="http://schemas.openxmlformats.org/officeDocument/2006/relationships/image" Target="../media/image59.png"/><Relationship Id="rId5" Type="http://schemas.openxmlformats.org/officeDocument/2006/relationships/image" Target="../media/image46.png"/><Relationship Id="rId10" Type="http://schemas.openxmlformats.org/officeDocument/2006/relationships/image" Target="../media/image58.svg"/><Relationship Id="rId4" Type="http://schemas.openxmlformats.org/officeDocument/2006/relationships/image" Target="../media/image54.svg"/><Relationship Id="rId9" Type="http://schemas.openxmlformats.org/officeDocument/2006/relationships/image" Target="../media/image57.png"/></Relationships>
</file>

<file path=ppt/slides/_rels/slide9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5.png"/><Relationship Id="rId1" Type="http://schemas.openxmlformats.org/officeDocument/2006/relationships/slideLayout" Target="../slideLayouts/slideLayout7.xml"/><Relationship Id="rId6" Type="http://schemas.openxmlformats.org/officeDocument/2006/relationships/image" Target="../media/image62.svg"/><Relationship Id="rId5" Type="http://schemas.openxmlformats.org/officeDocument/2006/relationships/image" Target="../media/image61.png"/><Relationship Id="rId4" Type="http://schemas.openxmlformats.org/officeDocument/2006/relationships/image" Target="../media/image50.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FB7C6318-82BA-C4C1-E8FD-0BFE67C25C40}"/>
              </a:ext>
            </a:extLst>
          </p:cNvPr>
          <p:cNvSpPr txBox="1"/>
          <p:nvPr/>
        </p:nvSpPr>
        <p:spPr>
          <a:xfrm>
            <a:off x="1654892" y="3273831"/>
            <a:ext cx="8882216" cy="707886"/>
          </a:xfrm>
          <a:prstGeom prst="rect">
            <a:avLst/>
          </a:prstGeom>
          <a:noFill/>
        </p:spPr>
        <p:txBody>
          <a:bodyPr wrap="square">
            <a:spAutoFit/>
          </a:bodyPr>
          <a:lstStyle/>
          <a:p>
            <a:r>
              <a:rPr lang="en-US" sz="4000" b="1" dirty="0">
                <a:solidFill>
                  <a:srgbClr val="002060"/>
                </a:solidFill>
                <a:latin typeface="Poppins" panose="00000500000000000000" pitchFamily="2" charset="0"/>
                <a:cs typeface="Poppins" panose="00000500000000000000" pitchFamily="2" charset="0"/>
              </a:rPr>
              <a:t>Project and Program Monitoring</a:t>
            </a:r>
          </a:p>
        </p:txBody>
      </p:sp>
    </p:spTree>
    <p:extLst>
      <p:ext uri="{BB962C8B-B14F-4D97-AF65-F5344CB8AC3E}">
        <p14:creationId xmlns:p14="http://schemas.microsoft.com/office/powerpoint/2010/main" val="37214957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3140C37-2611-14D5-5A7A-D8638F155507}"/>
              </a:ext>
            </a:extLst>
          </p:cNvPr>
          <p:cNvSpPr>
            <a:spLocks noGrp="1"/>
          </p:cNvSpPr>
          <p:nvPr>
            <p:ph idx="1"/>
          </p:nvPr>
        </p:nvSpPr>
        <p:spPr>
          <a:xfrm>
            <a:off x="609600" y="951273"/>
            <a:ext cx="10972800" cy="4525963"/>
          </a:xfrm>
        </p:spPr>
        <p:txBody>
          <a:bodyPr anchor="ctr"/>
          <a:lstStyle/>
          <a:p>
            <a:pPr algn="ctr" eaLnBrk="1" hangingPunct="1">
              <a:spcBef>
                <a:spcPct val="0"/>
              </a:spcBef>
              <a:defRPr/>
            </a:pPr>
            <a:endParaRPr lang="en-US" altLang="en-US" sz="5400" b="1" dirty="0">
              <a:solidFill>
                <a:srgbClr val="006600"/>
              </a:solidFill>
              <a:latin typeface="+mj-lt"/>
              <a:ea typeface="+mj-ea"/>
              <a:cs typeface="+mj-cs"/>
            </a:endParaRPr>
          </a:p>
          <a:p>
            <a:pPr algn="ctr" eaLnBrk="1" hangingPunct="1">
              <a:spcBef>
                <a:spcPct val="0"/>
              </a:spcBef>
              <a:defRPr/>
            </a:pPr>
            <a:endParaRPr lang="en-US" altLang="en-US" sz="5400" b="1" dirty="0">
              <a:solidFill>
                <a:srgbClr val="006600"/>
              </a:solidFill>
              <a:latin typeface="+mj-lt"/>
              <a:ea typeface="+mj-ea"/>
              <a:cs typeface="+mj-cs"/>
            </a:endParaRPr>
          </a:p>
          <a:p>
            <a:pPr algn="ctr" eaLnBrk="1" hangingPunct="1">
              <a:spcBef>
                <a:spcPct val="0"/>
              </a:spcBef>
              <a:defRPr/>
            </a:pPr>
            <a:endParaRPr lang="en-US" altLang="en-US" sz="5400" b="1" dirty="0">
              <a:solidFill>
                <a:srgbClr val="006600"/>
              </a:solidFill>
              <a:latin typeface="+mj-lt"/>
              <a:ea typeface="+mj-ea"/>
              <a:cs typeface="+mj-cs"/>
            </a:endParaRPr>
          </a:p>
          <a:p>
            <a:pPr marL="0" indent="0" algn="ctr">
              <a:spcBef>
                <a:spcPct val="0"/>
              </a:spcBef>
              <a:buNone/>
              <a:defRPr/>
            </a:pPr>
            <a:r>
              <a:rPr lang="en-US" altLang="en-US" sz="5400" b="1" dirty="0">
                <a:solidFill>
                  <a:srgbClr val="006600"/>
                </a:solidFill>
                <a:latin typeface="+mj-lt"/>
                <a:ea typeface="+mj-ea"/>
                <a:cs typeface="+mj-cs"/>
              </a:rPr>
              <a:t>So how does this relate to Monitoring and Evaluation (M&amp;E)?</a:t>
            </a:r>
          </a:p>
          <a:p>
            <a:pPr algn="ctr" eaLnBrk="1" hangingPunct="1">
              <a:spcBef>
                <a:spcPct val="0"/>
              </a:spcBef>
              <a:defRPr/>
            </a:pPr>
            <a:endParaRPr lang="en-US" altLang="en-US" sz="5400" b="1" dirty="0">
              <a:solidFill>
                <a:srgbClr val="006600"/>
              </a:solidFill>
              <a:latin typeface="+mj-lt"/>
              <a:ea typeface="+mj-ea"/>
              <a:cs typeface="+mj-cs"/>
            </a:endParaRPr>
          </a:p>
          <a:p>
            <a:pPr algn="ctr" eaLnBrk="1" hangingPunct="1">
              <a:spcBef>
                <a:spcPct val="0"/>
              </a:spcBef>
              <a:defRPr/>
            </a:pPr>
            <a:endParaRPr lang="en-US" sz="5400" b="1" dirty="0">
              <a:solidFill>
                <a:srgbClr val="006600"/>
              </a:solidFill>
              <a:latin typeface="+mj-lt"/>
              <a:ea typeface="+mj-ea"/>
              <a:cs typeface="+mj-cs"/>
            </a:endParaRPr>
          </a:p>
        </p:txBody>
      </p:sp>
    </p:spTree>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2"/>
          <a:srcRect/>
          <a:stretch>
            <a:fillRect/>
          </a:stretch>
        </p:blipFill>
        <p:spPr>
          <a:xfrm>
            <a:off x="8641078" y="0"/>
            <a:ext cx="3550922" cy="1016077"/>
          </a:xfrm>
          <a:prstGeom prst="rect">
            <a:avLst/>
          </a:prstGeom>
        </p:spPr>
      </p:pic>
      <p:pic>
        <p:nvPicPr>
          <p:cNvPr id="3" name="Picture 3"/>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p:blipFill>
        <p:spPr>
          <a:xfrm>
            <a:off x="-824961" y="5754788"/>
            <a:ext cx="2743200" cy="2743200"/>
          </a:xfrm>
          <a:prstGeom prst="rect">
            <a:avLst/>
          </a:prstGeom>
        </p:spPr>
      </p:pic>
      <p:pic>
        <p:nvPicPr>
          <p:cNvPr id="4" name="Picture 4"/>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p:blipFill>
        <p:spPr>
          <a:xfrm>
            <a:off x="-685800" y="-2235161"/>
            <a:ext cx="2743200" cy="2743200"/>
          </a:xfrm>
          <a:prstGeom prst="rect">
            <a:avLst/>
          </a:prstGeom>
        </p:spPr>
      </p:pic>
      <p:pic>
        <p:nvPicPr>
          <p:cNvPr id="5" name="Picture 5"/>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a:off x="11184889" y="2812780"/>
            <a:ext cx="2743200" cy="2743200"/>
          </a:xfrm>
          <a:prstGeom prst="rect">
            <a:avLst/>
          </a:prstGeom>
        </p:spPr>
      </p:pic>
      <p:pic>
        <p:nvPicPr>
          <p:cNvPr id="6" name="Picture 6"/>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p:blipFill>
        <p:spPr>
          <a:xfrm>
            <a:off x="11722453" y="2812780"/>
            <a:ext cx="2743200" cy="2743200"/>
          </a:xfrm>
          <a:prstGeom prst="rect">
            <a:avLst/>
          </a:prstGeom>
        </p:spPr>
      </p:pic>
      <p:pic>
        <p:nvPicPr>
          <p:cNvPr id="7" name="Picture 7"/>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a:stretch>
        </p:blipFill>
        <p:spPr>
          <a:xfrm>
            <a:off x="244225" y="685800"/>
            <a:ext cx="1719295" cy="840305"/>
          </a:xfrm>
          <a:prstGeom prst="rect">
            <a:avLst/>
          </a:prstGeom>
        </p:spPr>
      </p:pic>
      <p:sp>
        <p:nvSpPr>
          <p:cNvPr id="8" name="TextBox 8"/>
          <p:cNvSpPr txBox="1"/>
          <p:nvPr/>
        </p:nvSpPr>
        <p:spPr>
          <a:xfrm>
            <a:off x="244225" y="995786"/>
            <a:ext cx="1554761" cy="198772"/>
          </a:xfrm>
          <a:prstGeom prst="rect">
            <a:avLst/>
          </a:prstGeom>
        </p:spPr>
        <p:txBody>
          <a:bodyPr wrap="square" lIns="0" tIns="0" rIns="0" bIns="0" rtlCol="0" anchor="t">
            <a:spAutoFit/>
          </a:bodyPr>
          <a:lstStyle/>
          <a:p>
            <a:pPr algn="ctr">
              <a:lnSpc>
                <a:spcPts val="1691"/>
              </a:lnSpc>
            </a:pPr>
            <a:r>
              <a:rPr lang="en-US" sz="1208" dirty="0">
                <a:solidFill>
                  <a:srgbClr val="000000"/>
                </a:solidFill>
                <a:latin typeface="Canva Sans Bold"/>
              </a:rPr>
              <a:t>Web Development</a:t>
            </a:r>
          </a:p>
        </p:txBody>
      </p:sp>
      <p:sp>
        <p:nvSpPr>
          <p:cNvPr id="9" name="TextBox 9"/>
          <p:cNvSpPr txBox="1"/>
          <p:nvPr/>
        </p:nvSpPr>
        <p:spPr>
          <a:xfrm>
            <a:off x="199555" y="1720497"/>
            <a:ext cx="1886507" cy="1563570"/>
          </a:xfrm>
          <a:prstGeom prst="rect">
            <a:avLst/>
          </a:prstGeom>
        </p:spPr>
        <p:txBody>
          <a:bodyPr lIns="0" tIns="0" rIns="0" bIns="0" rtlCol="0" anchor="t">
            <a:spAutoFit/>
          </a:bodyPr>
          <a:lstStyle/>
          <a:p>
            <a:pPr>
              <a:lnSpc>
                <a:spcPts val="1867"/>
              </a:lnSpc>
            </a:pPr>
            <a:r>
              <a:rPr lang="en-US" sz="1333">
                <a:solidFill>
                  <a:srgbClr val="000000"/>
                </a:solidFill>
                <a:latin typeface="Canva Sans Bold"/>
              </a:rPr>
              <a:t>Skill</a:t>
            </a:r>
          </a:p>
          <a:p>
            <a:pPr marL="230304" lvl="1" indent="-115152">
              <a:lnSpc>
                <a:spcPts val="1493"/>
              </a:lnSpc>
              <a:buFont typeface="Arial"/>
              <a:buChar char="•"/>
            </a:pPr>
            <a:r>
              <a:rPr lang="en-US" sz="1066">
                <a:solidFill>
                  <a:srgbClr val="000000"/>
                </a:solidFill>
                <a:latin typeface="Canva Sans"/>
              </a:rPr>
              <a:t>Front End -- HTML, CSS, JavaScript, React, Angular,  and Vue</a:t>
            </a:r>
          </a:p>
          <a:p>
            <a:pPr marL="230304" lvl="1" indent="-115152">
              <a:lnSpc>
                <a:spcPts val="1493"/>
              </a:lnSpc>
              <a:buFont typeface="Arial"/>
              <a:buChar char="•"/>
            </a:pPr>
            <a:r>
              <a:rPr lang="en-US" sz="1066">
                <a:solidFill>
                  <a:srgbClr val="000000"/>
                </a:solidFill>
                <a:latin typeface="Canva Sans"/>
              </a:rPr>
              <a:t>Backend -- PHP, Node. JS, Java, Python etc.</a:t>
            </a:r>
          </a:p>
          <a:p>
            <a:pPr marL="230304" lvl="1" indent="-115152">
              <a:lnSpc>
                <a:spcPts val="1493"/>
              </a:lnSpc>
              <a:buFont typeface="Arial"/>
              <a:buChar char="•"/>
            </a:pPr>
            <a:r>
              <a:rPr lang="en-US" sz="1066">
                <a:solidFill>
                  <a:srgbClr val="000000"/>
                </a:solidFill>
                <a:latin typeface="Canva Sans"/>
              </a:rPr>
              <a:t>Understand UX</a:t>
            </a:r>
          </a:p>
          <a:p>
            <a:pPr>
              <a:lnSpc>
                <a:spcPts val="1353"/>
              </a:lnSpc>
            </a:pPr>
            <a:endParaRPr lang="en-US" sz="1066">
              <a:solidFill>
                <a:srgbClr val="000000"/>
              </a:solidFill>
              <a:latin typeface="Canva Sans"/>
            </a:endParaRPr>
          </a:p>
        </p:txBody>
      </p:sp>
      <p:sp>
        <p:nvSpPr>
          <p:cNvPr id="10" name="TextBox 10"/>
          <p:cNvSpPr txBox="1"/>
          <p:nvPr/>
        </p:nvSpPr>
        <p:spPr>
          <a:xfrm>
            <a:off x="2086062" y="82127"/>
            <a:ext cx="6555017" cy="549125"/>
          </a:xfrm>
          <a:prstGeom prst="rect">
            <a:avLst/>
          </a:prstGeom>
        </p:spPr>
        <p:txBody>
          <a:bodyPr wrap="square" lIns="0" tIns="0" rIns="0" bIns="0" rtlCol="0" anchor="t">
            <a:spAutoFit/>
          </a:bodyPr>
          <a:lstStyle/>
          <a:p>
            <a:pPr algn="ctr">
              <a:lnSpc>
                <a:spcPts val="4853"/>
              </a:lnSpc>
            </a:pPr>
            <a:r>
              <a:rPr lang="en-US" sz="2667" dirty="0">
                <a:solidFill>
                  <a:srgbClr val="000000"/>
                </a:solidFill>
                <a:latin typeface="Canva Sans Bold"/>
              </a:rPr>
              <a:t>Software Engineering and Development</a:t>
            </a:r>
          </a:p>
        </p:txBody>
      </p:sp>
      <p:pic>
        <p:nvPicPr>
          <p:cNvPr id="11" name="Picture 11"/>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a:fillRect/>
          </a:stretch>
        </p:blipFill>
        <p:spPr>
          <a:xfrm>
            <a:off x="3076883" y="1629515"/>
            <a:ext cx="1719295" cy="840305"/>
          </a:xfrm>
          <a:prstGeom prst="rect">
            <a:avLst/>
          </a:prstGeom>
        </p:spPr>
      </p:pic>
      <p:sp>
        <p:nvSpPr>
          <p:cNvPr id="12" name="TextBox 12"/>
          <p:cNvSpPr txBox="1"/>
          <p:nvPr/>
        </p:nvSpPr>
        <p:spPr>
          <a:xfrm>
            <a:off x="3385858" y="1842682"/>
            <a:ext cx="1101345" cy="634789"/>
          </a:xfrm>
          <a:prstGeom prst="rect">
            <a:avLst/>
          </a:prstGeom>
        </p:spPr>
        <p:txBody>
          <a:bodyPr lIns="0" tIns="0" rIns="0" bIns="0" rtlCol="0" anchor="t">
            <a:spAutoFit/>
          </a:bodyPr>
          <a:lstStyle/>
          <a:p>
            <a:pPr algn="ctr">
              <a:lnSpc>
                <a:spcPts val="1691"/>
              </a:lnSpc>
            </a:pPr>
            <a:r>
              <a:rPr lang="en-US" sz="1208">
                <a:solidFill>
                  <a:srgbClr val="000000"/>
                </a:solidFill>
                <a:latin typeface="Canva Sans Bold"/>
              </a:rPr>
              <a:t>Mobile App </a:t>
            </a:r>
          </a:p>
          <a:p>
            <a:pPr algn="ctr">
              <a:lnSpc>
                <a:spcPts val="1691"/>
              </a:lnSpc>
            </a:pPr>
            <a:r>
              <a:rPr lang="en-US" sz="1208">
                <a:solidFill>
                  <a:srgbClr val="000000"/>
                </a:solidFill>
                <a:latin typeface="Canva Sans Bold"/>
              </a:rPr>
              <a:t>Development</a:t>
            </a:r>
          </a:p>
          <a:p>
            <a:pPr algn="ctr">
              <a:lnSpc>
                <a:spcPts val="1691"/>
              </a:lnSpc>
            </a:pPr>
            <a:endParaRPr lang="en-US" sz="1208">
              <a:solidFill>
                <a:srgbClr val="000000"/>
              </a:solidFill>
              <a:latin typeface="Canva Sans Bold"/>
            </a:endParaRPr>
          </a:p>
        </p:txBody>
      </p:sp>
      <p:sp>
        <p:nvSpPr>
          <p:cNvPr id="13" name="TextBox 13"/>
          <p:cNvSpPr txBox="1"/>
          <p:nvPr/>
        </p:nvSpPr>
        <p:spPr>
          <a:xfrm>
            <a:off x="3032212" y="2664211"/>
            <a:ext cx="1886507" cy="1563570"/>
          </a:xfrm>
          <a:prstGeom prst="rect">
            <a:avLst/>
          </a:prstGeom>
        </p:spPr>
        <p:txBody>
          <a:bodyPr lIns="0" tIns="0" rIns="0" bIns="0" rtlCol="0" anchor="t">
            <a:spAutoFit/>
          </a:bodyPr>
          <a:lstStyle/>
          <a:p>
            <a:pPr>
              <a:lnSpc>
                <a:spcPts val="1867"/>
              </a:lnSpc>
            </a:pPr>
            <a:r>
              <a:rPr lang="en-US" sz="1333">
                <a:solidFill>
                  <a:srgbClr val="000000"/>
                </a:solidFill>
                <a:latin typeface="Canva Sans Bold"/>
              </a:rPr>
              <a:t>Skill</a:t>
            </a:r>
          </a:p>
          <a:p>
            <a:pPr marL="230304" lvl="1" indent="-115152">
              <a:lnSpc>
                <a:spcPts val="1493"/>
              </a:lnSpc>
              <a:buFont typeface="Arial"/>
              <a:buChar char="•"/>
            </a:pPr>
            <a:r>
              <a:rPr lang="en-US" sz="1066">
                <a:solidFill>
                  <a:srgbClr val="000000"/>
                </a:solidFill>
                <a:latin typeface="Canva Sans"/>
              </a:rPr>
              <a:t>Front End -- HTML, CSS, JavaScript, ReactNative, Flutter</a:t>
            </a:r>
          </a:p>
          <a:p>
            <a:pPr marL="230304" lvl="1" indent="-115152">
              <a:lnSpc>
                <a:spcPts val="1493"/>
              </a:lnSpc>
              <a:buFont typeface="Arial"/>
              <a:buChar char="•"/>
            </a:pPr>
            <a:r>
              <a:rPr lang="en-US" sz="1066">
                <a:solidFill>
                  <a:srgbClr val="000000"/>
                </a:solidFill>
                <a:latin typeface="Canva Sans"/>
              </a:rPr>
              <a:t>Backend -- PHP, Node. JS, Java, Python etc.</a:t>
            </a:r>
          </a:p>
          <a:p>
            <a:pPr marL="230304" lvl="1" indent="-115152">
              <a:lnSpc>
                <a:spcPts val="1493"/>
              </a:lnSpc>
              <a:buFont typeface="Arial"/>
              <a:buChar char="•"/>
            </a:pPr>
            <a:r>
              <a:rPr lang="en-US" sz="1066">
                <a:solidFill>
                  <a:srgbClr val="000000"/>
                </a:solidFill>
                <a:latin typeface="Canva Sans"/>
              </a:rPr>
              <a:t>Understand UX</a:t>
            </a:r>
          </a:p>
          <a:p>
            <a:pPr>
              <a:lnSpc>
                <a:spcPts val="1353"/>
              </a:lnSpc>
            </a:pPr>
            <a:endParaRPr lang="en-US" sz="1066">
              <a:solidFill>
                <a:srgbClr val="000000"/>
              </a:solidFill>
              <a:latin typeface="Canva Sans"/>
            </a:endParaRPr>
          </a:p>
        </p:txBody>
      </p:sp>
      <p:pic>
        <p:nvPicPr>
          <p:cNvPr id="14" name="Picture 14"/>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a:stretch>
        </p:blipFill>
        <p:spPr>
          <a:xfrm>
            <a:off x="5788890" y="2491773"/>
            <a:ext cx="1719295" cy="840305"/>
          </a:xfrm>
          <a:prstGeom prst="rect">
            <a:avLst/>
          </a:prstGeom>
        </p:spPr>
      </p:pic>
      <p:sp>
        <p:nvSpPr>
          <p:cNvPr id="15" name="TextBox 15"/>
          <p:cNvSpPr txBox="1"/>
          <p:nvPr/>
        </p:nvSpPr>
        <p:spPr>
          <a:xfrm>
            <a:off x="5962731" y="2801758"/>
            <a:ext cx="1371613" cy="416781"/>
          </a:xfrm>
          <a:prstGeom prst="rect">
            <a:avLst/>
          </a:prstGeom>
        </p:spPr>
        <p:txBody>
          <a:bodyPr lIns="0" tIns="0" rIns="0" bIns="0" rtlCol="0" anchor="t">
            <a:spAutoFit/>
          </a:bodyPr>
          <a:lstStyle/>
          <a:p>
            <a:pPr algn="ctr">
              <a:lnSpc>
                <a:spcPts val="1691"/>
              </a:lnSpc>
            </a:pPr>
            <a:r>
              <a:rPr lang="en-US" sz="1208">
                <a:solidFill>
                  <a:srgbClr val="000000"/>
                </a:solidFill>
                <a:latin typeface="Canva Sans Bold"/>
              </a:rPr>
              <a:t>Cloud Engineering</a:t>
            </a:r>
          </a:p>
          <a:p>
            <a:pPr algn="ctr">
              <a:lnSpc>
                <a:spcPts val="1691"/>
              </a:lnSpc>
            </a:pPr>
            <a:endParaRPr lang="en-US" sz="1208">
              <a:solidFill>
                <a:srgbClr val="000000"/>
              </a:solidFill>
              <a:latin typeface="Canva Sans Bold"/>
            </a:endParaRPr>
          </a:p>
        </p:txBody>
      </p:sp>
      <p:sp>
        <p:nvSpPr>
          <p:cNvPr id="16" name="TextBox 16"/>
          <p:cNvSpPr txBox="1"/>
          <p:nvPr/>
        </p:nvSpPr>
        <p:spPr>
          <a:xfrm>
            <a:off x="5744219" y="3526469"/>
            <a:ext cx="1886507" cy="2140651"/>
          </a:xfrm>
          <a:prstGeom prst="rect">
            <a:avLst/>
          </a:prstGeom>
        </p:spPr>
        <p:txBody>
          <a:bodyPr lIns="0" tIns="0" rIns="0" bIns="0" rtlCol="0" anchor="t">
            <a:spAutoFit/>
          </a:bodyPr>
          <a:lstStyle/>
          <a:p>
            <a:pPr>
              <a:lnSpc>
                <a:spcPts val="1867"/>
              </a:lnSpc>
            </a:pPr>
            <a:r>
              <a:rPr lang="en-US" sz="1333">
                <a:solidFill>
                  <a:srgbClr val="000000"/>
                </a:solidFill>
                <a:latin typeface="Canva Sans Bold"/>
              </a:rPr>
              <a:t>Skill</a:t>
            </a:r>
          </a:p>
          <a:p>
            <a:pPr marL="230304" lvl="1" indent="-115152">
              <a:lnSpc>
                <a:spcPts val="1493"/>
              </a:lnSpc>
              <a:buFont typeface="Arial"/>
              <a:buChar char="•"/>
            </a:pPr>
            <a:r>
              <a:rPr lang="en-US" sz="1066">
                <a:solidFill>
                  <a:srgbClr val="000000"/>
                </a:solidFill>
                <a:latin typeface="Canva Sans"/>
              </a:rPr>
              <a:t>Design, implement, and manage cloud-based systems for businesses</a:t>
            </a:r>
          </a:p>
          <a:p>
            <a:pPr marL="230304" lvl="1" indent="-115152">
              <a:lnSpc>
                <a:spcPts val="1493"/>
              </a:lnSpc>
              <a:buFont typeface="Arial"/>
              <a:buChar char="•"/>
            </a:pPr>
            <a:r>
              <a:rPr lang="en-US" sz="1066">
                <a:solidFill>
                  <a:srgbClr val="000000"/>
                </a:solidFill>
                <a:latin typeface="Canva Sans"/>
              </a:rPr>
              <a:t>Develop and implement cloud-applications, migrate existing on-premise applications to the cloud, and debug cloud stacks</a:t>
            </a:r>
          </a:p>
          <a:p>
            <a:pPr>
              <a:lnSpc>
                <a:spcPts val="1493"/>
              </a:lnSpc>
            </a:pPr>
            <a:endParaRPr lang="en-US" sz="1066">
              <a:solidFill>
                <a:srgbClr val="000000"/>
              </a:solidFill>
              <a:latin typeface="Canva Sans"/>
            </a:endParaRPr>
          </a:p>
          <a:p>
            <a:pPr>
              <a:lnSpc>
                <a:spcPts val="1437"/>
              </a:lnSpc>
            </a:pPr>
            <a:endParaRPr lang="en-US" sz="1066">
              <a:solidFill>
                <a:srgbClr val="000000"/>
              </a:solidFill>
              <a:latin typeface="Canva Sans"/>
            </a:endParaRPr>
          </a:p>
        </p:txBody>
      </p:sp>
      <p:pic>
        <p:nvPicPr>
          <p:cNvPr id="17" name="Picture 17"/>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a:fillRect/>
          </a:stretch>
        </p:blipFill>
        <p:spPr>
          <a:xfrm>
            <a:off x="8380943" y="3468929"/>
            <a:ext cx="1719295" cy="840305"/>
          </a:xfrm>
          <a:prstGeom prst="rect">
            <a:avLst/>
          </a:prstGeom>
        </p:spPr>
      </p:pic>
      <p:sp>
        <p:nvSpPr>
          <p:cNvPr id="18" name="TextBox 18"/>
          <p:cNvSpPr txBox="1"/>
          <p:nvPr/>
        </p:nvSpPr>
        <p:spPr>
          <a:xfrm>
            <a:off x="8926792" y="3778914"/>
            <a:ext cx="608955" cy="416781"/>
          </a:xfrm>
          <a:prstGeom prst="rect">
            <a:avLst/>
          </a:prstGeom>
        </p:spPr>
        <p:txBody>
          <a:bodyPr wrap="square" lIns="0" tIns="0" rIns="0" bIns="0" rtlCol="0" anchor="t">
            <a:spAutoFit/>
          </a:bodyPr>
          <a:lstStyle/>
          <a:p>
            <a:pPr algn="ctr">
              <a:lnSpc>
                <a:spcPts val="1691"/>
              </a:lnSpc>
            </a:pPr>
            <a:r>
              <a:rPr lang="en-US" sz="1208" dirty="0">
                <a:solidFill>
                  <a:srgbClr val="000000"/>
                </a:solidFill>
                <a:latin typeface="Canva Sans Bold"/>
              </a:rPr>
              <a:t>DevOps</a:t>
            </a:r>
          </a:p>
          <a:p>
            <a:pPr algn="ctr">
              <a:lnSpc>
                <a:spcPts val="1691"/>
              </a:lnSpc>
            </a:pPr>
            <a:endParaRPr lang="en-US" sz="1208" dirty="0">
              <a:solidFill>
                <a:srgbClr val="000000"/>
              </a:solidFill>
              <a:latin typeface="Canva Sans Bold"/>
            </a:endParaRPr>
          </a:p>
        </p:txBody>
      </p:sp>
      <p:sp>
        <p:nvSpPr>
          <p:cNvPr id="19" name="TextBox 19"/>
          <p:cNvSpPr txBox="1"/>
          <p:nvPr/>
        </p:nvSpPr>
        <p:spPr>
          <a:xfrm>
            <a:off x="8297337" y="4412094"/>
            <a:ext cx="1886507" cy="2525371"/>
          </a:xfrm>
          <a:prstGeom prst="rect">
            <a:avLst/>
          </a:prstGeom>
        </p:spPr>
        <p:txBody>
          <a:bodyPr lIns="0" tIns="0" rIns="0" bIns="0" rtlCol="0" anchor="t">
            <a:spAutoFit/>
          </a:bodyPr>
          <a:lstStyle/>
          <a:p>
            <a:pPr>
              <a:lnSpc>
                <a:spcPts val="1867"/>
              </a:lnSpc>
            </a:pPr>
            <a:r>
              <a:rPr lang="en-US" sz="1333">
                <a:solidFill>
                  <a:srgbClr val="000000"/>
                </a:solidFill>
                <a:latin typeface="Canva Sans Bold"/>
              </a:rPr>
              <a:t>Skill</a:t>
            </a:r>
          </a:p>
          <a:p>
            <a:pPr marL="230304" lvl="1" indent="-115152">
              <a:lnSpc>
                <a:spcPts val="1493"/>
              </a:lnSpc>
              <a:buFont typeface="Arial"/>
              <a:buChar char="•"/>
            </a:pPr>
            <a:r>
              <a:rPr lang="en-US" sz="1066">
                <a:solidFill>
                  <a:srgbClr val="000000"/>
                </a:solidFill>
                <a:latin typeface="Canva Sans"/>
              </a:rPr>
              <a:t>Application and infrastructure planning, testing and development</a:t>
            </a:r>
          </a:p>
          <a:p>
            <a:pPr marL="230304" lvl="1" indent="-115152">
              <a:lnSpc>
                <a:spcPts val="1493"/>
              </a:lnSpc>
              <a:buFont typeface="Arial"/>
              <a:buChar char="•"/>
            </a:pPr>
            <a:r>
              <a:rPr lang="en-US" sz="1066">
                <a:solidFill>
                  <a:srgbClr val="000000"/>
                </a:solidFill>
                <a:latin typeface="Canva Sans"/>
              </a:rPr>
              <a:t>Maintaining CI,CD Pipelines</a:t>
            </a:r>
          </a:p>
          <a:p>
            <a:pPr marL="230304" lvl="1" indent="-115152">
              <a:lnSpc>
                <a:spcPts val="1493"/>
              </a:lnSpc>
              <a:buFont typeface="Arial"/>
              <a:buChar char="•"/>
            </a:pPr>
            <a:r>
              <a:rPr lang="en-US" sz="1066">
                <a:solidFill>
                  <a:srgbClr val="000000"/>
                </a:solidFill>
                <a:latin typeface="Canva Sans"/>
              </a:rPr>
              <a:t>Automation Implementation</a:t>
            </a:r>
          </a:p>
          <a:p>
            <a:pPr marL="230304" lvl="1" indent="-115152">
              <a:lnSpc>
                <a:spcPts val="1493"/>
              </a:lnSpc>
              <a:buFont typeface="Arial"/>
              <a:buChar char="•"/>
            </a:pPr>
            <a:r>
              <a:rPr lang="en-US" sz="1066">
                <a:solidFill>
                  <a:srgbClr val="000000"/>
                </a:solidFill>
                <a:latin typeface="Canva Sans"/>
              </a:rPr>
              <a:t>On-call, incident response and incident management</a:t>
            </a:r>
          </a:p>
          <a:p>
            <a:pPr marL="230304" lvl="1" indent="-115152">
              <a:lnSpc>
                <a:spcPts val="1493"/>
              </a:lnSpc>
              <a:buFont typeface="Arial"/>
              <a:buChar char="•"/>
            </a:pPr>
            <a:r>
              <a:rPr lang="en-US" sz="1066">
                <a:solidFill>
                  <a:srgbClr val="000000"/>
                </a:solidFill>
                <a:latin typeface="Canva Sans"/>
              </a:rPr>
              <a:t>Monitoring</a:t>
            </a:r>
          </a:p>
          <a:p>
            <a:pPr>
              <a:lnSpc>
                <a:spcPts val="1493"/>
              </a:lnSpc>
            </a:pPr>
            <a:endParaRPr lang="en-US" sz="1066">
              <a:solidFill>
                <a:srgbClr val="000000"/>
              </a:solidFill>
              <a:latin typeface="Canva Sans"/>
            </a:endParaRPr>
          </a:p>
          <a:p>
            <a:pPr>
              <a:lnSpc>
                <a:spcPts val="1493"/>
              </a:lnSpc>
            </a:pPr>
            <a:endParaRPr lang="en-US" sz="1066">
              <a:solidFill>
                <a:srgbClr val="000000"/>
              </a:solidFill>
              <a:latin typeface="Canva Sans"/>
            </a:endParaRPr>
          </a:p>
          <a:p>
            <a:pPr>
              <a:lnSpc>
                <a:spcPts val="1437"/>
              </a:lnSpc>
            </a:pPr>
            <a:endParaRPr lang="en-US" sz="1066">
              <a:solidFill>
                <a:srgbClr val="000000"/>
              </a:solidFill>
              <a:latin typeface="Canva Sans"/>
            </a:endParaRPr>
          </a:p>
        </p:txBody>
      </p:sp>
    </p:spTree>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p:blipFill>
        <p:spPr>
          <a:xfrm>
            <a:off x="-685800" y="5898212"/>
            <a:ext cx="2743200" cy="2743200"/>
          </a:xfrm>
          <a:prstGeom prst="rect">
            <a:avLst/>
          </a:prstGeom>
        </p:spPr>
      </p:pic>
      <p:pic>
        <p:nvPicPr>
          <p:cNvPr id="3" name="Picture 3"/>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p:blipFill>
        <p:spPr>
          <a:xfrm>
            <a:off x="-685800" y="-2235161"/>
            <a:ext cx="2743200" cy="2743200"/>
          </a:xfrm>
          <a:prstGeom prst="rect">
            <a:avLst/>
          </a:prstGeom>
        </p:spPr>
      </p:pic>
      <p:pic>
        <p:nvPicPr>
          <p:cNvPr id="4" name="Picture 4"/>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a:stretch>
        </p:blipFill>
        <p:spPr>
          <a:xfrm>
            <a:off x="11506200" y="2856836"/>
            <a:ext cx="2743200" cy="2743200"/>
          </a:xfrm>
          <a:prstGeom prst="rect">
            <a:avLst/>
          </a:prstGeom>
        </p:spPr>
      </p:pic>
      <p:pic>
        <p:nvPicPr>
          <p:cNvPr id="5" name="Picture 5"/>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a:fillRect/>
          </a:stretch>
        </p:blipFill>
        <p:spPr>
          <a:xfrm>
            <a:off x="12043763" y="2856836"/>
            <a:ext cx="2743200" cy="2743200"/>
          </a:xfrm>
          <a:prstGeom prst="rect">
            <a:avLst/>
          </a:prstGeom>
        </p:spPr>
      </p:pic>
      <p:sp>
        <p:nvSpPr>
          <p:cNvPr id="6" name="TextBox 6"/>
          <p:cNvSpPr txBox="1"/>
          <p:nvPr/>
        </p:nvSpPr>
        <p:spPr>
          <a:xfrm>
            <a:off x="2086062" y="155468"/>
            <a:ext cx="6840730" cy="572464"/>
          </a:xfrm>
          <a:prstGeom prst="rect">
            <a:avLst/>
          </a:prstGeom>
        </p:spPr>
        <p:txBody>
          <a:bodyPr lIns="0" tIns="0" rIns="0" bIns="0" rtlCol="0" anchor="t">
            <a:spAutoFit/>
          </a:bodyPr>
          <a:lstStyle/>
          <a:p>
            <a:pPr algn="ctr">
              <a:lnSpc>
                <a:spcPts val="4853"/>
              </a:lnSpc>
            </a:pPr>
            <a:r>
              <a:rPr lang="en-US" sz="3466">
                <a:solidFill>
                  <a:srgbClr val="000000"/>
                </a:solidFill>
                <a:latin typeface="Canva Sans Bold"/>
              </a:rPr>
              <a:t>Other Non-Coding ICT Fields</a:t>
            </a:r>
          </a:p>
        </p:txBody>
      </p:sp>
      <p:grpSp>
        <p:nvGrpSpPr>
          <p:cNvPr id="7" name="Group 7"/>
          <p:cNvGrpSpPr/>
          <p:nvPr/>
        </p:nvGrpSpPr>
        <p:grpSpPr>
          <a:xfrm>
            <a:off x="523518" y="3429001"/>
            <a:ext cx="2308863" cy="2308863"/>
            <a:chOff x="0" y="0"/>
            <a:chExt cx="1913890" cy="1913890"/>
          </a:xfrm>
        </p:grpSpPr>
        <p:sp>
          <p:nvSpPr>
            <p:cNvPr id="8" name="Freeform 8"/>
            <p:cNvSpPr/>
            <p:nvPr/>
          </p:nvSpPr>
          <p:spPr>
            <a:xfrm>
              <a:off x="0" y="0"/>
              <a:ext cx="1913890" cy="1913890"/>
            </a:xfrm>
            <a:custGeom>
              <a:avLst/>
              <a:gdLst/>
              <a:ahLst/>
              <a:cxnLst/>
              <a:rect l="l" t="t" r="r" b="b"/>
              <a:pathLst>
                <a:path w="1913890" h="1913890">
                  <a:moveTo>
                    <a:pt x="0" y="0"/>
                  </a:moveTo>
                  <a:lnTo>
                    <a:pt x="1913890" y="0"/>
                  </a:lnTo>
                  <a:lnTo>
                    <a:pt x="1913890" y="1913890"/>
                  </a:lnTo>
                  <a:lnTo>
                    <a:pt x="0" y="1913890"/>
                  </a:lnTo>
                  <a:close/>
                </a:path>
              </a:pathLst>
            </a:custGeom>
            <a:solidFill>
              <a:srgbClr val="AAB2C5"/>
            </a:solidFill>
          </p:spPr>
          <p:txBody>
            <a:bodyPr/>
            <a:lstStyle/>
            <a:p>
              <a:endParaRPr lang="en-US" sz="1200"/>
            </a:p>
          </p:txBody>
        </p:sp>
      </p:grpSp>
      <p:grpSp>
        <p:nvGrpSpPr>
          <p:cNvPr id="9" name="Group 9"/>
          <p:cNvGrpSpPr/>
          <p:nvPr/>
        </p:nvGrpSpPr>
        <p:grpSpPr>
          <a:xfrm>
            <a:off x="2975194" y="939910"/>
            <a:ext cx="2308863" cy="2308863"/>
            <a:chOff x="0" y="0"/>
            <a:chExt cx="1913890" cy="1913890"/>
          </a:xfrm>
        </p:grpSpPr>
        <p:sp>
          <p:nvSpPr>
            <p:cNvPr id="10" name="Freeform 10"/>
            <p:cNvSpPr/>
            <p:nvPr/>
          </p:nvSpPr>
          <p:spPr>
            <a:xfrm>
              <a:off x="0" y="0"/>
              <a:ext cx="1913890" cy="1913890"/>
            </a:xfrm>
            <a:custGeom>
              <a:avLst/>
              <a:gdLst/>
              <a:ahLst/>
              <a:cxnLst/>
              <a:rect l="l" t="t" r="r" b="b"/>
              <a:pathLst>
                <a:path w="1913890" h="1913890">
                  <a:moveTo>
                    <a:pt x="0" y="0"/>
                  </a:moveTo>
                  <a:lnTo>
                    <a:pt x="1913890" y="0"/>
                  </a:lnTo>
                  <a:lnTo>
                    <a:pt x="1913890" y="1913890"/>
                  </a:lnTo>
                  <a:lnTo>
                    <a:pt x="0" y="1913890"/>
                  </a:lnTo>
                  <a:close/>
                </a:path>
              </a:pathLst>
            </a:custGeom>
            <a:solidFill>
              <a:srgbClr val="5B6A8C"/>
            </a:solidFill>
          </p:spPr>
          <p:txBody>
            <a:bodyPr/>
            <a:lstStyle/>
            <a:p>
              <a:endParaRPr lang="en-US" sz="1200"/>
            </a:p>
          </p:txBody>
        </p:sp>
      </p:grpSp>
      <p:grpSp>
        <p:nvGrpSpPr>
          <p:cNvPr id="11" name="Group 11"/>
          <p:cNvGrpSpPr/>
          <p:nvPr/>
        </p:nvGrpSpPr>
        <p:grpSpPr>
          <a:xfrm>
            <a:off x="5805163" y="939910"/>
            <a:ext cx="2308863" cy="2308863"/>
            <a:chOff x="0" y="0"/>
            <a:chExt cx="1913890" cy="1913890"/>
          </a:xfrm>
        </p:grpSpPr>
        <p:sp>
          <p:nvSpPr>
            <p:cNvPr id="12" name="Freeform 12"/>
            <p:cNvSpPr/>
            <p:nvPr/>
          </p:nvSpPr>
          <p:spPr>
            <a:xfrm>
              <a:off x="0" y="0"/>
              <a:ext cx="1913890" cy="1913890"/>
            </a:xfrm>
            <a:custGeom>
              <a:avLst/>
              <a:gdLst/>
              <a:ahLst/>
              <a:cxnLst/>
              <a:rect l="l" t="t" r="r" b="b"/>
              <a:pathLst>
                <a:path w="1913890" h="1913890">
                  <a:moveTo>
                    <a:pt x="0" y="0"/>
                  </a:moveTo>
                  <a:lnTo>
                    <a:pt x="1913890" y="0"/>
                  </a:lnTo>
                  <a:lnTo>
                    <a:pt x="1913890" y="1913890"/>
                  </a:lnTo>
                  <a:lnTo>
                    <a:pt x="0" y="1913890"/>
                  </a:lnTo>
                  <a:close/>
                </a:path>
              </a:pathLst>
            </a:custGeom>
            <a:solidFill>
              <a:srgbClr val="AFCF52"/>
            </a:solidFill>
          </p:spPr>
          <p:txBody>
            <a:bodyPr/>
            <a:lstStyle/>
            <a:p>
              <a:endParaRPr lang="en-US" sz="1200"/>
            </a:p>
          </p:txBody>
        </p:sp>
      </p:grpSp>
      <p:grpSp>
        <p:nvGrpSpPr>
          <p:cNvPr id="13" name="Group 13"/>
          <p:cNvGrpSpPr/>
          <p:nvPr/>
        </p:nvGrpSpPr>
        <p:grpSpPr>
          <a:xfrm>
            <a:off x="8577850" y="3429001"/>
            <a:ext cx="2308863" cy="2308863"/>
            <a:chOff x="0" y="0"/>
            <a:chExt cx="1913890" cy="1913890"/>
          </a:xfrm>
        </p:grpSpPr>
        <p:sp>
          <p:nvSpPr>
            <p:cNvPr id="14" name="Freeform 14"/>
            <p:cNvSpPr/>
            <p:nvPr/>
          </p:nvSpPr>
          <p:spPr>
            <a:xfrm>
              <a:off x="0" y="0"/>
              <a:ext cx="1913890" cy="1913890"/>
            </a:xfrm>
            <a:custGeom>
              <a:avLst/>
              <a:gdLst/>
              <a:ahLst/>
              <a:cxnLst/>
              <a:rect l="l" t="t" r="r" b="b"/>
              <a:pathLst>
                <a:path w="1913890" h="1913890">
                  <a:moveTo>
                    <a:pt x="0" y="0"/>
                  </a:moveTo>
                  <a:lnTo>
                    <a:pt x="1913890" y="0"/>
                  </a:lnTo>
                  <a:lnTo>
                    <a:pt x="1913890" y="1913890"/>
                  </a:lnTo>
                  <a:lnTo>
                    <a:pt x="0" y="1913890"/>
                  </a:lnTo>
                  <a:close/>
                </a:path>
              </a:pathLst>
            </a:custGeom>
            <a:solidFill>
              <a:srgbClr val="7195B8"/>
            </a:solidFill>
          </p:spPr>
          <p:txBody>
            <a:bodyPr/>
            <a:lstStyle/>
            <a:p>
              <a:endParaRPr lang="en-US" sz="1200"/>
            </a:p>
          </p:txBody>
        </p:sp>
      </p:grpSp>
      <p:grpSp>
        <p:nvGrpSpPr>
          <p:cNvPr id="15" name="Group 15"/>
          <p:cNvGrpSpPr/>
          <p:nvPr/>
        </p:nvGrpSpPr>
        <p:grpSpPr>
          <a:xfrm>
            <a:off x="4351995" y="3559924"/>
            <a:ext cx="2308863" cy="2308863"/>
            <a:chOff x="0" y="0"/>
            <a:chExt cx="1913890" cy="1913890"/>
          </a:xfrm>
        </p:grpSpPr>
        <p:sp>
          <p:nvSpPr>
            <p:cNvPr id="16" name="Freeform 16"/>
            <p:cNvSpPr/>
            <p:nvPr/>
          </p:nvSpPr>
          <p:spPr>
            <a:xfrm>
              <a:off x="0" y="0"/>
              <a:ext cx="1913890" cy="1913890"/>
            </a:xfrm>
            <a:custGeom>
              <a:avLst/>
              <a:gdLst/>
              <a:ahLst/>
              <a:cxnLst/>
              <a:rect l="l" t="t" r="r" b="b"/>
              <a:pathLst>
                <a:path w="1913890" h="1913890">
                  <a:moveTo>
                    <a:pt x="0" y="0"/>
                  </a:moveTo>
                  <a:lnTo>
                    <a:pt x="1913890" y="0"/>
                  </a:lnTo>
                  <a:lnTo>
                    <a:pt x="1913890" y="1913890"/>
                  </a:lnTo>
                  <a:lnTo>
                    <a:pt x="0" y="1913890"/>
                  </a:lnTo>
                  <a:close/>
                </a:path>
              </a:pathLst>
            </a:custGeom>
            <a:solidFill>
              <a:srgbClr val="AFCF52"/>
            </a:solidFill>
          </p:spPr>
          <p:txBody>
            <a:bodyPr/>
            <a:lstStyle/>
            <a:p>
              <a:endParaRPr lang="en-US" sz="1200"/>
            </a:p>
          </p:txBody>
        </p:sp>
      </p:grpSp>
      <p:sp>
        <p:nvSpPr>
          <p:cNvPr id="17" name="TextBox 17"/>
          <p:cNvSpPr txBox="1"/>
          <p:nvPr/>
        </p:nvSpPr>
        <p:spPr>
          <a:xfrm>
            <a:off x="4436325" y="3940880"/>
            <a:ext cx="2140203" cy="587469"/>
          </a:xfrm>
          <a:prstGeom prst="rect">
            <a:avLst/>
          </a:prstGeom>
        </p:spPr>
        <p:txBody>
          <a:bodyPr lIns="0" tIns="0" rIns="0" bIns="0" rtlCol="0" anchor="t">
            <a:spAutoFit/>
          </a:bodyPr>
          <a:lstStyle/>
          <a:p>
            <a:pPr algn="ctr">
              <a:lnSpc>
                <a:spcPts val="5367"/>
              </a:lnSpc>
            </a:pPr>
            <a:r>
              <a:rPr lang="en-US" sz="2333">
                <a:solidFill>
                  <a:srgbClr val="545454"/>
                </a:solidFill>
                <a:latin typeface="Amsterdam One"/>
              </a:rPr>
              <a:t>.</a:t>
            </a:r>
          </a:p>
        </p:txBody>
      </p:sp>
      <p:sp>
        <p:nvSpPr>
          <p:cNvPr id="18" name="TextBox 18"/>
          <p:cNvSpPr txBox="1"/>
          <p:nvPr/>
        </p:nvSpPr>
        <p:spPr>
          <a:xfrm>
            <a:off x="2975194" y="1316255"/>
            <a:ext cx="2229325" cy="1512465"/>
          </a:xfrm>
          <a:prstGeom prst="rect">
            <a:avLst/>
          </a:prstGeom>
        </p:spPr>
        <p:txBody>
          <a:bodyPr lIns="0" tIns="0" rIns="0" bIns="0" rtlCol="0" anchor="t">
            <a:spAutoFit/>
          </a:bodyPr>
          <a:lstStyle/>
          <a:p>
            <a:pPr algn="ctr">
              <a:lnSpc>
                <a:spcPts val="2427"/>
              </a:lnSpc>
            </a:pPr>
            <a:r>
              <a:rPr lang="en-US" sz="1733">
                <a:solidFill>
                  <a:srgbClr val="FFFFFF"/>
                </a:solidFill>
                <a:latin typeface="Canva Sans Bold"/>
              </a:rPr>
              <a:t>Network and Infrastructure (CompTIA A+,N+,S+, Linux+, CCNA)</a:t>
            </a:r>
          </a:p>
          <a:p>
            <a:pPr algn="ctr">
              <a:lnSpc>
                <a:spcPts val="2427"/>
              </a:lnSpc>
            </a:pPr>
            <a:endParaRPr lang="en-US" sz="1733">
              <a:solidFill>
                <a:srgbClr val="FFFFFF"/>
              </a:solidFill>
              <a:latin typeface="Canva Sans Bold"/>
            </a:endParaRPr>
          </a:p>
        </p:txBody>
      </p:sp>
      <p:sp>
        <p:nvSpPr>
          <p:cNvPr id="19" name="TextBox 19"/>
          <p:cNvSpPr txBox="1"/>
          <p:nvPr/>
        </p:nvSpPr>
        <p:spPr>
          <a:xfrm>
            <a:off x="6096000" y="1773455"/>
            <a:ext cx="1842691" cy="589136"/>
          </a:xfrm>
          <a:prstGeom prst="rect">
            <a:avLst/>
          </a:prstGeom>
        </p:spPr>
        <p:txBody>
          <a:bodyPr lIns="0" tIns="0" rIns="0" bIns="0" rtlCol="0" anchor="t">
            <a:spAutoFit/>
          </a:bodyPr>
          <a:lstStyle/>
          <a:p>
            <a:pPr algn="ctr">
              <a:lnSpc>
                <a:spcPts val="2427"/>
              </a:lnSpc>
            </a:pPr>
            <a:r>
              <a:rPr lang="en-US" sz="1733">
                <a:solidFill>
                  <a:srgbClr val="FFFFFF"/>
                </a:solidFill>
                <a:latin typeface="Canva Sans Bold"/>
              </a:rPr>
              <a:t>Digital Marketing</a:t>
            </a:r>
          </a:p>
          <a:p>
            <a:pPr algn="ctr">
              <a:lnSpc>
                <a:spcPts val="2427"/>
              </a:lnSpc>
            </a:pPr>
            <a:endParaRPr lang="en-US" sz="1733">
              <a:solidFill>
                <a:srgbClr val="FFFFFF"/>
              </a:solidFill>
              <a:latin typeface="Canva Sans Bold"/>
            </a:endParaRPr>
          </a:p>
        </p:txBody>
      </p:sp>
      <p:sp>
        <p:nvSpPr>
          <p:cNvPr id="20" name="TextBox 20"/>
          <p:cNvSpPr txBox="1"/>
          <p:nvPr/>
        </p:nvSpPr>
        <p:spPr>
          <a:xfrm>
            <a:off x="1317488" y="4262546"/>
            <a:ext cx="720923" cy="589136"/>
          </a:xfrm>
          <a:prstGeom prst="rect">
            <a:avLst/>
          </a:prstGeom>
        </p:spPr>
        <p:txBody>
          <a:bodyPr lIns="0" tIns="0" rIns="0" bIns="0" rtlCol="0" anchor="t">
            <a:spAutoFit/>
          </a:bodyPr>
          <a:lstStyle/>
          <a:p>
            <a:pPr algn="ctr">
              <a:lnSpc>
                <a:spcPts val="2427"/>
              </a:lnSpc>
            </a:pPr>
            <a:r>
              <a:rPr lang="en-US" sz="1733">
                <a:solidFill>
                  <a:srgbClr val="FFFFFF"/>
                </a:solidFill>
                <a:latin typeface="Canva Sans Bold"/>
              </a:rPr>
              <a:t>•UI/UX</a:t>
            </a:r>
          </a:p>
          <a:p>
            <a:pPr algn="ctr">
              <a:lnSpc>
                <a:spcPts val="2427"/>
              </a:lnSpc>
            </a:pPr>
            <a:endParaRPr lang="en-US" sz="1733">
              <a:solidFill>
                <a:srgbClr val="FFFFFF"/>
              </a:solidFill>
              <a:latin typeface="Canva Sans Bold"/>
            </a:endParaRPr>
          </a:p>
        </p:txBody>
      </p:sp>
      <p:sp>
        <p:nvSpPr>
          <p:cNvPr id="21" name="TextBox 21"/>
          <p:cNvSpPr txBox="1"/>
          <p:nvPr/>
        </p:nvSpPr>
        <p:spPr>
          <a:xfrm>
            <a:off x="4351995" y="4320822"/>
            <a:ext cx="2224533" cy="896912"/>
          </a:xfrm>
          <a:prstGeom prst="rect">
            <a:avLst/>
          </a:prstGeom>
        </p:spPr>
        <p:txBody>
          <a:bodyPr lIns="0" tIns="0" rIns="0" bIns="0" rtlCol="0" anchor="t">
            <a:spAutoFit/>
          </a:bodyPr>
          <a:lstStyle/>
          <a:p>
            <a:pPr algn="ctr">
              <a:lnSpc>
                <a:spcPts val="2427"/>
              </a:lnSpc>
            </a:pPr>
            <a:r>
              <a:rPr lang="en-US" sz="1733">
                <a:solidFill>
                  <a:srgbClr val="FFFFFF"/>
                </a:solidFill>
                <a:latin typeface="Canva Sans Bold"/>
              </a:rPr>
              <a:t>Product Management</a:t>
            </a:r>
          </a:p>
          <a:p>
            <a:pPr algn="ctr">
              <a:lnSpc>
                <a:spcPts val="2427"/>
              </a:lnSpc>
            </a:pPr>
            <a:endParaRPr lang="en-US" sz="1733">
              <a:solidFill>
                <a:srgbClr val="FFFFFF"/>
              </a:solidFill>
              <a:latin typeface="Canva Sans Bold"/>
            </a:endParaRPr>
          </a:p>
          <a:p>
            <a:pPr algn="ctr">
              <a:lnSpc>
                <a:spcPts val="2427"/>
              </a:lnSpc>
            </a:pPr>
            <a:endParaRPr lang="en-US" sz="1733">
              <a:solidFill>
                <a:srgbClr val="FFFFFF"/>
              </a:solidFill>
              <a:latin typeface="Canva Sans Bold"/>
            </a:endParaRPr>
          </a:p>
        </p:txBody>
      </p:sp>
      <p:sp>
        <p:nvSpPr>
          <p:cNvPr id="22" name="TextBox 22"/>
          <p:cNvSpPr txBox="1"/>
          <p:nvPr/>
        </p:nvSpPr>
        <p:spPr>
          <a:xfrm>
            <a:off x="8577850" y="4367176"/>
            <a:ext cx="2241749" cy="281359"/>
          </a:xfrm>
          <a:prstGeom prst="rect">
            <a:avLst/>
          </a:prstGeom>
        </p:spPr>
        <p:txBody>
          <a:bodyPr lIns="0" tIns="0" rIns="0" bIns="0" rtlCol="0" anchor="t">
            <a:spAutoFit/>
          </a:bodyPr>
          <a:lstStyle/>
          <a:p>
            <a:pPr algn="ctr">
              <a:lnSpc>
                <a:spcPts val="2427"/>
              </a:lnSpc>
            </a:pPr>
            <a:r>
              <a:rPr lang="en-US" sz="1733">
                <a:solidFill>
                  <a:srgbClr val="FFFFFF"/>
                </a:solidFill>
                <a:latin typeface="Canva Sans Bold"/>
              </a:rPr>
              <a:t>Project Management</a:t>
            </a:r>
          </a:p>
        </p:txBody>
      </p:sp>
      <p:pic>
        <p:nvPicPr>
          <p:cNvPr id="23" name="Picture 23"/>
          <p:cNvPicPr>
            <a:picLocks noChangeAspect="1"/>
          </p:cNvPicPr>
          <p:nvPr/>
        </p:nvPicPr>
        <p:blipFill>
          <a:blip r:embed="rId8"/>
          <a:srcRect/>
          <a:stretch>
            <a:fillRect/>
          </a:stretch>
        </p:blipFill>
        <p:spPr>
          <a:xfrm>
            <a:off x="8641078" y="0"/>
            <a:ext cx="3550922" cy="1016077"/>
          </a:xfrm>
          <a:prstGeom prst="rect">
            <a:avLst/>
          </a:prstGeom>
        </p:spPr>
      </p:pic>
    </p:spTree>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685800" y="1270336"/>
            <a:ext cx="2461561" cy="1931337"/>
            <a:chOff x="0" y="0"/>
            <a:chExt cx="1404462" cy="1101939"/>
          </a:xfrm>
        </p:grpSpPr>
        <p:sp>
          <p:nvSpPr>
            <p:cNvPr id="3" name="Freeform 3"/>
            <p:cNvSpPr/>
            <p:nvPr/>
          </p:nvSpPr>
          <p:spPr>
            <a:xfrm>
              <a:off x="0" y="0"/>
              <a:ext cx="1404462" cy="1101940"/>
            </a:xfrm>
            <a:custGeom>
              <a:avLst/>
              <a:gdLst/>
              <a:ahLst/>
              <a:cxnLst/>
              <a:rect l="l" t="t" r="r" b="b"/>
              <a:pathLst>
                <a:path w="1404462" h="1101940">
                  <a:moveTo>
                    <a:pt x="1280002" y="1101939"/>
                  </a:moveTo>
                  <a:lnTo>
                    <a:pt x="124460" y="1101939"/>
                  </a:lnTo>
                  <a:cubicBezTo>
                    <a:pt x="55880" y="1101939"/>
                    <a:pt x="0" y="1046059"/>
                    <a:pt x="0" y="977479"/>
                  </a:cubicBezTo>
                  <a:lnTo>
                    <a:pt x="0" y="124460"/>
                  </a:lnTo>
                  <a:cubicBezTo>
                    <a:pt x="0" y="55880"/>
                    <a:pt x="55880" y="0"/>
                    <a:pt x="124460" y="0"/>
                  </a:cubicBezTo>
                  <a:lnTo>
                    <a:pt x="1280002" y="0"/>
                  </a:lnTo>
                  <a:cubicBezTo>
                    <a:pt x="1348582" y="0"/>
                    <a:pt x="1404462" y="55880"/>
                    <a:pt x="1404462" y="124460"/>
                  </a:cubicBezTo>
                  <a:lnTo>
                    <a:pt x="1404462" y="977479"/>
                  </a:lnTo>
                  <a:cubicBezTo>
                    <a:pt x="1404462" y="1046060"/>
                    <a:pt x="1348582" y="1101940"/>
                    <a:pt x="1280002" y="1101940"/>
                  </a:cubicBezTo>
                  <a:close/>
                </a:path>
              </a:pathLst>
            </a:custGeom>
            <a:solidFill>
              <a:srgbClr val="ECF0F3"/>
            </a:solidFill>
          </p:spPr>
          <p:txBody>
            <a:bodyPr/>
            <a:lstStyle/>
            <a:p>
              <a:endParaRPr lang="en-US" sz="1200" dirty="0"/>
            </a:p>
          </p:txBody>
        </p:sp>
      </p:grpSp>
      <p:grpSp>
        <p:nvGrpSpPr>
          <p:cNvPr id="4" name="Group 4"/>
          <p:cNvGrpSpPr/>
          <p:nvPr/>
        </p:nvGrpSpPr>
        <p:grpSpPr>
          <a:xfrm>
            <a:off x="9044640" y="1374288"/>
            <a:ext cx="2461561" cy="1931337"/>
            <a:chOff x="0" y="0"/>
            <a:chExt cx="1404462" cy="1101939"/>
          </a:xfrm>
        </p:grpSpPr>
        <p:sp>
          <p:nvSpPr>
            <p:cNvPr id="5" name="Freeform 5"/>
            <p:cNvSpPr/>
            <p:nvPr/>
          </p:nvSpPr>
          <p:spPr>
            <a:xfrm>
              <a:off x="0" y="0"/>
              <a:ext cx="1404462" cy="1101940"/>
            </a:xfrm>
            <a:custGeom>
              <a:avLst/>
              <a:gdLst/>
              <a:ahLst/>
              <a:cxnLst/>
              <a:rect l="l" t="t" r="r" b="b"/>
              <a:pathLst>
                <a:path w="1404462" h="1101940">
                  <a:moveTo>
                    <a:pt x="1280002" y="1101939"/>
                  </a:moveTo>
                  <a:lnTo>
                    <a:pt x="124460" y="1101939"/>
                  </a:lnTo>
                  <a:cubicBezTo>
                    <a:pt x="55880" y="1101939"/>
                    <a:pt x="0" y="1046059"/>
                    <a:pt x="0" y="977479"/>
                  </a:cubicBezTo>
                  <a:lnTo>
                    <a:pt x="0" y="124460"/>
                  </a:lnTo>
                  <a:cubicBezTo>
                    <a:pt x="0" y="55880"/>
                    <a:pt x="55880" y="0"/>
                    <a:pt x="124460" y="0"/>
                  </a:cubicBezTo>
                  <a:lnTo>
                    <a:pt x="1280002" y="0"/>
                  </a:lnTo>
                  <a:cubicBezTo>
                    <a:pt x="1348582" y="0"/>
                    <a:pt x="1404462" y="55880"/>
                    <a:pt x="1404462" y="124460"/>
                  </a:cubicBezTo>
                  <a:lnTo>
                    <a:pt x="1404462" y="977479"/>
                  </a:lnTo>
                  <a:cubicBezTo>
                    <a:pt x="1404462" y="1046060"/>
                    <a:pt x="1348582" y="1101940"/>
                    <a:pt x="1280002" y="1101940"/>
                  </a:cubicBezTo>
                  <a:close/>
                </a:path>
              </a:pathLst>
            </a:custGeom>
            <a:solidFill>
              <a:srgbClr val="ECF0F3"/>
            </a:solidFill>
          </p:spPr>
          <p:txBody>
            <a:bodyPr/>
            <a:lstStyle/>
            <a:p>
              <a:endParaRPr lang="en-US" sz="1200"/>
            </a:p>
          </p:txBody>
        </p:sp>
      </p:grpSp>
      <p:grpSp>
        <p:nvGrpSpPr>
          <p:cNvPr id="6" name="Group 6"/>
          <p:cNvGrpSpPr/>
          <p:nvPr/>
        </p:nvGrpSpPr>
        <p:grpSpPr>
          <a:xfrm>
            <a:off x="685800" y="4240863"/>
            <a:ext cx="2461561" cy="2307231"/>
            <a:chOff x="0" y="0"/>
            <a:chExt cx="1404462" cy="1316408"/>
          </a:xfrm>
        </p:grpSpPr>
        <p:sp>
          <p:nvSpPr>
            <p:cNvPr id="7" name="Freeform 7"/>
            <p:cNvSpPr/>
            <p:nvPr/>
          </p:nvSpPr>
          <p:spPr>
            <a:xfrm>
              <a:off x="0" y="0"/>
              <a:ext cx="1404462" cy="1316408"/>
            </a:xfrm>
            <a:custGeom>
              <a:avLst/>
              <a:gdLst/>
              <a:ahLst/>
              <a:cxnLst/>
              <a:rect l="l" t="t" r="r" b="b"/>
              <a:pathLst>
                <a:path w="1404462" h="1316408">
                  <a:moveTo>
                    <a:pt x="1280002" y="1316408"/>
                  </a:moveTo>
                  <a:lnTo>
                    <a:pt x="124460" y="1316408"/>
                  </a:lnTo>
                  <a:cubicBezTo>
                    <a:pt x="55880" y="1316408"/>
                    <a:pt x="0" y="1260528"/>
                    <a:pt x="0" y="1191948"/>
                  </a:cubicBezTo>
                  <a:lnTo>
                    <a:pt x="0" y="124460"/>
                  </a:lnTo>
                  <a:cubicBezTo>
                    <a:pt x="0" y="55880"/>
                    <a:pt x="55880" y="0"/>
                    <a:pt x="124460" y="0"/>
                  </a:cubicBezTo>
                  <a:lnTo>
                    <a:pt x="1280002" y="0"/>
                  </a:lnTo>
                  <a:cubicBezTo>
                    <a:pt x="1348582" y="0"/>
                    <a:pt x="1404462" y="55880"/>
                    <a:pt x="1404462" y="124460"/>
                  </a:cubicBezTo>
                  <a:lnTo>
                    <a:pt x="1404462" y="1191948"/>
                  </a:lnTo>
                  <a:cubicBezTo>
                    <a:pt x="1404462" y="1260528"/>
                    <a:pt x="1348582" y="1316408"/>
                    <a:pt x="1280002" y="1316408"/>
                  </a:cubicBezTo>
                  <a:close/>
                </a:path>
              </a:pathLst>
            </a:custGeom>
            <a:solidFill>
              <a:srgbClr val="ECF0F3"/>
            </a:solidFill>
          </p:spPr>
          <p:txBody>
            <a:bodyPr/>
            <a:lstStyle/>
            <a:p>
              <a:endParaRPr lang="en-US" sz="1200"/>
            </a:p>
          </p:txBody>
        </p:sp>
      </p:grpSp>
      <p:grpSp>
        <p:nvGrpSpPr>
          <p:cNvPr id="8" name="Group 8"/>
          <p:cNvGrpSpPr/>
          <p:nvPr/>
        </p:nvGrpSpPr>
        <p:grpSpPr>
          <a:xfrm>
            <a:off x="9044640" y="4240863"/>
            <a:ext cx="2461561" cy="1931337"/>
            <a:chOff x="0" y="0"/>
            <a:chExt cx="1404462" cy="1101939"/>
          </a:xfrm>
        </p:grpSpPr>
        <p:sp>
          <p:nvSpPr>
            <p:cNvPr id="9" name="Freeform 9"/>
            <p:cNvSpPr/>
            <p:nvPr/>
          </p:nvSpPr>
          <p:spPr>
            <a:xfrm>
              <a:off x="0" y="0"/>
              <a:ext cx="1404462" cy="1101940"/>
            </a:xfrm>
            <a:custGeom>
              <a:avLst/>
              <a:gdLst/>
              <a:ahLst/>
              <a:cxnLst/>
              <a:rect l="l" t="t" r="r" b="b"/>
              <a:pathLst>
                <a:path w="1404462" h="1101940">
                  <a:moveTo>
                    <a:pt x="1280002" y="1101939"/>
                  </a:moveTo>
                  <a:lnTo>
                    <a:pt x="124460" y="1101939"/>
                  </a:lnTo>
                  <a:cubicBezTo>
                    <a:pt x="55880" y="1101939"/>
                    <a:pt x="0" y="1046059"/>
                    <a:pt x="0" y="977479"/>
                  </a:cubicBezTo>
                  <a:lnTo>
                    <a:pt x="0" y="124460"/>
                  </a:lnTo>
                  <a:cubicBezTo>
                    <a:pt x="0" y="55880"/>
                    <a:pt x="55880" y="0"/>
                    <a:pt x="124460" y="0"/>
                  </a:cubicBezTo>
                  <a:lnTo>
                    <a:pt x="1280002" y="0"/>
                  </a:lnTo>
                  <a:cubicBezTo>
                    <a:pt x="1348582" y="0"/>
                    <a:pt x="1404462" y="55880"/>
                    <a:pt x="1404462" y="124460"/>
                  </a:cubicBezTo>
                  <a:lnTo>
                    <a:pt x="1404462" y="977479"/>
                  </a:lnTo>
                  <a:cubicBezTo>
                    <a:pt x="1404462" y="1046060"/>
                    <a:pt x="1348582" y="1101940"/>
                    <a:pt x="1280002" y="1101940"/>
                  </a:cubicBezTo>
                  <a:close/>
                </a:path>
              </a:pathLst>
            </a:custGeom>
            <a:solidFill>
              <a:srgbClr val="ECF0F3"/>
            </a:solidFill>
          </p:spPr>
          <p:txBody>
            <a:bodyPr/>
            <a:lstStyle/>
            <a:p>
              <a:endParaRPr lang="en-US" sz="1200"/>
            </a:p>
          </p:txBody>
        </p:sp>
      </p:grpSp>
      <p:sp>
        <p:nvSpPr>
          <p:cNvPr id="10" name="TextBox 10"/>
          <p:cNvSpPr txBox="1"/>
          <p:nvPr/>
        </p:nvSpPr>
        <p:spPr>
          <a:xfrm>
            <a:off x="715122" y="1489699"/>
            <a:ext cx="2068377" cy="540404"/>
          </a:xfrm>
          <a:prstGeom prst="rect">
            <a:avLst/>
          </a:prstGeom>
        </p:spPr>
        <p:txBody>
          <a:bodyPr lIns="0" tIns="0" rIns="0" bIns="0" rtlCol="0" anchor="t">
            <a:spAutoFit/>
          </a:bodyPr>
          <a:lstStyle/>
          <a:p>
            <a:pPr algn="ctr">
              <a:lnSpc>
                <a:spcPts val="2239"/>
              </a:lnSpc>
            </a:pPr>
            <a:r>
              <a:rPr lang="en-US" sz="1600">
                <a:solidFill>
                  <a:srgbClr val="000000"/>
                </a:solidFill>
                <a:latin typeface="Barlow Medium Bold"/>
              </a:rPr>
              <a:t>Public Health Informatician</a:t>
            </a:r>
          </a:p>
        </p:txBody>
      </p:sp>
      <p:sp>
        <p:nvSpPr>
          <p:cNvPr id="11" name="TextBox 11"/>
          <p:cNvSpPr txBox="1"/>
          <p:nvPr/>
        </p:nvSpPr>
        <p:spPr>
          <a:xfrm>
            <a:off x="9258372" y="1489699"/>
            <a:ext cx="2093537" cy="258276"/>
          </a:xfrm>
          <a:prstGeom prst="rect">
            <a:avLst/>
          </a:prstGeom>
        </p:spPr>
        <p:txBody>
          <a:bodyPr lIns="0" tIns="0" rIns="0" bIns="0" rtlCol="0" anchor="t">
            <a:spAutoFit/>
          </a:bodyPr>
          <a:lstStyle/>
          <a:p>
            <a:pPr algn="ctr">
              <a:lnSpc>
                <a:spcPts val="2239"/>
              </a:lnSpc>
            </a:pPr>
            <a:r>
              <a:rPr lang="en-US" sz="1600">
                <a:solidFill>
                  <a:srgbClr val="000000"/>
                </a:solidFill>
                <a:latin typeface="Barlow Medium Bold"/>
              </a:rPr>
              <a:t>Health IT</a:t>
            </a:r>
          </a:p>
        </p:txBody>
      </p:sp>
      <p:sp>
        <p:nvSpPr>
          <p:cNvPr id="12" name="TextBox 12"/>
          <p:cNvSpPr txBox="1"/>
          <p:nvPr/>
        </p:nvSpPr>
        <p:spPr>
          <a:xfrm>
            <a:off x="685800" y="4334326"/>
            <a:ext cx="2093537" cy="258276"/>
          </a:xfrm>
          <a:prstGeom prst="rect">
            <a:avLst/>
          </a:prstGeom>
        </p:spPr>
        <p:txBody>
          <a:bodyPr lIns="0" tIns="0" rIns="0" bIns="0" rtlCol="0" anchor="t">
            <a:spAutoFit/>
          </a:bodyPr>
          <a:lstStyle/>
          <a:p>
            <a:pPr algn="ctr">
              <a:lnSpc>
                <a:spcPts val="2239"/>
              </a:lnSpc>
            </a:pPr>
            <a:r>
              <a:rPr lang="en-US" sz="1600">
                <a:solidFill>
                  <a:srgbClr val="000000"/>
                </a:solidFill>
                <a:latin typeface="Barlow Medium Bold"/>
              </a:rPr>
              <a:t>Medical Coder</a:t>
            </a:r>
          </a:p>
        </p:txBody>
      </p:sp>
      <p:sp>
        <p:nvSpPr>
          <p:cNvPr id="13" name="TextBox 13"/>
          <p:cNvSpPr txBox="1"/>
          <p:nvPr/>
        </p:nvSpPr>
        <p:spPr>
          <a:xfrm>
            <a:off x="9407258" y="4271467"/>
            <a:ext cx="2093537" cy="540404"/>
          </a:xfrm>
          <a:prstGeom prst="rect">
            <a:avLst/>
          </a:prstGeom>
        </p:spPr>
        <p:txBody>
          <a:bodyPr lIns="0" tIns="0" rIns="0" bIns="0" rtlCol="0" anchor="t">
            <a:spAutoFit/>
          </a:bodyPr>
          <a:lstStyle/>
          <a:p>
            <a:pPr algn="ctr">
              <a:lnSpc>
                <a:spcPts val="2239"/>
              </a:lnSpc>
            </a:pPr>
            <a:r>
              <a:rPr lang="en-US" sz="1600">
                <a:solidFill>
                  <a:srgbClr val="000000"/>
                </a:solidFill>
                <a:latin typeface="Barlow Medium Bold"/>
              </a:rPr>
              <a:t>Health Information Management</a:t>
            </a:r>
          </a:p>
        </p:txBody>
      </p:sp>
      <p:grpSp>
        <p:nvGrpSpPr>
          <p:cNvPr id="14" name="Group 14"/>
          <p:cNvGrpSpPr/>
          <p:nvPr/>
        </p:nvGrpSpPr>
        <p:grpSpPr>
          <a:xfrm>
            <a:off x="8681019" y="1059638"/>
            <a:ext cx="727241" cy="727241"/>
            <a:chOff x="0" y="0"/>
            <a:chExt cx="812800" cy="812800"/>
          </a:xfrm>
        </p:grpSpPr>
        <p:sp>
          <p:nvSpPr>
            <p:cNvPr id="15" name="Freeform 15"/>
            <p:cNvSpPr/>
            <p:nvPr/>
          </p:nvSpPr>
          <p:spPr>
            <a:xfrm>
              <a:off x="1813" y="0"/>
              <a:ext cx="809173" cy="812800"/>
            </a:xfrm>
            <a:custGeom>
              <a:avLst/>
              <a:gdLst/>
              <a:ahLst/>
              <a:cxnLst/>
              <a:rect l="l" t="t" r="r" b="b"/>
              <a:pathLst>
                <a:path w="809173" h="812800">
                  <a:moveTo>
                    <a:pt x="404587" y="0"/>
                  </a:moveTo>
                  <a:cubicBezTo>
                    <a:pt x="628326" y="1001"/>
                    <a:pt x="809174" y="182659"/>
                    <a:pt x="809174" y="406400"/>
                  </a:cubicBezTo>
                  <a:cubicBezTo>
                    <a:pt x="809174" y="630141"/>
                    <a:pt x="628326" y="811799"/>
                    <a:pt x="404587" y="812800"/>
                  </a:cubicBezTo>
                  <a:cubicBezTo>
                    <a:pt x="180848" y="811799"/>
                    <a:pt x="0" y="630141"/>
                    <a:pt x="0" y="406400"/>
                  </a:cubicBezTo>
                  <a:cubicBezTo>
                    <a:pt x="0" y="182659"/>
                    <a:pt x="180848" y="1001"/>
                    <a:pt x="404587" y="0"/>
                  </a:cubicBezTo>
                  <a:close/>
                </a:path>
              </a:pathLst>
            </a:custGeom>
            <a:solidFill>
              <a:srgbClr val="19375C"/>
            </a:solidFill>
          </p:spPr>
          <p:txBody>
            <a:bodyPr/>
            <a:lstStyle/>
            <a:p>
              <a:endParaRPr lang="en-US" sz="1200"/>
            </a:p>
          </p:txBody>
        </p:sp>
        <p:sp>
          <p:nvSpPr>
            <p:cNvPr id="16" name="TextBox 16"/>
            <p:cNvSpPr txBox="1"/>
            <p:nvPr/>
          </p:nvSpPr>
          <p:spPr>
            <a:xfrm>
              <a:off x="76200" y="19050"/>
              <a:ext cx="660400" cy="717550"/>
            </a:xfrm>
            <a:prstGeom prst="rect">
              <a:avLst/>
            </a:prstGeom>
          </p:spPr>
          <p:txBody>
            <a:bodyPr lIns="33867" tIns="33867" rIns="33867" bIns="33867" rtlCol="0" anchor="ctr"/>
            <a:lstStyle/>
            <a:p>
              <a:pPr algn="ctr">
                <a:lnSpc>
                  <a:spcPts val="1867"/>
                </a:lnSpc>
              </a:pPr>
              <a:endParaRPr sz="1200"/>
            </a:p>
          </p:txBody>
        </p:sp>
      </p:grpSp>
      <p:grpSp>
        <p:nvGrpSpPr>
          <p:cNvPr id="17" name="Group 17"/>
          <p:cNvGrpSpPr/>
          <p:nvPr/>
        </p:nvGrpSpPr>
        <p:grpSpPr>
          <a:xfrm>
            <a:off x="2782498" y="1059638"/>
            <a:ext cx="727241" cy="727241"/>
            <a:chOff x="0" y="0"/>
            <a:chExt cx="812800" cy="812800"/>
          </a:xfrm>
        </p:grpSpPr>
        <p:sp>
          <p:nvSpPr>
            <p:cNvPr id="18" name="Freeform 18"/>
            <p:cNvSpPr/>
            <p:nvPr/>
          </p:nvSpPr>
          <p:spPr>
            <a:xfrm>
              <a:off x="1813" y="0"/>
              <a:ext cx="809173" cy="812800"/>
            </a:xfrm>
            <a:custGeom>
              <a:avLst/>
              <a:gdLst/>
              <a:ahLst/>
              <a:cxnLst/>
              <a:rect l="l" t="t" r="r" b="b"/>
              <a:pathLst>
                <a:path w="809173" h="812800">
                  <a:moveTo>
                    <a:pt x="404587" y="0"/>
                  </a:moveTo>
                  <a:cubicBezTo>
                    <a:pt x="628326" y="1001"/>
                    <a:pt x="809174" y="182659"/>
                    <a:pt x="809174" y="406400"/>
                  </a:cubicBezTo>
                  <a:cubicBezTo>
                    <a:pt x="809174" y="630141"/>
                    <a:pt x="628326" y="811799"/>
                    <a:pt x="404587" y="812800"/>
                  </a:cubicBezTo>
                  <a:cubicBezTo>
                    <a:pt x="180848" y="811799"/>
                    <a:pt x="0" y="630141"/>
                    <a:pt x="0" y="406400"/>
                  </a:cubicBezTo>
                  <a:cubicBezTo>
                    <a:pt x="0" y="182659"/>
                    <a:pt x="180848" y="1001"/>
                    <a:pt x="404587" y="0"/>
                  </a:cubicBezTo>
                  <a:close/>
                </a:path>
              </a:pathLst>
            </a:custGeom>
            <a:solidFill>
              <a:srgbClr val="DCEBB2"/>
            </a:solidFill>
          </p:spPr>
          <p:txBody>
            <a:bodyPr/>
            <a:lstStyle/>
            <a:p>
              <a:endParaRPr lang="en-US" sz="1200"/>
            </a:p>
          </p:txBody>
        </p:sp>
        <p:sp>
          <p:nvSpPr>
            <p:cNvPr id="19" name="TextBox 19"/>
            <p:cNvSpPr txBox="1"/>
            <p:nvPr/>
          </p:nvSpPr>
          <p:spPr>
            <a:xfrm>
              <a:off x="76200" y="19050"/>
              <a:ext cx="660400" cy="717550"/>
            </a:xfrm>
            <a:prstGeom prst="rect">
              <a:avLst/>
            </a:prstGeom>
          </p:spPr>
          <p:txBody>
            <a:bodyPr lIns="33867" tIns="33867" rIns="33867" bIns="33867" rtlCol="0" anchor="ctr"/>
            <a:lstStyle/>
            <a:p>
              <a:pPr algn="ctr">
                <a:lnSpc>
                  <a:spcPts val="1867"/>
                </a:lnSpc>
              </a:pPr>
              <a:endParaRPr sz="1200"/>
            </a:p>
          </p:txBody>
        </p:sp>
      </p:grpSp>
      <p:grpSp>
        <p:nvGrpSpPr>
          <p:cNvPr id="20" name="Group 20"/>
          <p:cNvGrpSpPr/>
          <p:nvPr/>
        </p:nvGrpSpPr>
        <p:grpSpPr>
          <a:xfrm>
            <a:off x="8682021" y="3927214"/>
            <a:ext cx="725237" cy="725237"/>
            <a:chOff x="0" y="0"/>
            <a:chExt cx="812800" cy="812800"/>
          </a:xfrm>
        </p:grpSpPr>
        <p:sp>
          <p:nvSpPr>
            <p:cNvPr id="21" name="Freeform 21"/>
            <p:cNvSpPr/>
            <p:nvPr/>
          </p:nvSpPr>
          <p:spPr>
            <a:xfrm>
              <a:off x="1813" y="0"/>
              <a:ext cx="809173" cy="812800"/>
            </a:xfrm>
            <a:custGeom>
              <a:avLst/>
              <a:gdLst/>
              <a:ahLst/>
              <a:cxnLst/>
              <a:rect l="l" t="t" r="r" b="b"/>
              <a:pathLst>
                <a:path w="809173" h="812800">
                  <a:moveTo>
                    <a:pt x="404587" y="0"/>
                  </a:moveTo>
                  <a:cubicBezTo>
                    <a:pt x="628326" y="1001"/>
                    <a:pt x="809174" y="182659"/>
                    <a:pt x="809174" y="406400"/>
                  </a:cubicBezTo>
                  <a:cubicBezTo>
                    <a:pt x="809174" y="630141"/>
                    <a:pt x="628326" y="811799"/>
                    <a:pt x="404587" y="812800"/>
                  </a:cubicBezTo>
                  <a:cubicBezTo>
                    <a:pt x="180848" y="811799"/>
                    <a:pt x="0" y="630141"/>
                    <a:pt x="0" y="406400"/>
                  </a:cubicBezTo>
                  <a:cubicBezTo>
                    <a:pt x="0" y="182659"/>
                    <a:pt x="180848" y="1001"/>
                    <a:pt x="404587" y="0"/>
                  </a:cubicBezTo>
                  <a:close/>
                </a:path>
              </a:pathLst>
            </a:custGeom>
            <a:solidFill>
              <a:srgbClr val="AFCF52"/>
            </a:solidFill>
          </p:spPr>
          <p:txBody>
            <a:bodyPr/>
            <a:lstStyle/>
            <a:p>
              <a:endParaRPr lang="en-US" sz="1200"/>
            </a:p>
          </p:txBody>
        </p:sp>
        <p:sp>
          <p:nvSpPr>
            <p:cNvPr id="22" name="TextBox 22"/>
            <p:cNvSpPr txBox="1"/>
            <p:nvPr/>
          </p:nvSpPr>
          <p:spPr>
            <a:xfrm>
              <a:off x="76200" y="19050"/>
              <a:ext cx="660400" cy="717550"/>
            </a:xfrm>
            <a:prstGeom prst="rect">
              <a:avLst/>
            </a:prstGeom>
          </p:spPr>
          <p:txBody>
            <a:bodyPr lIns="33867" tIns="33867" rIns="33867" bIns="33867" rtlCol="0" anchor="ctr"/>
            <a:lstStyle/>
            <a:p>
              <a:pPr algn="ctr">
                <a:lnSpc>
                  <a:spcPts val="1867"/>
                </a:lnSpc>
              </a:pPr>
              <a:endParaRPr sz="1200"/>
            </a:p>
          </p:txBody>
        </p:sp>
      </p:grpSp>
      <p:grpSp>
        <p:nvGrpSpPr>
          <p:cNvPr id="23" name="Group 23"/>
          <p:cNvGrpSpPr/>
          <p:nvPr/>
        </p:nvGrpSpPr>
        <p:grpSpPr>
          <a:xfrm>
            <a:off x="2783500" y="3927214"/>
            <a:ext cx="725237" cy="725237"/>
            <a:chOff x="0" y="0"/>
            <a:chExt cx="812800" cy="812800"/>
          </a:xfrm>
        </p:grpSpPr>
        <p:sp>
          <p:nvSpPr>
            <p:cNvPr id="24" name="Freeform 24"/>
            <p:cNvSpPr/>
            <p:nvPr/>
          </p:nvSpPr>
          <p:spPr>
            <a:xfrm>
              <a:off x="1813" y="0"/>
              <a:ext cx="809173" cy="812800"/>
            </a:xfrm>
            <a:custGeom>
              <a:avLst/>
              <a:gdLst/>
              <a:ahLst/>
              <a:cxnLst/>
              <a:rect l="l" t="t" r="r" b="b"/>
              <a:pathLst>
                <a:path w="809173" h="812800">
                  <a:moveTo>
                    <a:pt x="404587" y="0"/>
                  </a:moveTo>
                  <a:cubicBezTo>
                    <a:pt x="628326" y="1001"/>
                    <a:pt x="809174" y="182659"/>
                    <a:pt x="809174" y="406400"/>
                  </a:cubicBezTo>
                  <a:cubicBezTo>
                    <a:pt x="809174" y="630141"/>
                    <a:pt x="628326" y="811799"/>
                    <a:pt x="404587" y="812800"/>
                  </a:cubicBezTo>
                  <a:cubicBezTo>
                    <a:pt x="180848" y="811799"/>
                    <a:pt x="0" y="630141"/>
                    <a:pt x="0" y="406400"/>
                  </a:cubicBezTo>
                  <a:cubicBezTo>
                    <a:pt x="0" y="182659"/>
                    <a:pt x="180848" y="1001"/>
                    <a:pt x="404587" y="0"/>
                  </a:cubicBezTo>
                  <a:close/>
                </a:path>
              </a:pathLst>
            </a:custGeom>
            <a:solidFill>
              <a:srgbClr val="5B6A8C"/>
            </a:solidFill>
          </p:spPr>
          <p:txBody>
            <a:bodyPr/>
            <a:lstStyle/>
            <a:p>
              <a:endParaRPr lang="en-US" sz="1200"/>
            </a:p>
          </p:txBody>
        </p:sp>
        <p:sp>
          <p:nvSpPr>
            <p:cNvPr id="25" name="TextBox 25"/>
            <p:cNvSpPr txBox="1"/>
            <p:nvPr/>
          </p:nvSpPr>
          <p:spPr>
            <a:xfrm>
              <a:off x="76200" y="19050"/>
              <a:ext cx="660400" cy="717550"/>
            </a:xfrm>
            <a:prstGeom prst="rect">
              <a:avLst/>
            </a:prstGeom>
          </p:spPr>
          <p:txBody>
            <a:bodyPr lIns="33867" tIns="33867" rIns="33867" bIns="33867" rtlCol="0" anchor="ctr"/>
            <a:lstStyle/>
            <a:p>
              <a:pPr algn="ctr">
                <a:lnSpc>
                  <a:spcPts val="1867"/>
                </a:lnSpc>
              </a:pPr>
              <a:endParaRPr sz="1200"/>
            </a:p>
          </p:txBody>
        </p:sp>
      </p:grpSp>
      <p:grpSp>
        <p:nvGrpSpPr>
          <p:cNvPr id="26" name="Group 26"/>
          <p:cNvGrpSpPr/>
          <p:nvPr/>
        </p:nvGrpSpPr>
        <p:grpSpPr>
          <a:xfrm>
            <a:off x="5463916" y="1513473"/>
            <a:ext cx="1214892" cy="1214892"/>
            <a:chOff x="0" y="0"/>
            <a:chExt cx="812800" cy="812800"/>
          </a:xfrm>
        </p:grpSpPr>
        <p:sp>
          <p:nvSpPr>
            <p:cNvPr id="27" name="Freeform 27"/>
            <p:cNvSpPr/>
            <p:nvPr/>
          </p:nvSpPr>
          <p:spPr>
            <a:xfrm>
              <a:off x="1813" y="0"/>
              <a:ext cx="809173" cy="812800"/>
            </a:xfrm>
            <a:custGeom>
              <a:avLst/>
              <a:gdLst/>
              <a:ahLst/>
              <a:cxnLst/>
              <a:rect l="l" t="t" r="r" b="b"/>
              <a:pathLst>
                <a:path w="809173" h="812800">
                  <a:moveTo>
                    <a:pt x="404587" y="0"/>
                  </a:moveTo>
                  <a:cubicBezTo>
                    <a:pt x="628326" y="1001"/>
                    <a:pt x="809174" y="182659"/>
                    <a:pt x="809174" y="406400"/>
                  </a:cubicBezTo>
                  <a:cubicBezTo>
                    <a:pt x="809174" y="630141"/>
                    <a:pt x="628326" y="811799"/>
                    <a:pt x="404587" y="812800"/>
                  </a:cubicBezTo>
                  <a:cubicBezTo>
                    <a:pt x="180848" y="811799"/>
                    <a:pt x="0" y="630141"/>
                    <a:pt x="0" y="406400"/>
                  </a:cubicBezTo>
                  <a:cubicBezTo>
                    <a:pt x="0" y="182659"/>
                    <a:pt x="180848" y="1001"/>
                    <a:pt x="404587" y="0"/>
                  </a:cubicBezTo>
                  <a:close/>
                </a:path>
              </a:pathLst>
            </a:custGeom>
            <a:solidFill>
              <a:srgbClr val="FDFDFD"/>
            </a:solidFill>
            <a:ln w="95250">
              <a:solidFill>
                <a:srgbClr val="DCEBB2"/>
              </a:solidFill>
            </a:ln>
          </p:spPr>
          <p:txBody>
            <a:bodyPr/>
            <a:lstStyle/>
            <a:p>
              <a:endParaRPr lang="en-US" sz="1200"/>
            </a:p>
          </p:txBody>
        </p:sp>
        <p:sp>
          <p:nvSpPr>
            <p:cNvPr id="28" name="TextBox 28"/>
            <p:cNvSpPr txBox="1"/>
            <p:nvPr/>
          </p:nvSpPr>
          <p:spPr>
            <a:xfrm>
              <a:off x="76200" y="19050"/>
              <a:ext cx="660400" cy="717550"/>
            </a:xfrm>
            <a:prstGeom prst="rect">
              <a:avLst/>
            </a:prstGeom>
          </p:spPr>
          <p:txBody>
            <a:bodyPr lIns="33867" tIns="33867" rIns="33867" bIns="33867" rtlCol="0" anchor="ctr"/>
            <a:lstStyle/>
            <a:p>
              <a:pPr algn="ctr">
                <a:lnSpc>
                  <a:spcPts val="1867"/>
                </a:lnSpc>
              </a:pPr>
              <a:endParaRPr sz="1200"/>
            </a:p>
          </p:txBody>
        </p:sp>
      </p:grpSp>
      <p:grpSp>
        <p:nvGrpSpPr>
          <p:cNvPr id="29" name="Group 29"/>
          <p:cNvGrpSpPr/>
          <p:nvPr/>
        </p:nvGrpSpPr>
        <p:grpSpPr>
          <a:xfrm>
            <a:off x="6638092" y="3001415"/>
            <a:ext cx="1214892" cy="1214892"/>
            <a:chOff x="0" y="0"/>
            <a:chExt cx="812800" cy="812800"/>
          </a:xfrm>
        </p:grpSpPr>
        <p:sp>
          <p:nvSpPr>
            <p:cNvPr id="30" name="Freeform 30"/>
            <p:cNvSpPr/>
            <p:nvPr/>
          </p:nvSpPr>
          <p:spPr>
            <a:xfrm>
              <a:off x="1813" y="0"/>
              <a:ext cx="809173" cy="812800"/>
            </a:xfrm>
            <a:custGeom>
              <a:avLst/>
              <a:gdLst/>
              <a:ahLst/>
              <a:cxnLst/>
              <a:rect l="l" t="t" r="r" b="b"/>
              <a:pathLst>
                <a:path w="809173" h="812800">
                  <a:moveTo>
                    <a:pt x="404587" y="0"/>
                  </a:moveTo>
                  <a:cubicBezTo>
                    <a:pt x="628326" y="1001"/>
                    <a:pt x="809174" y="182659"/>
                    <a:pt x="809174" y="406400"/>
                  </a:cubicBezTo>
                  <a:cubicBezTo>
                    <a:pt x="809174" y="630141"/>
                    <a:pt x="628326" y="811799"/>
                    <a:pt x="404587" y="812800"/>
                  </a:cubicBezTo>
                  <a:cubicBezTo>
                    <a:pt x="180848" y="811799"/>
                    <a:pt x="0" y="630141"/>
                    <a:pt x="0" y="406400"/>
                  </a:cubicBezTo>
                  <a:cubicBezTo>
                    <a:pt x="0" y="182659"/>
                    <a:pt x="180848" y="1001"/>
                    <a:pt x="404587" y="0"/>
                  </a:cubicBezTo>
                  <a:close/>
                </a:path>
              </a:pathLst>
            </a:custGeom>
            <a:solidFill>
              <a:srgbClr val="000000">
                <a:alpha val="0"/>
              </a:srgbClr>
            </a:solidFill>
            <a:ln w="95250">
              <a:solidFill>
                <a:srgbClr val="5B6A8C"/>
              </a:solidFill>
            </a:ln>
          </p:spPr>
          <p:txBody>
            <a:bodyPr/>
            <a:lstStyle/>
            <a:p>
              <a:endParaRPr lang="en-US" sz="1200"/>
            </a:p>
          </p:txBody>
        </p:sp>
        <p:sp>
          <p:nvSpPr>
            <p:cNvPr id="31" name="TextBox 31"/>
            <p:cNvSpPr txBox="1"/>
            <p:nvPr/>
          </p:nvSpPr>
          <p:spPr>
            <a:xfrm>
              <a:off x="76200" y="19050"/>
              <a:ext cx="660400" cy="717550"/>
            </a:xfrm>
            <a:prstGeom prst="rect">
              <a:avLst/>
            </a:prstGeom>
          </p:spPr>
          <p:txBody>
            <a:bodyPr lIns="33867" tIns="33867" rIns="33867" bIns="33867" rtlCol="0" anchor="ctr"/>
            <a:lstStyle/>
            <a:p>
              <a:pPr algn="ctr">
                <a:lnSpc>
                  <a:spcPts val="1867"/>
                </a:lnSpc>
              </a:pPr>
              <a:endParaRPr sz="1200"/>
            </a:p>
          </p:txBody>
        </p:sp>
      </p:grpSp>
      <p:grpSp>
        <p:nvGrpSpPr>
          <p:cNvPr id="32" name="Group 32"/>
          <p:cNvGrpSpPr/>
          <p:nvPr/>
        </p:nvGrpSpPr>
        <p:grpSpPr>
          <a:xfrm>
            <a:off x="4339016" y="3021645"/>
            <a:ext cx="1214892" cy="1214892"/>
            <a:chOff x="0" y="0"/>
            <a:chExt cx="812800" cy="812800"/>
          </a:xfrm>
        </p:grpSpPr>
        <p:sp>
          <p:nvSpPr>
            <p:cNvPr id="33" name="Freeform 33"/>
            <p:cNvSpPr/>
            <p:nvPr/>
          </p:nvSpPr>
          <p:spPr>
            <a:xfrm>
              <a:off x="1813" y="0"/>
              <a:ext cx="809173" cy="812800"/>
            </a:xfrm>
            <a:custGeom>
              <a:avLst/>
              <a:gdLst/>
              <a:ahLst/>
              <a:cxnLst/>
              <a:rect l="l" t="t" r="r" b="b"/>
              <a:pathLst>
                <a:path w="809173" h="812800">
                  <a:moveTo>
                    <a:pt x="404587" y="0"/>
                  </a:moveTo>
                  <a:cubicBezTo>
                    <a:pt x="628326" y="1001"/>
                    <a:pt x="809174" y="182659"/>
                    <a:pt x="809174" y="406400"/>
                  </a:cubicBezTo>
                  <a:cubicBezTo>
                    <a:pt x="809174" y="630141"/>
                    <a:pt x="628326" y="811799"/>
                    <a:pt x="404587" y="812800"/>
                  </a:cubicBezTo>
                  <a:cubicBezTo>
                    <a:pt x="180848" y="811799"/>
                    <a:pt x="0" y="630141"/>
                    <a:pt x="0" y="406400"/>
                  </a:cubicBezTo>
                  <a:cubicBezTo>
                    <a:pt x="0" y="182659"/>
                    <a:pt x="180848" y="1001"/>
                    <a:pt x="404587" y="0"/>
                  </a:cubicBezTo>
                  <a:close/>
                </a:path>
              </a:pathLst>
            </a:custGeom>
            <a:solidFill>
              <a:srgbClr val="000000">
                <a:alpha val="0"/>
              </a:srgbClr>
            </a:solidFill>
            <a:ln w="95250">
              <a:solidFill>
                <a:srgbClr val="19375C"/>
              </a:solidFill>
            </a:ln>
          </p:spPr>
          <p:txBody>
            <a:bodyPr/>
            <a:lstStyle/>
            <a:p>
              <a:endParaRPr lang="en-US" sz="1200"/>
            </a:p>
          </p:txBody>
        </p:sp>
        <p:sp>
          <p:nvSpPr>
            <p:cNvPr id="34" name="TextBox 34"/>
            <p:cNvSpPr txBox="1"/>
            <p:nvPr/>
          </p:nvSpPr>
          <p:spPr>
            <a:xfrm>
              <a:off x="76200" y="19050"/>
              <a:ext cx="660400" cy="717550"/>
            </a:xfrm>
            <a:prstGeom prst="rect">
              <a:avLst/>
            </a:prstGeom>
          </p:spPr>
          <p:txBody>
            <a:bodyPr lIns="33867" tIns="33867" rIns="33867" bIns="33867" rtlCol="0" anchor="ctr"/>
            <a:lstStyle/>
            <a:p>
              <a:pPr algn="ctr">
                <a:lnSpc>
                  <a:spcPts val="1867"/>
                </a:lnSpc>
              </a:pPr>
              <a:endParaRPr sz="1200"/>
            </a:p>
          </p:txBody>
        </p:sp>
      </p:grpSp>
      <p:grpSp>
        <p:nvGrpSpPr>
          <p:cNvPr id="35" name="Group 35"/>
          <p:cNvGrpSpPr/>
          <p:nvPr/>
        </p:nvGrpSpPr>
        <p:grpSpPr>
          <a:xfrm>
            <a:off x="5463916" y="4511610"/>
            <a:ext cx="1214892" cy="1214892"/>
            <a:chOff x="0" y="0"/>
            <a:chExt cx="812800" cy="812800"/>
          </a:xfrm>
        </p:grpSpPr>
        <p:sp>
          <p:nvSpPr>
            <p:cNvPr id="36" name="Freeform 36"/>
            <p:cNvSpPr/>
            <p:nvPr/>
          </p:nvSpPr>
          <p:spPr>
            <a:xfrm>
              <a:off x="1813" y="0"/>
              <a:ext cx="809173" cy="812800"/>
            </a:xfrm>
            <a:custGeom>
              <a:avLst/>
              <a:gdLst/>
              <a:ahLst/>
              <a:cxnLst/>
              <a:rect l="l" t="t" r="r" b="b"/>
              <a:pathLst>
                <a:path w="809173" h="812800">
                  <a:moveTo>
                    <a:pt x="404587" y="0"/>
                  </a:moveTo>
                  <a:cubicBezTo>
                    <a:pt x="628326" y="1001"/>
                    <a:pt x="809174" y="182659"/>
                    <a:pt x="809174" y="406400"/>
                  </a:cubicBezTo>
                  <a:cubicBezTo>
                    <a:pt x="809174" y="630141"/>
                    <a:pt x="628326" y="811799"/>
                    <a:pt x="404587" y="812800"/>
                  </a:cubicBezTo>
                  <a:cubicBezTo>
                    <a:pt x="180848" y="811799"/>
                    <a:pt x="0" y="630141"/>
                    <a:pt x="0" y="406400"/>
                  </a:cubicBezTo>
                  <a:cubicBezTo>
                    <a:pt x="0" y="182659"/>
                    <a:pt x="180848" y="1001"/>
                    <a:pt x="404587" y="0"/>
                  </a:cubicBezTo>
                  <a:close/>
                </a:path>
              </a:pathLst>
            </a:custGeom>
            <a:solidFill>
              <a:srgbClr val="000000">
                <a:alpha val="0"/>
              </a:srgbClr>
            </a:solidFill>
            <a:ln w="95250">
              <a:solidFill>
                <a:srgbClr val="AFCF52"/>
              </a:solidFill>
            </a:ln>
          </p:spPr>
          <p:txBody>
            <a:bodyPr/>
            <a:lstStyle/>
            <a:p>
              <a:endParaRPr lang="en-US" sz="1200"/>
            </a:p>
          </p:txBody>
        </p:sp>
        <p:sp>
          <p:nvSpPr>
            <p:cNvPr id="37" name="TextBox 37"/>
            <p:cNvSpPr txBox="1"/>
            <p:nvPr/>
          </p:nvSpPr>
          <p:spPr>
            <a:xfrm>
              <a:off x="76200" y="19050"/>
              <a:ext cx="660400" cy="717550"/>
            </a:xfrm>
            <a:prstGeom prst="rect">
              <a:avLst/>
            </a:prstGeom>
          </p:spPr>
          <p:txBody>
            <a:bodyPr lIns="33867" tIns="33867" rIns="33867" bIns="33867" rtlCol="0" anchor="ctr"/>
            <a:lstStyle/>
            <a:p>
              <a:pPr algn="ctr">
                <a:lnSpc>
                  <a:spcPts val="1867"/>
                </a:lnSpc>
              </a:pPr>
              <a:endParaRPr sz="1200"/>
            </a:p>
          </p:txBody>
        </p:sp>
      </p:grpSp>
      <p:pic>
        <p:nvPicPr>
          <p:cNvPr id="38" name="Picture 38"/>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p:blipFill>
        <p:spPr>
          <a:xfrm>
            <a:off x="5841787" y="1882710"/>
            <a:ext cx="459150" cy="476421"/>
          </a:xfrm>
          <a:prstGeom prst="rect">
            <a:avLst/>
          </a:prstGeom>
        </p:spPr>
      </p:pic>
      <p:pic>
        <p:nvPicPr>
          <p:cNvPr id="39" name="Picture 39"/>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a:stretch>
        </p:blipFill>
        <p:spPr>
          <a:xfrm>
            <a:off x="6970716" y="3323333"/>
            <a:ext cx="549645" cy="571059"/>
          </a:xfrm>
          <a:prstGeom prst="rect">
            <a:avLst/>
          </a:prstGeom>
        </p:spPr>
      </p:pic>
      <p:pic>
        <p:nvPicPr>
          <p:cNvPr id="40" name="Picture 40"/>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a:fillRect/>
          </a:stretch>
        </p:blipFill>
        <p:spPr>
          <a:xfrm>
            <a:off x="4699771" y="3382400"/>
            <a:ext cx="493383" cy="493383"/>
          </a:xfrm>
          <a:prstGeom prst="rect">
            <a:avLst/>
          </a:prstGeom>
        </p:spPr>
      </p:pic>
      <p:pic>
        <p:nvPicPr>
          <p:cNvPr id="41" name="Picture 41"/>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a:fillRect/>
          </a:stretch>
        </p:blipFill>
        <p:spPr>
          <a:xfrm>
            <a:off x="5780034" y="4827728"/>
            <a:ext cx="582657" cy="582657"/>
          </a:xfrm>
          <a:prstGeom prst="rect">
            <a:avLst/>
          </a:prstGeom>
        </p:spPr>
      </p:pic>
      <p:sp>
        <p:nvSpPr>
          <p:cNvPr id="42" name="TextBox 42"/>
          <p:cNvSpPr txBox="1"/>
          <p:nvPr/>
        </p:nvSpPr>
        <p:spPr>
          <a:xfrm>
            <a:off x="792467" y="2117079"/>
            <a:ext cx="2342592" cy="1208857"/>
          </a:xfrm>
          <a:prstGeom prst="rect">
            <a:avLst/>
          </a:prstGeom>
        </p:spPr>
        <p:txBody>
          <a:bodyPr lIns="0" tIns="0" rIns="0" bIns="0" rtlCol="0" anchor="t">
            <a:spAutoFit/>
          </a:bodyPr>
          <a:lstStyle/>
          <a:p>
            <a:pPr>
              <a:lnSpc>
                <a:spcPts val="1586"/>
              </a:lnSpc>
            </a:pPr>
            <a:r>
              <a:rPr lang="en-US" sz="1133">
                <a:solidFill>
                  <a:srgbClr val="63696F"/>
                </a:solidFill>
                <a:latin typeface="Barlow Medium"/>
              </a:rPr>
              <a:t>Design, Develop, Implement, and Integrate Health Information systems to support public health programs. (EMR, LIS, NOMIS, DHIS2, NDR, Mobile Apps)</a:t>
            </a:r>
          </a:p>
          <a:p>
            <a:pPr>
              <a:lnSpc>
                <a:spcPts val="1586"/>
              </a:lnSpc>
              <a:spcBef>
                <a:spcPct val="0"/>
              </a:spcBef>
            </a:pPr>
            <a:endParaRPr lang="en-US" sz="1133">
              <a:solidFill>
                <a:srgbClr val="63696F"/>
              </a:solidFill>
              <a:latin typeface="Barlow Medium"/>
            </a:endParaRPr>
          </a:p>
        </p:txBody>
      </p:sp>
      <p:sp>
        <p:nvSpPr>
          <p:cNvPr id="43" name="TextBox 43"/>
          <p:cNvSpPr txBox="1"/>
          <p:nvPr/>
        </p:nvSpPr>
        <p:spPr>
          <a:xfrm>
            <a:off x="9104508" y="1857309"/>
            <a:ext cx="2441310" cy="1003673"/>
          </a:xfrm>
          <a:prstGeom prst="rect">
            <a:avLst/>
          </a:prstGeom>
        </p:spPr>
        <p:txBody>
          <a:bodyPr lIns="0" tIns="0" rIns="0" bIns="0" rtlCol="0" anchor="t">
            <a:spAutoFit/>
          </a:bodyPr>
          <a:lstStyle/>
          <a:p>
            <a:pPr>
              <a:lnSpc>
                <a:spcPts val="1586"/>
              </a:lnSpc>
              <a:spcBef>
                <a:spcPct val="0"/>
              </a:spcBef>
            </a:pPr>
            <a:r>
              <a:rPr lang="en-US" sz="1133">
                <a:solidFill>
                  <a:srgbClr val="63696F"/>
                </a:solidFill>
                <a:latin typeface="Barlow Medium"/>
              </a:rPr>
              <a:t>Area of IT involving the design, development, creation, use, and maintenance of information systems for the healthcare industry. (EHR, PHR, HIE, PACS)</a:t>
            </a:r>
          </a:p>
        </p:txBody>
      </p:sp>
      <p:sp>
        <p:nvSpPr>
          <p:cNvPr id="44" name="TextBox 44"/>
          <p:cNvSpPr txBox="1"/>
          <p:nvPr/>
        </p:nvSpPr>
        <p:spPr>
          <a:xfrm>
            <a:off x="792467" y="4722302"/>
            <a:ext cx="2248227" cy="1619226"/>
          </a:xfrm>
          <a:prstGeom prst="rect">
            <a:avLst/>
          </a:prstGeom>
        </p:spPr>
        <p:txBody>
          <a:bodyPr lIns="0" tIns="0" rIns="0" bIns="0" rtlCol="0" anchor="t">
            <a:spAutoFit/>
          </a:bodyPr>
          <a:lstStyle/>
          <a:p>
            <a:pPr>
              <a:lnSpc>
                <a:spcPts val="1587"/>
              </a:lnSpc>
              <a:spcBef>
                <a:spcPct val="0"/>
              </a:spcBef>
            </a:pPr>
            <a:r>
              <a:rPr lang="en-US" sz="1133">
                <a:solidFill>
                  <a:srgbClr val="63696F"/>
                </a:solidFill>
                <a:latin typeface="Barlow Medium"/>
              </a:rPr>
              <a:t>medical coder translates details from a patient's medical documents, such as physician's notes, lab reports, procedures, and diagnoses, into universal medical codes to maintain accurate medical records. (ICD, CPT, SNOMED, RXNORM).</a:t>
            </a:r>
          </a:p>
        </p:txBody>
      </p:sp>
      <p:sp>
        <p:nvSpPr>
          <p:cNvPr id="45" name="TextBox 45"/>
          <p:cNvSpPr txBox="1"/>
          <p:nvPr/>
        </p:nvSpPr>
        <p:spPr>
          <a:xfrm>
            <a:off x="9104508" y="4907253"/>
            <a:ext cx="2441310" cy="1003673"/>
          </a:xfrm>
          <a:prstGeom prst="rect">
            <a:avLst/>
          </a:prstGeom>
        </p:spPr>
        <p:txBody>
          <a:bodyPr lIns="0" tIns="0" rIns="0" bIns="0" rtlCol="0" anchor="t">
            <a:spAutoFit/>
          </a:bodyPr>
          <a:lstStyle/>
          <a:p>
            <a:pPr algn="ctr">
              <a:lnSpc>
                <a:spcPts val="1587"/>
              </a:lnSpc>
              <a:spcBef>
                <a:spcPct val="0"/>
              </a:spcBef>
            </a:pPr>
            <a:r>
              <a:rPr lang="en-US" sz="1133">
                <a:solidFill>
                  <a:srgbClr val="63696F"/>
                </a:solidFill>
                <a:latin typeface="Barlow Medium"/>
              </a:rPr>
              <a:t>Health records management involves the collection, organization, and maintenance of patient medical records and other healthcare-related information</a:t>
            </a:r>
          </a:p>
        </p:txBody>
      </p:sp>
      <p:sp>
        <p:nvSpPr>
          <p:cNvPr id="46" name="TextBox 46"/>
          <p:cNvSpPr txBox="1"/>
          <p:nvPr/>
        </p:nvSpPr>
        <p:spPr>
          <a:xfrm>
            <a:off x="2963349" y="344590"/>
            <a:ext cx="5425513" cy="461665"/>
          </a:xfrm>
          <a:prstGeom prst="rect">
            <a:avLst/>
          </a:prstGeom>
        </p:spPr>
        <p:txBody>
          <a:bodyPr lIns="0" tIns="0" rIns="0" bIns="0" rtlCol="0" anchor="t">
            <a:spAutoFit/>
          </a:bodyPr>
          <a:lstStyle/>
          <a:p>
            <a:pPr algn="ctr">
              <a:lnSpc>
                <a:spcPts val="3570"/>
              </a:lnSpc>
            </a:pPr>
            <a:r>
              <a:rPr lang="en-US" sz="3466" spc="111" dirty="0">
                <a:solidFill>
                  <a:srgbClr val="19375C"/>
                </a:solidFill>
                <a:latin typeface="Barlow Bold"/>
              </a:rPr>
              <a:t>Health Information World</a:t>
            </a:r>
          </a:p>
        </p:txBody>
      </p:sp>
      <p:sp>
        <p:nvSpPr>
          <p:cNvPr id="47" name="TextBox 47"/>
          <p:cNvSpPr txBox="1"/>
          <p:nvPr/>
        </p:nvSpPr>
        <p:spPr>
          <a:xfrm>
            <a:off x="2932385" y="1218603"/>
            <a:ext cx="427466" cy="350802"/>
          </a:xfrm>
          <a:prstGeom prst="rect">
            <a:avLst/>
          </a:prstGeom>
        </p:spPr>
        <p:txBody>
          <a:bodyPr lIns="0" tIns="0" rIns="0" bIns="0" rtlCol="0" anchor="t">
            <a:spAutoFit/>
          </a:bodyPr>
          <a:lstStyle/>
          <a:p>
            <a:pPr algn="ctr">
              <a:lnSpc>
                <a:spcPts val="2986"/>
              </a:lnSpc>
            </a:pPr>
            <a:r>
              <a:rPr lang="en-US" sz="2133">
                <a:solidFill>
                  <a:srgbClr val="FFFFFF"/>
                </a:solidFill>
                <a:latin typeface="Barlow Medium Bold"/>
              </a:rPr>
              <a:t>1</a:t>
            </a:r>
          </a:p>
        </p:txBody>
      </p:sp>
      <p:sp>
        <p:nvSpPr>
          <p:cNvPr id="48" name="TextBox 48"/>
          <p:cNvSpPr txBox="1"/>
          <p:nvPr/>
        </p:nvSpPr>
        <p:spPr>
          <a:xfrm>
            <a:off x="8830906" y="1218603"/>
            <a:ext cx="427466" cy="350802"/>
          </a:xfrm>
          <a:prstGeom prst="rect">
            <a:avLst/>
          </a:prstGeom>
        </p:spPr>
        <p:txBody>
          <a:bodyPr lIns="0" tIns="0" rIns="0" bIns="0" rtlCol="0" anchor="t">
            <a:spAutoFit/>
          </a:bodyPr>
          <a:lstStyle/>
          <a:p>
            <a:pPr algn="ctr">
              <a:lnSpc>
                <a:spcPts val="2986"/>
              </a:lnSpc>
            </a:pPr>
            <a:r>
              <a:rPr lang="en-US" sz="2133">
                <a:solidFill>
                  <a:srgbClr val="FFFFFF"/>
                </a:solidFill>
                <a:latin typeface="Barlow Medium Bold"/>
              </a:rPr>
              <a:t>3</a:t>
            </a:r>
          </a:p>
        </p:txBody>
      </p:sp>
      <p:sp>
        <p:nvSpPr>
          <p:cNvPr id="49" name="TextBox 49"/>
          <p:cNvSpPr txBox="1"/>
          <p:nvPr/>
        </p:nvSpPr>
        <p:spPr>
          <a:xfrm>
            <a:off x="2932385" y="4085177"/>
            <a:ext cx="427466" cy="350802"/>
          </a:xfrm>
          <a:prstGeom prst="rect">
            <a:avLst/>
          </a:prstGeom>
        </p:spPr>
        <p:txBody>
          <a:bodyPr lIns="0" tIns="0" rIns="0" bIns="0" rtlCol="0" anchor="t">
            <a:spAutoFit/>
          </a:bodyPr>
          <a:lstStyle/>
          <a:p>
            <a:pPr algn="ctr">
              <a:lnSpc>
                <a:spcPts val="2986"/>
              </a:lnSpc>
            </a:pPr>
            <a:r>
              <a:rPr lang="en-US" sz="2133">
                <a:solidFill>
                  <a:srgbClr val="000000"/>
                </a:solidFill>
                <a:latin typeface="Barlow Medium Bold"/>
              </a:rPr>
              <a:t>2</a:t>
            </a:r>
          </a:p>
        </p:txBody>
      </p:sp>
      <p:sp>
        <p:nvSpPr>
          <p:cNvPr id="50" name="TextBox 50"/>
          <p:cNvSpPr txBox="1"/>
          <p:nvPr/>
        </p:nvSpPr>
        <p:spPr>
          <a:xfrm>
            <a:off x="8830906" y="4085177"/>
            <a:ext cx="427466" cy="350802"/>
          </a:xfrm>
          <a:prstGeom prst="rect">
            <a:avLst/>
          </a:prstGeom>
        </p:spPr>
        <p:txBody>
          <a:bodyPr lIns="0" tIns="0" rIns="0" bIns="0" rtlCol="0" anchor="t">
            <a:spAutoFit/>
          </a:bodyPr>
          <a:lstStyle/>
          <a:p>
            <a:pPr algn="ctr">
              <a:lnSpc>
                <a:spcPts val="2986"/>
              </a:lnSpc>
            </a:pPr>
            <a:r>
              <a:rPr lang="en-US" sz="2133">
                <a:solidFill>
                  <a:srgbClr val="FFFFFF"/>
                </a:solidFill>
                <a:latin typeface="Barlow Medium Bold"/>
              </a:rPr>
              <a:t>4</a:t>
            </a:r>
          </a:p>
        </p:txBody>
      </p:sp>
      <p:pic>
        <p:nvPicPr>
          <p:cNvPr id="51" name="Picture 51"/>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a:fillRect/>
          </a:stretch>
        </p:blipFill>
        <p:spPr>
          <a:xfrm rot="9555766">
            <a:off x="-1750876" y="244972"/>
            <a:ext cx="4876800" cy="943897"/>
          </a:xfrm>
          <a:prstGeom prst="rect">
            <a:avLst/>
          </a:prstGeom>
        </p:spPr>
      </p:pic>
      <p:pic>
        <p:nvPicPr>
          <p:cNvPr id="52" name="Picture 52"/>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a:fillRect/>
          </a:stretch>
        </p:blipFill>
        <p:spPr>
          <a:xfrm>
            <a:off x="-237718" y="1"/>
            <a:ext cx="1153329" cy="461331"/>
          </a:xfrm>
          <a:prstGeom prst="rect">
            <a:avLst/>
          </a:prstGeom>
        </p:spPr>
      </p:pic>
      <p:pic>
        <p:nvPicPr>
          <p:cNvPr id="53" name="Picture 53"/>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a:fillRect/>
          </a:stretch>
        </p:blipFill>
        <p:spPr>
          <a:xfrm rot="-1008621">
            <a:off x="8628525" y="5763362"/>
            <a:ext cx="4876800" cy="943897"/>
          </a:xfrm>
          <a:prstGeom prst="rect">
            <a:avLst/>
          </a:prstGeom>
        </p:spPr>
      </p:pic>
      <p:pic>
        <p:nvPicPr>
          <p:cNvPr id="54" name="Picture 54"/>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a:fillRect/>
          </a:stretch>
        </p:blipFill>
        <p:spPr>
          <a:xfrm>
            <a:off x="10699725" y="6548094"/>
            <a:ext cx="1153329" cy="461331"/>
          </a:xfrm>
          <a:prstGeom prst="rect">
            <a:avLst/>
          </a:prstGeom>
        </p:spPr>
      </p:pic>
      <p:pic>
        <p:nvPicPr>
          <p:cNvPr id="55" name="Picture 55"/>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a:fillRect/>
          </a:stretch>
        </p:blipFill>
        <p:spPr>
          <a:xfrm>
            <a:off x="-576664" y="6548094"/>
            <a:ext cx="1153329" cy="461331"/>
          </a:xfrm>
          <a:prstGeom prst="rect">
            <a:avLst/>
          </a:prstGeom>
        </p:spPr>
      </p:pic>
      <p:pic>
        <p:nvPicPr>
          <p:cNvPr id="56" name="Picture 56"/>
          <p:cNvPicPr>
            <a:picLocks noChangeAspect="1"/>
          </p:cNvPicPr>
          <p:nvPr/>
        </p:nvPicPr>
        <p:blipFill>
          <a:blip r:embed="rId18"/>
          <a:srcRect/>
          <a:stretch>
            <a:fillRect/>
          </a:stretch>
        </p:blipFill>
        <p:spPr>
          <a:xfrm>
            <a:off x="8641078" y="0"/>
            <a:ext cx="3550922" cy="1016077"/>
          </a:xfrm>
          <a:prstGeom prst="rect">
            <a:avLst/>
          </a:prstGeom>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a:extLst>
              <a:ext uri="{FF2B5EF4-FFF2-40B4-BE49-F238E27FC236}">
                <a16:creationId xmlns:a16="http://schemas.microsoft.com/office/drawing/2014/main" id="{73703099-895E-814B-E9E6-E180C38A06F8}"/>
              </a:ext>
            </a:extLst>
          </p:cNvPr>
          <p:cNvSpPr>
            <a:spLocks noGrp="1"/>
          </p:cNvSpPr>
          <p:nvPr>
            <p:ph type="title"/>
          </p:nvPr>
        </p:nvSpPr>
        <p:spPr>
          <a:xfrm>
            <a:off x="1981200" y="304800"/>
            <a:ext cx="8229600" cy="1143000"/>
          </a:xfrm>
        </p:spPr>
        <p:txBody>
          <a:bodyPr>
            <a:normAutofit/>
          </a:bodyPr>
          <a:lstStyle/>
          <a:p>
            <a:pPr algn="ctr" eaLnBrk="1" hangingPunct="1"/>
            <a:r>
              <a:rPr lang="en-US" altLang="en-US" sz="3600" b="1" dirty="0">
                <a:solidFill>
                  <a:srgbClr val="002060"/>
                </a:solidFill>
                <a:latin typeface="Poppins" panose="00000500000000000000" pitchFamily="2" charset="0"/>
                <a:cs typeface="Poppins" panose="00000500000000000000" pitchFamily="2" charset="0"/>
              </a:rPr>
              <a:t>What do we mean by M&amp; E</a:t>
            </a:r>
          </a:p>
        </p:txBody>
      </p:sp>
      <p:sp>
        <p:nvSpPr>
          <p:cNvPr id="18435" name="Content Placeholder 2">
            <a:extLst>
              <a:ext uri="{FF2B5EF4-FFF2-40B4-BE49-F238E27FC236}">
                <a16:creationId xmlns:a16="http://schemas.microsoft.com/office/drawing/2014/main" id="{03D3E99D-4E76-2FCF-7429-7B71A71A23F5}"/>
              </a:ext>
            </a:extLst>
          </p:cNvPr>
          <p:cNvSpPr>
            <a:spLocks noGrp="1"/>
          </p:cNvSpPr>
          <p:nvPr>
            <p:ph idx="1"/>
          </p:nvPr>
        </p:nvSpPr>
        <p:spPr/>
        <p:txBody>
          <a:bodyPr/>
          <a:lstStyle/>
          <a:p>
            <a:pPr eaLnBrk="1" hangingPunct="1"/>
            <a:r>
              <a:rPr lang="en-US" altLang="en-US" sz="2800"/>
              <a:t>Set of procedures &amp; analytical tools to examine </a:t>
            </a:r>
          </a:p>
          <a:p>
            <a:pPr lvl="1" eaLnBrk="1" hangingPunct="1">
              <a:buFontTx/>
              <a:buChar char="•"/>
            </a:pPr>
            <a:r>
              <a:rPr lang="en-US" altLang="en-US"/>
              <a:t>how programs are conducted </a:t>
            </a:r>
            <a:r>
              <a:rPr lang="en-US" altLang="en-US">
                <a:solidFill>
                  <a:srgbClr val="A8082E"/>
                </a:solidFill>
              </a:rPr>
              <a:t>(inputs &amp; activities)</a:t>
            </a:r>
          </a:p>
          <a:p>
            <a:pPr lvl="1" eaLnBrk="1" hangingPunct="1">
              <a:buFontTx/>
              <a:buChar char="•"/>
            </a:pPr>
            <a:r>
              <a:rPr lang="en-US" altLang="en-US"/>
              <a:t>their level of performance </a:t>
            </a:r>
            <a:r>
              <a:rPr lang="en-US" altLang="en-US">
                <a:solidFill>
                  <a:srgbClr val="A8082E"/>
                </a:solidFill>
              </a:rPr>
              <a:t>(outputs)</a:t>
            </a:r>
          </a:p>
          <a:p>
            <a:pPr lvl="1" eaLnBrk="1" hangingPunct="1">
              <a:buFontTx/>
              <a:buChar char="•"/>
            </a:pPr>
            <a:r>
              <a:rPr lang="en-US" altLang="en-US"/>
              <a:t>whether they achieved what they were intended to achieve </a:t>
            </a:r>
            <a:r>
              <a:rPr lang="en-US" altLang="en-US">
                <a:solidFill>
                  <a:srgbClr val="A8082E"/>
                </a:solidFill>
              </a:rPr>
              <a:t>(outcomes &amp; impact)</a:t>
            </a:r>
          </a:p>
          <a:p>
            <a:pPr eaLnBrk="1" hangingPunct="1"/>
            <a:endParaRPr lang="en-US" altLang="en-US"/>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a:extLst>
              <a:ext uri="{FF2B5EF4-FFF2-40B4-BE49-F238E27FC236}">
                <a16:creationId xmlns:a16="http://schemas.microsoft.com/office/drawing/2014/main" id="{DCDB1C0A-2063-667D-EC4B-FA16A1E57D6F}"/>
              </a:ext>
            </a:extLst>
          </p:cNvPr>
          <p:cNvSpPr txBox="1">
            <a:spLocks/>
          </p:cNvSpPr>
          <p:nvPr/>
        </p:nvSpPr>
        <p:spPr bwMode="auto">
          <a:xfrm>
            <a:off x="2133600" y="2895600"/>
            <a:ext cx="7010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685800">
              <a:spcBef>
                <a:spcPct val="20000"/>
              </a:spcBef>
              <a:buFont typeface="Arial" panose="020B0604020202020204" pitchFamily="34" charset="0"/>
              <a:buChar char="•"/>
              <a:defRPr sz="2400">
                <a:solidFill>
                  <a:schemeClr val="tx1"/>
                </a:solidFill>
                <a:latin typeface="Calibri" panose="020F0502020204030204" pitchFamily="34" charset="0"/>
              </a:defRPr>
            </a:lvl1pPr>
            <a:lvl2pPr marL="557213" indent="-214313" defTabSz="685800">
              <a:spcBef>
                <a:spcPct val="20000"/>
              </a:spcBef>
              <a:buFont typeface="Arial" panose="020B0604020202020204" pitchFamily="34" charset="0"/>
              <a:buChar char="–"/>
              <a:defRPr sz="2100">
                <a:solidFill>
                  <a:schemeClr val="tx1"/>
                </a:solidFill>
                <a:latin typeface="Calibri" panose="020F0502020204030204" pitchFamily="34" charset="0"/>
              </a:defRPr>
            </a:lvl2pPr>
            <a:lvl3pPr marL="857250" indent="-171450" defTabSz="685800">
              <a:spcBef>
                <a:spcPct val="20000"/>
              </a:spcBef>
              <a:buFont typeface="Arial" panose="020B0604020202020204" pitchFamily="34" charset="0"/>
              <a:buChar char="•"/>
              <a:defRPr>
                <a:solidFill>
                  <a:schemeClr val="tx1"/>
                </a:solidFill>
                <a:latin typeface="Calibri" panose="020F0502020204030204" pitchFamily="34" charset="0"/>
              </a:defRPr>
            </a:lvl3pPr>
            <a:lvl4pPr marL="1200150" indent="-171450" defTabSz="685800">
              <a:spcBef>
                <a:spcPct val="20000"/>
              </a:spcBef>
              <a:buFont typeface="Arial" panose="020B0604020202020204" pitchFamily="34" charset="0"/>
              <a:buChar char="–"/>
              <a:defRPr sz="1500">
                <a:solidFill>
                  <a:schemeClr val="tx1"/>
                </a:solidFill>
                <a:latin typeface="Calibri" panose="020F0502020204030204" pitchFamily="34" charset="0"/>
              </a:defRPr>
            </a:lvl4pPr>
            <a:lvl5pPr marL="1543050" indent="-171450" defTabSz="685800">
              <a:spcBef>
                <a:spcPct val="20000"/>
              </a:spcBef>
              <a:buFont typeface="Arial" panose="020B0604020202020204" pitchFamily="34" charset="0"/>
              <a:buChar char="»"/>
              <a:defRPr sz="1500">
                <a:solidFill>
                  <a:schemeClr val="tx1"/>
                </a:solidFill>
                <a:latin typeface="Calibri" panose="020F0502020204030204" pitchFamily="34" charset="0"/>
              </a:defRPr>
            </a:lvl5pPr>
            <a:lvl6pPr marL="2000250" indent="-171450" defTabSz="685800" eaLnBrk="0" fontAlgn="base" hangingPunct="0">
              <a:spcBef>
                <a:spcPct val="20000"/>
              </a:spcBef>
              <a:spcAft>
                <a:spcPct val="0"/>
              </a:spcAft>
              <a:buFont typeface="Arial" panose="020B0604020202020204" pitchFamily="34" charset="0"/>
              <a:buChar char="»"/>
              <a:defRPr sz="1500">
                <a:solidFill>
                  <a:schemeClr val="tx1"/>
                </a:solidFill>
                <a:latin typeface="Calibri" panose="020F0502020204030204" pitchFamily="34" charset="0"/>
              </a:defRPr>
            </a:lvl6pPr>
            <a:lvl7pPr marL="2457450" indent="-171450" defTabSz="685800" eaLnBrk="0" fontAlgn="base" hangingPunct="0">
              <a:spcBef>
                <a:spcPct val="20000"/>
              </a:spcBef>
              <a:spcAft>
                <a:spcPct val="0"/>
              </a:spcAft>
              <a:buFont typeface="Arial" panose="020B0604020202020204" pitchFamily="34" charset="0"/>
              <a:buChar char="»"/>
              <a:defRPr sz="1500">
                <a:solidFill>
                  <a:schemeClr val="tx1"/>
                </a:solidFill>
                <a:latin typeface="Calibri" panose="020F0502020204030204" pitchFamily="34" charset="0"/>
              </a:defRPr>
            </a:lvl7pPr>
            <a:lvl8pPr marL="2914650" indent="-171450" defTabSz="685800" eaLnBrk="0" fontAlgn="base" hangingPunct="0">
              <a:spcBef>
                <a:spcPct val="20000"/>
              </a:spcBef>
              <a:spcAft>
                <a:spcPct val="0"/>
              </a:spcAft>
              <a:buFont typeface="Arial" panose="020B0604020202020204" pitchFamily="34" charset="0"/>
              <a:buChar char="»"/>
              <a:defRPr sz="1500">
                <a:solidFill>
                  <a:schemeClr val="tx1"/>
                </a:solidFill>
                <a:latin typeface="Calibri" panose="020F0502020204030204" pitchFamily="34" charset="0"/>
              </a:defRPr>
            </a:lvl8pPr>
            <a:lvl9pPr marL="3371850" indent="-171450" defTabSz="685800" eaLnBrk="0" fontAlgn="base" hangingPunct="0">
              <a:spcBef>
                <a:spcPct val="20000"/>
              </a:spcBef>
              <a:spcAft>
                <a:spcPct val="0"/>
              </a:spcAft>
              <a:buFont typeface="Arial" panose="020B0604020202020204" pitchFamily="34" charset="0"/>
              <a:buChar char="»"/>
              <a:defRPr sz="1500">
                <a:solidFill>
                  <a:schemeClr val="tx1"/>
                </a:solidFill>
                <a:latin typeface="Calibri" panose="020F0502020204030204" pitchFamily="34" charset="0"/>
              </a:defRPr>
            </a:lvl9pPr>
          </a:lstStyle>
          <a:p>
            <a:pPr algn="ctr" eaLnBrk="1" hangingPunct="1">
              <a:spcBef>
                <a:spcPct val="0"/>
              </a:spcBef>
              <a:buFontTx/>
              <a:buNone/>
            </a:pPr>
            <a:r>
              <a:rPr lang="en-US" altLang="en-US" sz="5400" b="1">
                <a:solidFill>
                  <a:srgbClr val="006600"/>
                </a:solidFill>
              </a:rPr>
              <a:t>What is Monitoring?</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a:extLst>
              <a:ext uri="{FF2B5EF4-FFF2-40B4-BE49-F238E27FC236}">
                <a16:creationId xmlns:a16="http://schemas.microsoft.com/office/drawing/2014/main" id="{93379918-F8D7-D4D2-63A5-B5EB4470BF88}"/>
              </a:ext>
            </a:extLst>
          </p:cNvPr>
          <p:cNvSpPr>
            <a:spLocks noGrp="1"/>
          </p:cNvSpPr>
          <p:nvPr>
            <p:ph type="title"/>
          </p:nvPr>
        </p:nvSpPr>
        <p:spPr/>
        <p:txBody>
          <a:bodyPr/>
          <a:lstStyle/>
          <a:p>
            <a:pPr eaLnBrk="1" hangingPunct="1"/>
            <a:r>
              <a:rPr lang="en-US" altLang="en-US" sz="3600" b="1" dirty="0">
                <a:solidFill>
                  <a:srgbClr val="002060"/>
                </a:solidFill>
                <a:latin typeface="Poppins" panose="00000500000000000000" pitchFamily="2" charset="0"/>
                <a:cs typeface="Poppins" panose="00000500000000000000" pitchFamily="2" charset="0"/>
              </a:rPr>
              <a:t>Monitoring is:</a:t>
            </a:r>
            <a:endParaRPr lang="en-US" altLang="en-US" dirty="0">
              <a:solidFill>
                <a:srgbClr val="002060"/>
              </a:solidFill>
              <a:latin typeface="Poppins" panose="00000500000000000000" pitchFamily="2" charset="0"/>
              <a:cs typeface="Poppins" panose="00000500000000000000" pitchFamily="2" charset="0"/>
            </a:endParaRPr>
          </a:p>
        </p:txBody>
      </p:sp>
      <p:sp>
        <p:nvSpPr>
          <p:cNvPr id="20483" name="Content Placeholder 2">
            <a:extLst>
              <a:ext uri="{FF2B5EF4-FFF2-40B4-BE49-F238E27FC236}">
                <a16:creationId xmlns:a16="http://schemas.microsoft.com/office/drawing/2014/main" id="{BEFB1602-0D0E-E2ED-93A2-8C9081FC317A}"/>
              </a:ext>
            </a:extLst>
          </p:cNvPr>
          <p:cNvSpPr>
            <a:spLocks noGrp="1"/>
          </p:cNvSpPr>
          <p:nvPr>
            <p:ph idx="1"/>
          </p:nvPr>
        </p:nvSpPr>
        <p:spPr/>
        <p:txBody>
          <a:bodyPr/>
          <a:lstStyle/>
          <a:p>
            <a:pPr eaLnBrk="1" hangingPunct="1">
              <a:lnSpc>
                <a:spcPct val="90000"/>
              </a:lnSpc>
            </a:pPr>
            <a:r>
              <a:rPr lang="en-US" altLang="en-US" dirty="0"/>
              <a:t>“Ongoing process of collecting and analyzing data to measure implementation performance” 		</a:t>
            </a:r>
          </a:p>
          <a:p>
            <a:pPr eaLnBrk="1" hangingPunct="1">
              <a:lnSpc>
                <a:spcPct val="90000"/>
              </a:lnSpc>
              <a:buFontTx/>
              <a:buNone/>
            </a:pPr>
            <a:endParaRPr lang="en-US" altLang="en-US" dirty="0"/>
          </a:p>
          <a:p>
            <a:pPr eaLnBrk="1" hangingPunct="1">
              <a:lnSpc>
                <a:spcPct val="90000"/>
              </a:lnSpc>
              <a:buFontTx/>
              <a:buNone/>
            </a:pPr>
            <a:r>
              <a:rPr lang="en-US" altLang="en-US" dirty="0"/>
              <a:t>or </a:t>
            </a:r>
          </a:p>
          <a:p>
            <a:pPr eaLnBrk="1" hangingPunct="1">
              <a:lnSpc>
                <a:spcPct val="90000"/>
              </a:lnSpc>
            </a:pPr>
            <a:endParaRPr lang="en-US" altLang="en-US" dirty="0"/>
          </a:p>
          <a:p>
            <a:pPr eaLnBrk="1" hangingPunct="1">
              <a:lnSpc>
                <a:spcPct val="90000"/>
              </a:lnSpc>
            </a:pPr>
            <a:r>
              <a:rPr lang="en-US" altLang="en-US" dirty="0"/>
              <a:t>“Routine tracking of </a:t>
            </a:r>
            <a:r>
              <a:rPr lang="en-US" altLang="en-US" b="1" u="sng" dirty="0"/>
              <a:t>priority information</a:t>
            </a:r>
            <a:r>
              <a:rPr lang="en-US" altLang="en-US" dirty="0"/>
              <a:t> about </a:t>
            </a:r>
            <a:r>
              <a:rPr lang="en-US" altLang="en-US" b="1" u="sng" dirty="0"/>
              <a:t>a program</a:t>
            </a:r>
            <a:endParaRPr lang="en-US" altLang="en-US" dirty="0"/>
          </a:p>
          <a:p>
            <a:pPr eaLnBrk="1" hangingPunct="1">
              <a:lnSpc>
                <a:spcPct val="90000"/>
              </a:lnSpc>
              <a:buFontTx/>
              <a:buNone/>
            </a:pPr>
            <a:endParaRPr lang="en-US" altLang="en-US" dirty="0"/>
          </a:p>
          <a:p>
            <a:pPr eaLnBrk="1" hangingPunct="1"/>
            <a:endParaRPr lang="en-US" altLang="en-US" dirty="0"/>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4">
            <a:extLst>
              <a:ext uri="{FF2B5EF4-FFF2-40B4-BE49-F238E27FC236}">
                <a16:creationId xmlns:a16="http://schemas.microsoft.com/office/drawing/2014/main" id="{C47650E9-3BF1-E1DF-43BD-274840366FF0}"/>
              </a:ext>
            </a:extLst>
          </p:cNvPr>
          <p:cNvSpPr txBox="1">
            <a:spLocks/>
          </p:cNvSpPr>
          <p:nvPr/>
        </p:nvSpPr>
        <p:spPr bwMode="auto">
          <a:xfrm>
            <a:off x="2895600" y="2743200"/>
            <a:ext cx="65532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685800">
              <a:spcBef>
                <a:spcPct val="20000"/>
              </a:spcBef>
              <a:buFont typeface="Arial" panose="020B0604020202020204" pitchFamily="34" charset="0"/>
              <a:buChar char="•"/>
              <a:defRPr sz="2400">
                <a:solidFill>
                  <a:schemeClr val="tx1"/>
                </a:solidFill>
                <a:latin typeface="Calibri" panose="020F0502020204030204" pitchFamily="34" charset="0"/>
              </a:defRPr>
            </a:lvl1pPr>
            <a:lvl2pPr marL="557213" indent="-214313" defTabSz="685800">
              <a:spcBef>
                <a:spcPct val="20000"/>
              </a:spcBef>
              <a:buFont typeface="Arial" panose="020B0604020202020204" pitchFamily="34" charset="0"/>
              <a:buChar char="–"/>
              <a:defRPr sz="2100">
                <a:solidFill>
                  <a:schemeClr val="tx1"/>
                </a:solidFill>
                <a:latin typeface="Calibri" panose="020F0502020204030204" pitchFamily="34" charset="0"/>
              </a:defRPr>
            </a:lvl2pPr>
            <a:lvl3pPr marL="857250" indent="-171450" defTabSz="685800">
              <a:spcBef>
                <a:spcPct val="20000"/>
              </a:spcBef>
              <a:buFont typeface="Arial" panose="020B0604020202020204" pitchFamily="34" charset="0"/>
              <a:buChar char="•"/>
              <a:defRPr>
                <a:solidFill>
                  <a:schemeClr val="tx1"/>
                </a:solidFill>
                <a:latin typeface="Calibri" panose="020F0502020204030204" pitchFamily="34" charset="0"/>
              </a:defRPr>
            </a:lvl3pPr>
            <a:lvl4pPr marL="1200150" indent="-171450" defTabSz="685800">
              <a:spcBef>
                <a:spcPct val="20000"/>
              </a:spcBef>
              <a:buFont typeface="Arial" panose="020B0604020202020204" pitchFamily="34" charset="0"/>
              <a:buChar char="–"/>
              <a:defRPr sz="1500">
                <a:solidFill>
                  <a:schemeClr val="tx1"/>
                </a:solidFill>
                <a:latin typeface="Calibri" panose="020F0502020204030204" pitchFamily="34" charset="0"/>
              </a:defRPr>
            </a:lvl4pPr>
            <a:lvl5pPr marL="1543050" indent="-171450" defTabSz="685800">
              <a:spcBef>
                <a:spcPct val="20000"/>
              </a:spcBef>
              <a:buFont typeface="Arial" panose="020B0604020202020204" pitchFamily="34" charset="0"/>
              <a:buChar char="»"/>
              <a:defRPr sz="1500">
                <a:solidFill>
                  <a:schemeClr val="tx1"/>
                </a:solidFill>
                <a:latin typeface="Calibri" panose="020F0502020204030204" pitchFamily="34" charset="0"/>
              </a:defRPr>
            </a:lvl5pPr>
            <a:lvl6pPr marL="2000250" indent="-171450" defTabSz="685800" eaLnBrk="0" fontAlgn="base" hangingPunct="0">
              <a:spcBef>
                <a:spcPct val="20000"/>
              </a:spcBef>
              <a:spcAft>
                <a:spcPct val="0"/>
              </a:spcAft>
              <a:buFont typeface="Arial" panose="020B0604020202020204" pitchFamily="34" charset="0"/>
              <a:buChar char="»"/>
              <a:defRPr sz="1500">
                <a:solidFill>
                  <a:schemeClr val="tx1"/>
                </a:solidFill>
                <a:latin typeface="Calibri" panose="020F0502020204030204" pitchFamily="34" charset="0"/>
              </a:defRPr>
            </a:lvl6pPr>
            <a:lvl7pPr marL="2457450" indent="-171450" defTabSz="685800" eaLnBrk="0" fontAlgn="base" hangingPunct="0">
              <a:spcBef>
                <a:spcPct val="20000"/>
              </a:spcBef>
              <a:spcAft>
                <a:spcPct val="0"/>
              </a:spcAft>
              <a:buFont typeface="Arial" panose="020B0604020202020204" pitchFamily="34" charset="0"/>
              <a:buChar char="»"/>
              <a:defRPr sz="1500">
                <a:solidFill>
                  <a:schemeClr val="tx1"/>
                </a:solidFill>
                <a:latin typeface="Calibri" panose="020F0502020204030204" pitchFamily="34" charset="0"/>
              </a:defRPr>
            </a:lvl7pPr>
            <a:lvl8pPr marL="2914650" indent="-171450" defTabSz="685800" eaLnBrk="0" fontAlgn="base" hangingPunct="0">
              <a:spcBef>
                <a:spcPct val="20000"/>
              </a:spcBef>
              <a:spcAft>
                <a:spcPct val="0"/>
              </a:spcAft>
              <a:buFont typeface="Arial" panose="020B0604020202020204" pitchFamily="34" charset="0"/>
              <a:buChar char="»"/>
              <a:defRPr sz="1500">
                <a:solidFill>
                  <a:schemeClr val="tx1"/>
                </a:solidFill>
                <a:latin typeface="Calibri" panose="020F0502020204030204" pitchFamily="34" charset="0"/>
              </a:defRPr>
            </a:lvl8pPr>
            <a:lvl9pPr marL="3371850" indent="-171450" defTabSz="685800" eaLnBrk="0" fontAlgn="base" hangingPunct="0">
              <a:spcBef>
                <a:spcPct val="20000"/>
              </a:spcBef>
              <a:spcAft>
                <a:spcPct val="0"/>
              </a:spcAft>
              <a:buFont typeface="Arial" panose="020B0604020202020204" pitchFamily="34" charset="0"/>
              <a:buChar char="»"/>
              <a:defRPr sz="1500">
                <a:solidFill>
                  <a:schemeClr val="tx1"/>
                </a:solidFill>
                <a:latin typeface="Calibri" panose="020F0502020204030204" pitchFamily="34" charset="0"/>
              </a:defRPr>
            </a:lvl9pPr>
          </a:lstStyle>
          <a:p>
            <a:pPr algn="ctr">
              <a:spcBef>
                <a:spcPct val="0"/>
              </a:spcBef>
              <a:buFont typeface="Arial" panose="020B0604020202020204" pitchFamily="34" charset="0"/>
              <a:buNone/>
            </a:pPr>
            <a:r>
              <a:rPr lang="en-US" altLang="en-US" sz="5400" b="1">
                <a:solidFill>
                  <a:srgbClr val="006600"/>
                </a:solidFill>
              </a:rPr>
              <a:t>What is Evaluation?</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a:extLst>
              <a:ext uri="{FF2B5EF4-FFF2-40B4-BE49-F238E27FC236}">
                <a16:creationId xmlns:a16="http://schemas.microsoft.com/office/drawing/2014/main" id="{5F426925-E4C2-9BD6-D6DC-E354A99CEB83}"/>
              </a:ext>
            </a:extLst>
          </p:cNvPr>
          <p:cNvSpPr>
            <a:spLocks noGrp="1"/>
          </p:cNvSpPr>
          <p:nvPr>
            <p:ph type="title"/>
          </p:nvPr>
        </p:nvSpPr>
        <p:spPr>
          <a:xfrm>
            <a:off x="1981200" y="228600"/>
            <a:ext cx="8229600" cy="1143000"/>
          </a:xfrm>
        </p:spPr>
        <p:txBody>
          <a:bodyPr/>
          <a:lstStyle/>
          <a:p>
            <a:pPr algn="ctr" eaLnBrk="1" hangingPunct="1"/>
            <a:r>
              <a:rPr lang="en-US" altLang="en-US" sz="3600" b="1" dirty="0">
                <a:solidFill>
                  <a:srgbClr val="002060"/>
                </a:solidFill>
                <a:latin typeface="Poppins" panose="00000500000000000000" pitchFamily="2" charset="0"/>
                <a:cs typeface="Poppins" panose="00000500000000000000" pitchFamily="2" charset="0"/>
              </a:rPr>
              <a:t>Evaluation is</a:t>
            </a:r>
            <a:endParaRPr lang="en-US" altLang="en-US" dirty="0">
              <a:solidFill>
                <a:srgbClr val="002060"/>
              </a:solidFill>
              <a:latin typeface="Poppins" panose="00000500000000000000" pitchFamily="2" charset="0"/>
              <a:cs typeface="Poppins" panose="00000500000000000000" pitchFamily="2" charset="0"/>
            </a:endParaRPr>
          </a:p>
        </p:txBody>
      </p:sp>
      <p:sp>
        <p:nvSpPr>
          <p:cNvPr id="22531" name="Content Placeholder 2">
            <a:extLst>
              <a:ext uri="{FF2B5EF4-FFF2-40B4-BE49-F238E27FC236}">
                <a16:creationId xmlns:a16="http://schemas.microsoft.com/office/drawing/2014/main" id="{7F20D686-2568-32FE-1C91-D79BA45CFBC3}"/>
              </a:ext>
            </a:extLst>
          </p:cNvPr>
          <p:cNvSpPr>
            <a:spLocks noGrp="1"/>
          </p:cNvSpPr>
          <p:nvPr>
            <p:ph idx="1"/>
          </p:nvPr>
        </p:nvSpPr>
        <p:spPr/>
        <p:txBody>
          <a:bodyPr/>
          <a:lstStyle/>
          <a:p>
            <a:pPr eaLnBrk="1" hangingPunct="1"/>
            <a:r>
              <a:rPr lang="en-US" altLang="en-US"/>
              <a:t>Evaluation: “comparison of actual project outcomes and impacts against agreed strategic plans- goals, objectives, targets”</a:t>
            </a:r>
          </a:p>
          <a:p>
            <a:pPr eaLnBrk="1" hangingPunct="1">
              <a:buFontTx/>
              <a:buNone/>
            </a:pPr>
            <a:endParaRPr lang="en-US" altLang="en-US"/>
          </a:p>
          <a:p>
            <a:pPr eaLnBrk="1" hangingPunct="1">
              <a:buFontTx/>
              <a:buNone/>
            </a:pPr>
            <a:r>
              <a:rPr lang="en-US" altLang="en-US"/>
              <a:t>OR</a:t>
            </a:r>
          </a:p>
          <a:p>
            <a:pPr eaLnBrk="1" hangingPunct="1">
              <a:buFontTx/>
              <a:buNone/>
            </a:pPr>
            <a:endParaRPr lang="en-US" altLang="en-US"/>
          </a:p>
          <a:p>
            <a:pPr eaLnBrk="1" hangingPunct="1">
              <a:buFontTx/>
              <a:buNone/>
            </a:pPr>
            <a:r>
              <a:rPr lang="en-US" altLang="en-US"/>
              <a:t>    “A collection of activities designed to determine the value or worth of a program or project intervention”</a:t>
            </a:r>
          </a:p>
          <a:p>
            <a:pPr eaLnBrk="1" hangingPunct="1"/>
            <a:endParaRPr lang="en-US" altLang="en-US"/>
          </a:p>
          <a:p>
            <a:pPr eaLnBrk="1" hangingPunct="1"/>
            <a:endParaRPr lang="en-US" altLang="en-US"/>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1">
            <a:extLst>
              <a:ext uri="{FF2B5EF4-FFF2-40B4-BE49-F238E27FC236}">
                <a16:creationId xmlns:a16="http://schemas.microsoft.com/office/drawing/2014/main" id="{B915D860-5DE1-F3B2-E5A4-C621682673BF}"/>
              </a:ext>
            </a:extLst>
          </p:cNvPr>
          <p:cNvSpPr>
            <a:spLocks noGrp="1"/>
          </p:cNvSpPr>
          <p:nvPr>
            <p:ph type="title"/>
          </p:nvPr>
        </p:nvSpPr>
        <p:spPr>
          <a:xfrm>
            <a:off x="1981200" y="160335"/>
            <a:ext cx="8229600" cy="1143000"/>
          </a:xfrm>
        </p:spPr>
        <p:txBody>
          <a:bodyPr/>
          <a:lstStyle/>
          <a:p>
            <a:pPr algn="ctr" eaLnBrk="1" hangingPunct="1"/>
            <a:r>
              <a:rPr lang="en-US" altLang="en-US" sz="3600" b="1" dirty="0">
                <a:solidFill>
                  <a:srgbClr val="002060"/>
                </a:solidFill>
                <a:latin typeface="Poppins" panose="00000500000000000000" pitchFamily="2" charset="0"/>
                <a:cs typeface="Poppins" panose="00000500000000000000" pitchFamily="2" charset="0"/>
              </a:rPr>
              <a:t>Purposes of M&amp;E</a:t>
            </a:r>
            <a:endParaRPr lang="en-US" altLang="en-US" dirty="0">
              <a:solidFill>
                <a:srgbClr val="002060"/>
              </a:solidFill>
              <a:latin typeface="Poppins" panose="00000500000000000000" pitchFamily="2" charset="0"/>
              <a:cs typeface="Poppins" panose="00000500000000000000" pitchFamily="2" charset="0"/>
            </a:endParaRPr>
          </a:p>
        </p:txBody>
      </p:sp>
      <p:sp>
        <p:nvSpPr>
          <p:cNvPr id="24579" name="Content Placeholder 2">
            <a:extLst>
              <a:ext uri="{FF2B5EF4-FFF2-40B4-BE49-F238E27FC236}">
                <a16:creationId xmlns:a16="http://schemas.microsoft.com/office/drawing/2014/main" id="{B1D747E7-A0CB-259D-B00F-831F480B64D3}"/>
              </a:ext>
            </a:extLst>
          </p:cNvPr>
          <p:cNvSpPr>
            <a:spLocks noGrp="1"/>
          </p:cNvSpPr>
          <p:nvPr>
            <p:ph idx="1"/>
          </p:nvPr>
        </p:nvSpPr>
        <p:spPr>
          <a:xfrm>
            <a:off x="368710" y="1303335"/>
            <a:ext cx="11243187" cy="4785850"/>
          </a:xfrm>
        </p:spPr>
        <p:txBody>
          <a:bodyPr>
            <a:normAutofit fontScale="92500"/>
          </a:bodyPr>
          <a:lstStyle/>
          <a:p>
            <a:pPr eaLnBrk="1" hangingPunct="1">
              <a:lnSpc>
                <a:spcPct val="90000"/>
              </a:lnSpc>
            </a:pPr>
            <a:r>
              <a:rPr lang="en-US" altLang="en-US" b="1" dirty="0"/>
              <a:t>Program Improvement:</a:t>
            </a:r>
            <a:r>
              <a:rPr lang="en-US" altLang="en-US" dirty="0"/>
              <a:t>  Evaluation helps us to improve existing programs</a:t>
            </a:r>
          </a:p>
          <a:p>
            <a:pPr eaLnBrk="1" hangingPunct="1">
              <a:lnSpc>
                <a:spcPct val="90000"/>
              </a:lnSpc>
              <a:buClr>
                <a:schemeClr val="tx1"/>
              </a:buClr>
            </a:pPr>
            <a:r>
              <a:rPr lang="en-US" altLang="en-US" b="1" dirty="0"/>
              <a:t>Improves Quality of services: </a:t>
            </a:r>
            <a:r>
              <a:rPr lang="en-US" altLang="en-US" dirty="0"/>
              <a:t>Helps improve quality of patient care</a:t>
            </a:r>
            <a:endParaRPr lang="en-US" altLang="en-US" b="1" dirty="0"/>
          </a:p>
          <a:p>
            <a:pPr eaLnBrk="1" hangingPunct="1">
              <a:lnSpc>
                <a:spcPct val="90000"/>
              </a:lnSpc>
            </a:pPr>
            <a:r>
              <a:rPr lang="en-US" altLang="en-US" b="1" dirty="0"/>
              <a:t>Accountability</a:t>
            </a:r>
            <a:r>
              <a:rPr lang="en-US" altLang="en-US" dirty="0"/>
              <a:t>:  </a:t>
            </a:r>
          </a:p>
          <a:p>
            <a:pPr eaLnBrk="1" hangingPunct="1">
              <a:lnSpc>
                <a:spcPct val="90000"/>
              </a:lnSpc>
              <a:buClr>
                <a:schemeClr val="folHlink"/>
              </a:buClr>
              <a:buFontTx/>
              <a:buNone/>
            </a:pPr>
            <a:r>
              <a:rPr lang="en-US" altLang="en-US" dirty="0"/>
              <a:t>   Accountability may be to the funder, to the government, to the organization, to the clients, and to the community</a:t>
            </a:r>
          </a:p>
          <a:p>
            <a:pPr eaLnBrk="1" hangingPunct="1">
              <a:lnSpc>
                <a:spcPct val="90000"/>
              </a:lnSpc>
            </a:pPr>
            <a:r>
              <a:rPr lang="en-US" altLang="en-US" b="1" dirty="0"/>
              <a:t>Knowledge Development:</a:t>
            </a:r>
          </a:p>
          <a:p>
            <a:pPr eaLnBrk="1" hangingPunct="1">
              <a:lnSpc>
                <a:spcPct val="90000"/>
              </a:lnSpc>
              <a:buClr>
                <a:schemeClr val="folHlink"/>
              </a:buClr>
              <a:buFontTx/>
              <a:buNone/>
            </a:pPr>
            <a:r>
              <a:rPr lang="en-US" altLang="en-US" dirty="0"/>
              <a:t>   Evaluation helps us to plan future programs,</a:t>
            </a:r>
          </a:p>
          <a:p>
            <a:pPr marL="342900" lvl="1" indent="-342900">
              <a:lnSpc>
                <a:spcPct val="90000"/>
              </a:lnSpc>
              <a:buClr>
                <a:schemeClr val="folHlink"/>
              </a:buClr>
              <a:buNone/>
            </a:pPr>
            <a:r>
              <a:rPr lang="en-US" altLang="en-US" dirty="0"/>
              <a:t>    identify factors (individual, community, programmatic) that influence outcomes, identify best practices and methods</a:t>
            </a:r>
          </a:p>
          <a:p>
            <a:pPr eaLnBrk="1" hangingPunct="1">
              <a:lnSpc>
                <a:spcPct val="90000"/>
              </a:lnSpc>
              <a:buClr>
                <a:schemeClr val="folHlink"/>
              </a:buClr>
              <a:buFontTx/>
              <a:buNone/>
            </a:pPr>
            <a:endParaRPr lang="en-US" altLang="en-US" dirty="0"/>
          </a:p>
          <a:p>
            <a:pPr eaLnBrk="1" hangingPunct="1">
              <a:lnSpc>
                <a:spcPct val="90000"/>
              </a:lnSpc>
              <a:buClr>
                <a:schemeClr val="folHlink"/>
              </a:buClr>
              <a:buFontTx/>
              <a:buNone/>
            </a:pPr>
            <a:endParaRPr lang="en-US" altLang="en-US" dirty="0"/>
          </a:p>
          <a:p>
            <a:pPr eaLnBrk="1" hangingPunct="1">
              <a:lnSpc>
                <a:spcPct val="90000"/>
              </a:lnSpc>
              <a:buClr>
                <a:schemeClr val="folHlink"/>
              </a:buClr>
              <a:buFontTx/>
              <a:buNone/>
            </a:pPr>
            <a:endParaRPr lang="en-US" altLang="en-US" dirty="0"/>
          </a:p>
          <a:p>
            <a:pPr eaLnBrk="1" hangingPunct="1"/>
            <a:endParaRPr lang="en-US" altLang="en-US" dirty="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1">
            <a:extLst>
              <a:ext uri="{FF2B5EF4-FFF2-40B4-BE49-F238E27FC236}">
                <a16:creationId xmlns:a16="http://schemas.microsoft.com/office/drawing/2014/main" id="{6EBEF2EF-1D51-D771-5756-A395C3E0C235}"/>
              </a:ext>
            </a:extLst>
          </p:cNvPr>
          <p:cNvSpPr>
            <a:spLocks noGrp="1"/>
          </p:cNvSpPr>
          <p:nvPr>
            <p:ph type="title"/>
          </p:nvPr>
        </p:nvSpPr>
        <p:spPr>
          <a:xfrm>
            <a:off x="1849438" y="47625"/>
            <a:ext cx="8229600" cy="1143000"/>
          </a:xfrm>
        </p:spPr>
        <p:txBody>
          <a:bodyPr>
            <a:normAutofit fontScale="90000"/>
          </a:bodyPr>
          <a:lstStyle/>
          <a:p>
            <a:pPr algn="ctr" eaLnBrk="1" hangingPunct="1"/>
            <a:r>
              <a:rPr lang="en-US" altLang="en-US" sz="3600" b="1">
                <a:latin typeface="Times New Roman" panose="02020603050405020304" pitchFamily="18" charset="0"/>
                <a:cs typeface="Times New Roman" panose="02020603050405020304" pitchFamily="18" charset="0"/>
              </a:rPr>
              <a:t>Differences Between </a:t>
            </a:r>
            <a:br>
              <a:rPr lang="en-US" altLang="en-US" sz="3600" b="1">
                <a:latin typeface="Times New Roman" panose="02020603050405020304" pitchFamily="18" charset="0"/>
                <a:cs typeface="Times New Roman" panose="02020603050405020304" pitchFamily="18" charset="0"/>
              </a:rPr>
            </a:br>
            <a:r>
              <a:rPr lang="en-US" altLang="en-US" sz="3600" b="1">
                <a:latin typeface="Times New Roman" panose="02020603050405020304" pitchFamily="18" charset="0"/>
                <a:cs typeface="Times New Roman" panose="02020603050405020304" pitchFamily="18" charset="0"/>
              </a:rPr>
              <a:t>Monitoring and Evaluation</a:t>
            </a:r>
            <a:endParaRPr lang="en-US" altLang="en-US" sz="3600">
              <a:latin typeface="Times New Roman" panose="02020603050405020304" pitchFamily="18" charset="0"/>
            </a:endParaRPr>
          </a:p>
        </p:txBody>
      </p:sp>
      <p:sp>
        <p:nvSpPr>
          <p:cNvPr id="5" name="Pentagon 3">
            <a:extLst>
              <a:ext uri="{FF2B5EF4-FFF2-40B4-BE49-F238E27FC236}">
                <a16:creationId xmlns:a16="http://schemas.microsoft.com/office/drawing/2014/main" id="{E6B6B201-3FE8-07FF-82F9-01D6038721AE}"/>
              </a:ext>
            </a:extLst>
          </p:cNvPr>
          <p:cNvSpPr/>
          <p:nvPr/>
        </p:nvSpPr>
        <p:spPr>
          <a:xfrm flipV="1">
            <a:off x="1981201" y="4946650"/>
            <a:ext cx="2925763" cy="1011238"/>
          </a:xfrm>
          <a:custGeom>
            <a:avLst/>
            <a:gdLst/>
            <a:ahLst/>
            <a:cxnLst/>
            <a:rect l="l" t="t" r="r" b="b"/>
            <a:pathLst>
              <a:path w="3040781" h="1084367">
                <a:moveTo>
                  <a:pt x="0" y="0"/>
                </a:moveTo>
                <a:lnTo>
                  <a:pt x="2530190" y="0"/>
                </a:lnTo>
                <a:lnTo>
                  <a:pt x="3040781" y="510590"/>
                </a:lnTo>
                <a:cubicBezTo>
                  <a:pt x="2848573" y="666242"/>
                  <a:pt x="2682455" y="852724"/>
                  <a:pt x="2551161" y="1063396"/>
                </a:cubicBezTo>
                <a:lnTo>
                  <a:pt x="2530190" y="1084367"/>
                </a:lnTo>
                <a:lnTo>
                  <a:pt x="0" y="1084367"/>
                </a:lnTo>
                <a:lnTo>
                  <a:pt x="0" y="1080142"/>
                </a:lnTo>
                <a:lnTo>
                  <a:pt x="5321" y="1080142"/>
                </a:lnTo>
                <a:lnTo>
                  <a:pt x="543279" y="542184"/>
                </a:lnTo>
                <a:lnTo>
                  <a:pt x="5321" y="4226"/>
                </a:lnTo>
                <a:lnTo>
                  <a:pt x="0" y="4226"/>
                </a:lnTo>
                <a:close/>
              </a:path>
            </a:pathLst>
          </a:custGeom>
          <a:solidFill>
            <a:srgbClr val="00B050"/>
          </a:solidFill>
          <a:ln w="12700" cap="flat" cmpd="sng" algn="ctr">
            <a:noFill/>
            <a:prstDash val="solid"/>
          </a:ln>
          <a:effectLst/>
        </p:spPr>
        <p:txBody>
          <a:bodyPr anchor="ctr"/>
          <a:lstStyle/>
          <a:p>
            <a:pPr algn="ctr">
              <a:defRPr/>
            </a:pPr>
            <a:endParaRPr lang="en-US" i="1" kern="0">
              <a:solidFill>
                <a:prstClr val="white"/>
              </a:solidFill>
              <a:effectLst>
                <a:outerShdw blurRad="38100" dist="38100" dir="2700000" algn="tl">
                  <a:srgbClr val="000000">
                    <a:alpha val="43137"/>
                  </a:srgbClr>
                </a:outerShdw>
              </a:effectLst>
              <a:latin typeface="Calibri"/>
            </a:endParaRPr>
          </a:p>
        </p:txBody>
      </p:sp>
      <p:sp>
        <p:nvSpPr>
          <p:cNvPr id="6" name="Pentagon 3">
            <a:extLst>
              <a:ext uri="{FF2B5EF4-FFF2-40B4-BE49-F238E27FC236}">
                <a16:creationId xmlns:a16="http://schemas.microsoft.com/office/drawing/2014/main" id="{B383F8AF-6823-7E22-7DF8-68A65D99125E}"/>
              </a:ext>
            </a:extLst>
          </p:cNvPr>
          <p:cNvSpPr/>
          <p:nvPr/>
        </p:nvSpPr>
        <p:spPr>
          <a:xfrm>
            <a:off x="1985963" y="1700214"/>
            <a:ext cx="2957512" cy="1011237"/>
          </a:xfrm>
          <a:custGeom>
            <a:avLst/>
            <a:gdLst/>
            <a:ahLst/>
            <a:cxnLst/>
            <a:rect l="l" t="t" r="r" b="b"/>
            <a:pathLst>
              <a:path w="3040781" h="1084367">
                <a:moveTo>
                  <a:pt x="0" y="0"/>
                </a:moveTo>
                <a:lnTo>
                  <a:pt x="2530190" y="0"/>
                </a:lnTo>
                <a:lnTo>
                  <a:pt x="3040781" y="510590"/>
                </a:lnTo>
                <a:cubicBezTo>
                  <a:pt x="2848573" y="666242"/>
                  <a:pt x="2682455" y="852724"/>
                  <a:pt x="2551161" y="1063396"/>
                </a:cubicBezTo>
                <a:lnTo>
                  <a:pt x="2530190" y="1084367"/>
                </a:lnTo>
                <a:lnTo>
                  <a:pt x="0" y="1084367"/>
                </a:lnTo>
                <a:lnTo>
                  <a:pt x="0" y="1080142"/>
                </a:lnTo>
                <a:lnTo>
                  <a:pt x="5321" y="1080142"/>
                </a:lnTo>
                <a:lnTo>
                  <a:pt x="543279" y="542184"/>
                </a:lnTo>
                <a:lnTo>
                  <a:pt x="5321" y="4226"/>
                </a:lnTo>
                <a:lnTo>
                  <a:pt x="0" y="4226"/>
                </a:lnTo>
                <a:close/>
              </a:path>
            </a:pathLst>
          </a:custGeom>
          <a:solidFill>
            <a:srgbClr val="00B050"/>
          </a:solidFill>
          <a:ln w="12700" cap="flat" cmpd="sng" algn="ctr">
            <a:noFill/>
            <a:prstDash val="solid"/>
          </a:ln>
          <a:effectLst/>
        </p:spPr>
        <p:txBody>
          <a:bodyPr anchor="ctr"/>
          <a:lstStyle/>
          <a:p>
            <a:pPr algn="ctr">
              <a:defRPr/>
            </a:pPr>
            <a:endParaRPr lang="en-US" i="1" kern="0">
              <a:solidFill>
                <a:prstClr val="white"/>
              </a:solidFill>
              <a:effectLst>
                <a:outerShdw blurRad="38100" dist="38100" dir="2700000" algn="tl">
                  <a:srgbClr val="000000">
                    <a:alpha val="43137"/>
                  </a:srgbClr>
                </a:outerShdw>
              </a:effectLst>
              <a:latin typeface="Calibri"/>
            </a:endParaRPr>
          </a:p>
        </p:txBody>
      </p:sp>
      <p:sp>
        <p:nvSpPr>
          <p:cNvPr id="7" name="Pentagon 3">
            <a:extLst>
              <a:ext uri="{FF2B5EF4-FFF2-40B4-BE49-F238E27FC236}">
                <a16:creationId xmlns:a16="http://schemas.microsoft.com/office/drawing/2014/main" id="{697CBAAE-C4FA-81A7-89C4-117BAC6400E4}"/>
              </a:ext>
            </a:extLst>
          </p:cNvPr>
          <p:cNvSpPr/>
          <p:nvPr/>
        </p:nvSpPr>
        <p:spPr>
          <a:xfrm>
            <a:off x="2019301" y="3260726"/>
            <a:ext cx="2544763" cy="1216025"/>
          </a:xfrm>
          <a:custGeom>
            <a:avLst/>
            <a:gdLst/>
            <a:ahLst/>
            <a:cxnLst/>
            <a:rect l="l" t="t" r="r" b="b"/>
            <a:pathLst>
              <a:path w="2489623" h="1084367">
                <a:moveTo>
                  <a:pt x="0" y="0"/>
                </a:moveTo>
                <a:lnTo>
                  <a:pt x="2489623" y="0"/>
                </a:lnTo>
                <a:cubicBezTo>
                  <a:pt x="2306482" y="320767"/>
                  <a:pt x="2199870" y="690423"/>
                  <a:pt x="2194149" y="1084367"/>
                </a:cubicBezTo>
                <a:lnTo>
                  <a:pt x="0" y="1084367"/>
                </a:lnTo>
                <a:lnTo>
                  <a:pt x="0" y="1080142"/>
                </a:lnTo>
                <a:lnTo>
                  <a:pt x="5321" y="1080142"/>
                </a:lnTo>
                <a:lnTo>
                  <a:pt x="543279" y="542184"/>
                </a:lnTo>
                <a:lnTo>
                  <a:pt x="5321" y="4226"/>
                </a:lnTo>
                <a:lnTo>
                  <a:pt x="0" y="4226"/>
                </a:lnTo>
                <a:close/>
              </a:path>
            </a:pathLst>
          </a:custGeom>
          <a:solidFill>
            <a:srgbClr val="00B050"/>
          </a:solidFill>
          <a:ln w="12700" cap="flat" cmpd="sng" algn="ctr">
            <a:noFill/>
            <a:prstDash val="solid"/>
          </a:ln>
          <a:effectLst/>
        </p:spPr>
        <p:txBody>
          <a:bodyPr anchor="ctr"/>
          <a:lstStyle/>
          <a:p>
            <a:pPr algn="ctr">
              <a:defRPr/>
            </a:pPr>
            <a:endParaRPr lang="en-US" i="1" kern="0">
              <a:solidFill>
                <a:prstClr val="white"/>
              </a:solidFill>
              <a:effectLst>
                <a:outerShdw blurRad="38100" dist="38100" dir="2700000" algn="tl">
                  <a:srgbClr val="000000">
                    <a:alpha val="43137"/>
                  </a:srgbClr>
                </a:outerShdw>
              </a:effectLst>
              <a:latin typeface="Calibri"/>
            </a:endParaRPr>
          </a:p>
        </p:txBody>
      </p:sp>
      <p:sp>
        <p:nvSpPr>
          <p:cNvPr id="26630" name="Rectangle 8">
            <a:extLst>
              <a:ext uri="{FF2B5EF4-FFF2-40B4-BE49-F238E27FC236}">
                <a16:creationId xmlns:a16="http://schemas.microsoft.com/office/drawing/2014/main" id="{1DE1AC14-46DB-CFA3-07A1-1D2B6080AE8B}"/>
              </a:ext>
            </a:extLst>
          </p:cNvPr>
          <p:cNvSpPr>
            <a:spLocks noChangeArrowheads="1"/>
          </p:cNvSpPr>
          <p:nvPr/>
        </p:nvSpPr>
        <p:spPr bwMode="auto">
          <a:xfrm>
            <a:off x="2971801" y="2033589"/>
            <a:ext cx="1666875"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en-US" sz="1600">
                <a:latin typeface="Times New Roman" panose="02020603050405020304" pitchFamily="18" charset="0"/>
                <a:cs typeface="Times New Roman" panose="02020603050405020304" pitchFamily="18" charset="0"/>
              </a:rPr>
              <a:t>Continuous</a:t>
            </a:r>
          </a:p>
        </p:txBody>
      </p:sp>
      <p:sp>
        <p:nvSpPr>
          <p:cNvPr id="10" name="Rectangle 9">
            <a:extLst>
              <a:ext uri="{FF2B5EF4-FFF2-40B4-BE49-F238E27FC236}">
                <a16:creationId xmlns:a16="http://schemas.microsoft.com/office/drawing/2014/main" id="{49FE1D05-9216-1B92-1267-04E5A3A50693}"/>
              </a:ext>
            </a:extLst>
          </p:cNvPr>
          <p:cNvSpPr/>
          <p:nvPr/>
        </p:nvSpPr>
        <p:spPr>
          <a:xfrm>
            <a:off x="2417763" y="3835400"/>
            <a:ext cx="1922462" cy="368300"/>
          </a:xfrm>
          <a:prstGeom prst="rect">
            <a:avLst/>
          </a:prstGeom>
          <a:ln>
            <a:noFill/>
          </a:ln>
          <a:effectLst/>
        </p:spPr>
        <p:txBody>
          <a:bodyPr anchor="ctr">
            <a:spAutoFit/>
          </a:bodyPr>
          <a:lstStyle/>
          <a:p>
            <a:pPr algn="ctr">
              <a:defRPr/>
            </a:pPr>
            <a:r>
              <a:rPr lang="en-US" dirty="0">
                <a:latin typeface="Times New Roman" pitchFamily="18" charset="0"/>
                <a:cs typeface="Times New Roman" pitchFamily="18" charset="0"/>
              </a:rPr>
              <a:t>Keeps track</a:t>
            </a:r>
            <a:r>
              <a:rPr lang="en-US" i="1" dirty="0">
                <a:solidFill>
                  <a:schemeClr val="bg2"/>
                </a:solidFill>
                <a:effectLst>
                  <a:outerShdw blurRad="38100" dist="38100" dir="2700000" algn="tl">
                    <a:srgbClr val="000000">
                      <a:alpha val="43137"/>
                    </a:srgbClr>
                  </a:outerShdw>
                </a:effectLst>
                <a:cs typeface="Arial" panose="020B0604020202020204" pitchFamily="34" charset="0"/>
              </a:rPr>
              <a:t>. </a:t>
            </a:r>
            <a:endParaRPr lang="en-US" i="1" dirty="0">
              <a:solidFill>
                <a:schemeClr val="bg2"/>
              </a:solidFill>
              <a:effectLst>
                <a:outerShdw blurRad="38100" dist="38100" dir="2700000" algn="tl">
                  <a:srgbClr val="000000">
                    <a:alpha val="43137"/>
                  </a:srgbClr>
                </a:outerShdw>
              </a:effectLst>
            </a:endParaRPr>
          </a:p>
        </p:txBody>
      </p:sp>
      <p:sp>
        <p:nvSpPr>
          <p:cNvPr id="26632" name="Rectangle 11">
            <a:extLst>
              <a:ext uri="{FF2B5EF4-FFF2-40B4-BE49-F238E27FC236}">
                <a16:creationId xmlns:a16="http://schemas.microsoft.com/office/drawing/2014/main" id="{18B84C71-4E62-3CF2-3420-51C544A4127C}"/>
              </a:ext>
            </a:extLst>
          </p:cNvPr>
          <p:cNvSpPr>
            <a:spLocks noChangeArrowheads="1"/>
          </p:cNvSpPr>
          <p:nvPr/>
        </p:nvSpPr>
        <p:spPr bwMode="auto">
          <a:xfrm>
            <a:off x="2489200" y="5041901"/>
            <a:ext cx="2305050"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1600" dirty="0">
                <a:latin typeface="Times New Roman" panose="02020603050405020304" pitchFamily="18" charset="0"/>
                <a:cs typeface="Times New Roman" panose="02020603050405020304" pitchFamily="18" charset="0"/>
              </a:rPr>
              <a:t>Answers what activities were implemented, and results achieved</a:t>
            </a:r>
          </a:p>
        </p:txBody>
      </p:sp>
      <p:grpSp>
        <p:nvGrpSpPr>
          <p:cNvPr id="26633" name="Group 12">
            <a:extLst>
              <a:ext uri="{FF2B5EF4-FFF2-40B4-BE49-F238E27FC236}">
                <a16:creationId xmlns:a16="http://schemas.microsoft.com/office/drawing/2014/main" id="{BD343C11-4657-6799-A563-854A6B449852}"/>
              </a:ext>
            </a:extLst>
          </p:cNvPr>
          <p:cNvGrpSpPr>
            <a:grpSpLocks/>
          </p:cNvGrpSpPr>
          <p:nvPr/>
        </p:nvGrpSpPr>
        <p:grpSpPr bwMode="auto">
          <a:xfrm>
            <a:off x="4178300" y="1919288"/>
            <a:ext cx="3790950" cy="3790950"/>
            <a:chOff x="2473016" y="1921607"/>
            <a:chExt cx="4023360" cy="4022898"/>
          </a:xfrm>
        </p:grpSpPr>
        <p:sp>
          <p:nvSpPr>
            <p:cNvPr id="14" name="Freeform 13">
              <a:extLst>
                <a:ext uri="{FF2B5EF4-FFF2-40B4-BE49-F238E27FC236}">
                  <a16:creationId xmlns:a16="http://schemas.microsoft.com/office/drawing/2014/main" id="{9A78CA5E-E48C-4607-278B-E97FB5BB8573}"/>
                </a:ext>
              </a:extLst>
            </p:cNvPr>
            <p:cNvSpPr/>
            <p:nvPr/>
          </p:nvSpPr>
          <p:spPr>
            <a:xfrm>
              <a:off x="2473016" y="1921607"/>
              <a:ext cx="2007108" cy="4022898"/>
            </a:xfrm>
            <a:custGeom>
              <a:avLst/>
              <a:gdLst>
                <a:gd name="connsiteX0" fmla="*/ 2007108 w 2007108"/>
                <a:gd name="connsiteY0" fmla="*/ 0 h 4022898"/>
                <a:gd name="connsiteX1" fmla="*/ 2007108 w 2007108"/>
                <a:gd name="connsiteY1" fmla="*/ 4022898 h 4022898"/>
                <a:gd name="connsiteX2" fmla="*/ 1805997 w 2007108"/>
                <a:gd name="connsiteY2" fmla="*/ 4012743 h 4022898"/>
                <a:gd name="connsiteX3" fmla="*/ 0 w 2007108"/>
                <a:gd name="connsiteY3" fmla="*/ 2011449 h 4022898"/>
                <a:gd name="connsiteX4" fmla="*/ 1805997 w 2007108"/>
                <a:gd name="connsiteY4" fmla="*/ 10155 h 4022898"/>
                <a:gd name="connsiteX5" fmla="*/ 2007108 w 2007108"/>
                <a:gd name="connsiteY5" fmla="*/ 0 h 4022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7108" h="4022898">
                  <a:moveTo>
                    <a:pt x="2007108" y="0"/>
                  </a:moveTo>
                  <a:lnTo>
                    <a:pt x="2007108" y="4022898"/>
                  </a:lnTo>
                  <a:lnTo>
                    <a:pt x="1805997" y="4012743"/>
                  </a:lnTo>
                  <a:cubicBezTo>
                    <a:pt x="791596" y="3909725"/>
                    <a:pt x="0" y="3053030"/>
                    <a:pt x="0" y="2011449"/>
                  </a:cubicBezTo>
                  <a:cubicBezTo>
                    <a:pt x="0" y="969868"/>
                    <a:pt x="791596" y="113173"/>
                    <a:pt x="1805997" y="10155"/>
                  </a:cubicBezTo>
                  <a:lnTo>
                    <a:pt x="2007108" y="0"/>
                  </a:lnTo>
                  <a:close/>
                </a:path>
              </a:pathLst>
            </a:custGeom>
            <a:solidFill>
              <a:srgbClr val="00B050"/>
            </a:solidFill>
            <a:ln w="25400" cap="flat" cmpd="sng" algn="ctr">
              <a:noFill/>
              <a:prstDash val="solid"/>
            </a:ln>
            <a:effectLst/>
            <a:scene3d>
              <a:camera prst="orthographicFront"/>
              <a:lightRig rig="threePt" dir="t"/>
            </a:scene3d>
            <a:sp3d>
              <a:bevelT w="0" h="311150"/>
            </a:sp3d>
          </p:spPr>
          <p:txBody>
            <a:bodyPr anchor="ctr"/>
            <a:lstStyle/>
            <a:p>
              <a:pPr algn="ctr">
                <a:defRPr/>
              </a:pPr>
              <a:endParaRPr lang="en-US" i="1" kern="0">
                <a:solidFill>
                  <a:prstClr val="white"/>
                </a:solidFill>
                <a:effectLst>
                  <a:outerShdw blurRad="38100" dist="38100" dir="2700000" algn="tl">
                    <a:srgbClr val="000000">
                      <a:alpha val="43137"/>
                    </a:srgbClr>
                  </a:outerShdw>
                </a:effectLst>
                <a:latin typeface="Calibri"/>
              </a:endParaRPr>
            </a:p>
          </p:txBody>
        </p:sp>
        <p:sp>
          <p:nvSpPr>
            <p:cNvPr id="15" name="Freeform 14">
              <a:extLst>
                <a:ext uri="{FF2B5EF4-FFF2-40B4-BE49-F238E27FC236}">
                  <a16:creationId xmlns:a16="http://schemas.microsoft.com/office/drawing/2014/main" id="{3C32496A-6612-9F9B-A13C-79900396C6D3}"/>
                </a:ext>
              </a:extLst>
            </p:cNvPr>
            <p:cNvSpPr/>
            <p:nvPr/>
          </p:nvSpPr>
          <p:spPr>
            <a:xfrm>
              <a:off x="4489268" y="1921607"/>
              <a:ext cx="2007108" cy="4022898"/>
            </a:xfrm>
            <a:custGeom>
              <a:avLst/>
              <a:gdLst>
                <a:gd name="connsiteX0" fmla="*/ 0 w 2007108"/>
                <a:gd name="connsiteY0" fmla="*/ 0 h 4022898"/>
                <a:gd name="connsiteX1" fmla="*/ 201111 w 2007108"/>
                <a:gd name="connsiteY1" fmla="*/ 10155 h 4022898"/>
                <a:gd name="connsiteX2" fmla="*/ 2007108 w 2007108"/>
                <a:gd name="connsiteY2" fmla="*/ 2011449 h 4022898"/>
                <a:gd name="connsiteX3" fmla="*/ 201111 w 2007108"/>
                <a:gd name="connsiteY3" fmla="*/ 4012743 h 4022898"/>
                <a:gd name="connsiteX4" fmla="*/ 0 w 2007108"/>
                <a:gd name="connsiteY4" fmla="*/ 4022898 h 4022898"/>
                <a:gd name="connsiteX5" fmla="*/ 0 w 2007108"/>
                <a:gd name="connsiteY5" fmla="*/ 0 h 4022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7108" h="4022898">
                  <a:moveTo>
                    <a:pt x="0" y="0"/>
                  </a:moveTo>
                  <a:lnTo>
                    <a:pt x="201111" y="10155"/>
                  </a:lnTo>
                  <a:cubicBezTo>
                    <a:pt x="1215513" y="113173"/>
                    <a:pt x="2007108" y="969868"/>
                    <a:pt x="2007108" y="2011449"/>
                  </a:cubicBezTo>
                  <a:cubicBezTo>
                    <a:pt x="2007108" y="3053030"/>
                    <a:pt x="1215513" y="3909725"/>
                    <a:pt x="201111" y="4012743"/>
                  </a:cubicBezTo>
                  <a:lnTo>
                    <a:pt x="0" y="4022898"/>
                  </a:lnTo>
                  <a:lnTo>
                    <a:pt x="0" y="0"/>
                  </a:lnTo>
                  <a:close/>
                </a:path>
              </a:pathLst>
            </a:custGeom>
            <a:solidFill>
              <a:srgbClr val="B22717"/>
            </a:solidFill>
            <a:ln w="25400" cap="flat" cmpd="sng" algn="ctr">
              <a:noFill/>
              <a:prstDash val="solid"/>
            </a:ln>
            <a:effectLst/>
            <a:scene3d>
              <a:camera prst="orthographicFront"/>
              <a:lightRig rig="threePt" dir="t"/>
            </a:scene3d>
            <a:sp3d>
              <a:bevelT w="0" h="311150"/>
            </a:sp3d>
          </p:spPr>
          <p:txBody>
            <a:bodyPr anchor="ctr"/>
            <a:lstStyle/>
            <a:p>
              <a:pPr algn="ctr">
                <a:defRPr/>
              </a:pPr>
              <a:endParaRPr lang="en-US" i="1" kern="0">
                <a:solidFill>
                  <a:prstClr val="white"/>
                </a:solidFill>
                <a:effectLst>
                  <a:outerShdw blurRad="38100" dist="38100" dir="2700000" algn="tl">
                    <a:srgbClr val="000000">
                      <a:alpha val="43137"/>
                    </a:srgbClr>
                  </a:outerShdw>
                </a:effectLst>
                <a:latin typeface="Calibri"/>
              </a:endParaRPr>
            </a:p>
          </p:txBody>
        </p:sp>
      </p:grpSp>
      <p:sp>
        <p:nvSpPr>
          <p:cNvPr id="26634" name="TextBox 15">
            <a:extLst>
              <a:ext uri="{FF2B5EF4-FFF2-40B4-BE49-F238E27FC236}">
                <a16:creationId xmlns:a16="http://schemas.microsoft.com/office/drawing/2014/main" id="{F24DF58A-2788-9B8D-9BE5-543B772B56F8}"/>
              </a:ext>
            </a:extLst>
          </p:cNvPr>
          <p:cNvSpPr txBox="1">
            <a:spLocks noChangeArrowheads="1"/>
          </p:cNvSpPr>
          <p:nvPr/>
        </p:nvSpPr>
        <p:spPr bwMode="auto">
          <a:xfrm>
            <a:off x="5973764" y="3444875"/>
            <a:ext cx="1843087"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US" altLang="en-US" b="1">
                <a:latin typeface="Times New Roman" panose="02020603050405020304" pitchFamily="18" charset="0"/>
                <a:cs typeface="Times New Roman" panose="02020603050405020304" pitchFamily="18" charset="0"/>
              </a:rPr>
              <a:t>Evaluation</a:t>
            </a:r>
            <a:r>
              <a:rPr lang="en-US" altLang="en-US" sz="1600">
                <a:latin typeface="Times New Roman" panose="02020603050405020304" pitchFamily="18" charset="0"/>
                <a:cs typeface="Times New Roman" panose="02020603050405020304" pitchFamily="18" charset="0"/>
              </a:rPr>
              <a:t> </a:t>
            </a:r>
            <a:endParaRPr lang="en-US" altLang="en-US" sz="1600">
              <a:latin typeface="Times New Roman" panose="02020603050405020304" pitchFamily="18" charset="0"/>
            </a:endParaRPr>
          </a:p>
        </p:txBody>
      </p:sp>
      <p:sp>
        <p:nvSpPr>
          <p:cNvPr id="17" name="Rectangle 16">
            <a:extLst>
              <a:ext uri="{FF2B5EF4-FFF2-40B4-BE49-F238E27FC236}">
                <a16:creationId xmlns:a16="http://schemas.microsoft.com/office/drawing/2014/main" id="{8BE8B3AD-34AF-A4D5-EA4B-4048CFA83407}"/>
              </a:ext>
            </a:extLst>
          </p:cNvPr>
          <p:cNvSpPr/>
          <p:nvPr/>
        </p:nvSpPr>
        <p:spPr>
          <a:xfrm>
            <a:off x="4378325" y="3435350"/>
            <a:ext cx="1519238" cy="368300"/>
          </a:xfrm>
          <a:prstGeom prst="rect">
            <a:avLst/>
          </a:prstGeom>
        </p:spPr>
        <p:txBody>
          <a:bodyPr>
            <a:spAutoFit/>
          </a:bodyPr>
          <a:lstStyle/>
          <a:p>
            <a:pPr algn="ctr">
              <a:defRPr/>
            </a:pPr>
            <a:r>
              <a:rPr lang="en-US" b="1" dirty="0">
                <a:latin typeface="Times New Roman" pitchFamily="18" charset="0"/>
                <a:cs typeface="Times New Roman" pitchFamily="18" charset="0"/>
              </a:rPr>
              <a:t>Monitoring</a:t>
            </a:r>
            <a:r>
              <a:rPr lang="fi-FI" b="1" dirty="0">
                <a:solidFill>
                  <a:schemeClr val="bg1"/>
                </a:solidFill>
                <a:effectLst>
                  <a:outerShdw blurRad="38100" dist="38100" dir="2700000" algn="tl">
                    <a:srgbClr val="000000">
                      <a:alpha val="43137"/>
                    </a:srgbClr>
                  </a:outerShdw>
                </a:effectLst>
              </a:rPr>
              <a:t> </a:t>
            </a:r>
          </a:p>
        </p:txBody>
      </p:sp>
      <p:sp>
        <p:nvSpPr>
          <p:cNvPr id="19" name="Freeform 18">
            <a:extLst>
              <a:ext uri="{FF2B5EF4-FFF2-40B4-BE49-F238E27FC236}">
                <a16:creationId xmlns:a16="http://schemas.microsoft.com/office/drawing/2014/main" id="{930F458D-ABCC-492F-5C97-E84B15856ED8}"/>
              </a:ext>
            </a:extLst>
          </p:cNvPr>
          <p:cNvSpPr/>
          <p:nvPr/>
        </p:nvSpPr>
        <p:spPr>
          <a:xfrm rot="16200000">
            <a:off x="8511382" y="508794"/>
            <a:ext cx="501650" cy="2938463"/>
          </a:xfrm>
          <a:custGeom>
            <a:avLst/>
            <a:gdLst>
              <a:gd name="connsiteX0" fmla="*/ 537612 w 537612"/>
              <a:gd name="connsiteY0" fmla="*/ 537108 h 3204931"/>
              <a:gd name="connsiteX1" fmla="*/ 537612 w 537612"/>
              <a:gd name="connsiteY1" fmla="*/ 3204931 h 3204931"/>
              <a:gd name="connsiteX2" fmla="*/ 533386 w 537612"/>
              <a:gd name="connsiteY2" fmla="*/ 3204931 h 3204931"/>
              <a:gd name="connsiteX3" fmla="*/ 533386 w 537612"/>
              <a:gd name="connsiteY3" fmla="*/ 3199321 h 3204931"/>
              <a:gd name="connsiteX4" fmla="*/ 142 w 537612"/>
              <a:gd name="connsiteY4" fmla="*/ 2636814 h 3204931"/>
              <a:gd name="connsiteX5" fmla="*/ 0 w 537612"/>
              <a:gd name="connsiteY5" fmla="*/ 2636961 h 3204931"/>
              <a:gd name="connsiteX6" fmla="*/ 0 w 537612"/>
              <a:gd name="connsiteY6" fmla="*/ 0 h 3204931"/>
              <a:gd name="connsiteX7" fmla="*/ 537612 w 537612"/>
              <a:gd name="connsiteY7" fmla="*/ 537108 h 3204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7612" h="3204931">
                <a:moveTo>
                  <a:pt x="537612" y="537108"/>
                </a:moveTo>
                <a:lnTo>
                  <a:pt x="537612" y="3204931"/>
                </a:lnTo>
                <a:lnTo>
                  <a:pt x="533386" y="3204931"/>
                </a:lnTo>
                <a:lnTo>
                  <a:pt x="533386" y="3199321"/>
                </a:lnTo>
                <a:lnTo>
                  <a:pt x="142" y="2636814"/>
                </a:lnTo>
                <a:lnTo>
                  <a:pt x="0" y="2636961"/>
                </a:lnTo>
                <a:lnTo>
                  <a:pt x="0" y="0"/>
                </a:lnTo>
                <a:lnTo>
                  <a:pt x="537612" y="537108"/>
                </a:lnTo>
                <a:close/>
              </a:path>
            </a:pathLst>
          </a:custGeom>
          <a:solidFill>
            <a:srgbClr val="B2271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i="1">
              <a:effectLst>
                <a:outerShdw blurRad="38100" dist="38100" dir="2700000" algn="tl">
                  <a:srgbClr val="000000">
                    <a:alpha val="43137"/>
                  </a:srgbClr>
                </a:outerShdw>
              </a:effectLst>
            </a:endParaRPr>
          </a:p>
        </p:txBody>
      </p:sp>
      <p:sp>
        <p:nvSpPr>
          <p:cNvPr id="20" name="Freeform 19">
            <a:extLst>
              <a:ext uri="{FF2B5EF4-FFF2-40B4-BE49-F238E27FC236}">
                <a16:creationId xmlns:a16="http://schemas.microsoft.com/office/drawing/2014/main" id="{013BD690-0FA7-DCE3-80A5-BFCF281002B9}"/>
              </a:ext>
            </a:extLst>
          </p:cNvPr>
          <p:cNvSpPr/>
          <p:nvPr/>
        </p:nvSpPr>
        <p:spPr>
          <a:xfrm rot="16200000">
            <a:off x="8511382" y="1007269"/>
            <a:ext cx="501650" cy="2938463"/>
          </a:xfrm>
          <a:custGeom>
            <a:avLst/>
            <a:gdLst>
              <a:gd name="connsiteX0" fmla="*/ 537611 w 537611"/>
              <a:gd name="connsiteY0" fmla="*/ 0 h 3196384"/>
              <a:gd name="connsiteX1" fmla="*/ 537611 w 537611"/>
              <a:gd name="connsiteY1" fmla="*/ 2637892 h 3196384"/>
              <a:gd name="connsiteX2" fmla="*/ 4225 w 537611"/>
              <a:gd name="connsiteY2" fmla="*/ 3190774 h 3196384"/>
              <a:gd name="connsiteX3" fmla="*/ 4225 w 537611"/>
              <a:gd name="connsiteY3" fmla="*/ 3196384 h 3196384"/>
              <a:gd name="connsiteX4" fmla="*/ 0 w 537611"/>
              <a:gd name="connsiteY4" fmla="*/ 3196384 h 3196384"/>
              <a:gd name="connsiteX5" fmla="*/ 0 w 537611"/>
              <a:gd name="connsiteY5" fmla="*/ 528561 h 3196384"/>
              <a:gd name="connsiteX6" fmla="*/ 20971 w 537611"/>
              <a:gd name="connsiteY6" fmla="*/ 506450 h 3196384"/>
              <a:gd name="connsiteX7" fmla="*/ 427500 w 537611"/>
              <a:gd name="connsiteY7" fmla="*/ 136892 h 3196384"/>
              <a:gd name="connsiteX8" fmla="*/ 537611 w 537611"/>
              <a:gd name="connsiteY8" fmla="*/ 0 h 3196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611" h="3196384">
                <a:moveTo>
                  <a:pt x="537611" y="0"/>
                </a:moveTo>
                <a:lnTo>
                  <a:pt x="537611" y="2637892"/>
                </a:lnTo>
                <a:lnTo>
                  <a:pt x="4225" y="3190774"/>
                </a:lnTo>
                <a:lnTo>
                  <a:pt x="4225" y="3196384"/>
                </a:lnTo>
                <a:lnTo>
                  <a:pt x="0" y="3196384"/>
                </a:lnTo>
                <a:lnTo>
                  <a:pt x="0" y="528561"/>
                </a:lnTo>
                <a:lnTo>
                  <a:pt x="20971" y="506450"/>
                </a:lnTo>
                <a:cubicBezTo>
                  <a:pt x="178975" y="402623"/>
                  <a:pt x="307464" y="278142"/>
                  <a:pt x="427500" y="136892"/>
                </a:cubicBezTo>
                <a:lnTo>
                  <a:pt x="537611" y="0"/>
                </a:lnTo>
                <a:close/>
              </a:path>
            </a:pathLst>
          </a:custGeom>
          <a:solidFill>
            <a:srgbClr val="B2271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i="1">
              <a:effectLst>
                <a:outerShdw blurRad="38100" dist="38100" dir="2700000" algn="tl">
                  <a:srgbClr val="000000">
                    <a:alpha val="43137"/>
                  </a:srgbClr>
                </a:outerShdw>
              </a:effectLst>
            </a:endParaRPr>
          </a:p>
        </p:txBody>
      </p:sp>
      <p:sp>
        <p:nvSpPr>
          <p:cNvPr id="22" name="Freeform 21">
            <a:extLst>
              <a:ext uri="{FF2B5EF4-FFF2-40B4-BE49-F238E27FC236}">
                <a16:creationId xmlns:a16="http://schemas.microsoft.com/office/drawing/2014/main" id="{4BF348A1-464A-026C-79D3-91DFB1D46BBA}"/>
              </a:ext>
            </a:extLst>
          </p:cNvPr>
          <p:cNvSpPr/>
          <p:nvPr/>
        </p:nvSpPr>
        <p:spPr>
          <a:xfrm rot="16200000">
            <a:off x="8868569" y="2502694"/>
            <a:ext cx="501650" cy="2230438"/>
          </a:xfrm>
          <a:custGeom>
            <a:avLst/>
            <a:gdLst>
              <a:gd name="connsiteX0" fmla="*/ 537611 w 537611"/>
              <a:gd name="connsiteY0" fmla="*/ 0 h 2390931"/>
              <a:gd name="connsiteX1" fmla="*/ 537611 w 537611"/>
              <a:gd name="connsiteY1" fmla="*/ 1822921 h 2390931"/>
              <a:gd name="connsiteX2" fmla="*/ 4225 w 537611"/>
              <a:gd name="connsiteY2" fmla="*/ 2385321 h 2390931"/>
              <a:gd name="connsiteX3" fmla="*/ 4225 w 537611"/>
              <a:gd name="connsiteY3" fmla="*/ 2390931 h 2390931"/>
              <a:gd name="connsiteX4" fmla="*/ 0 w 537611"/>
              <a:gd name="connsiteY4" fmla="*/ 2390931 h 2390931"/>
              <a:gd name="connsiteX5" fmla="*/ 0 w 537611"/>
              <a:gd name="connsiteY5" fmla="*/ 77429 h 2390931"/>
              <a:gd name="connsiteX6" fmla="*/ 431643 w 537611"/>
              <a:gd name="connsiteY6" fmla="*/ 27119 h 2390931"/>
              <a:gd name="connsiteX7" fmla="*/ 537611 w 537611"/>
              <a:gd name="connsiteY7" fmla="*/ 0 h 2390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7611" h="2390931">
                <a:moveTo>
                  <a:pt x="537611" y="0"/>
                </a:moveTo>
                <a:lnTo>
                  <a:pt x="537611" y="1822921"/>
                </a:lnTo>
                <a:lnTo>
                  <a:pt x="4225" y="2385321"/>
                </a:lnTo>
                <a:lnTo>
                  <a:pt x="4225" y="2390931"/>
                </a:lnTo>
                <a:lnTo>
                  <a:pt x="0" y="2390931"/>
                </a:lnTo>
                <a:lnTo>
                  <a:pt x="0" y="77429"/>
                </a:lnTo>
                <a:cubicBezTo>
                  <a:pt x="147729" y="75167"/>
                  <a:pt x="292042" y="57946"/>
                  <a:pt x="431643" y="27119"/>
                </a:cubicBezTo>
                <a:lnTo>
                  <a:pt x="537611" y="0"/>
                </a:lnTo>
                <a:close/>
              </a:path>
            </a:pathLst>
          </a:custGeom>
          <a:solidFill>
            <a:srgbClr val="B2271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i="1">
              <a:effectLst>
                <a:outerShdw blurRad="38100" dist="38100" dir="2700000" algn="tl">
                  <a:srgbClr val="000000">
                    <a:alpha val="43137"/>
                  </a:srgbClr>
                </a:outerShdw>
              </a:effectLst>
            </a:endParaRPr>
          </a:p>
        </p:txBody>
      </p:sp>
      <p:sp>
        <p:nvSpPr>
          <p:cNvPr id="23" name="Freeform 22">
            <a:extLst>
              <a:ext uri="{FF2B5EF4-FFF2-40B4-BE49-F238E27FC236}">
                <a16:creationId xmlns:a16="http://schemas.microsoft.com/office/drawing/2014/main" id="{74D06903-1D60-D828-C108-9772FCADA358}"/>
              </a:ext>
            </a:extLst>
          </p:cNvPr>
          <p:cNvSpPr/>
          <p:nvPr/>
        </p:nvSpPr>
        <p:spPr>
          <a:xfrm rot="16200000">
            <a:off x="8866188" y="2978151"/>
            <a:ext cx="500063" cy="2227262"/>
          </a:xfrm>
          <a:custGeom>
            <a:avLst/>
            <a:gdLst>
              <a:gd name="connsiteX0" fmla="*/ 537612 w 537612"/>
              <a:gd name="connsiteY0" fmla="*/ 75217 h 2388209"/>
              <a:gd name="connsiteX1" fmla="*/ 537612 w 537612"/>
              <a:gd name="connsiteY1" fmla="*/ 2388209 h 2388209"/>
              <a:gd name="connsiteX2" fmla="*/ 533386 w 537612"/>
              <a:gd name="connsiteY2" fmla="*/ 2388209 h 2388209"/>
              <a:gd name="connsiteX3" fmla="*/ 533386 w 537612"/>
              <a:gd name="connsiteY3" fmla="*/ 2382599 h 2388209"/>
              <a:gd name="connsiteX4" fmla="*/ 0 w 537612"/>
              <a:gd name="connsiteY4" fmla="*/ 1820199 h 2388209"/>
              <a:gd name="connsiteX5" fmla="*/ 0 w 537612"/>
              <a:gd name="connsiteY5" fmla="*/ 0 h 2388209"/>
              <a:gd name="connsiteX6" fmla="*/ 106285 w 537612"/>
              <a:gd name="connsiteY6" fmla="*/ 26678 h 2388209"/>
              <a:gd name="connsiteX7" fmla="*/ 537612 w 537612"/>
              <a:gd name="connsiteY7" fmla="*/ 75217 h 2388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7612" h="2388209">
                <a:moveTo>
                  <a:pt x="537612" y="75217"/>
                </a:moveTo>
                <a:lnTo>
                  <a:pt x="537612" y="2388209"/>
                </a:lnTo>
                <a:lnTo>
                  <a:pt x="533386" y="2388209"/>
                </a:lnTo>
                <a:lnTo>
                  <a:pt x="533386" y="2382599"/>
                </a:lnTo>
                <a:lnTo>
                  <a:pt x="0" y="1820199"/>
                </a:lnTo>
                <a:lnTo>
                  <a:pt x="0" y="0"/>
                </a:lnTo>
                <a:lnTo>
                  <a:pt x="106285" y="26678"/>
                </a:lnTo>
                <a:cubicBezTo>
                  <a:pt x="245834" y="56842"/>
                  <a:pt x="390037" y="73470"/>
                  <a:pt x="537612" y="75217"/>
                </a:cubicBezTo>
                <a:close/>
              </a:path>
            </a:pathLst>
          </a:custGeom>
          <a:solidFill>
            <a:srgbClr val="B2271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i="1">
              <a:effectLst>
                <a:outerShdw blurRad="38100" dist="38100" dir="2700000" algn="tl">
                  <a:srgbClr val="000000">
                    <a:alpha val="43137"/>
                  </a:srgbClr>
                </a:outerShdw>
              </a:effectLst>
            </a:endParaRPr>
          </a:p>
        </p:txBody>
      </p:sp>
      <p:sp>
        <p:nvSpPr>
          <p:cNvPr id="25" name="Freeform 24">
            <a:extLst>
              <a:ext uri="{FF2B5EF4-FFF2-40B4-BE49-F238E27FC236}">
                <a16:creationId xmlns:a16="http://schemas.microsoft.com/office/drawing/2014/main" id="{DA14E5CE-C28F-D576-4648-BEE8F15A56FD}"/>
              </a:ext>
            </a:extLst>
          </p:cNvPr>
          <p:cNvSpPr/>
          <p:nvPr/>
        </p:nvSpPr>
        <p:spPr>
          <a:xfrm rot="16200000">
            <a:off x="8490744" y="3766344"/>
            <a:ext cx="500062" cy="2933700"/>
          </a:xfrm>
          <a:custGeom>
            <a:avLst/>
            <a:gdLst>
              <a:gd name="connsiteX0" fmla="*/ 537612 w 537612"/>
              <a:gd name="connsiteY0" fmla="*/ 511751 h 3179574"/>
              <a:gd name="connsiteX1" fmla="*/ 537612 w 537612"/>
              <a:gd name="connsiteY1" fmla="*/ 3179574 h 3179574"/>
              <a:gd name="connsiteX2" fmla="*/ 533386 w 537612"/>
              <a:gd name="connsiteY2" fmla="*/ 3179574 h 3179574"/>
              <a:gd name="connsiteX3" fmla="*/ 533386 w 537612"/>
              <a:gd name="connsiteY3" fmla="*/ 3173964 h 3179574"/>
              <a:gd name="connsiteX4" fmla="*/ 0 w 537612"/>
              <a:gd name="connsiteY4" fmla="*/ 2611564 h 3179574"/>
              <a:gd name="connsiteX5" fmla="*/ 0 w 537612"/>
              <a:gd name="connsiteY5" fmla="*/ 0 h 3179574"/>
              <a:gd name="connsiteX6" fmla="*/ 108923 w 537612"/>
              <a:gd name="connsiteY6" fmla="*/ 143387 h 3179574"/>
              <a:gd name="connsiteX7" fmla="*/ 531488 w 537612"/>
              <a:gd name="connsiteY7" fmla="*/ 505294 h 3179574"/>
              <a:gd name="connsiteX8" fmla="*/ 537612 w 537612"/>
              <a:gd name="connsiteY8" fmla="*/ 511751 h 3179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612" h="3179574">
                <a:moveTo>
                  <a:pt x="537612" y="511751"/>
                </a:moveTo>
                <a:lnTo>
                  <a:pt x="537612" y="3179574"/>
                </a:lnTo>
                <a:lnTo>
                  <a:pt x="533386" y="3179574"/>
                </a:lnTo>
                <a:lnTo>
                  <a:pt x="533386" y="3173964"/>
                </a:lnTo>
                <a:lnTo>
                  <a:pt x="0" y="2611564"/>
                </a:lnTo>
                <a:lnTo>
                  <a:pt x="0" y="0"/>
                </a:lnTo>
                <a:lnTo>
                  <a:pt x="108923" y="143387"/>
                </a:lnTo>
                <a:cubicBezTo>
                  <a:pt x="230879" y="287254"/>
                  <a:pt x="367399" y="400746"/>
                  <a:pt x="531488" y="505294"/>
                </a:cubicBezTo>
                <a:lnTo>
                  <a:pt x="537612" y="511751"/>
                </a:lnTo>
                <a:close/>
              </a:path>
            </a:pathLst>
          </a:custGeom>
          <a:solidFill>
            <a:srgbClr val="B2271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i="1">
              <a:effectLst>
                <a:outerShdw blurRad="38100" dist="38100" dir="2700000" algn="tl">
                  <a:srgbClr val="000000">
                    <a:alpha val="43137"/>
                  </a:srgbClr>
                </a:outerShdw>
              </a:effectLst>
            </a:endParaRPr>
          </a:p>
        </p:txBody>
      </p:sp>
      <p:sp>
        <p:nvSpPr>
          <p:cNvPr id="26" name="Freeform 25">
            <a:extLst>
              <a:ext uri="{FF2B5EF4-FFF2-40B4-BE49-F238E27FC236}">
                <a16:creationId xmlns:a16="http://schemas.microsoft.com/office/drawing/2014/main" id="{02A3EEE1-66A5-1139-B39A-80D12F696E5A}"/>
              </a:ext>
            </a:extLst>
          </p:cNvPr>
          <p:cNvSpPr/>
          <p:nvPr/>
        </p:nvSpPr>
        <p:spPr>
          <a:xfrm rot="16200000">
            <a:off x="8509000" y="4240213"/>
            <a:ext cx="501650" cy="2933700"/>
          </a:xfrm>
          <a:custGeom>
            <a:avLst/>
            <a:gdLst>
              <a:gd name="connsiteX0" fmla="*/ 537611 w 537611"/>
              <a:gd name="connsiteY0" fmla="*/ 0 h 3190501"/>
              <a:gd name="connsiteX1" fmla="*/ 537611 w 537611"/>
              <a:gd name="connsiteY1" fmla="*/ 2622491 h 3190501"/>
              <a:gd name="connsiteX2" fmla="*/ 4225 w 537611"/>
              <a:gd name="connsiteY2" fmla="*/ 3184891 h 3190501"/>
              <a:gd name="connsiteX3" fmla="*/ 4225 w 537611"/>
              <a:gd name="connsiteY3" fmla="*/ 3190501 h 3190501"/>
              <a:gd name="connsiteX4" fmla="*/ 0 w 537611"/>
              <a:gd name="connsiteY4" fmla="*/ 3190501 h 3190501"/>
              <a:gd name="connsiteX5" fmla="*/ 0 w 537611"/>
              <a:gd name="connsiteY5" fmla="*/ 522678 h 3190501"/>
              <a:gd name="connsiteX6" fmla="*/ 537611 w 537611"/>
              <a:gd name="connsiteY6" fmla="*/ 0 h 3190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7611" h="3190501">
                <a:moveTo>
                  <a:pt x="537611" y="0"/>
                </a:moveTo>
                <a:lnTo>
                  <a:pt x="537611" y="2622491"/>
                </a:lnTo>
                <a:lnTo>
                  <a:pt x="4225" y="3184891"/>
                </a:lnTo>
                <a:lnTo>
                  <a:pt x="4225" y="3190501"/>
                </a:lnTo>
                <a:lnTo>
                  <a:pt x="0" y="3190501"/>
                </a:lnTo>
                <a:lnTo>
                  <a:pt x="0" y="522678"/>
                </a:lnTo>
                <a:lnTo>
                  <a:pt x="537611" y="0"/>
                </a:lnTo>
                <a:close/>
              </a:path>
            </a:pathLst>
          </a:custGeom>
          <a:solidFill>
            <a:srgbClr val="B2271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i="1">
              <a:effectLst>
                <a:outerShdw blurRad="38100" dist="38100" dir="2700000" algn="tl">
                  <a:srgbClr val="000000">
                    <a:alpha val="43137"/>
                  </a:srgbClr>
                </a:outerShdw>
              </a:effectLst>
            </a:endParaRPr>
          </a:p>
        </p:txBody>
      </p:sp>
      <p:sp>
        <p:nvSpPr>
          <p:cNvPr id="26642" name="Rectangle 28">
            <a:extLst>
              <a:ext uri="{FF2B5EF4-FFF2-40B4-BE49-F238E27FC236}">
                <a16:creationId xmlns:a16="http://schemas.microsoft.com/office/drawing/2014/main" id="{5F234401-8F5B-C682-33E6-5378D780B128}"/>
              </a:ext>
            </a:extLst>
          </p:cNvPr>
          <p:cNvSpPr>
            <a:spLocks noChangeArrowheads="1"/>
          </p:cNvSpPr>
          <p:nvPr/>
        </p:nvSpPr>
        <p:spPr bwMode="auto">
          <a:xfrm>
            <a:off x="8262938" y="3684589"/>
            <a:ext cx="18161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just" eaLnBrk="1" hangingPunct="1"/>
            <a:r>
              <a:rPr lang="en-US" altLang="en-US" sz="1600">
                <a:latin typeface="Times New Roman" panose="02020603050405020304" pitchFamily="18" charset="0"/>
                <a:cs typeface="Times New Roman" panose="02020603050405020304" pitchFamily="18" charset="0"/>
              </a:rPr>
              <a:t>In-depth analysis</a:t>
            </a:r>
          </a:p>
        </p:txBody>
      </p:sp>
      <p:sp>
        <p:nvSpPr>
          <p:cNvPr id="26643" name="Rectangle 31">
            <a:extLst>
              <a:ext uri="{FF2B5EF4-FFF2-40B4-BE49-F238E27FC236}">
                <a16:creationId xmlns:a16="http://schemas.microsoft.com/office/drawing/2014/main" id="{AB33BD5F-753B-C276-C4D5-D6894669139B}"/>
              </a:ext>
            </a:extLst>
          </p:cNvPr>
          <p:cNvSpPr>
            <a:spLocks noChangeArrowheads="1"/>
          </p:cNvSpPr>
          <p:nvPr/>
        </p:nvSpPr>
        <p:spPr bwMode="auto">
          <a:xfrm>
            <a:off x="7543800" y="5122863"/>
            <a:ext cx="2319338"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just"/>
            <a:r>
              <a:rPr lang="en-US" altLang="en-US" sz="1600">
                <a:latin typeface="Times New Roman" panose="02020603050405020304" pitchFamily="18" charset="0"/>
                <a:cs typeface="Times New Roman" panose="02020603050405020304" pitchFamily="18" charset="0"/>
              </a:rPr>
              <a:t>Answers why and how results were achieved.</a:t>
            </a:r>
          </a:p>
        </p:txBody>
      </p:sp>
      <p:sp>
        <p:nvSpPr>
          <p:cNvPr id="34" name="TextBox 33">
            <a:extLst>
              <a:ext uri="{FF2B5EF4-FFF2-40B4-BE49-F238E27FC236}">
                <a16:creationId xmlns:a16="http://schemas.microsoft.com/office/drawing/2014/main" id="{E827A652-19F7-6B0C-AC99-7BCF33A6F0EC}"/>
              </a:ext>
            </a:extLst>
          </p:cNvPr>
          <p:cNvSpPr txBox="1"/>
          <p:nvPr/>
        </p:nvSpPr>
        <p:spPr>
          <a:xfrm>
            <a:off x="7543801" y="1928813"/>
            <a:ext cx="2212975" cy="831850"/>
          </a:xfrm>
          <a:prstGeom prst="rect">
            <a:avLst/>
          </a:prstGeom>
          <a:ln>
            <a:noFill/>
          </a:ln>
          <a:effectLst/>
        </p:spPr>
        <p:txBody>
          <a:bodyPr anchor="ctr">
            <a:spAutoFit/>
          </a:bodyPr>
          <a:lstStyle>
            <a:defPPr>
              <a:defRPr lang="en-US"/>
            </a:defPPr>
            <a:lvl1pPr algn="ctr">
              <a:defRPr sz="1600" i="1">
                <a:solidFill>
                  <a:srgbClr val="61605F"/>
                </a:solidFill>
              </a:defRPr>
            </a:lvl1pPr>
          </a:lstStyle>
          <a:p>
            <a:pPr algn="l">
              <a:defRPr/>
            </a:pPr>
            <a:r>
              <a:rPr lang="en-US" i="0" dirty="0">
                <a:solidFill>
                  <a:schemeClr val="tx1"/>
                </a:solidFill>
                <a:latin typeface="Times New Roman" pitchFamily="18" charset="0"/>
                <a:cs typeface="Times New Roman" pitchFamily="18" charset="0"/>
              </a:rPr>
              <a:t>Periodic(baseline, mid-term and end of project)</a:t>
            </a:r>
          </a:p>
          <a:p>
            <a:pPr algn="l">
              <a:defRPr/>
            </a:pPr>
            <a:endParaRPr lang="fi-FI" dirty="0">
              <a:solidFill>
                <a:schemeClr val="bg1"/>
              </a:solidFill>
              <a:effectLst>
                <a:outerShdw blurRad="38100" dist="38100" dir="2700000" algn="tl">
                  <a:srgbClr val="000000">
                    <a:alpha val="43137"/>
                  </a:srgbClr>
                </a:outerShdw>
              </a:effectLst>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EA5A020-9289-BC3F-6AE9-4B69C67492FE}"/>
              </a:ext>
            </a:extLst>
          </p:cNvPr>
          <p:cNvSpPr txBox="1"/>
          <p:nvPr/>
        </p:nvSpPr>
        <p:spPr>
          <a:xfrm>
            <a:off x="1654892" y="3273831"/>
            <a:ext cx="8882216" cy="1323439"/>
          </a:xfrm>
          <a:prstGeom prst="rect">
            <a:avLst/>
          </a:prstGeom>
          <a:noFill/>
        </p:spPr>
        <p:txBody>
          <a:bodyPr wrap="square">
            <a:spAutoFit/>
          </a:bodyPr>
          <a:lstStyle/>
          <a:p>
            <a:r>
              <a:rPr lang="en-US" sz="4000" b="1" dirty="0">
                <a:solidFill>
                  <a:srgbClr val="002060"/>
                </a:solidFill>
                <a:latin typeface="Poppins" panose="00000500000000000000" pitchFamily="2" charset="0"/>
                <a:cs typeface="Poppins" panose="00000500000000000000" pitchFamily="2" charset="0"/>
              </a:rPr>
              <a:t>Role of Data in Public Health Program Implementation</a:t>
            </a:r>
          </a:p>
        </p:txBody>
      </p:sp>
    </p:spTree>
    <p:extLst>
      <p:ext uri="{BB962C8B-B14F-4D97-AF65-F5344CB8AC3E}">
        <p14:creationId xmlns:p14="http://schemas.microsoft.com/office/powerpoint/2010/main" val="36872714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2B39344-ABC8-E04F-7DF7-5219B99C0466}"/>
              </a:ext>
            </a:extLst>
          </p:cNvPr>
          <p:cNvSpPr txBox="1"/>
          <p:nvPr/>
        </p:nvSpPr>
        <p:spPr>
          <a:xfrm>
            <a:off x="1876148" y="37007"/>
            <a:ext cx="7334060" cy="1754326"/>
          </a:xfrm>
          <a:prstGeom prst="rect">
            <a:avLst/>
          </a:prstGeom>
          <a:noFill/>
        </p:spPr>
        <p:txBody>
          <a:bodyPr wrap="none" rtlCol="0">
            <a:spAutoFit/>
          </a:bodyPr>
          <a:lstStyle/>
          <a:p>
            <a:pPr algn="ctr" defTabSz="914217"/>
            <a:r>
              <a:rPr lang="en-US" sz="3600" b="1" dirty="0">
                <a:solidFill>
                  <a:srgbClr val="08204C"/>
                </a:solidFill>
                <a:latin typeface="Abadi" panose="020B0604020104020204" pitchFamily="34" charset="0"/>
                <a:cs typeface="Poppins" pitchFamily="2" charset="77"/>
              </a:rPr>
              <a:t>Critical Role of Data in Public Health </a:t>
            </a:r>
          </a:p>
          <a:p>
            <a:pPr algn="ctr" defTabSz="914217"/>
            <a:r>
              <a:rPr lang="en-US" sz="3600" b="1" dirty="0">
                <a:solidFill>
                  <a:srgbClr val="08204C"/>
                </a:solidFill>
                <a:latin typeface="Abadi" panose="020B0604020104020204" pitchFamily="34" charset="0"/>
                <a:cs typeface="Poppins" pitchFamily="2" charset="77"/>
              </a:rPr>
              <a:t>Program </a:t>
            </a:r>
            <a:r>
              <a:rPr lang="en-US" sz="3600" b="1" dirty="0" err="1">
                <a:solidFill>
                  <a:srgbClr val="08204C"/>
                </a:solidFill>
                <a:latin typeface="Abadi" panose="020B0604020104020204" pitchFamily="34" charset="0"/>
                <a:cs typeface="Poppins" pitchFamily="2" charset="77"/>
              </a:rPr>
              <a:t>Pmplementation</a:t>
            </a:r>
            <a:endParaRPr lang="en-US" sz="3600" b="1" dirty="0">
              <a:solidFill>
                <a:srgbClr val="08204C"/>
              </a:solidFill>
              <a:latin typeface="Abadi" panose="020B0604020104020204" pitchFamily="34" charset="0"/>
              <a:cs typeface="Poppins" pitchFamily="2" charset="77"/>
            </a:endParaRPr>
          </a:p>
          <a:p>
            <a:pPr algn="ctr" defTabSz="914217"/>
            <a:r>
              <a:rPr lang="en-US" sz="3600" b="1" dirty="0">
                <a:solidFill>
                  <a:srgbClr val="08204C"/>
                </a:solidFill>
                <a:latin typeface="Abadi" panose="020B0604020104020204" pitchFamily="34" charset="0"/>
                <a:cs typeface="Poppins" pitchFamily="2" charset="77"/>
              </a:rPr>
              <a:t> </a:t>
            </a:r>
          </a:p>
        </p:txBody>
      </p:sp>
      <p:grpSp>
        <p:nvGrpSpPr>
          <p:cNvPr id="32" name="Group 31">
            <a:extLst>
              <a:ext uri="{FF2B5EF4-FFF2-40B4-BE49-F238E27FC236}">
                <a16:creationId xmlns:a16="http://schemas.microsoft.com/office/drawing/2014/main" id="{E4E30EF0-FC62-CB68-FBC7-202D5F766B3E}"/>
              </a:ext>
            </a:extLst>
          </p:cNvPr>
          <p:cNvGrpSpPr/>
          <p:nvPr/>
        </p:nvGrpSpPr>
        <p:grpSpPr>
          <a:xfrm>
            <a:off x="6193909" y="1097192"/>
            <a:ext cx="5880094" cy="3875738"/>
            <a:chOff x="3085748" y="1335895"/>
            <a:chExt cx="5968662" cy="3875738"/>
          </a:xfrm>
        </p:grpSpPr>
        <p:grpSp>
          <p:nvGrpSpPr>
            <p:cNvPr id="4" name="Group 3">
              <a:extLst>
                <a:ext uri="{FF2B5EF4-FFF2-40B4-BE49-F238E27FC236}">
                  <a16:creationId xmlns:a16="http://schemas.microsoft.com/office/drawing/2014/main" id="{50151035-3CB6-65D1-8F09-34EC330BE8D8}"/>
                </a:ext>
              </a:extLst>
            </p:cNvPr>
            <p:cNvGrpSpPr/>
            <p:nvPr/>
          </p:nvGrpSpPr>
          <p:grpSpPr>
            <a:xfrm>
              <a:off x="3085748" y="1335895"/>
              <a:ext cx="5968662" cy="1271653"/>
              <a:chOff x="7024445" y="2671789"/>
              <a:chExt cx="11937322" cy="2543306"/>
            </a:xfrm>
          </p:grpSpPr>
          <p:sp>
            <p:nvSpPr>
              <p:cNvPr id="5" name="Freeform 1">
                <a:extLst>
                  <a:ext uri="{FF2B5EF4-FFF2-40B4-BE49-F238E27FC236}">
                    <a16:creationId xmlns:a16="http://schemas.microsoft.com/office/drawing/2014/main" id="{F30E6875-A2C0-6710-70A2-98DCA4A756B6}"/>
                  </a:ext>
                </a:extLst>
              </p:cNvPr>
              <p:cNvSpPr>
                <a:spLocks noChangeArrowheads="1"/>
              </p:cNvSpPr>
              <p:nvPr/>
            </p:nvSpPr>
            <p:spPr bwMode="auto">
              <a:xfrm>
                <a:off x="7698432" y="2876291"/>
                <a:ext cx="11263335" cy="2285308"/>
              </a:xfrm>
              <a:prstGeom prst="roundRect">
                <a:avLst/>
              </a:prstGeom>
              <a:solidFill>
                <a:srgbClr val="165AB6"/>
              </a:solidFill>
              <a:ln>
                <a:noFill/>
              </a:ln>
              <a:effectLst/>
            </p:spPr>
            <p:txBody>
              <a:bodyPr wrap="none" anchor="ctr"/>
              <a:lstStyle/>
              <a:p>
                <a:pPr marL="0" marR="0" lvl="0" indent="0" defTabSz="914217" eaLnBrk="1" fontAlgn="auto" latinLnBrk="0" hangingPunct="1">
                  <a:lnSpc>
                    <a:spcPct val="100000"/>
                  </a:lnSpc>
                  <a:spcBef>
                    <a:spcPts val="0"/>
                  </a:spcBef>
                  <a:spcAft>
                    <a:spcPts val="0"/>
                  </a:spcAft>
                  <a:buClrTx/>
                  <a:buSzTx/>
                  <a:buFontTx/>
                  <a:buNone/>
                  <a:tabLst/>
                  <a:defRPr/>
                </a:pPr>
                <a:endParaRPr kumimoji="0" lang="en-US" sz="3266" b="0" i="0" u="none" strike="noStrike" kern="0" cap="none" spc="0" normalizeH="0" baseline="0" noProof="0" dirty="0">
                  <a:ln>
                    <a:noFill/>
                  </a:ln>
                  <a:solidFill>
                    <a:srgbClr val="AAAAAA"/>
                  </a:solidFill>
                  <a:effectLst/>
                  <a:uLnTx/>
                  <a:uFillTx/>
                  <a:latin typeface="Abadi" panose="020B0604020104020204" pitchFamily="34" charset="0"/>
                </a:endParaRPr>
              </a:p>
            </p:txBody>
          </p:sp>
          <p:sp>
            <p:nvSpPr>
              <p:cNvPr id="6" name="Freeform 2">
                <a:extLst>
                  <a:ext uri="{FF2B5EF4-FFF2-40B4-BE49-F238E27FC236}">
                    <a16:creationId xmlns:a16="http://schemas.microsoft.com/office/drawing/2014/main" id="{30582A5B-3500-1267-855A-2EACA87523B8}"/>
                  </a:ext>
                </a:extLst>
              </p:cNvPr>
              <p:cNvSpPr>
                <a:spLocks noChangeArrowheads="1"/>
              </p:cNvSpPr>
              <p:nvPr/>
            </p:nvSpPr>
            <p:spPr bwMode="auto">
              <a:xfrm>
                <a:off x="7698436" y="2876291"/>
                <a:ext cx="2289841" cy="2151587"/>
              </a:xfrm>
              <a:custGeom>
                <a:avLst/>
                <a:gdLst>
                  <a:gd name="T0" fmla="*/ 2923 w 3506"/>
                  <a:gd name="T1" fmla="*/ 0 h 3296"/>
                  <a:gd name="T2" fmla="*/ 594 w 3506"/>
                  <a:gd name="T3" fmla="*/ 0 h 3296"/>
                  <a:gd name="T4" fmla="*/ 594 w 3506"/>
                  <a:gd name="T5" fmla="*/ 0 h 3296"/>
                  <a:gd name="T6" fmla="*/ 0 w 3506"/>
                  <a:gd name="T7" fmla="*/ 594 h 3296"/>
                  <a:gd name="T8" fmla="*/ 0 w 3506"/>
                  <a:gd name="T9" fmla="*/ 2701 h 3296"/>
                  <a:gd name="T10" fmla="*/ 0 w 3506"/>
                  <a:gd name="T11" fmla="*/ 2701 h 3296"/>
                  <a:gd name="T12" fmla="*/ 594 w 3506"/>
                  <a:gd name="T13" fmla="*/ 3295 h 3296"/>
                  <a:gd name="T14" fmla="*/ 2902 w 3506"/>
                  <a:gd name="T15" fmla="*/ 3295 h 3296"/>
                  <a:gd name="T16" fmla="*/ 2902 w 3506"/>
                  <a:gd name="T17" fmla="*/ 3295 h 3296"/>
                  <a:gd name="T18" fmla="*/ 3505 w 3506"/>
                  <a:gd name="T19" fmla="*/ 1634 h 3296"/>
                  <a:gd name="T20" fmla="*/ 3505 w 3506"/>
                  <a:gd name="T21" fmla="*/ 1634 h 3296"/>
                  <a:gd name="T22" fmla="*/ 2923 w 3506"/>
                  <a:gd name="T23" fmla="*/ 0 h 3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06" h="3296">
                    <a:moveTo>
                      <a:pt x="2923" y="0"/>
                    </a:moveTo>
                    <a:lnTo>
                      <a:pt x="594" y="0"/>
                    </a:lnTo>
                    <a:lnTo>
                      <a:pt x="594" y="0"/>
                    </a:lnTo>
                    <a:cubicBezTo>
                      <a:pt x="266" y="0"/>
                      <a:pt x="0" y="265"/>
                      <a:pt x="0" y="594"/>
                    </a:cubicBezTo>
                    <a:lnTo>
                      <a:pt x="0" y="2701"/>
                    </a:lnTo>
                    <a:lnTo>
                      <a:pt x="0" y="2701"/>
                    </a:lnTo>
                    <a:cubicBezTo>
                      <a:pt x="0" y="3030"/>
                      <a:pt x="266" y="3295"/>
                      <a:pt x="594" y="3295"/>
                    </a:cubicBezTo>
                    <a:lnTo>
                      <a:pt x="2902" y="3295"/>
                    </a:lnTo>
                    <a:lnTo>
                      <a:pt x="2902" y="3295"/>
                    </a:lnTo>
                    <a:cubicBezTo>
                      <a:pt x="3279" y="2846"/>
                      <a:pt x="3505" y="2266"/>
                      <a:pt x="3505" y="1634"/>
                    </a:cubicBezTo>
                    <a:lnTo>
                      <a:pt x="3505" y="1634"/>
                    </a:lnTo>
                    <a:cubicBezTo>
                      <a:pt x="3505" y="1014"/>
                      <a:pt x="3287" y="446"/>
                      <a:pt x="2923" y="0"/>
                    </a:cubicBezTo>
                  </a:path>
                </a:pathLst>
              </a:custGeom>
              <a:solidFill>
                <a:srgbClr val="CAC9D0">
                  <a:lumMod val="10000"/>
                  <a:alpha val="10000"/>
                </a:srgbClr>
              </a:solidFill>
              <a:ln>
                <a:noFill/>
              </a:ln>
              <a:effectLst/>
            </p:spPr>
            <p:txBody>
              <a:bodyPr wrap="none" anchor="ctr"/>
              <a:lstStyle/>
              <a:p>
                <a:pPr marL="0" marR="0" lvl="0" indent="0" defTabSz="914217" eaLnBrk="1" fontAlgn="auto" latinLnBrk="0" hangingPunct="1">
                  <a:lnSpc>
                    <a:spcPct val="100000"/>
                  </a:lnSpc>
                  <a:spcBef>
                    <a:spcPts val="0"/>
                  </a:spcBef>
                  <a:spcAft>
                    <a:spcPts val="0"/>
                  </a:spcAft>
                  <a:buClrTx/>
                  <a:buSzTx/>
                  <a:buFontTx/>
                  <a:buNone/>
                  <a:tabLst/>
                  <a:defRPr/>
                </a:pPr>
                <a:endParaRPr kumimoji="0" lang="en-US" sz="3266" b="0" i="0" u="none" strike="noStrike" kern="0" cap="none" spc="0" normalizeH="0" baseline="0" noProof="0">
                  <a:ln>
                    <a:noFill/>
                  </a:ln>
                  <a:solidFill>
                    <a:srgbClr val="AAAAAA"/>
                  </a:solidFill>
                  <a:effectLst/>
                  <a:uLnTx/>
                  <a:uFillTx/>
                  <a:latin typeface="Abadi" panose="020B0604020104020204" pitchFamily="34" charset="0"/>
                </a:endParaRPr>
              </a:p>
            </p:txBody>
          </p:sp>
          <p:sp>
            <p:nvSpPr>
              <p:cNvPr id="7" name="Freeform 3">
                <a:extLst>
                  <a:ext uri="{FF2B5EF4-FFF2-40B4-BE49-F238E27FC236}">
                    <a16:creationId xmlns:a16="http://schemas.microsoft.com/office/drawing/2014/main" id="{033D3C6E-7E58-EB06-F3DB-A07FB7165FD4}"/>
                  </a:ext>
                </a:extLst>
              </p:cNvPr>
              <p:cNvSpPr>
                <a:spLocks noChangeArrowheads="1"/>
              </p:cNvSpPr>
              <p:nvPr/>
            </p:nvSpPr>
            <p:spPr bwMode="auto">
              <a:xfrm>
                <a:off x="7024445" y="2671789"/>
                <a:ext cx="2543308" cy="2543306"/>
              </a:xfrm>
              <a:custGeom>
                <a:avLst/>
                <a:gdLst>
                  <a:gd name="T0" fmla="*/ 3894 w 3895"/>
                  <a:gd name="T1" fmla="*/ 1946 h 3894"/>
                  <a:gd name="T2" fmla="*/ 3894 w 3895"/>
                  <a:gd name="T3" fmla="*/ 1946 h 3894"/>
                  <a:gd name="T4" fmla="*/ 1947 w 3895"/>
                  <a:gd name="T5" fmla="*/ 3893 h 3894"/>
                  <a:gd name="T6" fmla="*/ 1947 w 3895"/>
                  <a:gd name="T7" fmla="*/ 3893 h 3894"/>
                  <a:gd name="T8" fmla="*/ 0 w 3895"/>
                  <a:gd name="T9" fmla="*/ 1946 h 3894"/>
                  <a:gd name="T10" fmla="*/ 0 w 3895"/>
                  <a:gd name="T11" fmla="*/ 1946 h 3894"/>
                  <a:gd name="T12" fmla="*/ 1947 w 3895"/>
                  <a:gd name="T13" fmla="*/ 0 h 3894"/>
                  <a:gd name="T14" fmla="*/ 1947 w 3895"/>
                  <a:gd name="T15" fmla="*/ 0 h 3894"/>
                  <a:gd name="T16" fmla="*/ 3894 w 3895"/>
                  <a:gd name="T17" fmla="*/ 1946 h 3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95" h="3894">
                    <a:moveTo>
                      <a:pt x="3894" y="1946"/>
                    </a:moveTo>
                    <a:lnTo>
                      <a:pt x="3894" y="1946"/>
                    </a:lnTo>
                    <a:cubicBezTo>
                      <a:pt x="3894" y="3022"/>
                      <a:pt x="3022" y="3893"/>
                      <a:pt x="1947" y="3893"/>
                    </a:cubicBezTo>
                    <a:lnTo>
                      <a:pt x="1947" y="3893"/>
                    </a:lnTo>
                    <a:cubicBezTo>
                      <a:pt x="872" y="3893"/>
                      <a:pt x="0" y="3022"/>
                      <a:pt x="0" y="1946"/>
                    </a:cubicBezTo>
                    <a:lnTo>
                      <a:pt x="0" y="1946"/>
                    </a:lnTo>
                    <a:cubicBezTo>
                      <a:pt x="0" y="872"/>
                      <a:pt x="872" y="0"/>
                      <a:pt x="1947" y="0"/>
                    </a:cubicBezTo>
                    <a:lnTo>
                      <a:pt x="1947" y="0"/>
                    </a:lnTo>
                    <a:cubicBezTo>
                      <a:pt x="3022" y="0"/>
                      <a:pt x="3894" y="872"/>
                      <a:pt x="3894" y="1946"/>
                    </a:cubicBezTo>
                  </a:path>
                </a:pathLst>
              </a:custGeom>
              <a:solidFill>
                <a:srgbClr val="165AB6"/>
              </a:solidFill>
              <a:ln>
                <a:noFill/>
              </a:ln>
              <a:effectLst/>
            </p:spPr>
            <p:txBody>
              <a:bodyPr wrap="none" anchor="ctr"/>
              <a:lstStyle/>
              <a:p>
                <a:pPr marL="0" marR="0" lvl="0" indent="0" defTabSz="914217" eaLnBrk="1" fontAlgn="auto" latinLnBrk="0" hangingPunct="1">
                  <a:lnSpc>
                    <a:spcPct val="100000"/>
                  </a:lnSpc>
                  <a:spcBef>
                    <a:spcPts val="0"/>
                  </a:spcBef>
                  <a:spcAft>
                    <a:spcPts val="0"/>
                  </a:spcAft>
                  <a:buClrTx/>
                  <a:buSzTx/>
                  <a:buFontTx/>
                  <a:buNone/>
                  <a:tabLst/>
                  <a:defRPr/>
                </a:pPr>
                <a:endParaRPr kumimoji="0" lang="en-US" sz="3266" b="0" i="0" u="none" strike="noStrike" kern="0" cap="none" spc="0" normalizeH="0" baseline="0" noProof="0">
                  <a:ln>
                    <a:noFill/>
                  </a:ln>
                  <a:solidFill>
                    <a:srgbClr val="AAAAAA"/>
                  </a:solidFill>
                  <a:effectLst/>
                  <a:uLnTx/>
                  <a:uFillTx/>
                  <a:latin typeface="Abadi" panose="020B0604020104020204" pitchFamily="34" charset="0"/>
                </a:endParaRPr>
              </a:p>
            </p:txBody>
          </p:sp>
        </p:grpSp>
        <p:grpSp>
          <p:nvGrpSpPr>
            <p:cNvPr id="8" name="Group 7">
              <a:extLst>
                <a:ext uri="{FF2B5EF4-FFF2-40B4-BE49-F238E27FC236}">
                  <a16:creationId xmlns:a16="http://schemas.microsoft.com/office/drawing/2014/main" id="{A5CB4CD5-DE94-D071-CFCA-04E0A9064221}"/>
                </a:ext>
              </a:extLst>
            </p:cNvPr>
            <p:cNvGrpSpPr/>
            <p:nvPr/>
          </p:nvGrpSpPr>
          <p:grpSpPr>
            <a:xfrm>
              <a:off x="3085748" y="2625693"/>
              <a:ext cx="5968662" cy="1271654"/>
              <a:chOff x="5312194" y="5251383"/>
              <a:chExt cx="11937323" cy="2543308"/>
            </a:xfrm>
          </p:grpSpPr>
          <p:sp>
            <p:nvSpPr>
              <p:cNvPr id="9" name="Freeform 4">
                <a:extLst>
                  <a:ext uri="{FF2B5EF4-FFF2-40B4-BE49-F238E27FC236}">
                    <a16:creationId xmlns:a16="http://schemas.microsoft.com/office/drawing/2014/main" id="{BDBCE434-EF8B-FA70-F3F8-24E9FB218C11}"/>
                  </a:ext>
                </a:extLst>
              </p:cNvPr>
              <p:cNvSpPr>
                <a:spLocks noChangeArrowheads="1"/>
              </p:cNvSpPr>
              <p:nvPr/>
            </p:nvSpPr>
            <p:spPr bwMode="auto">
              <a:xfrm>
                <a:off x="5312194" y="5453005"/>
                <a:ext cx="11263334" cy="2284036"/>
              </a:xfrm>
              <a:prstGeom prst="roundRect">
                <a:avLst/>
              </a:prstGeom>
              <a:solidFill>
                <a:srgbClr val="1B8BCD"/>
              </a:solidFill>
              <a:ln>
                <a:noFill/>
              </a:ln>
              <a:effectLst/>
            </p:spPr>
            <p:txBody>
              <a:bodyPr wrap="none" anchor="ctr"/>
              <a:lstStyle/>
              <a:p>
                <a:pPr marL="0" marR="0" lvl="0" indent="0" defTabSz="914217" eaLnBrk="1" fontAlgn="auto" latinLnBrk="0" hangingPunct="1">
                  <a:lnSpc>
                    <a:spcPct val="100000"/>
                  </a:lnSpc>
                  <a:spcBef>
                    <a:spcPts val="0"/>
                  </a:spcBef>
                  <a:spcAft>
                    <a:spcPts val="0"/>
                  </a:spcAft>
                  <a:buClrTx/>
                  <a:buSzTx/>
                  <a:buFontTx/>
                  <a:buNone/>
                  <a:tabLst/>
                  <a:defRPr/>
                </a:pPr>
                <a:endParaRPr kumimoji="0" lang="en-US" sz="3266" b="0" i="0" u="none" strike="noStrike" kern="0" cap="none" spc="0" normalizeH="0" baseline="0" noProof="0">
                  <a:ln>
                    <a:noFill/>
                  </a:ln>
                  <a:solidFill>
                    <a:srgbClr val="AAAAAA"/>
                  </a:solidFill>
                  <a:effectLst/>
                  <a:uLnTx/>
                  <a:uFillTx/>
                  <a:latin typeface="Abadi" panose="020B0604020104020204" pitchFamily="34" charset="0"/>
                </a:endParaRPr>
              </a:p>
            </p:txBody>
          </p:sp>
          <p:sp>
            <p:nvSpPr>
              <p:cNvPr id="10" name="Freeform 5">
                <a:extLst>
                  <a:ext uri="{FF2B5EF4-FFF2-40B4-BE49-F238E27FC236}">
                    <a16:creationId xmlns:a16="http://schemas.microsoft.com/office/drawing/2014/main" id="{91A18498-6577-1131-043A-F56081CD72EB}"/>
                  </a:ext>
                </a:extLst>
              </p:cNvPr>
              <p:cNvSpPr>
                <a:spLocks noChangeArrowheads="1"/>
              </p:cNvSpPr>
              <p:nvPr/>
            </p:nvSpPr>
            <p:spPr bwMode="auto">
              <a:xfrm>
                <a:off x="14285687" y="5453004"/>
                <a:ext cx="2289839" cy="2154466"/>
              </a:xfrm>
              <a:custGeom>
                <a:avLst/>
                <a:gdLst>
                  <a:gd name="T0" fmla="*/ 583 w 3506"/>
                  <a:gd name="T1" fmla="*/ 0 h 3297"/>
                  <a:gd name="T2" fmla="*/ 2911 w 3506"/>
                  <a:gd name="T3" fmla="*/ 0 h 3297"/>
                  <a:gd name="T4" fmla="*/ 2911 w 3506"/>
                  <a:gd name="T5" fmla="*/ 0 h 3297"/>
                  <a:gd name="T6" fmla="*/ 3505 w 3506"/>
                  <a:gd name="T7" fmla="*/ 594 h 3297"/>
                  <a:gd name="T8" fmla="*/ 3505 w 3506"/>
                  <a:gd name="T9" fmla="*/ 2702 h 3297"/>
                  <a:gd name="T10" fmla="*/ 3505 w 3506"/>
                  <a:gd name="T11" fmla="*/ 2702 h 3297"/>
                  <a:gd name="T12" fmla="*/ 2911 w 3506"/>
                  <a:gd name="T13" fmla="*/ 3296 h 3297"/>
                  <a:gd name="T14" fmla="*/ 604 w 3506"/>
                  <a:gd name="T15" fmla="*/ 3296 h 3297"/>
                  <a:gd name="T16" fmla="*/ 604 w 3506"/>
                  <a:gd name="T17" fmla="*/ 3296 h 3297"/>
                  <a:gd name="T18" fmla="*/ 0 w 3506"/>
                  <a:gd name="T19" fmla="*/ 1635 h 3297"/>
                  <a:gd name="T20" fmla="*/ 0 w 3506"/>
                  <a:gd name="T21" fmla="*/ 1635 h 3297"/>
                  <a:gd name="T22" fmla="*/ 583 w 3506"/>
                  <a:gd name="T23" fmla="*/ 0 h 3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06" h="3297">
                    <a:moveTo>
                      <a:pt x="583" y="0"/>
                    </a:moveTo>
                    <a:lnTo>
                      <a:pt x="2911" y="0"/>
                    </a:lnTo>
                    <a:lnTo>
                      <a:pt x="2911" y="0"/>
                    </a:lnTo>
                    <a:cubicBezTo>
                      <a:pt x="3239" y="0"/>
                      <a:pt x="3505" y="266"/>
                      <a:pt x="3505" y="594"/>
                    </a:cubicBezTo>
                    <a:lnTo>
                      <a:pt x="3505" y="2702"/>
                    </a:lnTo>
                    <a:lnTo>
                      <a:pt x="3505" y="2702"/>
                    </a:lnTo>
                    <a:cubicBezTo>
                      <a:pt x="3505" y="3029"/>
                      <a:pt x="3239" y="3296"/>
                      <a:pt x="2911" y="3296"/>
                    </a:cubicBezTo>
                    <a:lnTo>
                      <a:pt x="604" y="3296"/>
                    </a:lnTo>
                    <a:lnTo>
                      <a:pt x="604" y="3296"/>
                    </a:lnTo>
                    <a:cubicBezTo>
                      <a:pt x="227" y="2846"/>
                      <a:pt x="0" y="2267"/>
                      <a:pt x="0" y="1635"/>
                    </a:cubicBezTo>
                    <a:lnTo>
                      <a:pt x="0" y="1635"/>
                    </a:lnTo>
                    <a:cubicBezTo>
                      <a:pt x="0" y="1015"/>
                      <a:pt x="218" y="446"/>
                      <a:pt x="583" y="0"/>
                    </a:cubicBezTo>
                  </a:path>
                </a:pathLst>
              </a:custGeom>
              <a:solidFill>
                <a:srgbClr val="CAC9D0">
                  <a:lumMod val="10000"/>
                  <a:alpha val="10000"/>
                </a:srgbClr>
              </a:solidFill>
              <a:ln>
                <a:noFill/>
              </a:ln>
              <a:effectLst/>
            </p:spPr>
            <p:txBody>
              <a:bodyPr wrap="none" anchor="ctr"/>
              <a:lstStyle/>
              <a:p>
                <a:pPr marL="0" marR="0" lvl="0" indent="0" defTabSz="914217" eaLnBrk="1" fontAlgn="auto" latinLnBrk="0" hangingPunct="1">
                  <a:lnSpc>
                    <a:spcPct val="100000"/>
                  </a:lnSpc>
                  <a:spcBef>
                    <a:spcPts val="0"/>
                  </a:spcBef>
                  <a:spcAft>
                    <a:spcPts val="0"/>
                  </a:spcAft>
                  <a:buClrTx/>
                  <a:buSzTx/>
                  <a:buFontTx/>
                  <a:buNone/>
                  <a:tabLst/>
                  <a:defRPr/>
                </a:pPr>
                <a:endParaRPr kumimoji="0" lang="en-US" sz="3266" b="0" i="0" u="none" strike="noStrike" kern="0" cap="none" spc="0" normalizeH="0" baseline="0" noProof="0">
                  <a:ln>
                    <a:noFill/>
                  </a:ln>
                  <a:solidFill>
                    <a:srgbClr val="AAAAAA"/>
                  </a:solidFill>
                  <a:effectLst/>
                  <a:uLnTx/>
                  <a:uFillTx/>
                  <a:latin typeface="Abadi" panose="020B0604020104020204" pitchFamily="34" charset="0"/>
                </a:endParaRPr>
              </a:p>
            </p:txBody>
          </p:sp>
          <p:sp>
            <p:nvSpPr>
              <p:cNvPr id="11" name="Freeform 6">
                <a:extLst>
                  <a:ext uri="{FF2B5EF4-FFF2-40B4-BE49-F238E27FC236}">
                    <a16:creationId xmlns:a16="http://schemas.microsoft.com/office/drawing/2014/main" id="{68EA7AEA-DA9B-DE58-6081-5ED32487BD09}"/>
                  </a:ext>
                </a:extLst>
              </p:cNvPr>
              <p:cNvSpPr>
                <a:spLocks noChangeArrowheads="1"/>
              </p:cNvSpPr>
              <p:nvPr/>
            </p:nvSpPr>
            <p:spPr bwMode="auto">
              <a:xfrm>
                <a:off x="14706211" y="5251383"/>
                <a:ext cx="2543306" cy="2543308"/>
              </a:xfrm>
              <a:custGeom>
                <a:avLst/>
                <a:gdLst>
                  <a:gd name="T0" fmla="*/ 0 w 3894"/>
                  <a:gd name="T1" fmla="*/ 1946 h 3894"/>
                  <a:gd name="T2" fmla="*/ 0 w 3894"/>
                  <a:gd name="T3" fmla="*/ 1946 h 3894"/>
                  <a:gd name="T4" fmla="*/ 1946 w 3894"/>
                  <a:gd name="T5" fmla="*/ 3893 h 3894"/>
                  <a:gd name="T6" fmla="*/ 1946 w 3894"/>
                  <a:gd name="T7" fmla="*/ 3893 h 3894"/>
                  <a:gd name="T8" fmla="*/ 3893 w 3894"/>
                  <a:gd name="T9" fmla="*/ 1946 h 3894"/>
                  <a:gd name="T10" fmla="*/ 3893 w 3894"/>
                  <a:gd name="T11" fmla="*/ 1946 h 3894"/>
                  <a:gd name="T12" fmla="*/ 1946 w 3894"/>
                  <a:gd name="T13" fmla="*/ 0 h 3894"/>
                  <a:gd name="T14" fmla="*/ 1946 w 3894"/>
                  <a:gd name="T15" fmla="*/ 0 h 3894"/>
                  <a:gd name="T16" fmla="*/ 0 w 3894"/>
                  <a:gd name="T17" fmla="*/ 1946 h 3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94" h="3894">
                    <a:moveTo>
                      <a:pt x="0" y="1946"/>
                    </a:moveTo>
                    <a:lnTo>
                      <a:pt x="0" y="1946"/>
                    </a:lnTo>
                    <a:cubicBezTo>
                      <a:pt x="0" y="3021"/>
                      <a:pt x="871" y="3893"/>
                      <a:pt x="1946" y="3893"/>
                    </a:cubicBezTo>
                    <a:lnTo>
                      <a:pt x="1946" y="3893"/>
                    </a:lnTo>
                    <a:cubicBezTo>
                      <a:pt x="3021" y="3893"/>
                      <a:pt x="3893" y="3021"/>
                      <a:pt x="3893" y="1946"/>
                    </a:cubicBezTo>
                    <a:lnTo>
                      <a:pt x="3893" y="1946"/>
                    </a:lnTo>
                    <a:cubicBezTo>
                      <a:pt x="3893" y="871"/>
                      <a:pt x="3021" y="0"/>
                      <a:pt x="1946" y="0"/>
                    </a:cubicBezTo>
                    <a:lnTo>
                      <a:pt x="1946" y="0"/>
                    </a:lnTo>
                    <a:cubicBezTo>
                      <a:pt x="871" y="0"/>
                      <a:pt x="0" y="871"/>
                      <a:pt x="0" y="1946"/>
                    </a:cubicBezTo>
                  </a:path>
                </a:pathLst>
              </a:custGeom>
              <a:solidFill>
                <a:srgbClr val="1B8BCD"/>
              </a:solidFill>
              <a:ln>
                <a:noFill/>
              </a:ln>
              <a:effectLst/>
            </p:spPr>
            <p:txBody>
              <a:bodyPr wrap="none" anchor="ctr"/>
              <a:lstStyle/>
              <a:p>
                <a:pPr marL="0" marR="0" lvl="0" indent="0" defTabSz="914217" eaLnBrk="1" fontAlgn="auto" latinLnBrk="0" hangingPunct="1">
                  <a:lnSpc>
                    <a:spcPct val="100000"/>
                  </a:lnSpc>
                  <a:spcBef>
                    <a:spcPts val="0"/>
                  </a:spcBef>
                  <a:spcAft>
                    <a:spcPts val="0"/>
                  </a:spcAft>
                  <a:buClrTx/>
                  <a:buSzTx/>
                  <a:buFontTx/>
                  <a:buNone/>
                  <a:tabLst/>
                  <a:defRPr/>
                </a:pPr>
                <a:endParaRPr kumimoji="0" lang="en-US" sz="3266" b="0" i="0" u="none" strike="noStrike" kern="0" cap="none" spc="0" normalizeH="0" baseline="0" noProof="0">
                  <a:ln>
                    <a:noFill/>
                  </a:ln>
                  <a:solidFill>
                    <a:srgbClr val="AAAAAA"/>
                  </a:solidFill>
                  <a:effectLst/>
                  <a:uLnTx/>
                  <a:uFillTx/>
                  <a:latin typeface="Abadi" panose="020B0604020104020204" pitchFamily="34" charset="0"/>
                </a:endParaRPr>
              </a:p>
            </p:txBody>
          </p:sp>
        </p:grpSp>
        <p:grpSp>
          <p:nvGrpSpPr>
            <p:cNvPr id="12" name="Group 11">
              <a:extLst>
                <a:ext uri="{FF2B5EF4-FFF2-40B4-BE49-F238E27FC236}">
                  <a16:creationId xmlns:a16="http://schemas.microsoft.com/office/drawing/2014/main" id="{3909FDF1-D143-BA32-07B9-6A7939417CC9}"/>
                </a:ext>
              </a:extLst>
            </p:cNvPr>
            <p:cNvGrpSpPr/>
            <p:nvPr/>
          </p:nvGrpSpPr>
          <p:grpSpPr>
            <a:xfrm>
              <a:off x="3085748" y="3915493"/>
              <a:ext cx="5968662" cy="1296140"/>
              <a:chOff x="7024445" y="7830979"/>
              <a:chExt cx="11937323" cy="2592278"/>
            </a:xfrm>
          </p:grpSpPr>
          <p:sp>
            <p:nvSpPr>
              <p:cNvPr id="13" name="Freeform 7">
                <a:extLst>
                  <a:ext uri="{FF2B5EF4-FFF2-40B4-BE49-F238E27FC236}">
                    <a16:creationId xmlns:a16="http://schemas.microsoft.com/office/drawing/2014/main" id="{CBF7ED00-5EDF-F780-1A09-304539E22ACF}"/>
                  </a:ext>
                </a:extLst>
              </p:cNvPr>
              <p:cNvSpPr>
                <a:spLocks noChangeArrowheads="1"/>
              </p:cNvSpPr>
              <p:nvPr/>
            </p:nvSpPr>
            <p:spPr bwMode="auto">
              <a:xfrm>
                <a:off x="7698434" y="8032601"/>
                <a:ext cx="11263334" cy="2390656"/>
              </a:xfrm>
              <a:prstGeom prst="roundRect">
                <a:avLst/>
              </a:prstGeom>
              <a:solidFill>
                <a:srgbClr val="27C7CF"/>
              </a:solidFill>
              <a:ln>
                <a:noFill/>
              </a:ln>
              <a:effectLst/>
            </p:spPr>
            <p:txBody>
              <a:bodyPr wrap="none" anchor="ctr"/>
              <a:lstStyle/>
              <a:p>
                <a:pPr marL="0" marR="0" lvl="0" indent="0" defTabSz="914217" eaLnBrk="1" fontAlgn="auto" latinLnBrk="0" hangingPunct="1">
                  <a:lnSpc>
                    <a:spcPct val="100000"/>
                  </a:lnSpc>
                  <a:spcBef>
                    <a:spcPts val="0"/>
                  </a:spcBef>
                  <a:spcAft>
                    <a:spcPts val="0"/>
                  </a:spcAft>
                  <a:buClrTx/>
                  <a:buSzTx/>
                  <a:buFontTx/>
                  <a:buNone/>
                  <a:tabLst/>
                  <a:defRPr/>
                </a:pPr>
                <a:endParaRPr kumimoji="0" lang="en-US" sz="3266" b="0" i="0" u="none" strike="noStrike" kern="0" cap="none" spc="0" normalizeH="0" baseline="0" noProof="0">
                  <a:ln>
                    <a:noFill/>
                  </a:ln>
                  <a:solidFill>
                    <a:srgbClr val="AAAAAA"/>
                  </a:solidFill>
                  <a:effectLst/>
                  <a:uLnTx/>
                  <a:uFillTx/>
                  <a:latin typeface="Abadi" panose="020B0604020104020204" pitchFamily="34" charset="0"/>
                </a:endParaRPr>
              </a:p>
            </p:txBody>
          </p:sp>
          <p:sp>
            <p:nvSpPr>
              <p:cNvPr id="14" name="Freeform 8">
                <a:extLst>
                  <a:ext uri="{FF2B5EF4-FFF2-40B4-BE49-F238E27FC236}">
                    <a16:creationId xmlns:a16="http://schemas.microsoft.com/office/drawing/2014/main" id="{72482E16-D309-FEF4-800A-BD2C53B557B0}"/>
                  </a:ext>
                </a:extLst>
              </p:cNvPr>
              <p:cNvSpPr>
                <a:spLocks noChangeArrowheads="1"/>
              </p:cNvSpPr>
              <p:nvPr/>
            </p:nvSpPr>
            <p:spPr bwMode="auto">
              <a:xfrm>
                <a:off x="7698436" y="8032600"/>
                <a:ext cx="2289841" cy="2151585"/>
              </a:xfrm>
              <a:custGeom>
                <a:avLst/>
                <a:gdLst>
                  <a:gd name="T0" fmla="*/ 2923 w 3506"/>
                  <a:gd name="T1" fmla="*/ 0 h 3296"/>
                  <a:gd name="T2" fmla="*/ 594 w 3506"/>
                  <a:gd name="T3" fmla="*/ 0 h 3296"/>
                  <a:gd name="T4" fmla="*/ 594 w 3506"/>
                  <a:gd name="T5" fmla="*/ 0 h 3296"/>
                  <a:gd name="T6" fmla="*/ 0 w 3506"/>
                  <a:gd name="T7" fmla="*/ 594 h 3296"/>
                  <a:gd name="T8" fmla="*/ 0 w 3506"/>
                  <a:gd name="T9" fmla="*/ 2702 h 3296"/>
                  <a:gd name="T10" fmla="*/ 0 w 3506"/>
                  <a:gd name="T11" fmla="*/ 2702 h 3296"/>
                  <a:gd name="T12" fmla="*/ 594 w 3506"/>
                  <a:gd name="T13" fmla="*/ 3295 h 3296"/>
                  <a:gd name="T14" fmla="*/ 2902 w 3506"/>
                  <a:gd name="T15" fmla="*/ 3295 h 3296"/>
                  <a:gd name="T16" fmla="*/ 2902 w 3506"/>
                  <a:gd name="T17" fmla="*/ 3295 h 3296"/>
                  <a:gd name="T18" fmla="*/ 3505 w 3506"/>
                  <a:gd name="T19" fmla="*/ 1635 h 3296"/>
                  <a:gd name="T20" fmla="*/ 3505 w 3506"/>
                  <a:gd name="T21" fmla="*/ 1635 h 3296"/>
                  <a:gd name="T22" fmla="*/ 2923 w 3506"/>
                  <a:gd name="T23" fmla="*/ 0 h 3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06" h="3296">
                    <a:moveTo>
                      <a:pt x="2923" y="0"/>
                    </a:moveTo>
                    <a:lnTo>
                      <a:pt x="594" y="0"/>
                    </a:lnTo>
                    <a:lnTo>
                      <a:pt x="594" y="0"/>
                    </a:lnTo>
                    <a:cubicBezTo>
                      <a:pt x="266" y="0"/>
                      <a:pt x="0" y="266"/>
                      <a:pt x="0" y="594"/>
                    </a:cubicBezTo>
                    <a:lnTo>
                      <a:pt x="0" y="2702"/>
                    </a:lnTo>
                    <a:lnTo>
                      <a:pt x="0" y="2702"/>
                    </a:lnTo>
                    <a:cubicBezTo>
                      <a:pt x="0" y="3029"/>
                      <a:pt x="266" y="3295"/>
                      <a:pt x="594" y="3295"/>
                    </a:cubicBezTo>
                    <a:lnTo>
                      <a:pt x="2902" y="3295"/>
                    </a:lnTo>
                    <a:lnTo>
                      <a:pt x="2902" y="3295"/>
                    </a:lnTo>
                    <a:cubicBezTo>
                      <a:pt x="3279" y="2846"/>
                      <a:pt x="3505" y="2267"/>
                      <a:pt x="3505" y="1635"/>
                    </a:cubicBezTo>
                    <a:lnTo>
                      <a:pt x="3505" y="1635"/>
                    </a:lnTo>
                    <a:cubicBezTo>
                      <a:pt x="3505" y="1015"/>
                      <a:pt x="3287" y="446"/>
                      <a:pt x="2923" y="0"/>
                    </a:cubicBezTo>
                  </a:path>
                </a:pathLst>
              </a:custGeom>
              <a:solidFill>
                <a:srgbClr val="CAC9D0">
                  <a:lumMod val="10000"/>
                  <a:alpha val="10000"/>
                </a:srgbClr>
              </a:solidFill>
              <a:ln>
                <a:noFill/>
              </a:ln>
              <a:effectLst/>
            </p:spPr>
            <p:txBody>
              <a:bodyPr wrap="none" anchor="ctr"/>
              <a:lstStyle/>
              <a:p>
                <a:pPr marL="0" marR="0" lvl="0" indent="0" defTabSz="914217" eaLnBrk="1" fontAlgn="auto" latinLnBrk="0" hangingPunct="1">
                  <a:lnSpc>
                    <a:spcPct val="100000"/>
                  </a:lnSpc>
                  <a:spcBef>
                    <a:spcPts val="0"/>
                  </a:spcBef>
                  <a:spcAft>
                    <a:spcPts val="0"/>
                  </a:spcAft>
                  <a:buClrTx/>
                  <a:buSzTx/>
                  <a:buFontTx/>
                  <a:buNone/>
                  <a:tabLst/>
                  <a:defRPr/>
                </a:pPr>
                <a:endParaRPr kumimoji="0" lang="en-US" sz="3266" b="0" i="0" u="none" strike="noStrike" kern="0" cap="none" spc="0" normalizeH="0" baseline="0" noProof="0">
                  <a:ln>
                    <a:noFill/>
                  </a:ln>
                  <a:solidFill>
                    <a:srgbClr val="AAAAAA"/>
                  </a:solidFill>
                  <a:effectLst/>
                  <a:uLnTx/>
                  <a:uFillTx/>
                  <a:latin typeface="Abadi" panose="020B0604020104020204" pitchFamily="34" charset="0"/>
                </a:endParaRPr>
              </a:p>
            </p:txBody>
          </p:sp>
          <p:sp>
            <p:nvSpPr>
              <p:cNvPr id="15" name="Freeform 9">
                <a:extLst>
                  <a:ext uri="{FF2B5EF4-FFF2-40B4-BE49-F238E27FC236}">
                    <a16:creationId xmlns:a16="http://schemas.microsoft.com/office/drawing/2014/main" id="{AF9F857E-1EF1-FE68-4A49-A076555CD8A6}"/>
                  </a:ext>
                </a:extLst>
              </p:cNvPr>
              <p:cNvSpPr>
                <a:spLocks noChangeArrowheads="1"/>
              </p:cNvSpPr>
              <p:nvPr/>
            </p:nvSpPr>
            <p:spPr bwMode="auto">
              <a:xfrm>
                <a:off x="7024445" y="7830979"/>
                <a:ext cx="2543308" cy="2543306"/>
              </a:xfrm>
              <a:custGeom>
                <a:avLst/>
                <a:gdLst>
                  <a:gd name="T0" fmla="*/ 3894 w 3895"/>
                  <a:gd name="T1" fmla="*/ 1946 h 3893"/>
                  <a:gd name="T2" fmla="*/ 3894 w 3895"/>
                  <a:gd name="T3" fmla="*/ 1946 h 3893"/>
                  <a:gd name="T4" fmla="*/ 1947 w 3895"/>
                  <a:gd name="T5" fmla="*/ 3892 h 3893"/>
                  <a:gd name="T6" fmla="*/ 1947 w 3895"/>
                  <a:gd name="T7" fmla="*/ 3892 h 3893"/>
                  <a:gd name="T8" fmla="*/ 0 w 3895"/>
                  <a:gd name="T9" fmla="*/ 1946 h 3893"/>
                  <a:gd name="T10" fmla="*/ 0 w 3895"/>
                  <a:gd name="T11" fmla="*/ 1946 h 3893"/>
                  <a:gd name="T12" fmla="*/ 1947 w 3895"/>
                  <a:gd name="T13" fmla="*/ 0 h 3893"/>
                  <a:gd name="T14" fmla="*/ 1947 w 3895"/>
                  <a:gd name="T15" fmla="*/ 0 h 3893"/>
                  <a:gd name="T16" fmla="*/ 3894 w 3895"/>
                  <a:gd name="T17" fmla="*/ 1946 h 3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95" h="3893">
                    <a:moveTo>
                      <a:pt x="3894" y="1946"/>
                    </a:moveTo>
                    <a:lnTo>
                      <a:pt x="3894" y="1946"/>
                    </a:lnTo>
                    <a:cubicBezTo>
                      <a:pt x="3894" y="3021"/>
                      <a:pt x="3022" y="3892"/>
                      <a:pt x="1947" y="3892"/>
                    </a:cubicBezTo>
                    <a:lnTo>
                      <a:pt x="1947" y="3892"/>
                    </a:lnTo>
                    <a:cubicBezTo>
                      <a:pt x="872" y="3892"/>
                      <a:pt x="0" y="3021"/>
                      <a:pt x="0" y="1946"/>
                    </a:cubicBezTo>
                    <a:lnTo>
                      <a:pt x="0" y="1946"/>
                    </a:lnTo>
                    <a:cubicBezTo>
                      <a:pt x="0" y="871"/>
                      <a:pt x="872" y="0"/>
                      <a:pt x="1947" y="0"/>
                    </a:cubicBezTo>
                    <a:lnTo>
                      <a:pt x="1947" y="0"/>
                    </a:lnTo>
                    <a:cubicBezTo>
                      <a:pt x="3022" y="0"/>
                      <a:pt x="3894" y="871"/>
                      <a:pt x="3894" y="1946"/>
                    </a:cubicBezTo>
                  </a:path>
                </a:pathLst>
              </a:custGeom>
              <a:solidFill>
                <a:srgbClr val="27C7CF"/>
              </a:solidFill>
              <a:ln>
                <a:noFill/>
              </a:ln>
              <a:effectLst/>
            </p:spPr>
            <p:txBody>
              <a:bodyPr wrap="none" anchor="ctr"/>
              <a:lstStyle/>
              <a:p>
                <a:pPr marL="0" marR="0" lvl="0" indent="0" defTabSz="914217" eaLnBrk="1" fontAlgn="auto" latinLnBrk="0" hangingPunct="1">
                  <a:lnSpc>
                    <a:spcPct val="100000"/>
                  </a:lnSpc>
                  <a:spcBef>
                    <a:spcPts val="0"/>
                  </a:spcBef>
                  <a:spcAft>
                    <a:spcPts val="0"/>
                  </a:spcAft>
                  <a:buClrTx/>
                  <a:buSzTx/>
                  <a:buFontTx/>
                  <a:buNone/>
                  <a:tabLst/>
                  <a:defRPr/>
                </a:pPr>
                <a:endParaRPr kumimoji="0" lang="en-US" sz="3266" b="0" i="0" u="none" strike="noStrike" kern="0" cap="none" spc="0" normalizeH="0" baseline="0" noProof="0">
                  <a:ln>
                    <a:noFill/>
                  </a:ln>
                  <a:solidFill>
                    <a:srgbClr val="AAAAAA"/>
                  </a:solidFill>
                  <a:effectLst/>
                  <a:uLnTx/>
                  <a:uFillTx/>
                  <a:latin typeface="Abadi" panose="020B0604020104020204" pitchFamily="34" charset="0"/>
                </a:endParaRPr>
              </a:p>
            </p:txBody>
          </p:sp>
        </p:grpSp>
        <p:sp>
          <p:nvSpPr>
            <p:cNvPr id="28" name="Freeform 957">
              <a:extLst>
                <a:ext uri="{FF2B5EF4-FFF2-40B4-BE49-F238E27FC236}">
                  <a16:creationId xmlns:a16="http://schemas.microsoft.com/office/drawing/2014/main" id="{81168C4D-D3FF-0847-C589-D115DEA41014}"/>
                </a:ext>
              </a:extLst>
            </p:cNvPr>
            <p:cNvSpPr>
              <a:spLocks noChangeAspect="1"/>
            </p:cNvSpPr>
            <p:nvPr/>
          </p:nvSpPr>
          <p:spPr bwMode="auto">
            <a:xfrm>
              <a:off x="3439274" y="4294097"/>
              <a:ext cx="564602" cy="518406"/>
            </a:xfrm>
            <a:custGeom>
              <a:avLst/>
              <a:gdLst>
                <a:gd name="T0" fmla="*/ 8158222 w 288440"/>
                <a:gd name="T1" fmla="*/ 8445065 h 264755"/>
                <a:gd name="T2" fmla="*/ 7826577 w 288440"/>
                <a:gd name="T3" fmla="*/ 8445065 h 264755"/>
                <a:gd name="T4" fmla="*/ 2515811 w 288440"/>
                <a:gd name="T5" fmla="*/ 8285717 h 264755"/>
                <a:gd name="T6" fmla="*/ 2515811 w 288440"/>
                <a:gd name="T7" fmla="*/ 8617717 h 264755"/>
                <a:gd name="T8" fmla="*/ 2515811 w 288440"/>
                <a:gd name="T9" fmla="*/ 8285717 h 264755"/>
                <a:gd name="T10" fmla="*/ 7078212 w 288440"/>
                <a:gd name="T11" fmla="*/ 8394325 h 264755"/>
                <a:gd name="T12" fmla="*/ 8881795 w 288440"/>
                <a:gd name="T13" fmla="*/ 8394325 h 264755"/>
                <a:gd name="T14" fmla="*/ 2477749 w 288440"/>
                <a:gd name="T15" fmla="*/ 7515549 h 264755"/>
                <a:gd name="T16" fmla="*/ 2477749 w 288440"/>
                <a:gd name="T17" fmla="*/ 9286027 h 264755"/>
                <a:gd name="T18" fmla="*/ 2477749 w 288440"/>
                <a:gd name="T19" fmla="*/ 7515549 h 264755"/>
                <a:gd name="T20" fmla="*/ 3693201 w 288440"/>
                <a:gd name="T21" fmla="*/ 8239294 h 264755"/>
                <a:gd name="T22" fmla="*/ 7980013 w 288440"/>
                <a:gd name="T23" fmla="*/ 7192468 h 264755"/>
                <a:gd name="T24" fmla="*/ 7980013 w 288440"/>
                <a:gd name="T25" fmla="*/ 9596156 h 264755"/>
                <a:gd name="T26" fmla="*/ 3693201 w 288440"/>
                <a:gd name="T27" fmla="*/ 8562353 h 264755"/>
                <a:gd name="T28" fmla="*/ 1262342 w 288440"/>
                <a:gd name="T29" fmla="*/ 8394325 h 264755"/>
                <a:gd name="T30" fmla="*/ 3397182 w 288440"/>
                <a:gd name="T31" fmla="*/ 5274281 h 264755"/>
                <a:gd name="T32" fmla="*/ 1369285 w 288440"/>
                <a:gd name="T33" fmla="*/ 5745399 h 264755"/>
                <a:gd name="T34" fmla="*/ 3580353 w 288440"/>
                <a:gd name="T35" fmla="*/ 6347409 h 264755"/>
                <a:gd name="T36" fmla="*/ 6210105 w 288440"/>
                <a:gd name="T37" fmla="*/ 5117224 h 264755"/>
                <a:gd name="T38" fmla="*/ 3907437 w 288440"/>
                <a:gd name="T39" fmla="*/ 6347409 h 264755"/>
                <a:gd name="T40" fmla="*/ 6210105 w 288440"/>
                <a:gd name="T41" fmla="*/ 5117224 h 264755"/>
                <a:gd name="T42" fmla="*/ 6537268 w 288440"/>
                <a:gd name="T43" fmla="*/ 5104140 h 264755"/>
                <a:gd name="T44" fmla="*/ 7989437 w 288440"/>
                <a:gd name="T45" fmla="*/ 6347409 h 264755"/>
                <a:gd name="T46" fmla="*/ 8892255 w 288440"/>
                <a:gd name="T47" fmla="*/ 4986399 h 264755"/>
                <a:gd name="T48" fmla="*/ 793601 w 288440"/>
                <a:gd name="T49" fmla="*/ 4083301 h 264755"/>
                <a:gd name="T50" fmla="*/ 3357933 w 288440"/>
                <a:gd name="T51" fmla="*/ 4960204 h 264755"/>
                <a:gd name="T52" fmla="*/ 6079286 w 288440"/>
                <a:gd name="T53" fmla="*/ 3559776 h 264755"/>
                <a:gd name="T54" fmla="*/ 3671951 w 288440"/>
                <a:gd name="T55" fmla="*/ 4934031 h 264755"/>
                <a:gd name="T56" fmla="*/ 6079286 w 288440"/>
                <a:gd name="T57" fmla="*/ 3559776 h 264755"/>
                <a:gd name="T58" fmla="*/ 6393273 w 288440"/>
                <a:gd name="T59" fmla="*/ 3533617 h 264755"/>
                <a:gd name="T60" fmla="*/ 8892255 w 288440"/>
                <a:gd name="T61" fmla="*/ 4659164 h 264755"/>
                <a:gd name="T62" fmla="*/ 2939249 w 288440"/>
                <a:gd name="T63" fmla="*/ 2473541 h 264755"/>
                <a:gd name="T64" fmla="*/ 688896 w 288440"/>
                <a:gd name="T65" fmla="*/ 3769208 h 264755"/>
                <a:gd name="T66" fmla="*/ 2939249 w 288440"/>
                <a:gd name="T67" fmla="*/ 2473541 h 264755"/>
                <a:gd name="T68" fmla="*/ 3253285 w 288440"/>
                <a:gd name="T69" fmla="*/ 2421164 h 264755"/>
                <a:gd name="T70" fmla="*/ 6053183 w 288440"/>
                <a:gd name="T71" fmla="*/ 3258820 h 264755"/>
                <a:gd name="T72" fmla="*/ 8892255 w 288440"/>
                <a:gd name="T73" fmla="*/ 1609767 h 264755"/>
                <a:gd name="T74" fmla="*/ 6367121 w 288440"/>
                <a:gd name="T75" fmla="*/ 3219524 h 264755"/>
                <a:gd name="T76" fmla="*/ 8892255 w 288440"/>
                <a:gd name="T77" fmla="*/ 1609767 h 264755"/>
                <a:gd name="T78" fmla="*/ 10462211 w 288440"/>
                <a:gd name="T79" fmla="*/ 157068 h 264755"/>
                <a:gd name="T80" fmla="*/ 9206226 w 288440"/>
                <a:gd name="T81" fmla="*/ 1439699 h 264755"/>
                <a:gd name="T82" fmla="*/ 7989437 w 288440"/>
                <a:gd name="T83" fmla="*/ 6661502 h 264755"/>
                <a:gd name="T84" fmla="*/ 1081370 w 288440"/>
                <a:gd name="T85" fmla="*/ 5850138 h 264755"/>
                <a:gd name="T86" fmla="*/ 21666 w 288440"/>
                <a:gd name="T87" fmla="*/ 2617537 h 264755"/>
                <a:gd name="T88" fmla="*/ 8892255 w 288440"/>
                <a:gd name="T89" fmla="*/ 1282604 h 26475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88440" h="264755">
                  <a:moveTo>
                    <a:pt x="220348" y="228600"/>
                  </a:moveTo>
                  <a:cubicBezTo>
                    <a:pt x="223015" y="228600"/>
                    <a:pt x="224920" y="230432"/>
                    <a:pt x="224920" y="232996"/>
                  </a:cubicBezTo>
                  <a:cubicBezTo>
                    <a:pt x="224920" y="235561"/>
                    <a:pt x="223015" y="237759"/>
                    <a:pt x="220348" y="237759"/>
                  </a:cubicBezTo>
                  <a:cubicBezTo>
                    <a:pt x="217681" y="237759"/>
                    <a:pt x="215776" y="235561"/>
                    <a:pt x="215776" y="232996"/>
                  </a:cubicBezTo>
                  <a:cubicBezTo>
                    <a:pt x="215776" y="230432"/>
                    <a:pt x="217681" y="228600"/>
                    <a:pt x="220348" y="228600"/>
                  </a:cubicBezTo>
                  <a:close/>
                  <a:moveTo>
                    <a:pt x="69360" y="228600"/>
                  </a:moveTo>
                  <a:cubicBezTo>
                    <a:pt x="71925" y="228600"/>
                    <a:pt x="74123" y="230432"/>
                    <a:pt x="74123" y="232996"/>
                  </a:cubicBezTo>
                  <a:cubicBezTo>
                    <a:pt x="74123" y="235561"/>
                    <a:pt x="71925" y="237759"/>
                    <a:pt x="69360" y="237759"/>
                  </a:cubicBezTo>
                  <a:cubicBezTo>
                    <a:pt x="66796" y="237759"/>
                    <a:pt x="64964" y="235561"/>
                    <a:pt x="64964" y="232996"/>
                  </a:cubicBezTo>
                  <a:cubicBezTo>
                    <a:pt x="64964" y="230432"/>
                    <a:pt x="66796" y="228600"/>
                    <a:pt x="69360" y="228600"/>
                  </a:cubicBezTo>
                  <a:close/>
                  <a:moveTo>
                    <a:pt x="220006" y="207351"/>
                  </a:moveTo>
                  <a:cubicBezTo>
                    <a:pt x="206314" y="207351"/>
                    <a:pt x="195144" y="218047"/>
                    <a:pt x="195144" y="231596"/>
                  </a:cubicBezTo>
                  <a:cubicBezTo>
                    <a:pt x="195144" y="245145"/>
                    <a:pt x="206314" y="256198"/>
                    <a:pt x="220006" y="256198"/>
                  </a:cubicBezTo>
                  <a:cubicBezTo>
                    <a:pt x="233338" y="256198"/>
                    <a:pt x="244868" y="245145"/>
                    <a:pt x="244868" y="231596"/>
                  </a:cubicBezTo>
                  <a:cubicBezTo>
                    <a:pt x="244868" y="218047"/>
                    <a:pt x="233338" y="207351"/>
                    <a:pt x="220006" y="207351"/>
                  </a:cubicBezTo>
                  <a:close/>
                  <a:moveTo>
                    <a:pt x="68311" y="207351"/>
                  </a:moveTo>
                  <a:cubicBezTo>
                    <a:pt x="54979" y="207351"/>
                    <a:pt x="43809" y="218047"/>
                    <a:pt x="43809" y="231596"/>
                  </a:cubicBezTo>
                  <a:cubicBezTo>
                    <a:pt x="43809" y="245145"/>
                    <a:pt x="54979" y="256198"/>
                    <a:pt x="68311" y="256198"/>
                  </a:cubicBezTo>
                  <a:cubicBezTo>
                    <a:pt x="82363" y="256198"/>
                    <a:pt x="93173" y="245145"/>
                    <a:pt x="93173" y="231596"/>
                  </a:cubicBezTo>
                  <a:cubicBezTo>
                    <a:pt x="93173" y="218047"/>
                    <a:pt x="82363" y="207351"/>
                    <a:pt x="68311" y="207351"/>
                  </a:cubicBezTo>
                  <a:close/>
                  <a:moveTo>
                    <a:pt x="68311" y="198437"/>
                  </a:moveTo>
                  <a:cubicBezTo>
                    <a:pt x="85606" y="198437"/>
                    <a:pt x="99659" y="210916"/>
                    <a:pt x="101821" y="227318"/>
                  </a:cubicBezTo>
                  <a:lnTo>
                    <a:pt x="186856" y="227318"/>
                  </a:lnTo>
                  <a:cubicBezTo>
                    <a:pt x="189018" y="210916"/>
                    <a:pt x="203071" y="198437"/>
                    <a:pt x="220006" y="198437"/>
                  </a:cubicBezTo>
                  <a:cubicBezTo>
                    <a:pt x="238382" y="198437"/>
                    <a:pt x="253516" y="213412"/>
                    <a:pt x="253516" y="231596"/>
                  </a:cubicBezTo>
                  <a:cubicBezTo>
                    <a:pt x="253516" y="249424"/>
                    <a:pt x="238382" y="264755"/>
                    <a:pt x="220006" y="264755"/>
                  </a:cubicBezTo>
                  <a:cubicBezTo>
                    <a:pt x="203071" y="264755"/>
                    <a:pt x="189018" y="251920"/>
                    <a:pt x="186856" y="236231"/>
                  </a:cubicBezTo>
                  <a:lnTo>
                    <a:pt x="101821" y="236231"/>
                  </a:lnTo>
                  <a:cubicBezTo>
                    <a:pt x="99659" y="251920"/>
                    <a:pt x="85606" y="264755"/>
                    <a:pt x="68311" y="264755"/>
                  </a:cubicBezTo>
                  <a:cubicBezTo>
                    <a:pt x="49934" y="264755"/>
                    <a:pt x="34801" y="249424"/>
                    <a:pt x="34801" y="231596"/>
                  </a:cubicBezTo>
                  <a:cubicBezTo>
                    <a:pt x="34801" y="213412"/>
                    <a:pt x="49934" y="198437"/>
                    <a:pt x="68311" y="198437"/>
                  </a:cubicBezTo>
                  <a:close/>
                  <a:moveTo>
                    <a:pt x="93659" y="145515"/>
                  </a:moveTo>
                  <a:lnTo>
                    <a:pt x="34143" y="148403"/>
                  </a:lnTo>
                  <a:lnTo>
                    <a:pt x="37750" y="158513"/>
                  </a:lnTo>
                  <a:cubicBezTo>
                    <a:pt x="40996" y="168624"/>
                    <a:pt x="50375" y="175123"/>
                    <a:pt x="61196" y="175123"/>
                  </a:cubicBezTo>
                  <a:lnTo>
                    <a:pt x="98709" y="175123"/>
                  </a:lnTo>
                  <a:lnTo>
                    <a:pt x="93659" y="145515"/>
                  </a:lnTo>
                  <a:close/>
                  <a:moveTo>
                    <a:pt x="171211" y="141182"/>
                  </a:moveTo>
                  <a:lnTo>
                    <a:pt x="102677" y="144792"/>
                  </a:lnTo>
                  <a:lnTo>
                    <a:pt x="107727" y="175123"/>
                  </a:lnTo>
                  <a:lnTo>
                    <a:pt x="174457" y="175123"/>
                  </a:lnTo>
                  <a:lnTo>
                    <a:pt x="171211" y="141182"/>
                  </a:lnTo>
                  <a:close/>
                  <a:moveTo>
                    <a:pt x="245156" y="137571"/>
                  </a:moveTo>
                  <a:lnTo>
                    <a:pt x="180229" y="140821"/>
                  </a:lnTo>
                  <a:lnTo>
                    <a:pt x="183475" y="175123"/>
                  </a:lnTo>
                  <a:lnTo>
                    <a:pt x="220267" y="175123"/>
                  </a:lnTo>
                  <a:cubicBezTo>
                    <a:pt x="233613" y="175123"/>
                    <a:pt x="245156" y="164291"/>
                    <a:pt x="245156" y="150570"/>
                  </a:cubicBezTo>
                  <a:lnTo>
                    <a:pt x="245156" y="137571"/>
                  </a:lnTo>
                  <a:close/>
                  <a:moveTo>
                    <a:pt x="87167" y="106157"/>
                  </a:moveTo>
                  <a:lnTo>
                    <a:pt x="21879" y="112656"/>
                  </a:lnTo>
                  <a:lnTo>
                    <a:pt x="31257" y="139737"/>
                  </a:lnTo>
                  <a:lnTo>
                    <a:pt x="92577" y="136849"/>
                  </a:lnTo>
                  <a:lnTo>
                    <a:pt x="87167" y="106157"/>
                  </a:lnTo>
                  <a:close/>
                  <a:moveTo>
                    <a:pt x="167604" y="98213"/>
                  </a:moveTo>
                  <a:lnTo>
                    <a:pt x="96184" y="105435"/>
                  </a:lnTo>
                  <a:lnTo>
                    <a:pt x="101234" y="136127"/>
                  </a:lnTo>
                  <a:lnTo>
                    <a:pt x="170850" y="132877"/>
                  </a:lnTo>
                  <a:lnTo>
                    <a:pt x="167604" y="98213"/>
                  </a:lnTo>
                  <a:close/>
                  <a:moveTo>
                    <a:pt x="245156" y="90992"/>
                  </a:moveTo>
                  <a:lnTo>
                    <a:pt x="176261" y="97491"/>
                  </a:lnTo>
                  <a:lnTo>
                    <a:pt x="179507" y="131794"/>
                  </a:lnTo>
                  <a:lnTo>
                    <a:pt x="245156" y="128544"/>
                  </a:lnTo>
                  <a:lnTo>
                    <a:pt x="245156" y="90992"/>
                  </a:lnTo>
                  <a:close/>
                  <a:moveTo>
                    <a:pt x="81035" y="68244"/>
                  </a:moveTo>
                  <a:lnTo>
                    <a:pt x="9976" y="77993"/>
                  </a:lnTo>
                  <a:lnTo>
                    <a:pt x="18993" y="103991"/>
                  </a:lnTo>
                  <a:lnTo>
                    <a:pt x="85724" y="97491"/>
                  </a:lnTo>
                  <a:lnTo>
                    <a:pt x="81035" y="68244"/>
                  </a:lnTo>
                  <a:close/>
                  <a:moveTo>
                    <a:pt x="163636" y="56328"/>
                  </a:moveTo>
                  <a:lnTo>
                    <a:pt x="89692" y="66799"/>
                  </a:lnTo>
                  <a:lnTo>
                    <a:pt x="94741" y="96769"/>
                  </a:lnTo>
                  <a:lnTo>
                    <a:pt x="166883" y="89909"/>
                  </a:lnTo>
                  <a:lnTo>
                    <a:pt x="163636" y="56328"/>
                  </a:lnTo>
                  <a:close/>
                  <a:moveTo>
                    <a:pt x="245156" y="44413"/>
                  </a:moveTo>
                  <a:lnTo>
                    <a:pt x="172293" y="55245"/>
                  </a:lnTo>
                  <a:lnTo>
                    <a:pt x="175539" y="88825"/>
                  </a:lnTo>
                  <a:lnTo>
                    <a:pt x="245156" y="81965"/>
                  </a:lnTo>
                  <a:lnTo>
                    <a:pt x="245156" y="44413"/>
                  </a:lnTo>
                  <a:close/>
                  <a:moveTo>
                    <a:pt x="284473" y="0"/>
                  </a:moveTo>
                  <a:cubicBezTo>
                    <a:pt x="286637" y="0"/>
                    <a:pt x="288440" y="1805"/>
                    <a:pt x="288440" y="4333"/>
                  </a:cubicBezTo>
                  <a:cubicBezTo>
                    <a:pt x="288440" y="6860"/>
                    <a:pt x="286637" y="9027"/>
                    <a:pt x="284473" y="9027"/>
                  </a:cubicBezTo>
                  <a:cubicBezTo>
                    <a:pt x="267519" y="9027"/>
                    <a:pt x="253813" y="22748"/>
                    <a:pt x="253813" y="39719"/>
                  </a:cubicBezTo>
                  <a:lnTo>
                    <a:pt x="253813" y="150570"/>
                  </a:lnTo>
                  <a:cubicBezTo>
                    <a:pt x="253813" y="168985"/>
                    <a:pt x="238663" y="183789"/>
                    <a:pt x="220267" y="183789"/>
                  </a:cubicBezTo>
                  <a:lnTo>
                    <a:pt x="61196" y="183789"/>
                  </a:lnTo>
                  <a:cubicBezTo>
                    <a:pt x="46768" y="183789"/>
                    <a:pt x="34143" y="175123"/>
                    <a:pt x="29814" y="161402"/>
                  </a:cubicBezTo>
                  <a:lnTo>
                    <a:pt x="237" y="75826"/>
                  </a:lnTo>
                  <a:cubicBezTo>
                    <a:pt x="-124" y="74743"/>
                    <a:pt x="-124" y="72938"/>
                    <a:pt x="597" y="72216"/>
                  </a:cubicBezTo>
                  <a:cubicBezTo>
                    <a:pt x="958" y="71132"/>
                    <a:pt x="2401" y="70049"/>
                    <a:pt x="3483" y="70049"/>
                  </a:cubicBezTo>
                  <a:lnTo>
                    <a:pt x="245156" y="35386"/>
                  </a:lnTo>
                  <a:cubicBezTo>
                    <a:pt x="247320" y="15526"/>
                    <a:pt x="263912" y="0"/>
                    <a:pt x="284473" y="0"/>
                  </a:cubicBezTo>
                  <a:close/>
                </a:path>
              </a:pathLst>
            </a:custGeom>
            <a:solidFill>
              <a:srgbClr val="FFFFFF"/>
            </a:solidFill>
            <a:ln>
              <a:noFill/>
            </a:ln>
          </p:spPr>
          <p:txBody>
            <a:bodyPr anchor="ctr"/>
            <a:lstStyle/>
            <a:p>
              <a:pPr marL="0" marR="0" lvl="0" indent="0" defTabSz="91421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AAAAA"/>
                </a:solidFill>
                <a:effectLst/>
                <a:uLnTx/>
                <a:uFillTx/>
                <a:latin typeface="Abadi" panose="020B0604020104020204" pitchFamily="34" charset="0"/>
              </a:endParaRPr>
            </a:p>
          </p:txBody>
        </p:sp>
        <p:sp>
          <p:nvSpPr>
            <p:cNvPr id="29" name="Freeform 45">
              <a:extLst>
                <a:ext uri="{FF2B5EF4-FFF2-40B4-BE49-F238E27FC236}">
                  <a16:creationId xmlns:a16="http://schemas.microsoft.com/office/drawing/2014/main" id="{1FF21073-2D1F-D26F-E2A3-FBF4E76E4AC8}"/>
                </a:ext>
              </a:extLst>
            </p:cNvPr>
            <p:cNvSpPr>
              <a:spLocks noChangeAspect="1"/>
            </p:cNvSpPr>
            <p:nvPr/>
          </p:nvSpPr>
          <p:spPr bwMode="auto">
            <a:xfrm>
              <a:off x="8133716" y="2974084"/>
              <a:ext cx="569734" cy="571445"/>
            </a:xfrm>
            <a:custGeom>
              <a:avLst/>
              <a:gdLst>
                <a:gd name="T0" fmla="*/ 2147483646 w 811"/>
                <a:gd name="T1" fmla="*/ 2147483646 h 811"/>
                <a:gd name="T2" fmla="*/ 2147483646 w 811"/>
                <a:gd name="T3" fmla="*/ 2147483646 h 811"/>
                <a:gd name="T4" fmla="*/ 2147483646 w 811"/>
                <a:gd name="T5" fmla="*/ 2147483646 h 811"/>
                <a:gd name="T6" fmla="*/ 2147483646 w 811"/>
                <a:gd name="T7" fmla="*/ 2147483646 h 811"/>
                <a:gd name="T8" fmla="*/ 2147483646 w 811"/>
                <a:gd name="T9" fmla="*/ 2147483646 h 811"/>
                <a:gd name="T10" fmla="*/ 2147483646 w 811"/>
                <a:gd name="T11" fmla="*/ 2147483646 h 811"/>
                <a:gd name="T12" fmla="*/ 2147483646 w 811"/>
                <a:gd name="T13" fmla="*/ 2147483646 h 811"/>
                <a:gd name="T14" fmla="*/ 2147483646 w 811"/>
                <a:gd name="T15" fmla="*/ 2147483646 h 811"/>
                <a:gd name="T16" fmla="*/ 2147483646 w 811"/>
                <a:gd name="T17" fmla="*/ 2147483646 h 811"/>
                <a:gd name="T18" fmla="*/ 2147483646 w 811"/>
                <a:gd name="T19" fmla="*/ 2147483646 h 811"/>
                <a:gd name="T20" fmla="*/ 2147483646 w 811"/>
                <a:gd name="T21" fmla="*/ 2147483646 h 811"/>
                <a:gd name="T22" fmla="*/ 2147483646 w 811"/>
                <a:gd name="T23" fmla="*/ 2147483646 h 811"/>
                <a:gd name="T24" fmla="*/ 2147483646 w 811"/>
                <a:gd name="T25" fmla="*/ 2147483646 h 811"/>
                <a:gd name="T26" fmla="*/ 2147483646 w 811"/>
                <a:gd name="T27" fmla="*/ 2147483646 h 811"/>
                <a:gd name="T28" fmla="*/ 2147483646 w 811"/>
                <a:gd name="T29" fmla="*/ 2147483646 h 811"/>
                <a:gd name="T30" fmla="*/ 2147483646 w 811"/>
                <a:gd name="T31" fmla="*/ 2147483646 h 811"/>
                <a:gd name="T32" fmla="*/ 2147483646 w 811"/>
                <a:gd name="T33" fmla="*/ 2147483646 h 811"/>
                <a:gd name="T34" fmla="*/ 2147483646 w 811"/>
                <a:gd name="T35" fmla="*/ 2147483646 h 811"/>
                <a:gd name="T36" fmla="*/ 2147483646 w 811"/>
                <a:gd name="T37" fmla="*/ 2147483646 h 811"/>
                <a:gd name="T38" fmla="*/ 2147483646 w 811"/>
                <a:gd name="T39" fmla="*/ 2147483646 h 811"/>
                <a:gd name="T40" fmla="*/ 2147483646 w 811"/>
                <a:gd name="T41" fmla="*/ 2147483646 h 811"/>
                <a:gd name="T42" fmla="*/ 2147483646 w 811"/>
                <a:gd name="T43" fmla="*/ 2147483646 h 811"/>
                <a:gd name="T44" fmla="*/ 2147483646 w 811"/>
                <a:gd name="T45" fmla="*/ 2147483646 h 811"/>
                <a:gd name="T46" fmla="*/ 2147483646 w 811"/>
                <a:gd name="T47" fmla="*/ 2147483646 h 811"/>
                <a:gd name="T48" fmla="*/ 2147483646 w 811"/>
                <a:gd name="T49" fmla="*/ 2147483646 h 811"/>
                <a:gd name="T50" fmla="*/ 2147483646 w 811"/>
                <a:gd name="T51" fmla="*/ 2147483646 h 811"/>
                <a:gd name="T52" fmla="*/ 2147483646 w 811"/>
                <a:gd name="T53" fmla="*/ 2147483646 h 811"/>
                <a:gd name="T54" fmla="*/ 2147483646 w 811"/>
                <a:gd name="T55" fmla="*/ 2147483646 h 811"/>
                <a:gd name="T56" fmla="*/ 2147483646 w 811"/>
                <a:gd name="T57" fmla="*/ 2147483646 h 811"/>
                <a:gd name="T58" fmla="*/ 2147483646 w 811"/>
                <a:gd name="T59" fmla="*/ 2147483646 h 811"/>
                <a:gd name="T60" fmla="*/ 2147483646 w 811"/>
                <a:gd name="T61" fmla="*/ 2147483646 h 811"/>
                <a:gd name="T62" fmla="*/ 2147483646 w 811"/>
                <a:gd name="T63" fmla="*/ 2147483646 h 811"/>
                <a:gd name="T64" fmla="*/ 2147483646 w 811"/>
                <a:gd name="T65" fmla="*/ 2147483646 h 811"/>
                <a:gd name="T66" fmla="*/ 2147483646 w 811"/>
                <a:gd name="T67" fmla="*/ 2147483646 h 811"/>
                <a:gd name="T68" fmla="*/ 2147483646 w 811"/>
                <a:gd name="T69" fmla="*/ 2147483646 h 811"/>
                <a:gd name="T70" fmla="*/ 2147483646 w 811"/>
                <a:gd name="T71" fmla="*/ 2147483646 h 811"/>
                <a:gd name="T72" fmla="*/ 2147483646 w 811"/>
                <a:gd name="T73" fmla="*/ 2147483646 h 811"/>
                <a:gd name="T74" fmla="*/ 2147483646 w 811"/>
                <a:gd name="T75" fmla="*/ 2147483646 h 811"/>
                <a:gd name="T76" fmla="*/ 2147483646 w 811"/>
                <a:gd name="T77" fmla="*/ 2147483646 h 811"/>
                <a:gd name="T78" fmla="*/ 2147483646 w 811"/>
                <a:gd name="T79" fmla="*/ 2147483646 h 811"/>
                <a:gd name="T80" fmla="*/ 2147483646 w 811"/>
                <a:gd name="T81" fmla="*/ 2147483646 h 811"/>
                <a:gd name="T82" fmla="*/ 2147483646 w 811"/>
                <a:gd name="T83" fmla="*/ 2147483646 h 811"/>
                <a:gd name="T84" fmla="*/ 2147483646 w 811"/>
                <a:gd name="T85" fmla="*/ 2147483646 h 811"/>
                <a:gd name="T86" fmla="*/ 2147483646 w 811"/>
                <a:gd name="T87" fmla="*/ 2147483646 h 811"/>
                <a:gd name="T88" fmla="*/ 2147483646 w 811"/>
                <a:gd name="T89" fmla="*/ 2147483646 h 811"/>
                <a:gd name="T90" fmla="*/ 2147483646 w 811"/>
                <a:gd name="T91" fmla="*/ 2147483646 h 811"/>
                <a:gd name="T92" fmla="*/ 2147483646 w 811"/>
                <a:gd name="T93" fmla="*/ 2147483646 h 811"/>
                <a:gd name="T94" fmla="*/ 2147483646 w 811"/>
                <a:gd name="T95" fmla="*/ 2147483646 h 811"/>
                <a:gd name="T96" fmla="*/ 2147483646 w 811"/>
                <a:gd name="T97" fmla="*/ 2147483646 h 811"/>
                <a:gd name="T98" fmla="*/ 2147483646 w 811"/>
                <a:gd name="T99" fmla="*/ 2147483646 h 811"/>
                <a:gd name="T100" fmla="*/ 0 w 811"/>
                <a:gd name="T101" fmla="*/ 2147483646 h 811"/>
                <a:gd name="T102" fmla="*/ 2147483646 w 811"/>
                <a:gd name="T103" fmla="*/ 2147483646 h 811"/>
                <a:gd name="T104" fmla="*/ 2147483646 w 811"/>
                <a:gd name="T105" fmla="*/ 2147483646 h 81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811" h="811">
                  <a:moveTo>
                    <a:pt x="784" y="393"/>
                  </a:moveTo>
                  <a:lnTo>
                    <a:pt x="686" y="393"/>
                  </a:lnTo>
                  <a:cubicBezTo>
                    <a:pt x="684" y="342"/>
                    <a:pt x="668" y="295"/>
                    <a:pt x="642" y="254"/>
                  </a:cubicBezTo>
                  <a:lnTo>
                    <a:pt x="666" y="254"/>
                  </a:lnTo>
                  <a:cubicBezTo>
                    <a:pt x="669" y="254"/>
                    <a:pt x="673" y="253"/>
                    <a:pt x="675" y="251"/>
                  </a:cubicBezTo>
                  <a:lnTo>
                    <a:pt x="724" y="201"/>
                  </a:lnTo>
                  <a:cubicBezTo>
                    <a:pt x="760" y="257"/>
                    <a:pt x="782" y="323"/>
                    <a:pt x="784" y="393"/>
                  </a:cubicBezTo>
                  <a:close/>
                  <a:moveTo>
                    <a:pt x="417" y="785"/>
                  </a:moveTo>
                  <a:lnTo>
                    <a:pt x="417" y="686"/>
                  </a:lnTo>
                  <a:cubicBezTo>
                    <a:pt x="563" y="681"/>
                    <a:pt x="680" y="563"/>
                    <a:pt x="686" y="418"/>
                  </a:cubicBezTo>
                  <a:lnTo>
                    <a:pt x="784" y="418"/>
                  </a:lnTo>
                  <a:cubicBezTo>
                    <a:pt x="778" y="618"/>
                    <a:pt x="617" y="779"/>
                    <a:pt x="417" y="785"/>
                  </a:cubicBezTo>
                  <a:close/>
                  <a:moveTo>
                    <a:pt x="25" y="418"/>
                  </a:moveTo>
                  <a:lnTo>
                    <a:pt x="123" y="418"/>
                  </a:lnTo>
                  <a:cubicBezTo>
                    <a:pt x="130" y="563"/>
                    <a:pt x="247" y="681"/>
                    <a:pt x="393" y="686"/>
                  </a:cubicBezTo>
                  <a:lnTo>
                    <a:pt x="393" y="785"/>
                  </a:lnTo>
                  <a:cubicBezTo>
                    <a:pt x="193" y="779"/>
                    <a:pt x="31" y="618"/>
                    <a:pt x="25" y="418"/>
                  </a:cubicBezTo>
                  <a:close/>
                  <a:moveTo>
                    <a:pt x="393" y="26"/>
                  </a:moveTo>
                  <a:lnTo>
                    <a:pt x="393" y="124"/>
                  </a:lnTo>
                  <a:cubicBezTo>
                    <a:pt x="247" y="131"/>
                    <a:pt x="130" y="248"/>
                    <a:pt x="123" y="393"/>
                  </a:cubicBezTo>
                  <a:lnTo>
                    <a:pt x="25" y="393"/>
                  </a:lnTo>
                  <a:cubicBezTo>
                    <a:pt x="31" y="194"/>
                    <a:pt x="193" y="32"/>
                    <a:pt x="393" y="26"/>
                  </a:cubicBezTo>
                  <a:close/>
                  <a:moveTo>
                    <a:pt x="559" y="135"/>
                  </a:moveTo>
                  <a:lnTo>
                    <a:pt x="559" y="135"/>
                  </a:lnTo>
                  <a:cubicBezTo>
                    <a:pt x="557" y="138"/>
                    <a:pt x="556" y="141"/>
                    <a:pt x="556" y="144"/>
                  </a:cubicBezTo>
                  <a:lnTo>
                    <a:pt x="556" y="168"/>
                  </a:lnTo>
                  <a:cubicBezTo>
                    <a:pt x="515" y="143"/>
                    <a:pt x="468" y="126"/>
                    <a:pt x="417" y="124"/>
                  </a:cubicBezTo>
                  <a:lnTo>
                    <a:pt x="417" y="26"/>
                  </a:lnTo>
                  <a:cubicBezTo>
                    <a:pt x="488" y="29"/>
                    <a:pt x="553" y="50"/>
                    <a:pt x="609" y="85"/>
                  </a:cubicBezTo>
                  <a:lnTo>
                    <a:pt x="559" y="135"/>
                  </a:lnTo>
                  <a:close/>
                  <a:moveTo>
                    <a:pt x="563" y="393"/>
                  </a:moveTo>
                  <a:lnTo>
                    <a:pt x="563" y="393"/>
                  </a:lnTo>
                  <a:cubicBezTo>
                    <a:pt x="560" y="359"/>
                    <a:pt x="547" y="327"/>
                    <a:pt x="525" y="302"/>
                  </a:cubicBezTo>
                  <a:lnTo>
                    <a:pt x="573" y="254"/>
                  </a:lnTo>
                  <a:lnTo>
                    <a:pt x="612" y="254"/>
                  </a:lnTo>
                  <a:cubicBezTo>
                    <a:pt x="641" y="294"/>
                    <a:pt x="659" y="342"/>
                    <a:pt x="661" y="393"/>
                  </a:cubicBezTo>
                  <a:lnTo>
                    <a:pt x="563" y="393"/>
                  </a:lnTo>
                  <a:close/>
                  <a:moveTo>
                    <a:pt x="417" y="564"/>
                  </a:moveTo>
                  <a:lnTo>
                    <a:pt x="417" y="564"/>
                  </a:lnTo>
                  <a:cubicBezTo>
                    <a:pt x="495" y="558"/>
                    <a:pt x="558" y="496"/>
                    <a:pt x="563" y="418"/>
                  </a:cubicBezTo>
                  <a:lnTo>
                    <a:pt x="661" y="418"/>
                  </a:lnTo>
                  <a:cubicBezTo>
                    <a:pt x="655" y="550"/>
                    <a:pt x="549" y="656"/>
                    <a:pt x="417" y="662"/>
                  </a:cubicBezTo>
                  <a:lnTo>
                    <a:pt x="417" y="564"/>
                  </a:lnTo>
                  <a:close/>
                  <a:moveTo>
                    <a:pt x="246" y="418"/>
                  </a:moveTo>
                  <a:lnTo>
                    <a:pt x="246" y="418"/>
                  </a:lnTo>
                  <a:cubicBezTo>
                    <a:pt x="252" y="496"/>
                    <a:pt x="314" y="558"/>
                    <a:pt x="393" y="564"/>
                  </a:cubicBezTo>
                  <a:lnTo>
                    <a:pt x="393" y="662"/>
                  </a:lnTo>
                  <a:cubicBezTo>
                    <a:pt x="260" y="656"/>
                    <a:pt x="154" y="550"/>
                    <a:pt x="148" y="418"/>
                  </a:cubicBezTo>
                  <a:lnTo>
                    <a:pt x="246" y="418"/>
                  </a:lnTo>
                  <a:close/>
                  <a:moveTo>
                    <a:pt x="393" y="246"/>
                  </a:moveTo>
                  <a:lnTo>
                    <a:pt x="393" y="246"/>
                  </a:lnTo>
                  <a:cubicBezTo>
                    <a:pt x="314" y="253"/>
                    <a:pt x="252" y="315"/>
                    <a:pt x="246" y="393"/>
                  </a:cubicBezTo>
                  <a:lnTo>
                    <a:pt x="148" y="393"/>
                  </a:lnTo>
                  <a:cubicBezTo>
                    <a:pt x="154" y="261"/>
                    <a:pt x="260" y="155"/>
                    <a:pt x="393" y="149"/>
                  </a:cubicBezTo>
                  <a:lnTo>
                    <a:pt x="393" y="246"/>
                  </a:lnTo>
                  <a:close/>
                  <a:moveTo>
                    <a:pt x="508" y="285"/>
                  </a:moveTo>
                  <a:lnTo>
                    <a:pt x="508" y="285"/>
                  </a:lnTo>
                  <a:cubicBezTo>
                    <a:pt x="483" y="263"/>
                    <a:pt x="452" y="249"/>
                    <a:pt x="417" y="246"/>
                  </a:cubicBezTo>
                  <a:lnTo>
                    <a:pt x="417" y="148"/>
                  </a:lnTo>
                  <a:cubicBezTo>
                    <a:pt x="469" y="151"/>
                    <a:pt x="516" y="169"/>
                    <a:pt x="556" y="198"/>
                  </a:cubicBezTo>
                  <a:lnTo>
                    <a:pt x="556" y="237"/>
                  </a:lnTo>
                  <a:lnTo>
                    <a:pt x="508" y="285"/>
                  </a:lnTo>
                  <a:close/>
                  <a:moveTo>
                    <a:pt x="503" y="418"/>
                  </a:moveTo>
                  <a:lnTo>
                    <a:pt x="539" y="418"/>
                  </a:lnTo>
                  <a:cubicBezTo>
                    <a:pt x="533" y="482"/>
                    <a:pt x="481" y="534"/>
                    <a:pt x="417" y="540"/>
                  </a:cubicBezTo>
                  <a:lnTo>
                    <a:pt x="417" y="504"/>
                  </a:lnTo>
                  <a:cubicBezTo>
                    <a:pt x="417" y="497"/>
                    <a:pt x="411" y="491"/>
                    <a:pt x="405" y="491"/>
                  </a:cubicBezTo>
                  <a:cubicBezTo>
                    <a:pt x="398" y="491"/>
                    <a:pt x="393" y="497"/>
                    <a:pt x="393" y="504"/>
                  </a:cubicBezTo>
                  <a:lnTo>
                    <a:pt x="393" y="540"/>
                  </a:lnTo>
                  <a:cubicBezTo>
                    <a:pt x="328" y="534"/>
                    <a:pt x="276" y="482"/>
                    <a:pt x="270" y="418"/>
                  </a:cubicBezTo>
                  <a:lnTo>
                    <a:pt x="307" y="418"/>
                  </a:lnTo>
                  <a:cubicBezTo>
                    <a:pt x="313" y="418"/>
                    <a:pt x="319" y="412"/>
                    <a:pt x="319" y="406"/>
                  </a:cubicBezTo>
                  <a:cubicBezTo>
                    <a:pt x="319" y="399"/>
                    <a:pt x="313" y="393"/>
                    <a:pt x="307" y="393"/>
                  </a:cubicBezTo>
                  <a:lnTo>
                    <a:pt x="270" y="393"/>
                  </a:lnTo>
                  <a:cubicBezTo>
                    <a:pt x="276" y="329"/>
                    <a:pt x="328" y="277"/>
                    <a:pt x="393" y="271"/>
                  </a:cubicBezTo>
                  <a:lnTo>
                    <a:pt x="393" y="308"/>
                  </a:lnTo>
                  <a:cubicBezTo>
                    <a:pt x="393" y="314"/>
                    <a:pt x="398" y="320"/>
                    <a:pt x="405" y="320"/>
                  </a:cubicBezTo>
                  <a:cubicBezTo>
                    <a:pt x="411" y="320"/>
                    <a:pt x="417" y="314"/>
                    <a:pt x="417" y="308"/>
                  </a:cubicBezTo>
                  <a:lnTo>
                    <a:pt x="417" y="271"/>
                  </a:lnTo>
                  <a:cubicBezTo>
                    <a:pt x="445" y="274"/>
                    <a:pt x="471" y="285"/>
                    <a:pt x="490" y="302"/>
                  </a:cubicBezTo>
                  <a:lnTo>
                    <a:pt x="396" y="397"/>
                  </a:lnTo>
                  <a:cubicBezTo>
                    <a:pt x="391" y="401"/>
                    <a:pt x="391" y="409"/>
                    <a:pt x="396" y="414"/>
                  </a:cubicBezTo>
                  <a:cubicBezTo>
                    <a:pt x="398" y="416"/>
                    <a:pt x="401" y="418"/>
                    <a:pt x="405" y="418"/>
                  </a:cubicBezTo>
                  <a:cubicBezTo>
                    <a:pt x="408" y="418"/>
                    <a:pt x="411" y="416"/>
                    <a:pt x="413" y="414"/>
                  </a:cubicBezTo>
                  <a:lnTo>
                    <a:pt x="508" y="319"/>
                  </a:lnTo>
                  <a:cubicBezTo>
                    <a:pt x="525" y="340"/>
                    <a:pt x="536" y="365"/>
                    <a:pt x="539" y="393"/>
                  </a:cubicBezTo>
                  <a:lnTo>
                    <a:pt x="503" y="393"/>
                  </a:lnTo>
                  <a:cubicBezTo>
                    <a:pt x="496" y="393"/>
                    <a:pt x="490" y="399"/>
                    <a:pt x="490" y="406"/>
                  </a:cubicBezTo>
                  <a:cubicBezTo>
                    <a:pt x="490" y="412"/>
                    <a:pt x="496" y="418"/>
                    <a:pt x="503" y="418"/>
                  </a:cubicBezTo>
                  <a:close/>
                  <a:moveTo>
                    <a:pt x="687" y="43"/>
                  </a:moveTo>
                  <a:lnTo>
                    <a:pt x="687" y="112"/>
                  </a:lnTo>
                  <a:cubicBezTo>
                    <a:pt x="687" y="118"/>
                    <a:pt x="692" y="124"/>
                    <a:pt x="699" y="124"/>
                  </a:cubicBezTo>
                  <a:lnTo>
                    <a:pt x="767" y="124"/>
                  </a:lnTo>
                  <a:lnTo>
                    <a:pt x="661" y="230"/>
                  </a:lnTo>
                  <a:lnTo>
                    <a:pt x="580" y="230"/>
                  </a:lnTo>
                  <a:lnTo>
                    <a:pt x="580" y="149"/>
                  </a:lnTo>
                  <a:lnTo>
                    <a:pt x="687" y="43"/>
                  </a:lnTo>
                  <a:close/>
                  <a:moveTo>
                    <a:pt x="805" y="120"/>
                  </a:moveTo>
                  <a:lnTo>
                    <a:pt x="805" y="120"/>
                  </a:lnTo>
                  <a:cubicBezTo>
                    <a:pt x="809" y="117"/>
                    <a:pt x="810" y="112"/>
                    <a:pt x="808" y="107"/>
                  </a:cubicBezTo>
                  <a:cubicBezTo>
                    <a:pt x="806" y="102"/>
                    <a:pt x="802" y="99"/>
                    <a:pt x="797" y="99"/>
                  </a:cubicBezTo>
                  <a:lnTo>
                    <a:pt x="729" y="99"/>
                  </a:lnTo>
                  <a:lnTo>
                    <a:pt x="805" y="22"/>
                  </a:lnTo>
                  <a:cubicBezTo>
                    <a:pt x="810" y="17"/>
                    <a:pt x="810" y="9"/>
                    <a:pt x="805" y="4"/>
                  </a:cubicBezTo>
                  <a:cubicBezTo>
                    <a:pt x="801" y="0"/>
                    <a:pt x="793" y="0"/>
                    <a:pt x="788" y="4"/>
                  </a:cubicBezTo>
                  <a:lnTo>
                    <a:pt x="711" y="82"/>
                  </a:lnTo>
                  <a:lnTo>
                    <a:pt x="711" y="13"/>
                  </a:lnTo>
                  <a:cubicBezTo>
                    <a:pt x="711" y="9"/>
                    <a:pt x="708" y="4"/>
                    <a:pt x="703" y="2"/>
                  </a:cubicBezTo>
                  <a:cubicBezTo>
                    <a:pt x="699" y="0"/>
                    <a:pt x="694" y="1"/>
                    <a:pt x="690" y="4"/>
                  </a:cubicBezTo>
                  <a:lnTo>
                    <a:pt x="627" y="68"/>
                  </a:lnTo>
                  <a:cubicBezTo>
                    <a:pt x="563" y="26"/>
                    <a:pt x="486" y="1"/>
                    <a:pt x="405" y="1"/>
                  </a:cubicBezTo>
                  <a:cubicBezTo>
                    <a:pt x="182" y="1"/>
                    <a:pt x="0" y="183"/>
                    <a:pt x="0" y="406"/>
                  </a:cubicBezTo>
                  <a:cubicBezTo>
                    <a:pt x="0" y="628"/>
                    <a:pt x="182" y="810"/>
                    <a:pt x="405" y="810"/>
                  </a:cubicBezTo>
                  <a:cubicBezTo>
                    <a:pt x="627" y="810"/>
                    <a:pt x="809" y="628"/>
                    <a:pt x="809" y="406"/>
                  </a:cubicBezTo>
                  <a:cubicBezTo>
                    <a:pt x="809" y="323"/>
                    <a:pt x="784" y="247"/>
                    <a:pt x="742" y="184"/>
                  </a:cubicBezTo>
                  <a:lnTo>
                    <a:pt x="805" y="120"/>
                  </a:lnTo>
                  <a:close/>
                </a:path>
              </a:pathLst>
            </a:custGeom>
            <a:solidFill>
              <a:srgbClr val="FFFFFF"/>
            </a:solidFill>
            <a:ln>
              <a:noFill/>
            </a:ln>
          </p:spPr>
          <p:txBody>
            <a:bodyPr wrap="none" anchor="ctr"/>
            <a:lstStyle/>
            <a:p>
              <a:pPr marL="0" marR="0" lvl="0" indent="0" defTabSz="91421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AAAAA"/>
                </a:solidFill>
                <a:effectLst/>
                <a:uLnTx/>
                <a:uFillTx/>
                <a:latin typeface="Abadi" panose="020B0604020104020204" pitchFamily="34" charset="0"/>
              </a:endParaRPr>
            </a:p>
          </p:txBody>
        </p:sp>
        <p:sp>
          <p:nvSpPr>
            <p:cNvPr id="30" name="Freeform 948">
              <a:extLst>
                <a:ext uri="{FF2B5EF4-FFF2-40B4-BE49-F238E27FC236}">
                  <a16:creationId xmlns:a16="http://schemas.microsoft.com/office/drawing/2014/main" id="{AD13496C-5BC7-53F7-8943-8F1F2BD2A1DD}"/>
                </a:ext>
              </a:extLst>
            </p:cNvPr>
            <p:cNvSpPr>
              <a:spLocks noChangeAspect="1"/>
            </p:cNvSpPr>
            <p:nvPr/>
          </p:nvSpPr>
          <p:spPr bwMode="auto">
            <a:xfrm>
              <a:off x="3435853" y="1685998"/>
              <a:ext cx="568023" cy="571446"/>
            </a:xfrm>
            <a:custGeom>
              <a:avLst/>
              <a:gdLst>
                <a:gd name="T0" fmla="*/ 8151805 w 290404"/>
                <a:gd name="T1" fmla="*/ 7218078 h 291739"/>
                <a:gd name="T2" fmla="*/ 7084153 w 290404"/>
                <a:gd name="T3" fmla="*/ 8292327 h 291739"/>
                <a:gd name="T4" fmla="*/ 8936349 w 290404"/>
                <a:gd name="T5" fmla="*/ 10204902 h 291739"/>
                <a:gd name="T6" fmla="*/ 9309399 w 290404"/>
                <a:gd name="T7" fmla="*/ 10204902 h 291739"/>
                <a:gd name="T8" fmla="*/ 10003937 w 290404"/>
                <a:gd name="T9" fmla="*/ 9484383 h 291739"/>
                <a:gd name="T10" fmla="*/ 10081155 w 290404"/>
                <a:gd name="T11" fmla="*/ 9300992 h 291739"/>
                <a:gd name="T12" fmla="*/ 10003937 w 290404"/>
                <a:gd name="T13" fmla="*/ 9104518 h 291739"/>
                <a:gd name="T14" fmla="*/ 7019845 w 290404"/>
                <a:gd name="T15" fmla="*/ 6615496 h 291739"/>
                <a:gd name="T16" fmla="*/ 6775312 w 290404"/>
                <a:gd name="T17" fmla="*/ 6903693 h 291739"/>
                <a:gd name="T18" fmla="*/ 6492384 w 290404"/>
                <a:gd name="T19" fmla="*/ 7152622 h 291739"/>
                <a:gd name="T20" fmla="*/ 7122705 w 290404"/>
                <a:gd name="T21" fmla="*/ 7794483 h 291739"/>
                <a:gd name="T22" fmla="*/ 7662982 w 290404"/>
                <a:gd name="T23" fmla="*/ 7257399 h 291739"/>
                <a:gd name="T24" fmla="*/ 3979449 w 290404"/>
                <a:gd name="T25" fmla="*/ 2076070 h 291739"/>
                <a:gd name="T26" fmla="*/ 4147351 w 290404"/>
                <a:gd name="T27" fmla="*/ 2245224 h 291739"/>
                <a:gd name="T28" fmla="*/ 3979449 w 290404"/>
                <a:gd name="T29" fmla="*/ 2401306 h 291739"/>
                <a:gd name="T30" fmla="*/ 2366088 w 290404"/>
                <a:gd name="T31" fmla="*/ 4027648 h 291739"/>
                <a:gd name="T32" fmla="*/ 2211071 w 290404"/>
                <a:gd name="T33" fmla="*/ 4196758 h 291739"/>
                <a:gd name="T34" fmla="*/ 2056147 w 290404"/>
                <a:gd name="T35" fmla="*/ 4027648 h 291739"/>
                <a:gd name="T36" fmla="*/ 3979449 w 290404"/>
                <a:gd name="T37" fmla="*/ 2076070 h 291739"/>
                <a:gd name="T38" fmla="*/ 4004759 w 290404"/>
                <a:gd name="T39" fmla="*/ 1479141 h 291739"/>
                <a:gd name="T40" fmla="*/ 2201523 w 290404"/>
                <a:gd name="T41" fmla="*/ 2234891 h 291739"/>
                <a:gd name="T42" fmla="*/ 2201523 w 290404"/>
                <a:gd name="T43" fmla="*/ 5883342 h 291739"/>
                <a:gd name="T44" fmla="*/ 4004759 w 290404"/>
                <a:gd name="T45" fmla="*/ 6652126 h 291739"/>
                <a:gd name="T46" fmla="*/ 5820704 w 290404"/>
                <a:gd name="T47" fmla="*/ 5883342 h 291739"/>
                <a:gd name="T48" fmla="*/ 6567767 w 290404"/>
                <a:gd name="T49" fmla="*/ 4059072 h 291739"/>
                <a:gd name="T50" fmla="*/ 5820704 w 290404"/>
                <a:gd name="T51" fmla="*/ 2234891 h 291739"/>
                <a:gd name="T52" fmla="*/ 4004759 w 290404"/>
                <a:gd name="T53" fmla="*/ 1479141 h 291739"/>
                <a:gd name="T54" fmla="*/ 4004759 w 290404"/>
                <a:gd name="T55" fmla="*/ 1153330 h 291739"/>
                <a:gd name="T56" fmla="*/ 6039759 w 290404"/>
                <a:gd name="T57" fmla="*/ 2013406 h 291739"/>
                <a:gd name="T58" fmla="*/ 6876893 w 290404"/>
                <a:gd name="T59" fmla="*/ 4059072 h 291739"/>
                <a:gd name="T60" fmla="*/ 6039759 w 290404"/>
                <a:gd name="T61" fmla="*/ 6117871 h 291739"/>
                <a:gd name="T62" fmla="*/ 4004759 w 290404"/>
                <a:gd name="T63" fmla="*/ 6964847 h 291739"/>
                <a:gd name="T64" fmla="*/ 1982619 w 290404"/>
                <a:gd name="T65" fmla="*/ 6117871 h 291739"/>
                <a:gd name="T66" fmla="*/ 1982619 w 290404"/>
                <a:gd name="T67" fmla="*/ 2013406 h 291739"/>
                <a:gd name="T68" fmla="*/ 4004759 w 290404"/>
                <a:gd name="T69" fmla="*/ 1153330 h 291739"/>
                <a:gd name="T70" fmla="*/ 3958483 w 290404"/>
                <a:gd name="T71" fmla="*/ 314465 h 291739"/>
                <a:gd name="T72" fmla="*/ 1385919 w 290404"/>
                <a:gd name="T73" fmla="*/ 1401722 h 291739"/>
                <a:gd name="T74" fmla="*/ 1385919 w 290404"/>
                <a:gd name="T75" fmla="*/ 6667903 h 291739"/>
                <a:gd name="T76" fmla="*/ 6556733 w 290404"/>
                <a:gd name="T77" fmla="*/ 6667903 h 291739"/>
                <a:gd name="T78" fmla="*/ 7624292 w 290404"/>
                <a:gd name="T79" fmla="*/ 4034780 h 291739"/>
                <a:gd name="T80" fmla="*/ 6556733 w 290404"/>
                <a:gd name="T81" fmla="*/ 1401722 h 291739"/>
                <a:gd name="T82" fmla="*/ 3958483 w 290404"/>
                <a:gd name="T83" fmla="*/ 314465 h 291739"/>
                <a:gd name="T84" fmla="*/ 3958483 w 290404"/>
                <a:gd name="T85" fmla="*/ 0 h 291739"/>
                <a:gd name="T86" fmla="*/ 6775312 w 290404"/>
                <a:gd name="T87" fmla="*/ 1178907 h 291739"/>
                <a:gd name="T88" fmla="*/ 7932932 w 290404"/>
                <a:gd name="T89" fmla="*/ 4034780 h 291739"/>
                <a:gd name="T90" fmla="*/ 7212774 w 290404"/>
                <a:gd name="T91" fmla="*/ 6353480 h 291739"/>
                <a:gd name="T92" fmla="*/ 7881634 w 290404"/>
                <a:gd name="T93" fmla="*/ 7034753 h 291739"/>
                <a:gd name="T94" fmla="*/ 8035914 w 290404"/>
                <a:gd name="T95" fmla="*/ 6877518 h 291739"/>
                <a:gd name="T96" fmla="*/ 8267507 w 290404"/>
                <a:gd name="T97" fmla="*/ 6877518 h 291739"/>
                <a:gd name="T98" fmla="*/ 10235368 w 290404"/>
                <a:gd name="T99" fmla="*/ 8881835 h 291739"/>
                <a:gd name="T100" fmla="*/ 10402628 w 290404"/>
                <a:gd name="T101" fmla="*/ 9300992 h 291739"/>
                <a:gd name="T102" fmla="*/ 10235368 w 290404"/>
                <a:gd name="T103" fmla="*/ 9707100 h 291739"/>
                <a:gd name="T104" fmla="*/ 9528022 w 290404"/>
                <a:gd name="T105" fmla="*/ 10427601 h 291739"/>
                <a:gd name="T106" fmla="*/ 9129290 w 290404"/>
                <a:gd name="T107" fmla="*/ 10597890 h 291739"/>
                <a:gd name="T108" fmla="*/ 8730621 w 290404"/>
                <a:gd name="T109" fmla="*/ 10427601 h 291739"/>
                <a:gd name="T110" fmla="*/ 6749653 w 290404"/>
                <a:gd name="T111" fmla="*/ 8410198 h 291739"/>
                <a:gd name="T112" fmla="*/ 6711103 w 290404"/>
                <a:gd name="T113" fmla="*/ 8292327 h 291739"/>
                <a:gd name="T114" fmla="*/ 6749653 w 290404"/>
                <a:gd name="T115" fmla="*/ 8187537 h 291739"/>
                <a:gd name="T116" fmla="*/ 6916946 w 290404"/>
                <a:gd name="T117" fmla="*/ 8030326 h 291739"/>
                <a:gd name="T118" fmla="*/ 6235175 w 290404"/>
                <a:gd name="T119" fmla="*/ 7349096 h 291739"/>
                <a:gd name="T120" fmla="*/ 3958483 w 290404"/>
                <a:gd name="T121" fmla="*/ 8082695 h 291739"/>
                <a:gd name="T122" fmla="*/ 1167218 w 290404"/>
                <a:gd name="T123" fmla="*/ 6903693 h 291739"/>
                <a:gd name="T124" fmla="*/ 1167218 w 290404"/>
                <a:gd name="T125" fmla="*/ 1178907 h 291739"/>
                <a:gd name="T126" fmla="*/ 3958483 w 290404"/>
                <a:gd name="T127" fmla="*/ 0 h 291739"/>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60000 65536"/>
                <a:gd name="T190" fmla="*/ 0 60000 65536"/>
                <a:gd name="T191" fmla="*/ 0 60000 65536"/>
              </a:gdLst>
              <a:ahLst/>
              <a:cxnLst>
                <a:cxn ang="T128">
                  <a:pos x="T0" y="T1"/>
                </a:cxn>
                <a:cxn ang="T129">
                  <a:pos x="T2" y="T3"/>
                </a:cxn>
                <a:cxn ang="T130">
                  <a:pos x="T4" y="T5"/>
                </a:cxn>
                <a:cxn ang="T131">
                  <a:pos x="T6" y="T7"/>
                </a:cxn>
                <a:cxn ang="T132">
                  <a:pos x="T8" y="T9"/>
                </a:cxn>
                <a:cxn ang="T133">
                  <a:pos x="T10" y="T11"/>
                </a:cxn>
                <a:cxn ang="T134">
                  <a:pos x="T12" y="T13"/>
                </a:cxn>
                <a:cxn ang="T135">
                  <a:pos x="T14" y="T15"/>
                </a:cxn>
                <a:cxn ang="T136">
                  <a:pos x="T16" y="T17"/>
                </a:cxn>
                <a:cxn ang="T137">
                  <a:pos x="T18" y="T19"/>
                </a:cxn>
                <a:cxn ang="T138">
                  <a:pos x="T20" y="T21"/>
                </a:cxn>
                <a:cxn ang="T139">
                  <a:pos x="T22" y="T23"/>
                </a:cxn>
                <a:cxn ang="T140">
                  <a:pos x="T24" y="T25"/>
                </a:cxn>
                <a:cxn ang="T141">
                  <a:pos x="T26" y="T27"/>
                </a:cxn>
                <a:cxn ang="T142">
                  <a:pos x="T28" y="T29"/>
                </a:cxn>
                <a:cxn ang="T143">
                  <a:pos x="T30" y="T31"/>
                </a:cxn>
                <a:cxn ang="T144">
                  <a:pos x="T32" y="T33"/>
                </a:cxn>
                <a:cxn ang="T145">
                  <a:pos x="T34" y="T35"/>
                </a:cxn>
                <a:cxn ang="T146">
                  <a:pos x="T36" y="T37"/>
                </a:cxn>
                <a:cxn ang="T147">
                  <a:pos x="T38" y="T39"/>
                </a:cxn>
                <a:cxn ang="T148">
                  <a:pos x="T40" y="T41"/>
                </a:cxn>
                <a:cxn ang="T149">
                  <a:pos x="T42" y="T43"/>
                </a:cxn>
                <a:cxn ang="T150">
                  <a:pos x="T44" y="T45"/>
                </a:cxn>
                <a:cxn ang="T151">
                  <a:pos x="T46" y="T47"/>
                </a:cxn>
                <a:cxn ang="T152">
                  <a:pos x="T48" y="T49"/>
                </a:cxn>
                <a:cxn ang="T153">
                  <a:pos x="T50" y="T51"/>
                </a:cxn>
                <a:cxn ang="T154">
                  <a:pos x="T52" y="T53"/>
                </a:cxn>
                <a:cxn ang="T155">
                  <a:pos x="T54" y="T55"/>
                </a:cxn>
                <a:cxn ang="T156">
                  <a:pos x="T56" y="T57"/>
                </a:cxn>
                <a:cxn ang="T157">
                  <a:pos x="T58" y="T59"/>
                </a:cxn>
                <a:cxn ang="T158">
                  <a:pos x="T60" y="T61"/>
                </a:cxn>
                <a:cxn ang="T159">
                  <a:pos x="T62" y="T63"/>
                </a:cxn>
                <a:cxn ang="T160">
                  <a:pos x="T64" y="T65"/>
                </a:cxn>
                <a:cxn ang="T161">
                  <a:pos x="T66" y="T67"/>
                </a:cxn>
                <a:cxn ang="T162">
                  <a:pos x="T68" y="T69"/>
                </a:cxn>
                <a:cxn ang="T163">
                  <a:pos x="T70" y="T71"/>
                </a:cxn>
                <a:cxn ang="T164">
                  <a:pos x="T72" y="T73"/>
                </a:cxn>
                <a:cxn ang="T165">
                  <a:pos x="T74" y="T75"/>
                </a:cxn>
                <a:cxn ang="T166">
                  <a:pos x="T76" y="T77"/>
                </a:cxn>
                <a:cxn ang="T167">
                  <a:pos x="T78" y="T79"/>
                </a:cxn>
                <a:cxn ang="T168">
                  <a:pos x="T80" y="T81"/>
                </a:cxn>
                <a:cxn ang="T169">
                  <a:pos x="T82" y="T83"/>
                </a:cxn>
                <a:cxn ang="T170">
                  <a:pos x="T84" y="T85"/>
                </a:cxn>
                <a:cxn ang="T171">
                  <a:pos x="T86" y="T87"/>
                </a:cxn>
                <a:cxn ang="T172">
                  <a:pos x="T88" y="T89"/>
                </a:cxn>
                <a:cxn ang="T173">
                  <a:pos x="T90" y="T91"/>
                </a:cxn>
                <a:cxn ang="T174">
                  <a:pos x="T92" y="T93"/>
                </a:cxn>
                <a:cxn ang="T175">
                  <a:pos x="T94" y="T95"/>
                </a:cxn>
                <a:cxn ang="T176">
                  <a:pos x="T96" y="T97"/>
                </a:cxn>
                <a:cxn ang="T177">
                  <a:pos x="T98" y="T99"/>
                </a:cxn>
                <a:cxn ang="T178">
                  <a:pos x="T100" y="T101"/>
                </a:cxn>
                <a:cxn ang="T179">
                  <a:pos x="T102" y="T103"/>
                </a:cxn>
                <a:cxn ang="T180">
                  <a:pos x="T104" y="T105"/>
                </a:cxn>
                <a:cxn ang="T181">
                  <a:pos x="T106" y="T107"/>
                </a:cxn>
                <a:cxn ang="T182">
                  <a:pos x="T108" y="T109"/>
                </a:cxn>
                <a:cxn ang="T183">
                  <a:pos x="T110" y="T111"/>
                </a:cxn>
                <a:cxn ang="T184">
                  <a:pos x="T112" y="T113"/>
                </a:cxn>
                <a:cxn ang="T185">
                  <a:pos x="T114" y="T115"/>
                </a:cxn>
                <a:cxn ang="T186">
                  <a:pos x="T116" y="T117"/>
                </a:cxn>
                <a:cxn ang="T187">
                  <a:pos x="T118" y="T119"/>
                </a:cxn>
                <a:cxn ang="T188">
                  <a:pos x="T120" y="T121"/>
                </a:cxn>
                <a:cxn ang="T189">
                  <a:pos x="T122" y="T123"/>
                </a:cxn>
                <a:cxn ang="T190">
                  <a:pos x="T124" y="T125"/>
                </a:cxn>
                <a:cxn ang="T191">
                  <a:pos x="T126" y="T127"/>
                </a:cxn>
              </a:cxnLst>
              <a:rect l="0" t="0" r="r" b="b"/>
              <a:pathLst>
                <a:path w="290404" h="291739">
                  <a:moveTo>
                    <a:pt x="227566" y="198700"/>
                  </a:moveTo>
                  <a:lnTo>
                    <a:pt x="197762" y="228271"/>
                  </a:lnTo>
                  <a:lnTo>
                    <a:pt x="249469" y="280921"/>
                  </a:lnTo>
                  <a:cubicBezTo>
                    <a:pt x="252701" y="283445"/>
                    <a:pt x="257010" y="283445"/>
                    <a:pt x="259882" y="280921"/>
                  </a:cubicBezTo>
                  <a:lnTo>
                    <a:pt x="279273" y="261087"/>
                  </a:lnTo>
                  <a:cubicBezTo>
                    <a:pt x="281068" y="259645"/>
                    <a:pt x="281427" y="257841"/>
                    <a:pt x="281427" y="256038"/>
                  </a:cubicBezTo>
                  <a:cubicBezTo>
                    <a:pt x="281427" y="254235"/>
                    <a:pt x="281068" y="252072"/>
                    <a:pt x="279273" y="250629"/>
                  </a:cubicBezTo>
                  <a:lnTo>
                    <a:pt x="227566" y="198700"/>
                  </a:lnTo>
                  <a:close/>
                  <a:moveTo>
                    <a:pt x="195967" y="182112"/>
                  </a:moveTo>
                  <a:cubicBezTo>
                    <a:pt x="194171" y="184997"/>
                    <a:pt x="191658" y="187160"/>
                    <a:pt x="189144" y="190045"/>
                  </a:cubicBezTo>
                  <a:cubicBezTo>
                    <a:pt x="186631" y="192570"/>
                    <a:pt x="184117" y="194733"/>
                    <a:pt x="181245" y="196897"/>
                  </a:cubicBezTo>
                  <a:lnTo>
                    <a:pt x="198839" y="214567"/>
                  </a:lnTo>
                  <a:lnTo>
                    <a:pt x="213921" y="199782"/>
                  </a:lnTo>
                  <a:lnTo>
                    <a:pt x="195967" y="182112"/>
                  </a:lnTo>
                  <a:close/>
                  <a:moveTo>
                    <a:pt x="111093" y="57150"/>
                  </a:moveTo>
                  <a:cubicBezTo>
                    <a:pt x="113976" y="57150"/>
                    <a:pt x="115778" y="59299"/>
                    <a:pt x="115778" y="61806"/>
                  </a:cubicBezTo>
                  <a:cubicBezTo>
                    <a:pt x="115778" y="63955"/>
                    <a:pt x="113976" y="66104"/>
                    <a:pt x="111093" y="66104"/>
                  </a:cubicBezTo>
                  <a:cubicBezTo>
                    <a:pt x="86229" y="66104"/>
                    <a:pt x="66050" y="86160"/>
                    <a:pt x="66050" y="110873"/>
                  </a:cubicBezTo>
                  <a:cubicBezTo>
                    <a:pt x="66050" y="113380"/>
                    <a:pt x="63887" y="115529"/>
                    <a:pt x="61725" y="115529"/>
                  </a:cubicBezTo>
                  <a:cubicBezTo>
                    <a:pt x="59203" y="115529"/>
                    <a:pt x="57401" y="113380"/>
                    <a:pt x="57401" y="110873"/>
                  </a:cubicBezTo>
                  <a:cubicBezTo>
                    <a:pt x="57401" y="81504"/>
                    <a:pt x="81545" y="57150"/>
                    <a:pt x="111093" y="57150"/>
                  </a:cubicBezTo>
                  <a:close/>
                  <a:moveTo>
                    <a:pt x="111796" y="40717"/>
                  </a:moveTo>
                  <a:cubicBezTo>
                    <a:pt x="93099" y="40717"/>
                    <a:pt x="75121" y="48250"/>
                    <a:pt x="61458" y="61522"/>
                  </a:cubicBezTo>
                  <a:cubicBezTo>
                    <a:pt x="33771" y="89141"/>
                    <a:pt x="33771" y="134696"/>
                    <a:pt x="61458" y="161957"/>
                  </a:cubicBezTo>
                  <a:cubicBezTo>
                    <a:pt x="75121" y="175587"/>
                    <a:pt x="93099" y="183120"/>
                    <a:pt x="111796" y="183120"/>
                  </a:cubicBezTo>
                  <a:cubicBezTo>
                    <a:pt x="130853" y="183120"/>
                    <a:pt x="148831" y="175587"/>
                    <a:pt x="162494" y="161957"/>
                  </a:cubicBezTo>
                  <a:cubicBezTo>
                    <a:pt x="176158" y="149044"/>
                    <a:pt x="183349" y="131109"/>
                    <a:pt x="183349" y="111739"/>
                  </a:cubicBezTo>
                  <a:cubicBezTo>
                    <a:pt x="183349" y="92728"/>
                    <a:pt x="176158" y="74794"/>
                    <a:pt x="162494" y="61522"/>
                  </a:cubicBezTo>
                  <a:cubicBezTo>
                    <a:pt x="148831" y="48250"/>
                    <a:pt x="130853" y="40717"/>
                    <a:pt x="111796" y="40717"/>
                  </a:cubicBezTo>
                  <a:close/>
                  <a:moveTo>
                    <a:pt x="111796" y="31750"/>
                  </a:moveTo>
                  <a:cubicBezTo>
                    <a:pt x="133370" y="31750"/>
                    <a:pt x="153505" y="40359"/>
                    <a:pt x="168607" y="55424"/>
                  </a:cubicBezTo>
                  <a:cubicBezTo>
                    <a:pt x="183709" y="70489"/>
                    <a:pt x="191979" y="90576"/>
                    <a:pt x="191979" y="111739"/>
                  </a:cubicBezTo>
                  <a:cubicBezTo>
                    <a:pt x="191979" y="133261"/>
                    <a:pt x="183709" y="153348"/>
                    <a:pt x="168607" y="168413"/>
                  </a:cubicBezTo>
                  <a:cubicBezTo>
                    <a:pt x="153505" y="183478"/>
                    <a:pt x="133370" y="191728"/>
                    <a:pt x="111796" y="191728"/>
                  </a:cubicBezTo>
                  <a:cubicBezTo>
                    <a:pt x="90582" y="191728"/>
                    <a:pt x="70447" y="183478"/>
                    <a:pt x="55345" y="168413"/>
                  </a:cubicBezTo>
                  <a:cubicBezTo>
                    <a:pt x="24063" y="137207"/>
                    <a:pt x="24063" y="86631"/>
                    <a:pt x="55345" y="55424"/>
                  </a:cubicBezTo>
                  <a:cubicBezTo>
                    <a:pt x="70447" y="40359"/>
                    <a:pt x="90582" y="31750"/>
                    <a:pt x="111796" y="31750"/>
                  </a:cubicBezTo>
                  <a:close/>
                  <a:moveTo>
                    <a:pt x="110506" y="8655"/>
                  </a:moveTo>
                  <a:cubicBezTo>
                    <a:pt x="83575" y="8655"/>
                    <a:pt x="57722" y="19473"/>
                    <a:pt x="38691" y="38586"/>
                  </a:cubicBezTo>
                  <a:cubicBezTo>
                    <a:pt x="-1167" y="78615"/>
                    <a:pt x="-1167" y="143526"/>
                    <a:pt x="38691" y="183554"/>
                  </a:cubicBezTo>
                  <a:cubicBezTo>
                    <a:pt x="78548" y="223583"/>
                    <a:pt x="143182" y="223583"/>
                    <a:pt x="183040" y="183554"/>
                  </a:cubicBezTo>
                  <a:cubicBezTo>
                    <a:pt x="202071" y="164442"/>
                    <a:pt x="212843" y="138477"/>
                    <a:pt x="212843" y="111070"/>
                  </a:cubicBezTo>
                  <a:cubicBezTo>
                    <a:pt x="212843" y="83663"/>
                    <a:pt x="202071" y="58059"/>
                    <a:pt x="183040" y="38586"/>
                  </a:cubicBezTo>
                  <a:cubicBezTo>
                    <a:pt x="163650" y="19473"/>
                    <a:pt x="138155" y="8655"/>
                    <a:pt x="110506" y="8655"/>
                  </a:cubicBezTo>
                  <a:close/>
                  <a:moveTo>
                    <a:pt x="110506" y="0"/>
                  </a:moveTo>
                  <a:cubicBezTo>
                    <a:pt x="140310" y="0"/>
                    <a:pt x="168318" y="11540"/>
                    <a:pt x="189144" y="32455"/>
                  </a:cubicBezTo>
                  <a:cubicBezTo>
                    <a:pt x="209971" y="53371"/>
                    <a:pt x="221461" y="81500"/>
                    <a:pt x="221461" y="111070"/>
                  </a:cubicBezTo>
                  <a:cubicBezTo>
                    <a:pt x="221461" y="134510"/>
                    <a:pt x="214280" y="156508"/>
                    <a:pt x="201353" y="174899"/>
                  </a:cubicBezTo>
                  <a:lnTo>
                    <a:pt x="220025" y="193652"/>
                  </a:lnTo>
                  <a:lnTo>
                    <a:pt x="224334" y="189324"/>
                  </a:lnTo>
                  <a:cubicBezTo>
                    <a:pt x="226129" y="187521"/>
                    <a:pt x="228643" y="187521"/>
                    <a:pt x="230797" y="189324"/>
                  </a:cubicBezTo>
                  <a:lnTo>
                    <a:pt x="285736" y="244499"/>
                  </a:lnTo>
                  <a:cubicBezTo>
                    <a:pt x="288609" y="247744"/>
                    <a:pt x="290404" y="251711"/>
                    <a:pt x="290404" y="256038"/>
                  </a:cubicBezTo>
                  <a:cubicBezTo>
                    <a:pt x="290404" y="260005"/>
                    <a:pt x="288609" y="264333"/>
                    <a:pt x="285736" y="267217"/>
                  </a:cubicBezTo>
                  <a:lnTo>
                    <a:pt x="265987" y="287051"/>
                  </a:lnTo>
                  <a:cubicBezTo>
                    <a:pt x="263114" y="289936"/>
                    <a:pt x="258805" y="291739"/>
                    <a:pt x="254855" y="291739"/>
                  </a:cubicBezTo>
                  <a:cubicBezTo>
                    <a:pt x="250546" y="291739"/>
                    <a:pt x="246597" y="289936"/>
                    <a:pt x="243724" y="287051"/>
                  </a:cubicBezTo>
                  <a:lnTo>
                    <a:pt x="188426" y="231516"/>
                  </a:lnTo>
                  <a:cubicBezTo>
                    <a:pt x="187708" y="230795"/>
                    <a:pt x="187349" y="229713"/>
                    <a:pt x="187349" y="228271"/>
                  </a:cubicBezTo>
                  <a:cubicBezTo>
                    <a:pt x="187349" y="227189"/>
                    <a:pt x="187708" y="226107"/>
                    <a:pt x="188426" y="225386"/>
                  </a:cubicBezTo>
                  <a:lnTo>
                    <a:pt x="193094" y="221058"/>
                  </a:lnTo>
                  <a:lnTo>
                    <a:pt x="174063" y="202306"/>
                  </a:lnTo>
                  <a:cubicBezTo>
                    <a:pt x="155032" y="215649"/>
                    <a:pt x="133128" y="222501"/>
                    <a:pt x="110506" y="222501"/>
                  </a:cubicBezTo>
                  <a:cubicBezTo>
                    <a:pt x="82498" y="222501"/>
                    <a:pt x="53772" y="211682"/>
                    <a:pt x="32586" y="190045"/>
                  </a:cubicBezTo>
                  <a:cubicBezTo>
                    <a:pt x="-10862" y="146411"/>
                    <a:pt x="-10862" y="76090"/>
                    <a:pt x="32586" y="32455"/>
                  </a:cubicBezTo>
                  <a:cubicBezTo>
                    <a:pt x="53413" y="11540"/>
                    <a:pt x="81062" y="0"/>
                    <a:pt x="110506" y="0"/>
                  </a:cubicBezTo>
                  <a:close/>
                </a:path>
              </a:pathLst>
            </a:custGeom>
            <a:solidFill>
              <a:srgbClr val="FFFFFF"/>
            </a:solidFill>
            <a:ln>
              <a:noFill/>
            </a:ln>
          </p:spPr>
          <p:txBody>
            <a:bodyPr anchor="ctr"/>
            <a:lstStyle/>
            <a:p>
              <a:pPr marL="0" marR="0" lvl="0" indent="0" defTabSz="91421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AAAAA"/>
                </a:solidFill>
                <a:effectLst/>
                <a:uLnTx/>
                <a:uFillTx/>
                <a:latin typeface="Abadi" panose="020B0604020104020204" pitchFamily="34" charset="0"/>
              </a:endParaRPr>
            </a:p>
          </p:txBody>
        </p:sp>
      </p:grpSp>
      <p:grpSp>
        <p:nvGrpSpPr>
          <p:cNvPr id="3" name="Group 2">
            <a:extLst>
              <a:ext uri="{FF2B5EF4-FFF2-40B4-BE49-F238E27FC236}">
                <a16:creationId xmlns:a16="http://schemas.microsoft.com/office/drawing/2014/main" id="{193BB544-D64F-01D2-7B27-D417865B33CF}"/>
              </a:ext>
            </a:extLst>
          </p:cNvPr>
          <p:cNvGrpSpPr/>
          <p:nvPr/>
        </p:nvGrpSpPr>
        <p:grpSpPr>
          <a:xfrm flipH="1">
            <a:off x="117986" y="1106264"/>
            <a:ext cx="6053745" cy="5245022"/>
            <a:chOff x="2930608" y="1335895"/>
            <a:chExt cx="6123813" cy="5245022"/>
          </a:xfrm>
        </p:grpSpPr>
        <p:grpSp>
          <p:nvGrpSpPr>
            <p:cNvPr id="20" name="Group 19">
              <a:extLst>
                <a:ext uri="{FF2B5EF4-FFF2-40B4-BE49-F238E27FC236}">
                  <a16:creationId xmlns:a16="http://schemas.microsoft.com/office/drawing/2014/main" id="{C9C60E3E-BBF2-6A15-5145-64CA0273408F}"/>
                </a:ext>
              </a:extLst>
            </p:cNvPr>
            <p:cNvGrpSpPr/>
            <p:nvPr/>
          </p:nvGrpSpPr>
          <p:grpSpPr>
            <a:xfrm>
              <a:off x="3085748" y="1335895"/>
              <a:ext cx="5968662" cy="1330883"/>
              <a:chOff x="7024445" y="2671789"/>
              <a:chExt cx="11937322" cy="2661766"/>
            </a:xfrm>
          </p:grpSpPr>
          <p:sp>
            <p:nvSpPr>
              <p:cNvPr id="51" name="Freeform 1">
                <a:extLst>
                  <a:ext uri="{FF2B5EF4-FFF2-40B4-BE49-F238E27FC236}">
                    <a16:creationId xmlns:a16="http://schemas.microsoft.com/office/drawing/2014/main" id="{17B4EC44-4092-FB37-6EA0-D52CE04E69BE}"/>
                  </a:ext>
                </a:extLst>
              </p:cNvPr>
              <p:cNvSpPr>
                <a:spLocks noChangeArrowheads="1"/>
              </p:cNvSpPr>
              <p:nvPr/>
            </p:nvSpPr>
            <p:spPr bwMode="auto">
              <a:xfrm>
                <a:off x="7698434" y="2876291"/>
                <a:ext cx="11263333" cy="2267164"/>
              </a:xfrm>
              <a:prstGeom prst="roundRect">
                <a:avLst/>
              </a:prstGeom>
              <a:solidFill>
                <a:srgbClr val="165AB6"/>
              </a:solidFill>
              <a:ln>
                <a:noFill/>
              </a:ln>
              <a:effectLst/>
            </p:spPr>
            <p:txBody>
              <a:bodyPr wrap="none" anchor="ctr"/>
              <a:lstStyle/>
              <a:p>
                <a:pPr marL="0" marR="0" lvl="0" indent="0" defTabSz="914217" eaLnBrk="1" fontAlgn="auto" latinLnBrk="0" hangingPunct="1">
                  <a:lnSpc>
                    <a:spcPct val="100000"/>
                  </a:lnSpc>
                  <a:spcBef>
                    <a:spcPts val="0"/>
                  </a:spcBef>
                  <a:spcAft>
                    <a:spcPts val="0"/>
                  </a:spcAft>
                  <a:buClrTx/>
                  <a:buSzTx/>
                  <a:buFontTx/>
                  <a:buNone/>
                  <a:tabLst/>
                  <a:defRPr/>
                </a:pPr>
                <a:endParaRPr kumimoji="0" lang="en-US" sz="3266" b="0" i="0" u="none" strike="noStrike" kern="0" cap="none" spc="0" normalizeH="0" baseline="0" noProof="0" dirty="0">
                  <a:ln>
                    <a:noFill/>
                  </a:ln>
                  <a:solidFill>
                    <a:srgbClr val="AAAAAA"/>
                  </a:solidFill>
                  <a:effectLst/>
                  <a:uLnTx/>
                  <a:uFillTx/>
                  <a:latin typeface="Abadi" panose="020B0604020104020204" pitchFamily="34" charset="0"/>
                </a:endParaRPr>
              </a:p>
            </p:txBody>
          </p:sp>
          <p:sp>
            <p:nvSpPr>
              <p:cNvPr id="52" name="Freeform 2">
                <a:extLst>
                  <a:ext uri="{FF2B5EF4-FFF2-40B4-BE49-F238E27FC236}">
                    <a16:creationId xmlns:a16="http://schemas.microsoft.com/office/drawing/2014/main" id="{E677ABD1-F573-60EA-677B-D916236FBF2F}"/>
                  </a:ext>
                </a:extLst>
              </p:cNvPr>
              <p:cNvSpPr>
                <a:spLocks noChangeArrowheads="1"/>
              </p:cNvSpPr>
              <p:nvPr/>
            </p:nvSpPr>
            <p:spPr bwMode="auto">
              <a:xfrm>
                <a:off x="7512260" y="2876291"/>
                <a:ext cx="2289840" cy="2151588"/>
              </a:xfrm>
              <a:custGeom>
                <a:avLst/>
                <a:gdLst>
                  <a:gd name="T0" fmla="*/ 2923 w 3506"/>
                  <a:gd name="T1" fmla="*/ 0 h 3296"/>
                  <a:gd name="T2" fmla="*/ 594 w 3506"/>
                  <a:gd name="T3" fmla="*/ 0 h 3296"/>
                  <a:gd name="T4" fmla="*/ 594 w 3506"/>
                  <a:gd name="T5" fmla="*/ 0 h 3296"/>
                  <a:gd name="T6" fmla="*/ 0 w 3506"/>
                  <a:gd name="T7" fmla="*/ 594 h 3296"/>
                  <a:gd name="T8" fmla="*/ 0 w 3506"/>
                  <a:gd name="T9" fmla="*/ 2701 h 3296"/>
                  <a:gd name="T10" fmla="*/ 0 w 3506"/>
                  <a:gd name="T11" fmla="*/ 2701 h 3296"/>
                  <a:gd name="T12" fmla="*/ 594 w 3506"/>
                  <a:gd name="T13" fmla="*/ 3295 h 3296"/>
                  <a:gd name="T14" fmla="*/ 2902 w 3506"/>
                  <a:gd name="T15" fmla="*/ 3295 h 3296"/>
                  <a:gd name="T16" fmla="*/ 2902 w 3506"/>
                  <a:gd name="T17" fmla="*/ 3295 h 3296"/>
                  <a:gd name="T18" fmla="*/ 3505 w 3506"/>
                  <a:gd name="T19" fmla="*/ 1634 h 3296"/>
                  <a:gd name="T20" fmla="*/ 3505 w 3506"/>
                  <a:gd name="T21" fmla="*/ 1634 h 3296"/>
                  <a:gd name="T22" fmla="*/ 2923 w 3506"/>
                  <a:gd name="T23" fmla="*/ 0 h 3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06" h="3296">
                    <a:moveTo>
                      <a:pt x="2923" y="0"/>
                    </a:moveTo>
                    <a:lnTo>
                      <a:pt x="594" y="0"/>
                    </a:lnTo>
                    <a:lnTo>
                      <a:pt x="594" y="0"/>
                    </a:lnTo>
                    <a:cubicBezTo>
                      <a:pt x="266" y="0"/>
                      <a:pt x="0" y="265"/>
                      <a:pt x="0" y="594"/>
                    </a:cubicBezTo>
                    <a:lnTo>
                      <a:pt x="0" y="2701"/>
                    </a:lnTo>
                    <a:lnTo>
                      <a:pt x="0" y="2701"/>
                    </a:lnTo>
                    <a:cubicBezTo>
                      <a:pt x="0" y="3030"/>
                      <a:pt x="266" y="3295"/>
                      <a:pt x="594" y="3295"/>
                    </a:cubicBezTo>
                    <a:lnTo>
                      <a:pt x="2902" y="3295"/>
                    </a:lnTo>
                    <a:lnTo>
                      <a:pt x="2902" y="3295"/>
                    </a:lnTo>
                    <a:cubicBezTo>
                      <a:pt x="3279" y="2846"/>
                      <a:pt x="3505" y="2266"/>
                      <a:pt x="3505" y="1634"/>
                    </a:cubicBezTo>
                    <a:lnTo>
                      <a:pt x="3505" y="1634"/>
                    </a:lnTo>
                    <a:cubicBezTo>
                      <a:pt x="3505" y="1014"/>
                      <a:pt x="3287" y="446"/>
                      <a:pt x="2923" y="0"/>
                    </a:cubicBezTo>
                  </a:path>
                </a:pathLst>
              </a:custGeom>
              <a:solidFill>
                <a:srgbClr val="CAC9D0">
                  <a:lumMod val="10000"/>
                  <a:alpha val="10000"/>
                </a:srgbClr>
              </a:solidFill>
              <a:ln>
                <a:noFill/>
              </a:ln>
              <a:effectLst/>
            </p:spPr>
            <p:txBody>
              <a:bodyPr wrap="none" anchor="ctr"/>
              <a:lstStyle/>
              <a:p>
                <a:pPr marL="0" marR="0" lvl="0" indent="0" defTabSz="914217" eaLnBrk="1" fontAlgn="auto" latinLnBrk="0" hangingPunct="1">
                  <a:lnSpc>
                    <a:spcPct val="100000"/>
                  </a:lnSpc>
                  <a:spcBef>
                    <a:spcPts val="0"/>
                  </a:spcBef>
                  <a:spcAft>
                    <a:spcPts val="0"/>
                  </a:spcAft>
                  <a:buClrTx/>
                  <a:buSzTx/>
                  <a:buFontTx/>
                  <a:buNone/>
                  <a:tabLst/>
                  <a:defRPr/>
                </a:pPr>
                <a:endParaRPr kumimoji="0" lang="en-US" sz="3266" b="0" i="0" u="none" strike="noStrike" kern="0" cap="none" spc="0" normalizeH="0" baseline="0" noProof="0">
                  <a:ln>
                    <a:noFill/>
                  </a:ln>
                  <a:solidFill>
                    <a:srgbClr val="AAAAAA"/>
                  </a:solidFill>
                  <a:effectLst/>
                  <a:uLnTx/>
                  <a:uFillTx/>
                  <a:latin typeface="Abadi" panose="020B0604020104020204" pitchFamily="34" charset="0"/>
                </a:endParaRPr>
              </a:p>
            </p:txBody>
          </p:sp>
          <p:sp>
            <p:nvSpPr>
              <p:cNvPr id="53" name="Freeform 3">
                <a:extLst>
                  <a:ext uri="{FF2B5EF4-FFF2-40B4-BE49-F238E27FC236}">
                    <a16:creationId xmlns:a16="http://schemas.microsoft.com/office/drawing/2014/main" id="{EA705A31-D874-FE1B-610A-2E1BAC99E9E2}"/>
                  </a:ext>
                </a:extLst>
              </p:cNvPr>
              <p:cNvSpPr>
                <a:spLocks noChangeArrowheads="1"/>
              </p:cNvSpPr>
              <p:nvPr/>
            </p:nvSpPr>
            <p:spPr bwMode="auto">
              <a:xfrm>
                <a:off x="7024445" y="2671789"/>
                <a:ext cx="2543308" cy="2661766"/>
              </a:xfrm>
              <a:custGeom>
                <a:avLst/>
                <a:gdLst>
                  <a:gd name="T0" fmla="*/ 3894 w 3895"/>
                  <a:gd name="T1" fmla="*/ 1946 h 3894"/>
                  <a:gd name="T2" fmla="*/ 3894 w 3895"/>
                  <a:gd name="T3" fmla="*/ 1946 h 3894"/>
                  <a:gd name="T4" fmla="*/ 1947 w 3895"/>
                  <a:gd name="T5" fmla="*/ 3893 h 3894"/>
                  <a:gd name="T6" fmla="*/ 1947 w 3895"/>
                  <a:gd name="T7" fmla="*/ 3893 h 3894"/>
                  <a:gd name="T8" fmla="*/ 0 w 3895"/>
                  <a:gd name="T9" fmla="*/ 1946 h 3894"/>
                  <a:gd name="T10" fmla="*/ 0 w 3895"/>
                  <a:gd name="T11" fmla="*/ 1946 h 3894"/>
                  <a:gd name="T12" fmla="*/ 1947 w 3895"/>
                  <a:gd name="T13" fmla="*/ 0 h 3894"/>
                  <a:gd name="T14" fmla="*/ 1947 w 3895"/>
                  <a:gd name="T15" fmla="*/ 0 h 3894"/>
                  <a:gd name="T16" fmla="*/ 3894 w 3895"/>
                  <a:gd name="T17" fmla="*/ 1946 h 3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95" h="3894">
                    <a:moveTo>
                      <a:pt x="3894" y="1946"/>
                    </a:moveTo>
                    <a:lnTo>
                      <a:pt x="3894" y="1946"/>
                    </a:lnTo>
                    <a:cubicBezTo>
                      <a:pt x="3894" y="3022"/>
                      <a:pt x="3022" y="3893"/>
                      <a:pt x="1947" y="3893"/>
                    </a:cubicBezTo>
                    <a:lnTo>
                      <a:pt x="1947" y="3893"/>
                    </a:lnTo>
                    <a:cubicBezTo>
                      <a:pt x="872" y="3893"/>
                      <a:pt x="0" y="3022"/>
                      <a:pt x="0" y="1946"/>
                    </a:cubicBezTo>
                    <a:lnTo>
                      <a:pt x="0" y="1946"/>
                    </a:lnTo>
                    <a:cubicBezTo>
                      <a:pt x="0" y="872"/>
                      <a:pt x="872" y="0"/>
                      <a:pt x="1947" y="0"/>
                    </a:cubicBezTo>
                    <a:lnTo>
                      <a:pt x="1947" y="0"/>
                    </a:lnTo>
                    <a:cubicBezTo>
                      <a:pt x="3022" y="0"/>
                      <a:pt x="3894" y="872"/>
                      <a:pt x="3894" y="1946"/>
                    </a:cubicBezTo>
                  </a:path>
                </a:pathLst>
              </a:custGeom>
              <a:solidFill>
                <a:srgbClr val="165AB6"/>
              </a:solidFill>
              <a:ln>
                <a:noFill/>
              </a:ln>
              <a:effectLst/>
            </p:spPr>
            <p:txBody>
              <a:bodyPr wrap="none" anchor="ctr"/>
              <a:lstStyle/>
              <a:p>
                <a:pPr marL="0" marR="0" lvl="0" indent="0" defTabSz="914217" eaLnBrk="1" fontAlgn="auto" latinLnBrk="0" hangingPunct="1">
                  <a:lnSpc>
                    <a:spcPct val="100000"/>
                  </a:lnSpc>
                  <a:spcBef>
                    <a:spcPts val="0"/>
                  </a:spcBef>
                  <a:spcAft>
                    <a:spcPts val="0"/>
                  </a:spcAft>
                  <a:buClrTx/>
                  <a:buSzTx/>
                  <a:buFontTx/>
                  <a:buNone/>
                  <a:tabLst/>
                  <a:defRPr/>
                </a:pPr>
                <a:endParaRPr kumimoji="0" lang="en-US" sz="3266" b="0" i="0" u="none" strike="noStrike" kern="0" cap="none" spc="0" normalizeH="0" baseline="0" noProof="0">
                  <a:ln>
                    <a:noFill/>
                  </a:ln>
                  <a:solidFill>
                    <a:srgbClr val="AAAAAA"/>
                  </a:solidFill>
                  <a:effectLst/>
                  <a:uLnTx/>
                  <a:uFillTx/>
                  <a:latin typeface="Abadi" panose="020B0604020104020204" pitchFamily="34" charset="0"/>
                </a:endParaRPr>
              </a:p>
            </p:txBody>
          </p:sp>
        </p:grpSp>
        <p:grpSp>
          <p:nvGrpSpPr>
            <p:cNvPr id="21" name="Group 20">
              <a:extLst>
                <a:ext uri="{FF2B5EF4-FFF2-40B4-BE49-F238E27FC236}">
                  <a16:creationId xmlns:a16="http://schemas.microsoft.com/office/drawing/2014/main" id="{49A4B769-0E76-43E5-A0D3-975ACF2A375F}"/>
                </a:ext>
              </a:extLst>
            </p:cNvPr>
            <p:cNvGrpSpPr/>
            <p:nvPr/>
          </p:nvGrpSpPr>
          <p:grpSpPr>
            <a:xfrm>
              <a:off x="3085749" y="2625694"/>
              <a:ext cx="5968662" cy="1289799"/>
              <a:chOff x="5312196" y="5251383"/>
              <a:chExt cx="11937323" cy="2579596"/>
            </a:xfrm>
          </p:grpSpPr>
          <p:sp>
            <p:nvSpPr>
              <p:cNvPr id="48" name="Freeform 4">
                <a:extLst>
                  <a:ext uri="{FF2B5EF4-FFF2-40B4-BE49-F238E27FC236}">
                    <a16:creationId xmlns:a16="http://schemas.microsoft.com/office/drawing/2014/main" id="{BF92021D-035D-3B1F-EE9E-FF3B9C9DE16E}"/>
                  </a:ext>
                </a:extLst>
              </p:cNvPr>
              <p:cNvSpPr>
                <a:spLocks noChangeArrowheads="1"/>
              </p:cNvSpPr>
              <p:nvPr/>
            </p:nvSpPr>
            <p:spPr bwMode="auto">
              <a:xfrm>
                <a:off x="5312196" y="5453005"/>
                <a:ext cx="11263332" cy="2284034"/>
              </a:xfrm>
              <a:prstGeom prst="roundRect">
                <a:avLst/>
              </a:prstGeom>
              <a:solidFill>
                <a:srgbClr val="1B8BCD"/>
              </a:solidFill>
              <a:ln>
                <a:noFill/>
              </a:ln>
              <a:effectLst/>
            </p:spPr>
            <p:txBody>
              <a:bodyPr wrap="none" anchor="ctr"/>
              <a:lstStyle/>
              <a:p>
                <a:pPr marL="0" marR="0" lvl="0" indent="0" defTabSz="914217" eaLnBrk="1" fontAlgn="auto" latinLnBrk="0" hangingPunct="1">
                  <a:lnSpc>
                    <a:spcPct val="100000"/>
                  </a:lnSpc>
                  <a:spcBef>
                    <a:spcPts val="0"/>
                  </a:spcBef>
                  <a:spcAft>
                    <a:spcPts val="0"/>
                  </a:spcAft>
                  <a:buClrTx/>
                  <a:buSzTx/>
                  <a:buFontTx/>
                  <a:buNone/>
                  <a:tabLst/>
                  <a:defRPr/>
                </a:pPr>
                <a:endParaRPr kumimoji="0" lang="en-US" sz="3266" b="0" i="0" u="none" strike="noStrike" kern="0" cap="none" spc="0" normalizeH="0" baseline="0" noProof="0" dirty="0">
                  <a:ln>
                    <a:noFill/>
                  </a:ln>
                  <a:solidFill>
                    <a:srgbClr val="AAAAAA"/>
                  </a:solidFill>
                  <a:effectLst/>
                  <a:uLnTx/>
                  <a:uFillTx/>
                  <a:latin typeface="Abadi" panose="020B0604020104020204" pitchFamily="34" charset="0"/>
                </a:endParaRPr>
              </a:p>
            </p:txBody>
          </p:sp>
          <p:sp>
            <p:nvSpPr>
              <p:cNvPr id="49" name="Freeform 5">
                <a:extLst>
                  <a:ext uri="{FF2B5EF4-FFF2-40B4-BE49-F238E27FC236}">
                    <a16:creationId xmlns:a16="http://schemas.microsoft.com/office/drawing/2014/main" id="{0F213F3A-EEDD-ADB3-1ED7-2FB11572571F}"/>
                  </a:ext>
                </a:extLst>
              </p:cNvPr>
              <p:cNvSpPr>
                <a:spLocks noChangeArrowheads="1"/>
              </p:cNvSpPr>
              <p:nvPr/>
            </p:nvSpPr>
            <p:spPr bwMode="auto">
              <a:xfrm>
                <a:off x="14285687" y="5453004"/>
                <a:ext cx="2289839" cy="2154466"/>
              </a:xfrm>
              <a:custGeom>
                <a:avLst/>
                <a:gdLst>
                  <a:gd name="T0" fmla="*/ 583 w 3506"/>
                  <a:gd name="T1" fmla="*/ 0 h 3297"/>
                  <a:gd name="T2" fmla="*/ 2911 w 3506"/>
                  <a:gd name="T3" fmla="*/ 0 h 3297"/>
                  <a:gd name="T4" fmla="*/ 2911 w 3506"/>
                  <a:gd name="T5" fmla="*/ 0 h 3297"/>
                  <a:gd name="T6" fmla="*/ 3505 w 3506"/>
                  <a:gd name="T7" fmla="*/ 594 h 3297"/>
                  <a:gd name="T8" fmla="*/ 3505 w 3506"/>
                  <a:gd name="T9" fmla="*/ 2702 h 3297"/>
                  <a:gd name="T10" fmla="*/ 3505 w 3506"/>
                  <a:gd name="T11" fmla="*/ 2702 h 3297"/>
                  <a:gd name="T12" fmla="*/ 2911 w 3506"/>
                  <a:gd name="T13" fmla="*/ 3296 h 3297"/>
                  <a:gd name="T14" fmla="*/ 604 w 3506"/>
                  <a:gd name="T15" fmla="*/ 3296 h 3297"/>
                  <a:gd name="T16" fmla="*/ 604 w 3506"/>
                  <a:gd name="T17" fmla="*/ 3296 h 3297"/>
                  <a:gd name="T18" fmla="*/ 0 w 3506"/>
                  <a:gd name="T19" fmla="*/ 1635 h 3297"/>
                  <a:gd name="T20" fmla="*/ 0 w 3506"/>
                  <a:gd name="T21" fmla="*/ 1635 h 3297"/>
                  <a:gd name="T22" fmla="*/ 583 w 3506"/>
                  <a:gd name="T23" fmla="*/ 0 h 3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06" h="3297">
                    <a:moveTo>
                      <a:pt x="583" y="0"/>
                    </a:moveTo>
                    <a:lnTo>
                      <a:pt x="2911" y="0"/>
                    </a:lnTo>
                    <a:lnTo>
                      <a:pt x="2911" y="0"/>
                    </a:lnTo>
                    <a:cubicBezTo>
                      <a:pt x="3239" y="0"/>
                      <a:pt x="3505" y="266"/>
                      <a:pt x="3505" y="594"/>
                    </a:cubicBezTo>
                    <a:lnTo>
                      <a:pt x="3505" y="2702"/>
                    </a:lnTo>
                    <a:lnTo>
                      <a:pt x="3505" y="2702"/>
                    </a:lnTo>
                    <a:cubicBezTo>
                      <a:pt x="3505" y="3029"/>
                      <a:pt x="3239" y="3296"/>
                      <a:pt x="2911" y="3296"/>
                    </a:cubicBezTo>
                    <a:lnTo>
                      <a:pt x="604" y="3296"/>
                    </a:lnTo>
                    <a:lnTo>
                      <a:pt x="604" y="3296"/>
                    </a:lnTo>
                    <a:cubicBezTo>
                      <a:pt x="227" y="2846"/>
                      <a:pt x="0" y="2267"/>
                      <a:pt x="0" y="1635"/>
                    </a:cubicBezTo>
                    <a:lnTo>
                      <a:pt x="0" y="1635"/>
                    </a:lnTo>
                    <a:cubicBezTo>
                      <a:pt x="0" y="1015"/>
                      <a:pt x="218" y="446"/>
                      <a:pt x="583" y="0"/>
                    </a:cubicBezTo>
                  </a:path>
                </a:pathLst>
              </a:custGeom>
              <a:solidFill>
                <a:srgbClr val="CAC9D0">
                  <a:lumMod val="10000"/>
                  <a:alpha val="10000"/>
                </a:srgbClr>
              </a:solidFill>
              <a:ln>
                <a:noFill/>
              </a:ln>
              <a:effectLst/>
            </p:spPr>
            <p:txBody>
              <a:bodyPr wrap="none" anchor="ctr"/>
              <a:lstStyle/>
              <a:p>
                <a:pPr marL="0" marR="0" lvl="0" indent="0" defTabSz="914217" eaLnBrk="1" fontAlgn="auto" latinLnBrk="0" hangingPunct="1">
                  <a:lnSpc>
                    <a:spcPct val="100000"/>
                  </a:lnSpc>
                  <a:spcBef>
                    <a:spcPts val="0"/>
                  </a:spcBef>
                  <a:spcAft>
                    <a:spcPts val="0"/>
                  </a:spcAft>
                  <a:buClrTx/>
                  <a:buSzTx/>
                  <a:buFontTx/>
                  <a:buNone/>
                  <a:tabLst/>
                  <a:defRPr/>
                </a:pPr>
                <a:endParaRPr kumimoji="0" lang="en-US" sz="3266" b="0" i="0" u="none" strike="noStrike" kern="0" cap="none" spc="0" normalizeH="0" baseline="0" noProof="0">
                  <a:ln>
                    <a:noFill/>
                  </a:ln>
                  <a:solidFill>
                    <a:srgbClr val="AAAAAA"/>
                  </a:solidFill>
                  <a:effectLst/>
                  <a:uLnTx/>
                  <a:uFillTx/>
                  <a:latin typeface="Abadi" panose="020B0604020104020204" pitchFamily="34" charset="0"/>
                </a:endParaRPr>
              </a:p>
            </p:txBody>
          </p:sp>
          <p:sp>
            <p:nvSpPr>
              <p:cNvPr id="50" name="Freeform 6">
                <a:extLst>
                  <a:ext uri="{FF2B5EF4-FFF2-40B4-BE49-F238E27FC236}">
                    <a16:creationId xmlns:a16="http://schemas.microsoft.com/office/drawing/2014/main" id="{551D0272-E019-2368-6529-A26CE35E7A6B}"/>
                  </a:ext>
                </a:extLst>
              </p:cNvPr>
              <p:cNvSpPr>
                <a:spLocks noChangeArrowheads="1"/>
              </p:cNvSpPr>
              <p:nvPr/>
            </p:nvSpPr>
            <p:spPr bwMode="auto">
              <a:xfrm>
                <a:off x="14706213" y="5251383"/>
                <a:ext cx="2543306" cy="2579596"/>
              </a:xfrm>
              <a:custGeom>
                <a:avLst/>
                <a:gdLst>
                  <a:gd name="T0" fmla="*/ 0 w 3894"/>
                  <a:gd name="T1" fmla="*/ 1946 h 3894"/>
                  <a:gd name="T2" fmla="*/ 0 w 3894"/>
                  <a:gd name="T3" fmla="*/ 1946 h 3894"/>
                  <a:gd name="T4" fmla="*/ 1946 w 3894"/>
                  <a:gd name="T5" fmla="*/ 3893 h 3894"/>
                  <a:gd name="T6" fmla="*/ 1946 w 3894"/>
                  <a:gd name="T7" fmla="*/ 3893 h 3894"/>
                  <a:gd name="T8" fmla="*/ 3893 w 3894"/>
                  <a:gd name="T9" fmla="*/ 1946 h 3894"/>
                  <a:gd name="T10" fmla="*/ 3893 w 3894"/>
                  <a:gd name="T11" fmla="*/ 1946 h 3894"/>
                  <a:gd name="T12" fmla="*/ 1946 w 3894"/>
                  <a:gd name="T13" fmla="*/ 0 h 3894"/>
                  <a:gd name="T14" fmla="*/ 1946 w 3894"/>
                  <a:gd name="T15" fmla="*/ 0 h 3894"/>
                  <a:gd name="T16" fmla="*/ 0 w 3894"/>
                  <a:gd name="T17" fmla="*/ 1946 h 3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94" h="3894">
                    <a:moveTo>
                      <a:pt x="0" y="1946"/>
                    </a:moveTo>
                    <a:lnTo>
                      <a:pt x="0" y="1946"/>
                    </a:lnTo>
                    <a:cubicBezTo>
                      <a:pt x="0" y="3021"/>
                      <a:pt x="871" y="3893"/>
                      <a:pt x="1946" y="3893"/>
                    </a:cubicBezTo>
                    <a:lnTo>
                      <a:pt x="1946" y="3893"/>
                    </a:lnTo>
                    <a:cubicBezTo>
                      <a:pt x="3021" y="3893"/>
                      <a:pt x="3893" y="3021"/>
                      <a:pt x="3893" y="1946"/>
                    </a:cubicBezTo>
                    <a:lnTo>
                      <a:pt x="3893" y="1946"/>
                    </a:lnTo>
                    <a:cubicBezTo>
                      <a:pt x="3893" y="871"/>
                      <a:pt x="3021" y="0"/>
                      <a:pt x="1946" y="0"/>
                    </a:cubicBezTo>
                    <a:lnTo>
                      <a:pt x="1946" y="0"/>
                    </a:lnTo>
                    <a:cubicBezTo>
                      <a:pt x="871" y="0"/>
                      <a:pt x="0" y="871"/>
                      <a:pt x="0" y="1946"/>
                    </a:cubicBezTo>
                  </a:path>
                </a:pathLst>
              </a:custGeom>
              <a:solidFill>
                <a:srgbClr val="1B8BCD"/>
              </a:solidFill>
              <a:ln>
                <a:noFill/>
              </a:ln>
              <a:effectLst/>
            </p:spPr>
            <p:txBody>
              <a:bodyPr wrap="none" anchor="ctr"/>
              <a:lstStyle/>
              <a:p>
                <a:pPr marL="0" marR="0" lvl="0" indent="0" defTabSz="914217" eaLnBrk="1" fontAlgn="auto" latinLnBrk="0" hangingPunct="1">
                  <a:lnSpc>
                    <a:spcPct val="100000"/>
                  </a:lnSpc>
                  <a:spcBef>
                    <a:spcPts val="0"/>
                  </a:spcBef>
                  <a:spcAft>
                    <a:spcPts val="0"/>
                  </a:spcAft>
                  <a:buClrTx/>
                  <a:buSzTx/>
                  <a:buFontTx/>
                  <a:buNone/>
                  <a:tabLst/>
                  <a:defRPr/>
                </a:pPr>
                <a:endParaRPr kumimoji="0" lang="en-US" sz="3266" b="0" i="0" u="none" strike="noStrike" kern="0" cap="none" spc="0" normalizeH="0" baseline="0" noProof="0">
                  <a:ln>
                    <a:noFill/>
                  </a:ln>
                  <a:solidFill>
                    <a:srgbClr val="AAAAAA"/>
                  </a:solidFill>
                  <a:effectLst/>
                  <a:uLnTx/>
                  <a:uFillTx/>
                  <a:latin typeface="Abadi" panose="020B0604020104020204" pitchFamily="34" charset="0"/>
                </a:endParaRPr>
              </a:p>
            </p:txBody>
          </p:sp>
        </p:grpSp>
        <p:grpSp>
          <p:nvGrpSpPr>
            <p:cNvPr id="22" name="Group 21">
              <a:extLst>
                <a:ext uri="{FF2B5EF4-FFF2-40B4-BE49-F238E27FC236}">
                  <a16:creationId xmlns:a16="http://schemas.microsoft.com/office/drawing/2014/main" id="{93D21289-9CA9-227B-AD39-93EF925A03FC}"/>
                </a:ext>
              </a:extLst>
            </p:cNvPr>
            <p:cNvGrpSpPr/>
            <p:nvPr/>
          </p:nvGrpSpPr>
          <p:grpSpPr>
            <a:xfrm>
              <a:off x="2930608" y="3915493"/>
              <a:ext cx="6123813" cy="1287068"/>
              <a:chOff x="6714155" y="7830979"/>
              <a:chExt cx="12247615" cy="2574134"/>
            </a:xfrm>
          </p:grpSpPr>
          <p:sp>
            <p:nvSpPr>
              <p:cNvPr id="45" name="Freeform 7">
                <a:extLst>
                  <a:ext uri="{FF2B5EF4-FFF2-40B4-BE49-F238E27FC236}">
                    <a16:creationId xmlns:a16="http://schemas.microsoft.com/office/drawing/2014/main" id="{56316B4C-F5F7-0B18-DAED-3273972D2CF7}"/>
                  </a:ext>
                </a:extLst>
              </p:cNvPr>
              <p:cNvSpPr>
                <a:spLocks noChangeArrowheads="1"/>
              </p:cNvSpPr>
              <p:nvPr/>
            </p:nvSpPr>
            <p:spPr bwMode="auto">
              <a:xfrm>
                <a:off x="7698436" y="8032601"/>
                <a:ext cx="11263334" cy="2372512"/>
              </a:xfrm>
              <a:prstGeom prst="roundRect">
                <a:avLst/>
              </a:prstGeom>
              <a:solidFill>
                <a:srgbClr val="27C7CF"/>
              </a:solidFill>
              <a:ln>
                <a:noFill/>
              </a:ln>
              <a:effectLst/>
            </p:spPr>
            <p:txBody>
              <a:bodyPr wrap="none" anchor="ctr"/>
              <a:lstStyle/>
              <a:p>
                <a:pPr marL="0" marR="0" lvl="0" indent="0" defTabSz="914217" eaLnBrk="1" fontAlgn="auto" latinLnBrk="0" hangingPunct="1">
                  <a:lnSpc>
                    <a:spcPct val="100000"/>
                  </a:lnSpc>
                  <a:spcBef>
                    <a:spcPts val="0"/>
                  </a:spcBef>
                  <a:spcAft>
                    <a:spcPts val="0"/>
                  </a:spcAft>
                  <a:buClrTx/>
                  <a:buSzTx/>
                  <a:buFontTx/>
                  <a:buNone/>
                  <a:tabLst/>
                  <a:defRPr/>
                </a:pPr>
                <a:endParaRPr kumimoji="0" lang="en-US" sz="3266" b="0" i="0" u="none" strike="noStrike" kern="0" cap="none" spc="0" normalizeH="0" baseline="0" noProof="0">
                  <a:ln>
                    <a:noFill/>
                  </a:ln>
                  <a:solidFill>
                    <a:srgbClr val="AAAAAA"/>
                  </a:solidFill>
                  <a:effectLst/>
                  <a:uLnTx/>
                  <a:uFillTx/>
                  <a:latin typeface="Abadi" panose="020B0604020104020204" pitchFamily="34" charset="0"/>
                </a:endParaRPr>
              </a:p>
            </p:txBody>
          </p:sp>
          <p:sp>
            <p:nvSpPr>
              <p:cNvPr id="46" name="Freeform 8">
                <a:extLst>
                  <a:ext uri="{FF2B5EF4-FFF2-40B4-BE49-F238E27FC236}">
                    <a16:creationId xmlns:a16="http://schemas.microsoft.com/office/drawing/2014/main" id="{5685B174-05F6-AA5A-9713-40B4F769EE53}"/>
                  </a:ext>
                </a:extLst>
              </p:cNvPr>
              <p:cNvSpPr>
                <a:spLocks noChangeArrowheads="1"/>
              </p:cNvSpPr>
              <p:nvPr/>
            </p:nvSpPr>
            <p:spPr bwMode="auto">
              <a:xfrm>
                <a:off x="7232997" y="8032601"/>
                <a:ext cx="2289841" cy="2151584"/>
              </a:xfrm>
              <a:custGeom>
                <a:avLst/>
                <a:gdLst>
                  <a:gd name="T0" fmla="*/ 2923 w 3506"/>
                  <a:gd name="T1" fmla="*/ 0 h 3296"/>
                  <a:gd name="T2" fmla="*/ 594 w 3506"/>
                  <a:gd name="T3" fmla="*/ 0 h 3296"/>
                  <a:gd name="T4" fmla="*/ 594 w 3506"/>
                  <a:gd name="T5" fmla="*/ 0 h 3296"/>
                  <a:gd name="T6" fmla="*/ 0 w 3506"/>
                  <a:gd name="T7" fmla="*/ 594 h 3296"/>
                  <a:gd name="T8" fmla="*/ 0 w 3506"/>
                  <a:gd name="T9" fmla="*/ 2702 h 3296"/>
                  <a:gd name="T10" fmla="*/ 0 w 3506"/>
                  <a:gd name="T11" fmla="*/ 2702 h 3296"/>
                  <a:gd name="T12" fmla="*/ 594 w 3506"/>
                  <a:gd name="T13" fmla="*/ 3295 h 3296"/>
                  <a:gd name="T14" fmla="*/ 2902 w 3506"/>
                  <a:gd name="T15" fmla="*/ 3295 h 3296"/>
                  <a:gd name="T16" fmla="*/ 2902 w 3506"/>
                  <a:gd name="T17" fmla="*/ 3295 h 3296"/>
                  <a:gd name="T18" fmla="*/ 3505 w 3506"/>
                  <a:gd name="T19" fmla="*/ 1635 h 3296"/>
                  <a:gd name="T20" fmla="*/ 3505 w 3506"/>
                  <a:gd name="T21" fmla="*/ 1635 h 3296"/>
                  <a:gd name="T22" fmla="*/ 2923 w 3506"/>
                  <a:gd name="T23" fmla="*/ 0 h 3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06" h="3296">
                    <a:moveTo>
                      <a:pt x="2923" y="0"/>
                    </a:moveTo>
                    <a:lnTo>
                      <a:pt x="594" y="0"/>
                    </a:lnTo>
                    <a:lnTo>
                      <a:pt x="594" y="0"/>
                    </a:lnTo>
                    <a:cubicBezTo>
                      <a:pt x="266" y="0"/>
                      <a:pt x="0" y="266"/>
                      <a:pt x="0" y="594"/>
                    </a:cubicBezTo>
                    <a:lnTo>
                      <a:pt x="0" y="2702"/>
                    </a:lnTo>
                    <a:lnTo>
                      <a:pt x="0" y="2702"/>
                    </a:lnTo>
                    <a:cubicBezTo>
                      <a:pt x="0" y="3029"/>
                      <a:pt x="266" y="3295"/>
                      <a:pt x="594" y="3295"/>
                    </a:cubicBezTo>
                    <a:lnTo>
                      <a:pt x="2902" y="3295"/>
                    </a:lnTo>
                    <a:lnTo>
                      <a:pt x="2902" y="3295"/>
                    </a:lnTo>
                    <a:cubicBezTo>
                      <a:pt x="3279" y="2846"/>
                      <a:pt x="3505" y="2267"/>
                      <a:pt x="3505" y="1635"/>
                    </a:cubicBezTo>
                    <a:lnTo>
                      <a:pt x="3505" y="1635"/>
                    </a:lnTo>
                    <a:cubicBezTo>
                      <a:pt x="3505" y="1015"/>
                      <a:pt x="3287" y="446"/>
                      <a:pt x="2923" y="0"/>
                    </a:cubicBezTo>
                  </a:path>
                </a:pathLst>
              </a:custGeom>
              <a:solidFill>
                <a:srgbClr val="CAC9D0">
                  <a:lumMod val="10000"/>
                  <a:alpha val="10000"/>
                </a:srgbClr>
              </a:solidFill>
              <a:ln>
                <a:noFill/>
              </a:ln>
              <a:effectLst/>
            </p:spPr>
            <p:txBody>
              <a:bodyPr wrap="none" anchor="ctr"/>
              <a:lstStyle/>
              <a:p>
                <a:pPr marL="0" marR="0" lvl="0" indent="0" defTabSz="914217" eaLnBrk="1" fontAlgn="auto" latinLnBrk="0" hangingPunct="1">
                  <a:lnSpc>
                    <a:spcPct val="100000"/>
                  </a:lnSpc>
                  <a:spcBef>
                    <a:spcPts val="0"/>
                  </a:spcBef>
                  <a:spcAft>
                    <a:spcPts val="0"/>
                  </a:spcAft>
                  <a:buClrTx/>
                  <a:buSzTx/>
                  <a:buFontTx/>
                  <a:buNone/>
                  <a:tabLst/>
                  <a:defRPr/>
                </a:pPr>
                <a:endParaRPr kumimoji="0" lang="en-US" sz="3266" b="0" i="0" u="none" strike="noStrike" kern="0" cap="none" spc="0" normalizeH="0" baseline="0" noProof="0">
                  <a:ln>
                    <a:noFill/>
                  </a:ln>
                  <a:solidFill>
                    <a:srgbClr val="AAAAAA"/>
                  </a:solidFill>
                  <a:effectLst/>
                  <a:uLnTx/>
                  <a:uFillTx/>
                  <a:latin typeface="Abadi" panose="020B0604020104020204" pitchFamily="34" charset="0"/>
                </a:endParaRPr>
              </a:p>
            </p:txBody>
          </p:sp>
          <p:sp>
            <p:nvSpPr>
              <p:cNvPr id="47" name="Freeform 9">
                <a:extLst>
                  <a:ext uri="{FF2B5EF4-FFF2-40B4-BE49-F238E27FC236}">
                    <a16:creationId xmlns:a16="http://schemas.microsoft.com/office/drawing/2014/main" id="{954639AB-3E1F-1FDE-CC8F-99BD0BE8F3F9}"/>
                  </a:ext>
                </a:extLst>
              </p:cNvPr>
              <p:cNvSpPr>
                <a:spLocks noChangeArrowheads="1"/>
              </p:cNvSpPr>
              <p:nvPr/>
            </p:nvSpPr>
            <p:spPr bwMode="auto">
              <a:xfrm>
                <a:off x="6714155" y="7830979"/>
                <a:ext cx="2543308" cy="2543306"/>
              </a:xfrm>
              <a:custGeom>
                <a:avLst/>
                <a:gdLst>
                  <a:gd name="T0" fmla="*/ 3894 w 3895"/>
                  <a:gd name="T1" fmla="*/ 1946 h 3893"/>
                  <a:gd name="T2" fmla="*/ 3894 w 3895"/>
                  <a:gd name="T3" fmla="*/ 1946 h 3893"/>
                  <a:gd name="T4" fmla="*/ 1947 w 3895"/>
                  <a:gd name="T5" fmla="*/ 3892 h 3893"/>
                  <a:gd name="T6" fmla="*/ 1947 w 3895"/>
                  <a:gd name="T7" fmla="*/ 3892 h 3893"/>
                  <a:gd name="T8" fmla="*/ 0 w 3895"/>
                  <a:gd name="T9" fmla="*/ 1946 h 3893"/>
                  <a:gd name="T10" fmla="*/ 0 w 3895"/>
                  <a:gd name="T11" fmla="*/ 1946 h 3893"/>
                  <a:gd name="T12" fmla="*/ 1947 w 3895"/>
                  <a:gd name="T13" fmla="*/ 0 h 3893"/>
                  <a:gd name="T14" fmla="*/ 1947 w 3895"/>
                  <a:gd name="T15" fmla="*/ 0 h 3893"/>
                  <a:gd name="T16" fmla="*/ 3894 w 3895"/>
                  <a:gd name="T17" fmla="*/ 1946 h 3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95" h="3893">
                    <a:moveTo>
                      <a:pt x="3894" y="1946"/>
                    </a:moveTo>
                    <a:lnTo>
                      <a:pt x="3894" y="1946"/>
                    </a:lnTo>
                    <a:cubicBezTo>
                      <a:pt x="3894" y="3021"/>
                      <a:pt x="3022" y="3892"/>
                      <a:pt x="1947" y="3892"/>
                    </a:cubicBezTo>
                    <a:lnTo>
                      <a:pt x="1947" y="3892"/>
                    </a:lnTo>
                    <a:cubicBezTo>
                      <a:pt x="872" y="3892"/>
                      <a:pt x="0" y="3021"/>
                      <a:pt x="0" y="1946"/>
                    </a:cubicBezTo>
                    <a:lnTo>
                      <a:pt x="0" y="1946"/>
                    </a:lnTo>
                    <a:cubicBezTo>
                      <a:pt x="0" y="871"/>
                      <a:pt x="872" y="0"/>
                      <a:pt x="1947" y="0"/>
                    </a:cubicBezTo>
                    <a:lnTo>
                      <a:pt x="1947" y="0"/>
                    </a:lnTo>
                    <a:cubicBezTo>
                      <a:pt x="3022" y="0"/>
                      <a:pt x="3894" y="871"/>
                      <a:pt x="3894" y="1946"/>
                    </a:cubicBezTo>
                  </a:path>
                </a:pathLst>
              </a:custGeom>
              <a:solidFill>
                <a:srgbClr val="27C7CF"/>
              </a:solidFill>
              <a:ln>
                <a:noFill/>
              </a:ln>
              <a:effectLst/>
            </p:spPr>
            <p:txBody>
              <a:bodyPr wrap="none" anchor="ctr"/>
              <a:lstStyle/>
              <a:p>
                <a:pPr marL="0" marR="0" lvl="0" indent="0" defTabSz="914217" eaLnBrk="1" fontAlgn="auto" latinLnBrk="0" hangingPunct="1">
                  <a:lnSpc>
                    <a:spcPct val="100000"/>
                  </a:lnSpc>
                  <a:spcBef>
                    <a:spcPts val="0"/>
                  </a:spcBef>
                  <a:spcAft>
                    <a:spcPts val="0"/>
                  </a:spcAft>
                  <a:buClrTx/>
                  <a:buSzTx/>
                  <a:buFontTx/>
                  <a:buNone/>
                  <a:tabLst/>
                  <a:defRPr/>
                </a:pPr>
                <a:endParaRPr kumimoji="0" lang="en-US" sz="3266" b="0" i="0" u="none" strike="noStrike" kern="0" cap="none" spc="0" normalizeH="0" baseline="0" noProof="0" dirty="0">
                  <a:ln>
                    <a:noFill/>
                  </a:ln>
                  <a:solidFill>
                    <a:srgbClr val="AAAAAA"/>
                  </a:solidFill>
                  <a:effectLst/>
                  <a:uLnTx/>
                  <a:uFillTx/>
                  <a:latin typeface="Abadi" panose="020B0604020104020204" pitchFamily="34" charset="0"/>
                </a:endParaRPr>
              </a:p>
            </p:txBody>
          </p:sp>
        </p:grpSp>
        <p:grpSp>
          <p:nvGrpSpPr>
            <p:cNvPr id="24" name="Group 23">
              <a:extLst>
                <a:ext uri="{FF2B5EF4-FFF2-40B4-BE49-F238E27FC236}">
                  <a16:creationId xmlns:a16="http://schemas.microsoft.com/office/drawing/2014/main" id="{D4DEB4BA-78AC-B063-92A5-F598FAB2C2E6}"/>
                </a:ext>
              </a:extLst>
            </p:cNvPr>
            <p:cNvGrpSpPr/>
            <p:nvPr/>
          </p:nvGrpSpPr>
          <p:grpSpPr>
            <a:xfrm>
              <a:off x="3085749" y="5249531"/>
              <a:ext cx="5968662" cy="1331386"/>
              <a:chOff x="5312196" y="10499061"/>
              <a:chExt cx="11937323" cy="2662772"/>
            </a:xfrm>
          </p:grpSpPr>
          <p:sp>
            <p:nvSpPr>
              <p:cNvPr id="42" name="Freeform 10">
                <a:extLst>
                  <a:ext uri="{FF2B5EF4-FFF2-40B4-BE49-F238E27FC236}">
                    <a16:creationId xmlns:a16="http://schemas.microsoft.com/office/drawing/2014/main" id="{398DF654-60B9-EF75-9EF2-62D25C930DC7}"/>
                  </a:ext>
                </a:extLst>
              </p:cNvPr>
              <p:cNvSpPr>
                <a:spLocks noChangeArrowheads="1"/>
              </p:cNvSpPr>
              <p:nvPr/>
            </p:nvSpPr>
            <p:spPr bwMode="auto">
              <a:xfrm>
                <a:off x="5312196" y="10615075"/>
                <a:ext cx="11263332" cy="2458270"/>
              </a:xfrm>
              <a:prstGeom prst="roundRect">
                <a:avLst/>
              </a:prstGeom>
              <a:solidFill>
                <a:srgbClr val="27C78A"/>
              </a:solidFill>
              <a:ln>
                <a:noFill/>
              </a:ln>
              <a:effectLst/>
            </p:spPr>
            <p:txBody>
              <a:bodyPr wrap="none" anchor="ctr"/>
              <a:lstStyle/>
              <a:p>
                <a:pPr marL="0" marR="0" lvl="0" indent="0" defTabSz="914217" eaLnBrk="1" fontAlgn="auto" latinLnBrk="0" hangingPunct="1">
                  <a:lnSpc>
                    <a:spcPct val="100000"/>
                  </a:lnSpc>
                  <a:spcBef>
                    <a:spcPts val="0"/>
                  </a:spcBef>
                  <a:spcAft>
                    <a:spcPts val="0"/>
                  </a:spcAft>
                  <a:buClrTx/>
                  <a:buSzTx/>
                  <a:buFontTx/>
                  <a:buNone/>
                  <a:tabLst/>
                  <a:defRPr/>
                </a:pPr>
                <a:endParaRPr kumimoji="0" lang="en-US" sz="3266" b="0" i="0" u="none" strike="noStrike" kern="0" cap="none" spc="0" normalizeH="0" baseline="0" noProof="0" dirty="0">
                  <a:ln>
                    <a:noFill/>
                  </a:ln>
                  <a:solidFill>
                    <a:srgbClr val="AAAAAA"/>
                  </a:solidFill>
                  <a:effectLst/>
                  <a:uLnTx/>
                  <a:uFillTx/>
                  <a:latin typeface="Abadi" panose="020B0604020104020204" pitchFamily="34" charset="0"/>
                </a:endParaRPr>
              </a:p>
            </p:txBody>
          </p:sp>
          <p:sp>
            <p:nvSpPr>
              <p:cNvPr id="43" name="Freeform 11">
                <a:extLst>
                  <a:ext uri="{FF2B5EF4-FFF2-40B4-BE49-F238E27FC236}">
                    <a16:creationId xmlns:a16="http://schemas.microsoft.com/office/drawing/2014/main" id="{AB23910D-A66D-B456-72D8-F367ECCE5AFC}"/>
                  </a:ext>
                </a:extLst>
              </p:cNvPr>
              <p:cNvSpPr>
                <a:spLocks noChangeArrowheads="1"/>
              </p:cNvSpPr>
              <p:nvPr/>
            </p:nvSpPr>
            <p:spPr bwMode="auto">
              <a:xfrm>
                <a:off x="14285688" y="10615075"/>
                <a:ext cx="2289838" cy="2458270"/>
              </a:xfrm>
              <a:custGeom>
                <a:avLst/>
                <a:gdLst>
                  <a:gd name="T0" fmla="*/ 583 w 3506"/>
                  <a:gd name="T1" fmla="*/ 0 h 3297"/>
                  <a:gd name="T2" fmla="*/ 2911 w 3506"/>
                  <a:gd name="T3" fmla="*/ 0 h 3297"/>
                  <a:gd name="T4" fmla="*/ 2911 w 3506"/>
                  <a:gd name="T5" fmla="*/ 0 h 3297"/>
                  <a:gd name="T6" fmla="*/ 3505 w 3506"/>
                  <a:gd name="T7" fmla="*/ 594 h 3297"/>
                  <a:gd name="T8" fmla="*/ 3505 w 3506"/>
                  <a:gd name="T9" fmla="*/ 2702 h 3297"/>
                  <a:gd name="T10" fmla="*/ 3505 w 3506"/>
                  <a:gd name="T11" fmla="*/ 2702 h 3297"/>
                  <a:gd name="T12" fmla="*/ 2911 w 3506"/>
                  <a:gd name="T13" fmla="*/ 3296 h 3297"/>
                  <a:gd name="T14" fmla="*/ 604 w 3506"/>
                  <a:gd name="T15" fmla="*/ 3296 h 3297"/>
                  <a:gd name="T16" fmla="*/ 604 w 3506"/>
                  <a:gd name="T17" fmla="*/ 3296 h 3297"/>
                  <a:gd name="T18" fmla="*/ 0 w 3506"/>
                  <a:gd name="T19" fmla="*/ 1635 h 3297"/>
                  <a:gd name="T20" fmla="*/ 0 w 3506"/>
                  <a:gd name="T21" fmla="*/ 1635 h 3297"/>
                  <a:gd name="T22" fmla="*/ 583 w 3506"/>
                  <a:gd name="T23" fmla="*/ 0 h 3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06" h="3297">
                    <a:moveTo>
                      <a:pt x="583" y="0"/>
                    </a:moveTo>
                    <a:lnTo>
                      <a:pt x="2911" y="0"/>
                    </a:lnTo>
                    <a:lnTo>
                      <a:pt x="2911" y="0"/>
                    </a:lnTo>
                    <a:cubicBezTo>
                      <a:pt x="3239" y="0"/>
                      <a:pt x="3505" y="266"/>
                      <a:pt x="3505" y="594"/>
                    </a:cubicBezTo>
                    <a:lnTo>
                      <a:pt x="3505" y="2702"/>
                    </a:lnTo>
                    <a:lnTo>
                      <a:pt x="3505" y="2702"/>
                    </a:lnTo>
                    <a:cubicBezTo>
                      <a:pt x="3505" y="3029"/>
                      <a:pt x="3239" y="3296"/>
                      <a:pt x="2911" y="3296"/>
                    </a:cubicBezTo>
                    <a:lnTo>
                      <a:pt x="604" y="3296"/>
                    </a:lnTo>
                    <a:lnTo>
                      <a:pt x="604" y="3296"/>
                    </a:lnTo>
                    <a:cubicBezTo>
                      <a:pt x="227" y="2846"/>
                      <a:pt x="0" y="2267"/>
                      <a:pt x="0" y="1635"/>
                    </a:cubicBezTo>
                    <a:lnTo>
                      <a:pt x="0" y="1635"/>
                    </a:lnTo>
                    <a:cubicBezTo>
                      <a:pt x="0" y="1015"/>
                      <a:pt x="218" y="446"/>
                      <a:pt x="583" y="0"/>
                    </a:cubicBezTo>
                  </a:path>
                </a:pathLst>
              </a:custGeom>
              <a:solidFill>
                <a:srgbClr val="CAC9D0">
                  <a:lumMod val="10000"/>
                  <a:alpha val="10000"/>
                </a:srgbClr>
              </a:solidFill>
              <a:ln>
                <a:noFill/>
              </a:ln>
              <a:effectLst/>
            </p:spPr>
            <p:txBody>
              <a:bodyPr wrap="none" anchor="ctr"/>
              <a:lstStyle/>
              <a:p>
                <a:pPr marL="0" marR="0" lvl="0" indent="0" defTabSz="914217" eaLnBrk="1" fontAlgn="auto" latinLnBrk="0" hangingPunct="1">
                  <a:lnSpc>
                    <a:spcPct val="100000"/>
                  </a:lnSpc>
                  <a:spcBef>
                    <a:spcPts val="0"/>
                  </a:spcBef>
                  <a:spcAft>
                    <a:spcPts val="0"/>
                  </a:spcAft>
                  <a:buClrTx/>
                  <a:buSzTx/>
                  <a:buFontTx/>
                  <a:buNone/>
                  <a:tabLst/>
                  <a:defRPr/>
                </a:pPr>
                <a:endParaRPr kumimoji="0" lang="en-US" sz="3266" b="0" i="0" u="none" strike="noStrike" kern="0" cap="none" spc="0" normalizeH="0" baseline="0" noProof="0" dirty="0">
                  <a:ln>
                    <a:noFill/>
                  </a:ln>
                  <a:solidFill>
                    <a:srgbClr val="AAAAAA"/>
                  </a:solidFill>
                  <a:effectLst/>
                  <a:uLnTx/>
                  <a:uFillTx/>
                  <a:latin typeface="Abadi" panose="020B0604020104020204" pitchFamily="34" charset="0"/>
                </a:endParaRPr>
              </a:p>
            </p:txBody>
          </p:sp>
          <p:sp>
            <p:nvSpPr>
              <p:cNvPr id="44" name="Freeform 12">
                <a:extLst>
                  <a:ext uri="{FF2B5EF4-FFF2-40B4-BE49-F238E27FC236}">
                    <a16:creationId xmlns:a16="http://schemas.microsoft.com/office/drawing/2014/main" id="{9857D172-A64E-5ED0-1479-87339DA2FDFB}"/>
                  </a:ext>
                </a:extLst>
              </p:cNvPr>
              <p:cNvSpPr>
                <a:spLocks noChangeArrowheads="1"/>
              </p:cNvSpPr>
              <p:nvPr/>
            </p:nvSpPr>
            <p:spPr bwMode="auto">
              <a:xfrm>
                <a:off x="14706213" y="10499061"/>
                <a:ext cx="2543306" cy="2662772"/>
              </a:xfrm>
              <a:custGeom>
                <a:avLst/>
                <a:gdLst>
                  <a:gd name="T0" fmla="*/ 0 w 3894"/>
                  <a:gd name="T1" fmla="*/ 1947 h 3895"/>
                  <a:gd name="T2" fmla="*/ 0 w 3894"/>
                  <a:gd name="T3" fmla="*/ 1947 h 3895"/>
                  <a:gd name="T4" fmla="*/ 1946 w 3894"/>
                  <a:gd name="T5" fmla="*/ 3894 h 3895"/>
                  <a:gd name="T6" fmla="*/ 1946 w 3894"/>
                  <a:gd name="T7" fmla="*/ 3894 h 3895"/>
                  <a:gd name="T8" fmla="*/ 3893 w 3894"/>
                  <a:gd name="T9" fmla="*/ 1947 h 3895"/>
                  <a:gd name="T10" fmla="*/ 3893 w 3894"/>
                  <a:gd name="T11" fmla="*/ 1947 h 3895"/>
                  <a:gd name="T12" fmla="*/ 1946 w 3894"/>
                  <a:gd name="T13" fmla="*/ 0 h 3895"/>
                  <a:gd name="T14" fmla="*/ 1946 w 3894"/>
                  <a:gd name="T15" fmla="*/ 0 h 3895"/>
                  <a:gd name="T16" fmla="*/ 0 w 3894"/>
                  <a:gd name="T17" fmla="*/ 1947 h 3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94" h="3895">
                    <a:moveTo>
                      <a:pt x="0" y="1947"/>
                    </a:moveTo>
                    <a:lnTo>
                      <a:pt x="0" y="1947"/>
                    </a:lnTo>
                    <a:cubicBezTo>
                      <a:pt x="0" y="3022"/>
                      <a:pt x="871" y="3894"/>
                      <a:pt x="1946" y="3894"/>
                    </a:cubicBezTo>
                    <a:lnTo>
                      <a:pt x="1946" y="3894"/>
                    </a:lnTo>
                    <a:cubicBezTo>
                      <a:pt x="3021" y="3894"/>
                      <a:pt x="3893" y="3022"/>
                      <a:pt x="3893" y="1947"/>
                    </a:cubicBezTo>
                    <a:lnTo>
                      <a:pt x="3893" y="1947"/>
                    </a:lnTo>
                    <a:cubicBezTo>
                      <a:pt x="3893" y="872"/>
                      <a:pt x="3021" y="0"/>
                      <a:pt x="1946" y="0"/>
                    </a:cubicBezTo>
                    <a:lnTo>
                      <a:pt x="1946" y="0"/>
                    </a:lnTo>
                    <a:cubicBezTo>
                      <a:pt x="871" y="0"/>
                      <a:pt x="0" y="872"/>
                      <a:pt x="0" y="1947"/>
                    </a:cubicBezTo>
                  </a:path>
                </a:pathLst>
              </a:custGeom>
              <a:solidFill>
                <a:srgbClr val="27C78A"/>
              </a:solidFill>
              <a:ln>
                <a:noFill/>
              </a:ln>
              <a:effectLst/>
            </p:spPr>
            <p:txBody>
              <a:bodyPr wrap="none" anchor="ctr"/>
              <a:lstStyle/>
              <a:p>
                <a:pPr marL="0" marR="0" lvl="0" indent="0" defTabSz="914217" eaLnBrk="1" fontAlgn="auto" latinLnBrk="0" hangingPunct="1">
                  <a:lnSpc>
                    <a:spcPct val="100000"/>
                  </a:lnSpc>
                  <a:spcBef>
                    <a:spcPts val="0"/>
                  </a:spcBef>
                  <a:spcAft>
                    <a:spcPts val="0"/>
                  </a:spcAft>
                  <a:buClrTx/>
                  <a:buSzTx/>
                  <a:buFontTx/>
                  <a:buNone/>
                  <a:tabLst/>
                  <a:defRPr/>
                </a:pPr>
                <a:endParaRPr kumimoji="0" lang="en-US" sz="3266" b="0" i="0" u="none" strike="noStrike" kern="0" cap="none" spc="0" normalizeH="0" baseline="0" noProof="0" dirty="0">
                  <a:ln>
                    <a:noFill/>
                  </a:ln>
                  <a:solidFill>
                    <a:srgbClr val="AAAAAA"/>
                  </a:solidFill>
                  <a:effectLst/>
                  <a:uLnTx/>
                  <a:uFillTx/>
                  <a:latin typeface="Abadi" panose="020B0604020104020204" pitchFamily="34" charset="0"/>
                </a:endParaRPr>
              </a:p>
            </p:txBody>
          </p:sp>
        </p:grpSp>
        <p:sp>
          <p:nvSpPr>
            <p:cNvPr id="25" name="Subtitle 2">
              <a:extLst>
                <a:ext uri="{FF2B5EF4-FFF2-40B4-BE49-F238E27FC236}">
                  <a16:creationId xmlns:a16="http://schemas.microsoft.com/office/drawing/2014/main" id="{BC6CF1B2-21C8-B1B1-D5C3-1D2ECBA2BB99}"/>
                </a:ext>
              </a:extLst>
            </p:cNvPr>
            <p:cNvSpPr txBox="1">
              <a:spLocks/>
            </p:cNvSpPr>
            <p:nvPr/>
          </p:nvSpPr>
          <p:spPr>
            <a:xfrm>
              <a:off x="4403949" y="1472297"/>
              <a:ext cx="4610850" cy="1138132"/>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defTabSz="543818">
                <a:lnSpc>
                  <a:spcPts val="1750"/>
                </a:lnSpc>
              </a:pPr>
              <a:r>
                <a:rPr lang="en-US" sz="2000" b="1" dirty="0">
                  <a:solidFill>
                    <a:srgbClr val="FFFFFF"/>
                  </a:solidFill>
                  <a:latin typeface="Abadi" panose="020B0604020104020204" pitchFamily="34" charset="0"/>
                  <a:ea typeface="Lato Light" panose="020F0502020204030203" pitchFamily="34" charset="0"/>
                  <a:cs typeface="Mukta ExtraLight" panose="020B0000000000000000" pitchFamily="34" charset="77"/>
                </a:rPr>
                <a:t>Needs Assessment and Program Design</a:t>
              </a:r>
            </a:p>
            <a:p>
              <a:pPr marL="285750" indent="-285750" algn="l" defTabSz="543818">
                <a:lnSpc>
                  <a:spcPts val="1750"/>
                </a:lnSpc>
                <a:buFont typeface="Arial" panose="020B0604020202020204" pitchFamily="34" charset="0"/>
                <a:buChar char="•"/>
              </a:pPr>
              <a:r>
                <a:rPr lang="en-US" sz="1800" dirty="0">
                  <a:solidFill>
                    <a:schemeClr val="bg1"/>
                  </a:solidFill>
                  <a:latin typeface="Abadi" panose="020B0604020104020204" pitchFamily="34" charset="0"/>
                </a:rPr>
                <a:t>Identifying Health Priorities</a:t>
              </a:r>
            </a:p>
            <a:p>
              <a:pPr marL="285750" indent="-285750" algn="l" defTabSz="543818">
                <a:lnSpc>
                  <a:spcPts val="1750"/>
                </a:lnSpc>
                <a:buFont typeface="Arial" panose="020B0604020202020204" pitchFamily="34" charset="0"/>
                <a:buChar char="•"/>
              </a:pPr>
              <a:r>
                <a:rPr lang="en-US" sz="1800" dirty="0">
                  <a:solidFill>
                    <a:schemeClr val="bg1"/>
                  </a:solidFill>
                  <a:latin typeface="Abadi" panose="020B0604020104020204" pitchFamily="34" charset="0"/>
                </a:rPr>
                <a:t>Setting Program Objectives</a:t>
              </a:r>
            </a:p>
            <a:p>
              <a:pPr marL="285750" indent="-285750" algn="l" defTabSz="543818">
                <a:lnSpc>
                  <a:spcPts val="1750"/>
                </a:lnSpc>
                <a:buFont typeface="Arial" panose="020B0604020202020204" pitchFamily="34" charset="0"/>
                <a:buChar char="•"/>
              </a:pPr>
              <a:r>
                <a:rPr lang="en-US" sz="1800" dirty="0">
                  <a:solidFill>
                    <a:schemeClr val="bg1"/>
                  </a:solidFill>
                  <a:latin typeface="Abadi" panose="020B0604020104020204" pitchFamily="34" charset="0"/>
                  <a:ea typeface="Lato Light" panose="020F0502020204030203" pitchFamily="34" charset="0"/>
                  <a:cs typeface="Mukta ExtraLight" panose="020B0000000000000000" pitchFamily="34" charset="77"/>
                </a:rPr>
                <a:t>Resource Allocation</a:t>
              </a:r>
            </a:p>
          </p:txBody>
        </p:sp>
        <p:sp>
          <p:nvSpPr>
            <p:cNvPr id="26" name="Freeform 957">
              <a:extLst>
                <a:ext uri="{FF2B5EF4-FFF2-40B4-BE49-F238E27FC236}">
                  <a16:creationId xmlns:a16="http://schemas.microsoft.com/office/drawing/2014/main" id="{6DCDE918-EDE5-DCEF-B739-B85082A2D01A}"/>
                </a:ext>
              </a:extLst>
            </p:cNvPr>
            <p:cNvSpPr>
              <a:spLocks noChangeAspect="1"/>
            </p:cNvSpPr>
            <p:nvPr/>
          </p:nvSpPr>
          <p:spPr bwMode="auto">
            <a:xfrm>
              <a:off x="3439274" y="4294097"/>
              <a:ext cx="564602" cy="518406"/>
            </a:xfrm>
            <a:custGeom>
              <a:avLst/>
              <a:gdLst>
                <a:gd name="T0" fmla="*/ 8158222 w 288440"/>
                <a:gd name="T1" fmla="*/ 8445065 h 264755"/>
                <a:gd name="T2" fmla="*/ 7826577 w 288440"/>
                <a:gd name="T3" fmla="*/ 8445065 h 264755"/>
                <a:gd name="T4" fmla="*/ 2515811 w 288440"/>
                <a:gd name="T5" fmla="*/ 8285717 h 264755"/>
                <a:gd name="T6" fmla="*/ 2515811 w 288440"/>
                <a:gd name="T7" fmla="*/ 8617717 h 264755"/>
                <a:gd name="T8" fmla="*/ 2515811 w 288440"/>
                <a:gd name="T9" fmla="*/ 8285717 h 264755"/>
                <a:gd name="T10" fmla="*/ 7078212 w 288440"/>
                <a:gd name="T11" fmla="*/ 8394325 h 264755"/>
                <a:gd name="T12" fmla="*/ 8881795 w 288440"/>
                <a:gd name="T13" fmla="*/ 8394325 h 264755"/>
                <a:gd name="T14" fmla="*/ 2477749 w 288440"/>
                <a:gd name="T15" fmla="*/ 7515549 h 264755"/>
                <a:gd name="T16" fmla="*/ 2477749 w 288440"/>
                <a:gd name="T17" fmla="*/ 9286027 h 264755"/>
                <a:gd name="T18" fmla="*/ 2477749 w 288440"/>
                <a:gd name="T19" fmla="*/ 7515549 h 264755"/>
                <a:gd name="T20" fmla="*/ 3693201 w 288440"/>
                <a:gd name="T21" fmla="*/ 8239294 h 264755"/>
                <a:gd name="T22" fmla="*/ 7980013 w 288440"/>
                <a:gd name="T23" fmla="*/ 7192468 h 264755"/>
                <a:gd name="T24" fmla="*/ 7980013 w 288440"/>
                <a:gd name="T25" fmla="*/ 9596156 h 264755"/>
                <a:gd name="T26" fmla="*/ 3693201 w 288440"/>
                <a:gd name="T27" fmla="*/ 8562353 h 264755"/>
                <a:gd name="T28" fmla="*/ 1262342 w 288440"/>
                <a:gd name="T29" fmla="*/ 8394325 h 264755"/>
                <a:gd name="T30" fmla="*/ 3397182 w 288440"/>
                <a:gd name="T31" fmla="*/ 5274281 h 264755"/>
                <a:gd name="T32" fmla="*/ 1369285 w 288440"/>
                <a:gd name="T33" fmla="*/ 5745399 h 264755"/>
                <a:gd name="T34" fmla="*/ 3580353 w 288440"/>
                <a:gd name="T35" fmla="*/ 6347409 h 264755"/>
                <a:gd name="T36" fmla="*/ 6210105 w 288440"/>
                <a:gd name="T37" fmla="*/ 5117224 h 264755"/>
                <a:gd name="T38" fmla="*/ 3907437 w 288440"/>
                <a:gd name="T39" fmla="*/ 6347409 h 264755"/>
                <a:gd name="T40" fmla="*/ 6210105 w 288440"/>
                <a:gd name="T41" fmla="*/ 5117224 h 264755"/>
                <a:gd name="T42" fmla="*/ 6537268 w 288440"/>
                <a:gd name="T43" fmla="*/ 5104140 h 264755"/>
                <a:gd name="T44" fmla="*/ 7989437 w 288440"/>
                <a:gd name="T45" fmla="*/ 6347409 h 264755"/>
                <a:gd name="T46" fmla="*/ 8892255 w 288440"/>
                <a:gd name="T47" fmla="*/ 4986399 h 264755"/>
                <a:gd name="T48" fmla="*/ 793601 w 288440"/>
                <a:gd name="T49" fmla="*/ 4083301 h 264755"/>
                <a:gd name="T50" fmla="*/ 3357933 w 288440"/>
                <a:gd name="T51" fmla="*/ 4960204 h 264755"/>
                <a:gd name="T52" fmla="*/ 6079286 w 288440"/>
                <a:gd name="T53" fmla="*/ 3559776 h 264755"/>
                <a:gd name="T54" fmla="*/ 3671951 w 288440"/>
                <a:gd name="T55" fmla="*/ 4934031 h 264755"/>
                <a:gd name="T56" fmla="*/ 6079286 w 288440"/>
                <a:gd name="T57" fmla="*/ 3559776 h 264755"/>
                <a:gd name="T58" fmla="*/ 6393273 w 288440"/>
                <a:gd name="T59" fmla="*/ 3533617 h 264755"/>
                <a:gd name="T60" fmla="*/ 8892255 w 288440"/>
                <a:gd name="T61" fmla="*/ 4659164 h 264755"/>
                <a:gd name="T62" fmla="*/ 2939249 w 288440"/>
                <a:gd name="T63" fmla="*/ 2473541 h 264755"/>
                <a:gd name="T64" fmla="*/ 688896 w 288440"/>
                <a:gd name="T65" fmla="*/ 3769208 h 264755"/>
                <a:gd name="T66" fmla="*/ 2939249 w 288440"/>
                <a:gd name="T67" fmla="*/ 2473541 h 264755"/>
                <a:gd name="T68" fmla="*/ 3253285 w 288440"/>
                <a:gd name="T69" fmla="*/ 2421164 h 264755"/>
                <a:gd name="T70" fmla="*/ 6053183 w 288440"/>
                <a:gd name="T71" fmla="*/ 3258820 h 264755"/>
                <a:gd name="T72" fmla="*/ 8892255 w 288440"/>
                <a:gd name="T73" fmla="*/ 1609767 h 264755"/>
                <a:gd name="T74" fmla="*/ 6367121 w 288440"/>
                <a:gd name="T75" fmla="*/ 3219524 h 264755"/>
                <a:gd name="T76" fmla="*/ 8892255 w 288440"/>
                <a:gd name="T77" fmla="*/ 1609767 h 264755"/>
                <a:gd name="T78" fmla="*/ 10462211 w 288440"/>
                <a:gd name="T79" fmla="*/ 157068 h 264755"/>
                <a:gd name="T80" fmla="*/ 9206226 w 288440"/>
                <a:gd name="T81" fmla="*/ 1439699 h 264755"/>
                <a:gd name="T82" fmla="*/ 7989437 w 288440"/>
                <a:gd name="T83" fmla="*/ 6661502 h 264755"/>
                <a:gd name="T84" fmla="*/ 1081370 w 288440"/>
                <a:gd name="T85" fmla="*/ 5850138 h 264755"/>
                <a:gd name="T86" fmla="*/ 21666 w 288440"/>
                <a:gd name="T87" fmla="*/ 2617537 h 264755"/>
                <a:gd name="T88" fmla="*/ 8892255 w 288440"/>
                <a:gd name="T89" fmla="*/ 1282604 h 26475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88440" h="264755">
                  <a:moveTo>
                    <a:pt x="220348" y="228600"/>
                  </a:moveTo>
                  <a:cubicBezTo>
                    <a:pt x="223015" y="228600"/>
                    <a:pt x="224920" y="230432"/>
                    <a:pt x="224920" y="232996"/>
                  </a:cubicBezTo>
                  <a:cubicBezTo>
                    <a:pt x="224920" y="235561"/>
                    <a:pt x="223015" y="237759"/>
                    <a:pt x="220348" y="237759"/>
                  </a:cubicBezTo>
                  <a:cubicBezTo>
                    <a:pt x="217681" y="237759"/>
                    <a:pt x="215776" y="235561"/>
                    <a:pt x="215776" y="232996"/>
                  </a:cubicBezTo>
                  <a:cubicBezTo>
                    <a:pt x="215776" y="230432"/>
                    <a:pt x="217681" y="228600"/>
                    <a:pt x="220348" y="228600"/>
                  </a:cubicBezTo>
                  <a:close/>
                  <a:moveTo>
                    <a:pt x="69360" y="228600"/>
                  </a:moveTo>
                  <a:cubicBezTo>
                    <a:pt x="71925" y="228600"/>
                    <a:pt x="74123" y="230432"/>
                    <a:pt x="74123" y="232996"/>
                  </a:cubicBezTo>
                  <a:cubicBezTo>
                    <a:pt x="74123" y="235561"/>
                    <a:pt x="71925" y="237759"/>
                    <a:pt x="69360" y="237759"/>
                  </a:cubicBezTo>
                  <a:cubicBezTo>
                    <a:pt x="66796" y="237759"/>
                    <a:pt x="64964" y="235561"/>
                    <a:pt x="64964" y="232996"/>
                  </a:cubicBezTo>
                  <a:cubicBezTo>
                    <a:pt x="64964" y="230432"/>
                    <a:pt x="66796" y="228600"/>
                    <a:pt x="69360" y="228600"/>
                  </a:cubicBezTo>
                  <a:close/>
                  <a:moveTo>
                    <a:pt x="220006" y="207351"/>
                  </a:moveTo>
                  <a:cubicBezTo>
                    <a:pt x="206314" y="207351"/>
                    <a:pt x="195144" y="218047"/>
                    <a:pt x="195144" y="231596"/>
                  </a:cubicBezTo>
                  <a:cubicBezTo>
                    <a:pt x="195144" y="245145"/>
                    <a:pt x="206314" y="256198"/>
                    <a:pt x="220006" y="256198"/>
                  </a:cubicBezTo>
                  <a:cubicBezTo>
                    <a:pt x="233338" y="256198"/>
                    <a:pt x="244868" y="245145"/>
                    <a:pt x="244868" y="231596"/>
                  </a:cubicBezTo>
                  <a:cubicBezTo>
                    <a:pt x="244868" y="218047"/>
                    <a:pt x="233338" y="207351"/>
                    <a:pt x="220006" y="207351"/>
                  </a:cubicBezTo>
                  <a:close/>
                  <a:moveTo>
                    <a:pt x="68311" y="207351"/>
                  </a:moveTo>
                  <a:cubicBezTo>
                    <a:pt x="54979" y="207351"/>
                    <a:pt x="43809" y="218047"/>
                    <a:pt x="43809" y="231596"/>
                  </a:cubicBezTo>
                  <a:cubicBezTo>
                    <a:pt x="43809" y="245145"/>
                    <a:pt x="54979" y="256198"/>
                    <a:pt x="68311" y="256198"/>
                  </a:cubicBezTo>
                  <a:cubicBezTo>
                    <a:pt x="82363" y="256198"/>
                    <a:pt x="93173" y="245145"/>
                    <a:pt x="93173" y="231596"/>
                  </a:cubicBezTo>
                  <a:cubicBezTo>
                    <a:pt x="93173" y="218047"/>
                    <a:pt x="82363" y="207351"/>
                    <a:pt x="68311" y="207351"/>
                  </a:cubicBezTo>
                  <a:close/>
                  <a:moveTo>
                    <a:pt x="68311" y="198437"/>
                  </a:moveTo>
                  <a:cubicBezTo>
                    <a:pt x="85606" y="198437"/>
                    <a:pt x="99659" y="210916"/>
                    <a:pt x="101821" y="227318"/>
                  </a:cubicBezTo>
                  <a:lnTo>
                    <a:pt x="186856" y="227318"/>
                  </a:lnTo>
                  <a:cubicBezTo>
                    <a:pt x="189018" y="210916"/>
                    <a:pt x="203071" y="198437"/>
                    <a:pt x="220006" y="198437"/>
                  </a:cubicBezTo>
                  <a:cubicBezTo>
                    <a:pt x="238382" y="198437"/>
                    <a:pt x="253516" y="213412"/>
                    <a:pt x="253516" y="231596"/>
                  </a:cubicBezTo>
                  <a:cubicBezTo>
                    <a:pt x="253516" y="249424"/>
                    <a:pt x="238382" y="264755"/>
                    <a:pt x="220006" y="264755"/>
                  </a:cubicBezTo>
                  <a:cubicBezTo>
                    <a:pt x="203071" y="264755"/>
                    <a:pt x="189018" y="251920"/>
                    <a:pt x="186856" y="236231"/>
                  </a:cubicBezTo>
                  <a:lnTo>
                    <a:pt x="101821" y="236231"/>
                  </a:lnTo>
                  <a:cubicBezTo>
                    <a:pt x="99659" y="251920"/>
                    <a:pt x="85606" y="264755"/>
                    <a:pt x="68311" y="264755"/>
                  </a:cubicBezTo>
                  <a:cubicBezTo>
                    <a:pt x="49934" y="264755"/>
                    <a:pt x="34801" y="249424"/>
                    <a:pt x="34801" y="231596"/>
                  </a:cubicBezTo>
                  <a:cubicBezTo>
                    <a:pt x="34801" y="213412"/>
                    <a:pt x="49934" y="198437"/>
                    <a:pt x="68311" y="198437"/>
                  </a:cubicBezTo>
                  <a:close/>
                  <a:moveTo>
                    <a:pt x="93659" y="145515"/>
                  </a:moveTo>
                  <a:lnTo>
                    <a:pt x="34143" y="148403"/>
                  </a:lnTo>
                  <a:lnTo>
                    <a:pt x="37750" y="158513"/>
                  </a:lnTo>
                  <a:cubicBezTo>
                    <a:pt x="40996" y="168624"/>
                    <a:pt x="50375" y="175123"/>
                    <a:pt x="61196" y="175123"/>
                  </a:cubicBezTo>
                  <a:lnTo>
                    <a:pt x="98709" y="175123"/>
                  </a:lnTo>
                  <a:lnTo>
                    <a:pt x="93659" y="145515"/>
                  </a:lnTo>
                  <a:close/>
                  <a:moveTo>
                    <a:pt x="171211" y="141182"/>
                  </a:moveTo>
                  <a:lnTo>
                    <a:pt x="102677" y="144792"/>
                  </a:lnTo>
                  <a:lnTo>
                    <a:pt x="107727" y="175123"/>
                  </a:lnTo>
                  <a:lnTo>
                    <a:pt x="174457" y="175123"/>
                  </a:lnTo>
                  <a:lnTo>
                    <a:pt x="171211" y="141182"/>
                  </a:lnTo>
                  <a:close/>
                  <a:moveTo>
                    <a:pt x="245156" y="137571"/>
                  </a:moveTo>
                  <a:lnTo>
                    <a:pt x="180229" y="140821"/>
                  </a:lnTo>
                  <a:lnTo>
                    <a:pt x="183475" y="175123"/>
                  </a:lnTo>
                  <a:lnTo>
                    <a:pt x="220267" y="175123"/>
                  </a:lnTo>
                  <a:cubicBezTo>
                    <a:pt x="233613" y="175123"/>
                    <a:pt x="245156" y="164291"/>
                    <a:pt x="245156" y="150570"/>
                  </a:cubicBezTo>
                  <a:lnTo>
                    <a:pt x="245156" y="137571"/>
                  </a:lnTo>
                  <a:close/>
                  <a:moveTo>
                    <a:pt x="87167" y="106157"/>
                  </a:moveTo>
                  <a:lnTo>
                    <a:pt x="21879" y="112656"/>
                  </a:lnTo>
                  <a:lnTo>
                    <a:pt x="31257" y="139737"/>
                  </a:lnTo>
                  <a:lnTo>
                    <a:pt x="92577" y="136849"/>
                  </a:lnTo>
                  <a:lnTo>
                    <a:pt x="87167" y="106157"/>
                  </a:lnTo>
                  <a:close/>
                  <a:moveTo>
                    <a:pt x="167604" y="98213"/>
                  </a:moveTo>
                  <a:lnTo>
                    <a:pt x="96184" y="105435"/>
                  </a:lnTo>
                  <a:lnTo>
                    <a:pt x="101234" y="136127"/>
                  </a:lnTo>
                  <a:lnTo>
                    <a:pt x="170850" y="132877"/>
                  </a:lnTo>
                  <a:lnTo>
                    <a:pt x="167604" y="98213"/>
                  </a:lnTo>
                  <a:close/>
                  <a:moveTo>
                    <a:pt x="245156" y="90992"/>
                  </a:moveTo>
                  <a:lnTo>
                    <a:pt x="176261" y="97491"/>
                  </a:lnTo>
                  <a:lnTo>
                    <a:pt x="179507" y="131794"/>
                  </a:lnTo>
                  <a:lnTo>
                    <a:pt x="245156" y="128544"/>
                  </a:lnTo>
                  <a:lnTo>
                    <a:pt x="245156" y="90992"/>
                  </a:lnTo>
                  <a:close/>
                  <a:moveTo>
                    <a:pt x="81035" y="68244"/>
                  </a:moveTo>
                  <a:lnTo>
                    <a:pt x="9976" y="77993"/>
                  </a:lnTo>
                  <a:lnTo>
                    <a:pt x="18993" y="103991"/>
                  </a:lnTo>
                  <a:lnTo>
                    <a:pt x="85724" y="97491"/>
                  </a:lnTo>
                  <a:lnTo>
                    <a:pt x="81035" y="68244"/>
                  </a:lnTo>
                  <a:close/>
                  <a:moveTo>
                    <a:pt x="163636" y="56328"/>
                  </a:moveTo>
                  <a:lnTo>
                    <a:pt x="89692" y="66799"/>
                  </a:lnTo>
                  <a:lnTo>
                    <a:pt x="94741" y="96769"/>
                  </a:lnTo>
                  <a:lnTo>
                    <a:pt x="166883" y="89909"/>
                  </a:lnTo>
                  <a:lnTo>
                    <a:pt x="163636" y="56328"/>
                  </a:lnTo>
                  <a:close/>
                  <a:moveTo>
                    <a:pt x="245156" y="44413"/>
                  </a:moveTo>
                  <a:lnTo>
                    <a:pt x="172293" y="55245"/>
                  </a:lnTo>
                  <a:lnTo>
                    <a:pt x="175539" y="88825"/>
                  </a:lnTo>
                  <a:lnTo>
                    <a:pt x="245156" y="81965"/>
                  </a:lnTo>
                  <a:lnTo>
                    <a:pt x="245156" y="44413"/>
                  </a:lnTo>
                  <a:close/>
                  <a:moveTo>
                    <a:pt x="284473" y="0"/>
                  </a:moveTo>
                  <a:cubicBezTo>
                    <a:pt x="286637" y="0"/>
                    <a:pt x="288440" y="1805"/>
                    <a:pt x="288440" y="4333"/>
                  </a:cubicBezTo>
                  <a:cubicBezTo>
                    <a:pt x="288440" y="6860"/>
                    <a:pt x="286637" y="9027"/>
                    <a:pt x="284473" y="9027"/>
                  </a:cubicBezTo>
                  <a:cubicBezTo>
                    <a:pt x="267519" y="9027"/>
                    <a:pt x="253813" y="22748"/>
                    <a:pt x="253813" y="39719"/>
                  </a:cubicBezTo>
                  <a:lnTo>
                    <a:pt x="253813" y="150570"/>
                  </a:lnTo>
                  <a:cubicBezTo>
                    <a:pt x="253813" y="168985"/>
                    <a:pt x="238663" y="183789"/>
                    <a:pt x="220267" y="183789"/>
                  </a:cubicBezTo>
                  <a:lnTo>
                    <a:pt x="61196" y="183789"/>
                  </a:lnTo>
                  <a:cubicBezTo>
                    <a:pt x="46768" y="183789"/>
                    <a:pt x="34143" y="175123"/>
                    <a:pt x="29814" y="161402"/>
                  </a:cubicBezTo>
                  <a:lnTo>
                    <a:pt x="237" y="75826"/>
                  </a:lnTo>
                  <a:cubicBezTo>
                    <a:pt x="-124" y="74743"/>
                    <a:pt x="-124" y="72938"/>
                    <a:pt x="597" y="72216"/>
                  </a:cubicBezTo>
                  <a:cubicBezTo>
                    <a:pt x="958" y="71132"/>
                    <a:pt x="2401" y="70049"/>
                    <a:pt x="3483" y="70049"/>
                  </a:cubicBezTo>
                  <a:lnTo>
                    <a:pt x="245156" y="35386"/>
                  </a:lnTo>
                  <a:cubicBezTo>
                    <a:pt x="247320" y="15526"/>
                    <a:pt x="263912" y="0"/>
                    <a:pt x="284473" y="0"/>
                  </a:cubicBezTo>
                  <a:close/>
                </a:path>
              </a:pathLst>
            </a:custGeom>
            <a:solidFill>
              <a:srgbClr val="FFFFFF"/>
            </a:solidFill>
            <a:ln>
              <a:noFill/>
            </a:ln>
          </p:spPr>
          <p:txBody>
            <a:bodyPr anchor="ctr"/>
            <a:lstStyle/>
            <a:p>
              <a:pPr marL="0" marR="0" lvl="0" indent="0" defTabSz="91421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AAAAA"/>
                </a:solidFill>
                <a:effectLst/>
                <a:uLnTx/>
                <a:uFillTx/>
                <a:latin typeface="Abadi" panose="020B0604020104020204" pitchFamily="34" charset="0"/>
              </a:endParaRPr>
            </a:p>
          </p:txBody>
        </p:sp>
        <p:sp>
          <p:nvSpPr>
            <p:cNvPr id="27" name="Freeform 45">
              <a:extLst>
                <a:ext uri="{FF2B5EF4-FFF2-40B4-BE49-F238E27FC236}">
                  <a16:creationId xmlns:a16="http://schemas.microsoft.com/office/drawing/2014/main" id="{8BD9326E-9FA5-B6F1-45B1-B79646C8A0D8}"/>
                </a:ext>
              </a:extLst>
            </p:cNvPr>
            <p:cNvSpPr>
              <a:spLocks noChangeAspect="1"/>
            </p:cNvSpPr>
            <p:nvPr/>
          </p:nvSpPr>
          <p:spPr bwMode="auto">
            <a:xfrm>
              <a:off x="8133716" y="2974084"/>
              <a:ext cx="569734" cy="571445"/>
            </a:xfrm>
            <a:custGeom>
              <a:avLst/>
              <a:gdLst>
                <a:gd name="T0" fmla="*/ 2147483646 w 811"/>
                <a:gd name="T1" fmla="*/ 2147483646 h 811"/>
                <a:gd name="T2" fmla="*/ 2147483646 w 811"/>
                <a:gd name="T3" fmla="*/ 2147483646 h 811"/>
                <a:gd name="T4" fmla="*/ 2147483646 w 811"/>
                <a:gd name="T5" fmla="*/ 2147483646 h 811"/>
                <a:gd name="T6" fmla="*/ 2147483646 w 811"/>
                <a:gd name="T7" fmla="*/ 2147483646 h 811"/>
                <a:gd name="T8" fmla="*/ 2147483646 w 811"/>
                <a:gd name="T9" fmla="*/ 2147483646 h 811"/>
                <a:gd name="T10" fmla="*/ 2147483646 w 811"/>
                <a:gd name="T11" fmla="*/ 2147483646 h 811"/>
                <a:gd name="T12" fmla="*/ 2147483646 w 811"/>
                <a:gd name="T13" fmla="*/ 2147483646 h 811"/>
                <a:gd name="T14" fmla="*/ 2147483646 w 811"/>
                <a:gd name="T15" fmla="*/ 2147483646 h 811"/>
                <a:gd name="T16" fmla="*/ 2147483646 w 811"/>
                <a:gd name="T17" fmla="*/ 2147483646 h 811"/>
                <a:gd name="T18" fmla="*/ 2147483646 w 811"/>
                <a:gd name="T19" fmla="*/ 2147483646 h 811"/>
                <a:gd name="T20" fmla="*/ 2147483646 w 811"/>
                <a:gd name="T21" fmla="*/ 2147483646 h 811"/>
                <a:gd name="T22" fmla="*/ 2147483646 w 811"/>
                <a:gd name="T23" fmla="*/ 2147483646 h 811"/>
                <a:gd name="T24" fmla="*/ 2147483646 w 811"/>
                <a:gd name="T25" fmla="*/ 2147483646 h 811"/>
                <a:gd name="T26" fmla="*/ 2147483646 w 811"/>
                <a:gd name="T27" fmla="*/ 2147483646 h 811"/>
                <a:gd name="T28" fmla="*/ 2147483646 w 811"/>
                <a:gd name="T29" fmla="*/ 2147483646 h 811"/>
                <a:gd name="T30" fmla="*/ 2147483646 w 811"/>
                <a:gd name="T31" fmla="*/ 2147483646 h 811"/>
                <a:gd name="T32" fmla="*/ 2147483646 w 811"/>
                <a:gd name="T33" fmla="*/ 2147483646 h 811"/>
                <a:gd name="T34" fmla="*/ 2147483646 w 811"/>
                <a:gd name="T35" fmla="*/ 2147483646 h 811"/>
                <a:gd name="T36" fmla="*/ 2147483646 w 811"/>
                <a:gd name="T37" fmla="*/ 2147483646 h 811"/>
                <a:gd name="T38" fmla="*/ 2147483646 w 811"/>
                <a:gd name="T39" fmla="*/ 2147483646 h 811"/>
                <a:gd name="T40" fmla="*/ 2147483646 w 811"/>
                <a:gd name="T41" fmla="*/ 2147483646 h 811"/>
                <a:gd name="T42" fmla="*/ 2147483646 w 811"/>
                <a:gd name="T43" fmla="*/ 2147483646 h 811"/>
                <a:gd name="T44" fmla="*/ 2147483646 w 811"/>
                <a:gd name="T45" fmla="*/ 2147483646 h 811"/>
                <a:gd name="T46" fmla="*/ 2147483646 w 811"/>
                <a:gd name="T47" fmla="*/ 2147483646 h 811"/>
                <a:gd name="T48" fmla="*/ 2147483646 w 811"/>
                <a:gd name="T49" fmla="*/ 2147483646 h 811"/>
                <a:gd name="T50" fmla="*/ 2147483646 w 811"/>
                <a:gd name="T51" fmla="*/ 2147483646 h 811"/>
                <a:gd name="T52" fmla="*/ 2147483646 w 811"/>
                <a:gd name="T53" fmla="*/ 2147483646 h 811"/>
                <a:gd name="T54" fmla="*/ 2147483646 w 811"/>
                <a:gd name="T55" fmla="*/ 2147483646 h 811"/>
                <a:gd name="T56" fmla="*/ 2147483646 w 811"/>
                <a:gd name="T57" fmla="*/ 2147483646 h 811"/>
                <a:gd name="T58" fmla="*/ 2147483646 w 811"/>
                <a:gd name="T59" fmla="*/ 2147483646 h 811"/>
                <a:gd name="T60" fmla="*/ 2147483646 w 811"/>
                <a:gd name="T61" fmla="*/ 2147483646 h 811"/>
                <a:gd name="T62" fmla="*/ 2147483646 w 811"/>
                <a:gd name="T63" fmla="*/ 2147483646 h 811"/>
                <a:gd name="T64" fmla="*/ 2147483646 w 811"/>
                <a:gd name="T65" fmla="*/ 2147483646 h 811"/>
                <a:gd name="T66" fmla="*/ 2147483646 w 811"/>
                <a:gd name="T67" fmla="*/ 2147483646 h 811"/>
                <a:gd name="T68" fmla="*/ 2147483646 w 811"/>
                <a:gd name="T69" fmla="*/ 2147483646 h 811"/>
                <a:gd name="T70" fmla="*/ 2147483646 w 811"/>
                <a:gd name="T71" fmla="*/ 2147483646 h 811"/>
                <a:gd name="T72" fmla="*/ 2147483646 w 811"/>
                <a:gd name="T73" fmla="*/ 2147483646 h 811"/>
                <a:gd name="T74" fmla="*/ 2147483646 w 811"/>
                <a:gd name="T75" fmla="*/ 2147483646 h 811"/>
                <a:gd name="T76" fmla="*/ 2147483646 w 811"/>
                <a:gd name="T77" fmla="*/ 2147483646 h 811"/>
                <a:gd name="T78" fmla="*/ 2147483646 w 811"/>
                <a:gd name="T79" fmla="*/ 2147483646 h 811"/>
                <a:gd name="T80" fmla="*/ 2147483646 w 811"/>
                <a:gd name="T81" fmla="*/ 2147483646 h 811"/>
                <a:gd name="T82" fmla="*/ 2147483646 w 811"/>
                <a:gd name="T83" fmla="*/ 2147483646 h 811"/>
                <a:gd name="T84" fmla="*/ 2147483646 w 811"/>
                <a:gd name="T85" fmla="*/ 2147483646 h 811"/>
                <a:gd name="T86" fmla="*/ 2147483646 w 811"/>
                <a:gd name="T87" fmla="*/ 2147483646 h 811"/>
                <a:gd name="T88" fmla="*/ 2147483646 w 811"/>
                <a:gd name="T89" fmla="*/ 2147483646 h 811"/>
                <a:gd name="T90" fmla="*/ 2147483646 w 811"/>
                <a:gd name="T91" fmla="*/ 2147483646 h 811"/>
                <a:gd name="T92" fmla="*/ 2147483646 w 811"/>
                <a:gd name="T93" fmla="*/ 2147483646 h 811"/>
                <a:gd name="T94" fmla="*/ 2147483646 w 811"/>
                <a:gd name="T95" fmla="*/ 2147483646 h 811"/>
                <a:gd name="T96" fmla="*/ 2147483646 w 811"/>
                <a:gd name="T97" fmla="*/ 2147483646 h 811"/>
                <a:gd name="T98" fmla="*/ 2147483646 w 811"/>
                <a:gd name="T99" fmla="*/ 2147483646 h 811"/>
                <a:gd name="T100" fmla="*/ 0 w 811"/>
                <a:gd name="T101" fmla="*/ 2147483646 h 811"/>
                <a:gd name="T102" fmla="*/ 2147483646 w 811"/>
                <a:gd name="T103" fmla="*/ 2147483646 h 811"/>
                <a:gd name="T104" fmla="*/ 2147483646 w 811"/>
                <a:gd name="T105" fmla="*/ 2147483646 h 81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811" h="811">
                  <a:moveTo>
                    <a:pt x="784" y="393"/>
                  </a:moveTo>
                  <a:lnTo>
                    <a:pt x="686" y="393"/>
                  </a:lnTo>
                  <a:cubicBezTo>
                    <a:pt x="684" y="342"/>
                    <a:pt x="668" y="295"/>
                    <a:pt x="642" y="254"/>
                  </a:cubicBezTo>
                  <a:lnTo>
                    <a:pt x="666" y="254"/>
                  </a:lnTo>
                  <a:cubicBezTo>
                    <a:pt x="669" y="254"/>
                    <a:pt x="673" y="253"/>
                    <a:pt x="675" y="251"/>
                  </a:cubicBezTo>
                  <a:lnTo>
                    <a:pt x="724" y="201"/>
                  </a:lnTo>
                  <a:cubicBezTo>
                    <a:pt x="760" y="257"/>
                    <a:pt x="782" y="323"/>
                    <a:pt x="784" y="393"/>
                  </a:cubicBezTo>
                  <a:close/>
                  <a:moveTo>
                    <a:pt x="417" y="785"/>
                  </a:moveTo>
                  <a:lnTo>
                    <a:pt x="417" y="686"/>
                  </a:lnTo>
                  <a:cubicBezTo>
                    <a:pt x="563" y="681"/>
                    <a:pt x="680" y="563"/>
                    <a:pt x="686" y="418"/>
                  </a:cubicBezTo>
                  <a:lnTo>
                    <a:pt x="784" y="418"/>
                  </a:lnTo>
                  <a:cubicBezTo>
                    <a:pt x="778" y="618"/>
                    <a:pt x="617" y="779"/>
                    <a:pt x="417" y="785"/>
                  </a:cubicBezTo>
                  <a:close/>
                  <a:moveTo>
                    <a:pt x="25" y="418"/>
                  </a:moveTo>
                  <a:lnTo>
                    <a:pt x="123" y="418"/>
                  </a:lnTo>
                  <a:cubicBezTo>
                    <a:pt x="130" y="563"/>
                    <a:pt x="247" y="681"/>
                    <a:pt x="393" y="686"/>
                  </a:cubicBezTo>
                  <a:lnTo>
                    <a:pt x="393" y="785"/>
                  </a:lnTo>
                  <a:cubicBezTo>
                    <a:pt x="193" y="779"/>
                    <a:pt x="31" y="618"/>
                    <a:pt x="25" y="418"/>
                  </a:cubicBezTo>
                  <a:close/>
                  <a:moveTo>
                    <a:pt x="393" y="26"/>
                  </a:moveTo>
                  <a:lnTo>
                    <a:pt x="393" y="124"/>
                  </a:lnTo>
                  <a:cubicBezTo>
                    <a:pt x="247" y="131"/>
                    <a:pt x="130" y="248"/>
                    <a:pt x="123" y="393"/>
                  </a:cubicBezTo>
                  <a:lnTo>
                    <a:pt x="25" y="393"/>
                  </a:lnTo>
                  <a:cubicBezTo>
                    <a:pt x="31" y="194"/>
                    <a:pt x="193" y="32"/>
                    <a:pt x="393" y="26"/>
                  </a:cubicBezTo>
                  <a:close/>
                  <a:moveTo>
                    <a:pt x="559" y="135"/>
                  </a:moveTo>
                  <a:lnTo>
                    <a:pt x="559" y="135"/>
                  </a:lnTo>
                  <a:cubicBezTo>
                    <a:pt x="557" y="138"/>
                    <a:pt x="556" y="141"/>
                    <a:pt x="556" y="144"/>
                  </a:cubicBezTo>
                  <a:lnTo>
                    <a:pt x="556" y="168"/>
                  </a:lnTo>
                  <a:cubicBezTo>
                    <a:pt x="515" y="143"/>
                    <a:pt x="468" y="126"/>
                    <a:pt x="417" y="124"/>
                  </a:cubicBezTo>
                  <a:lnTo>
                    <a:pt x="417" y="26"/>
                  </a:lnTo>
                  <a:cubicBezTo>
                    <a:pt x="488" y="29"/>
                    <a:pt x="553" y="50"/>
                    <a:pt x="609" y="85"/>
                  </a:cubicBezTo>
                  <a:lnTo>
                    <a:pt x="559" y="135"/>
                  </a:lnTo>
                  <a:close/>
                  <a:moveTo>
                    <a:pt x="563" y="393"/>
                  </a:moveTo>
                  <a:lnTo>
                    <a:pt x="563" y="393"/>
                  </a:lnTo>
                  <a:cubicBezTo>
                    <a:pt x="560" y="359"/>
                    <a:pt x="547" y="327"/>
                    <a:pt x="525" y="302"/>
                  </a:cubicBezTo>
                  <a:lnTo>
                    <a:pt x="573" y="254"/>
                  </a:lnTo>
                  <a:lnTo>
                    <a:pt x="612" y="254"/>
                  </a:lnTo>
                  <a:cubicBezTo>
                    <a:pt x="641" y="294"/>
                    <a:pt x="659" y="342"/>
                    <a:pt x="661" y="393"/>
                  </a:cubicBezTo>
                  <a:lnTo>
                    <a:pt x="563" y="393"/>
                  </a:lnTo>
                  <a:close/>
                  <a:moveTo>
                    <a:pt x="417" y="564"/>
                  </a:moveTo>
                  <a:lnTo>
                    <a:pt x="417" y="564"/>
                  </a:lnTo>
                  <a:cubicBezTo>
                    <a:pt x="495" y="558"/>
                    <a:pt x="558" y="496"/>
                    <a:pt x="563" y="418"/>
                  </a:cubicBezTo>
                  <a:lnTo>
                    <a:pt x="661" y="418"/>
                  </a:lnTo>
                  <a:cubicBezTo>
                    <a:pt x="655" y="550"/>
                    <a:pt x="549" y="656"/>
                    <a:pt x="417" y="662"/>
                  </a:cubicBezTo>
                  <a:lnTo>
                    <a:pt x="417" y="564"/>
                  </a:lnTo>
                  <a:close/>
                  <a:moveTo>
                    <a:pt x="246" y="418"/>
                  </a:moveTo>
                  <a:lnTo>
                    <a:pt x="246" y="418"/>
                  </a:lnTo>
                  <a:cubicBezTo>
                    <a:pt x="252" y="496"/>
                    <a:pt x="314" y="558"/>
                    <a:pt x="393" y="564"/>
                  </a:cubicBezTo>
                  <a:lnTo>
                    <a:pt x="393" y="662"/>
                  </a:lnTo>
                  <a:cubicBezTo>
                    <a:pt x="260" y="656"/>
                    <a:pt x="154" y="550"/>
                    <a:pt x="148" y="418"/>
                  </a:cubicBezTo>
                  <a:lnTo>
                    <a:pt x="246" y="418"/>
                  </a:lnTo>
                  <a:close/>
                  <a:moveTo>
                    <a:pt x="393" y="246"/>
                  </a:moveTo>
                  <a:lnTo>
                    <a:pt x="393" y="246"/>
                  </a:lnTo>
                  <a:cubicBezTo>
                    <a:pt x="314" y="253"/>
                    <a:pt x="252" y="315"/>
                    <a:pt x="246" y="393"/>
                  </a:cubicBezTo>
                  <a:lnTo>
                    <a:pt x="148" y="393"/>
                  </a:lnTo>
                  <a:cubicBezTo>
                    <a:pt x="154" y="261"/>
                    <a:pt x="260" y="155"/>
                    <a:pt x="393" y="149"/>
                  </a:cubicBezTo>
                  <a:lnTo>
                    <a:pt x="393" y="246"/>
                  </a:lnTo>
                  <a:close/>
                  <a:moveTo>
                    <a:pt x="508" y="285"/>
                  </a:moveTo>
                  <a:lnTo>
                    <a:pt x="508" y="285"/>
                  </a:lnTo>
                  <a:cubicBezTo>
                    <a:pt x="483" y="263"/>
                    <a:pt x="452" y="249"/>
                    <a:pt x="417" y="246"/>
                  </a:cubicBezTo>
                  <a:lnTo>
                    <a:pt x="417" y="148"/>
                  </a:lnTo>
                  <a:cubicBezTo>
                    <a:pt x="469" y="151"/>
                    <a:pt x="516" y="169"/>
                    <a:pt x="556" y="198"/>
                  </a:cubicBezTo>
                  <a:lnTo>
                    <a:pt x="556" y="237"/>
                  </a:lnTo>
                  <a:lnTo>
                    <a:pt x="508" y="285"/>
                  </a:lnTo>
                  <a:close/>
                  <a:moveTo>
                    <a:pt x="503" y="418"/>
                  </a:moveTo>
                  <a:lnTo>
                    <a:pt x="539" y="418"/>
                  </a:lnTo>
                  <a:cubicBezTo>
                    <a:pt x="533" y="482"/>
                    <a:pt x="481" y="534"/>
                    <a:pt x="417" y="540"/>
                  </a:cubicBezTo>
                  <a:lnTo>
                    <a:pt x="417" y="504"/>
                  </a:lnTo>
                  <a:cubicBezTo>
                    <a:pt x="417" y="497"/>
                    <a:pt x="411" y="491"/>
                    <a:pt x="405" y="491"/>
                  </a:cubicBezTo>
                  <a:cubicBezTo>
                    <a:pt x="398" y="491"/>
                    <a:pt x="393" y="497"/>
                    <a:pt x="393" y="504"/>
                  </a:cubicBezTo>
                  <a:lnTo>
                    <a:pt x="393" y="540"/>
                  </a:lnTo>
                  <a:cubicBezTo>
                    <a:pt x="328" y="534"/>
                    <a:pt x="276" y="482"/>
                    <a:pt x="270" y="418"/>
                  </a:cubicBezTo>
                  <a:lnTo>
                    <a:pt x="307" y="418"/>
                  </a:lnTo>
                  <a:cubicBezTo>
                    <a:pt x="313" y="418"/>
                    <a:pt x="319" y="412"/>
                    <a:pt x="319" y="406"/>
                  </a:cubicBezTo>
                  <a:cubicBezTo>
                    <a:pt x="319" y="399"/>
                    <a:pt x="313" y="393"/>
                    <a:pt x="307" y="393"/>
                  </a:cubicBezTo>
                  <a:lnTo>
                    <a:pt x="270" y="393"/>
                  </a:lnTo>
                  <a:cubicBezTo>
                    <a:pt x="276" y="329"/>
                    <a:pt x="328" y="277"/>
                    <a:pt x="393" y="271"/>
                  </a:cubicBezTo>
                  <a:lnTo>
                    <a:pt x="393" y="308"/>
                  </a:lnTo>
                  <a:cubicBezTo>
                    <a:pt x="393" y="314"/>
                    <a:pt x="398" y="320"/>
                    <a:pt x="405" y="320"/>
                  </a:cubicBezTo>
                  <a:cubicBezTo>
                    <a:pt x="411" y="320"/>
                    <a:pt x="417" y="314"/>
                    <a:pt x="417" y="308"/>
                  </a:cubicBezTo>
                  <a:lnTo>
                    <a:pt x="417" y="271"/>
                  </a:lnTo>
                  <a:cubicBezTo>
                    <a:pt x="445" y="274"/>
                    <a:pt x="471" y="285"/>
                    <a:pt x="490" y="302"/>
                  </a:cubicBezTo>
                  <a:lnTo>
                    <a:pt x="396" y="397"/>
                  </a:lnTo>
                  <a:cubicBezTo>
                    <a:pt x="391" y="401"/>
                    <a:pt x="391" y="409"/>
                    <a:pt x="396" y="414"/>
                  </a:cubicBezTo>
                  <a:cubicBezTo>
                    <a:pt x="398" y="416"/>
                    <a:pt x="401" y="418"/>
                    <a:pt x="405" y="418"/>
                  </a:cubicBezTo>
                  <a:cubicBezTo>
                    <a:pt x="408" y="418"/>
                    <a:pt x="411" y="416"/>
                    <a:pt x="413" y="414"/>
                  </a:cubicBezTo>
                  <a:lnTo>
                    <a:pt x="508" y="319"/>
                  </a:lnTo>
                  <a:cubicBezTo>
                    <a:pt x="525" y="340"/>
                    <a:pt x="536" y="365"/>
                    <a:pt x="539" y="393"/>
                  </a:cubicBezTo>
                  <a:lnTo>
                    <a:pt x="503" y="393"/>
                  </a:lnTo>
                  <a:cubicBezTo>
                    <a:pt x="496" y="393"/>
                    <a:pt x="490" y="399"/>
                    <a:pt x="490" y="406"/>
                  </a:cubicBezTo>
                  <a:cubicBezTo>
                    <a:pt x="490" y="412"/>
                    <a:pt x="496" y="418"/>
                    <a:pt x="503" y="418"/>
                  </a:cubicBezTo>
                  <a:close/>
                  <a:moveTo>
                    <a:pt x="687" y="43"/>
                  </a:moveTo>
                  <a:lnTo>
                    <a:pt x="687" y="112"/>
                  </a:lnTo>
                  <a:cubicBezTo>
                    <a:pt x="687" y="118"/>
                    <a:pt x="692" y="124"/>
                    <a:pt x="699" y="124"/>
                  </a:cubicBezTo>
                  <a:lnTo>
                    <a:pt x="767" y="124"/>
                  </a:lnTo>
                  <a:lnTo>
                    <a:pt x="661" y="230"/>
                  </a:lnTo>
                  <a:lnTo>
                    <a:pt x="580" y="230"/>
                  </a:lnTo>
                  <a:lnTo>
                    <a:pt x="580" y="149"/>
                  </a:lnTo>
                  <a:lnTo>
                    <a:pt x="687" y="43"/>
                  </a:lnTo>
                  <a:close/>
                  <a:moveTo>
                    <a:pt x="805" y="120"/>
                  </a:moveTo>
                  <a:lnTo>
                    <a:pt x="805" y="120"/>
                  </a:lnTo>
                  <a:cubicBezTo>
                    <a:pt x="809" y="117"/>
                    <a:pt x="810" y="112"/>
                    <a:pt x="808" y="107"/>
                  </a:cubicBezTo>
                  <a:cubicBezTo>
                    <a:pt x="806" y="102"/>
                    <a:pt x="802" y="99"/>
                    <a:pt x="797" y="99"/>
                  </a:cubicBezTo>
                  <a:lnTo>
                    <a:pt x="729" y="99"/>
                  </a:lnTo>
                  <a:lnTo>
                    <a:pt x="805" y="22"/>
                  </a:lnTo>
                  <a:cubicBezTo>
                    <a:pt x="810" y="17"/>
                    <a:pt x="810" y="9"/>
                    <a:pt x="805" y="4"/>
                  </a:cubicBezTo>
                  <a:cubicBezTo>
                    <a:pt x="801" y="0"/>
                    <a:pt x="793" y="0"/>
                    <a:pt x="788" y="4"/>
                  </a:cubicBezTo>
                  <a:lnTo>
                    <a:pt x="711" y="82"/>
                  </a:lnTo>
                  <a:lnTo>
                    <a:pt x="711" y="13"/>
                  </a:lnTo>
                  <a:cubicBezTo>
                    <a:pt x="711" y="9"/>
                    <a:pt x="708" y="4"/>
                    <a:pt x="703" y="2"/>
                  </a:cubicBezTo>
                  <a:cubicBezTo>
                    <a:pt x="699" y="0"/>
                    <a:pt x="694" y="1"/>
                    <a:pt x="690" y="4"/>
                  </a:cubicBezTo>
                  <a:lnTo>
                    <a:pt x="627" y="68"/>
                  </a:lnTo>
                  <a:cubicBezTo>
                    <a:pt x="563" y="26"/>
                    <a:pt x="486" y="1"/>
                    <a:pt x="405" y="1"/>
                  </a:cubicBezTo>
                  <a:cubicBezTo>
                    <a:pt x="182" y="1"/>
                    <a:pt x="0" y="183"/>
                    <a:pt x="0" y="406"/>
                  </a:cubicBezTo>
                  <a:cubicBezTo>
                    <a:pt x="0" y="628"/>
                    <a:pt x="182" y="810"/>
                    <a:pt x="405" y="810"/>
                  </a:cubicBezTo>
                  <a:cubicBezTo>
                    <a:pt x="627" y="810"/>
                    <a:pt x="809" y="628"/>
                    <a:pt x="809" y="406"/>
                  </a:cubicBezTo>
                  <a:cubicBezTo>
                    <a:pt x="809" y="323"/>
                    <a:pt x="784" y="247"/>
                    <a:pt x="742" y="184"/>
                  </a:cubicBezTo>
                  <a:lnTo>
                    <a:pt x="805" y="120"/>
                  </a:lnTo>
                  <a:close/>
                </a:path>
              </a:pathLst>
            </a:custGeom>
            <a:solidFill>
              <a:srgbClr val="FFFFFF"/>
            </a:solidFill>
            <a:ln>
              <a:noFill/>
            </a:ln>
          </p:spPr>
          <p:txBody>
            <a:bodyPr wrap="none" anchor="ctr"/>
            <a:lstStyle/>
            <a:p>
              <a:pPr marL="0" marR="0" lvl="0" indent="0" defTabSz="91421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AAAAA"/>
                </a:solidFill>
                <a:effectLst/>
                <a:uLnTx/>
                <a:uFillTx/>
                <a:latin typeface="Abadi" panose="020B0604020104020204" pitchFamily="34" charset="0"/>
              </a:endParaRPr>
            </a:p>
          </p:txBody>
        </p:sp>
        <p:sp>
          <p:nvSpPr>
            <p:cNvPr id="33" name="Freeform 948">
              <a:extLst>
                <a:ext uri="{FF2B5EF4-FFF2-40B4-BE49-F238E27FC236}">
                  <a16:creationId xmlns:a16="http://schemas.microsoft.com/office/drawing/2014/main" id="{9D1E2775-F93C-FD58-81A5-AEF9604E1799}"/>
                </a:ext>
              </a:extLst>
            </p:cNvPr>
            <p:cNvSpPr>
              <a:spLocks noChangeAspect="1"/>
            </p:cNvSpPr>
            <p:nvPr/>
          </p:nvSpPr>
          <p:spPr bwMode="auto">
            <a:xfrm>
              <a:off x="3435853" y="1685998"/>
              <a:ext cx="568023" cy="571446"/>
            </a:xfrm>
            <a:custGeom>
              <a:avLst/>
              <a:gdLst>
                <a:gd name="T0" fmla="*/ 8151805 w 290404"/>
                <a:gd name="T1" fmla="*/ 7218078 h 291739"/>
                <a:gd name="T2" fmla="*/ 7084153 w 290404"/>
                <a:gd name="T3" fmla="*/ 8292327 h 291739"/>
                <a:gd name="T4" fmla="*/ 8936349 w 290404"/>
                <a:gd name="T5" fmla="*/ 10204902 h 291739"/>
                <a:gd name="T6" fmla="*/ 9309399 w 290404"/>
                <a:gd name="T7" fmla="*/ 10204902 h 291739"/>
                <a:gd name="T8" fmla="*/ 10003937 w 290404"/>
                <a:gd name="T9" fmla="*/ 9484383 h 291739"/>
                <a:gd name="T10" fmla="*/ 10081155 w 290404"/>
                <a:gd name="T11" fmla="*/ 9300992 h 291739"/>
                <a:gd name="T12" fmla="*/ 10003937 w 290404"/>
                <a:gd name="T13" fmla="*/ 9104518 h 291739"/>
                <a:gd name="T14" fmla="*/ 7019845 w 290404"/>
                <a:gd name="T15" fmla="*/ 6615496 h 291739"/>
                <a:gd name="T16" fmla="*/ 6775312 w 290404"/>
                <a:gd name="T17" fmla="*/ 6903693 h 291739"/>
                <a:gd name="T18" fmla="*/ 6492384 w 290404"/>
                <a:gd name="T19" fmla="*/ 7152622 h 291739"/>
                <a:gd name="T20" fmla="*/ 7122705 w 290404"/>
                <a:gd name="T21" fmla="*/ 7794483 h 291739"/>
                <a:gd name="T22" fmla="*/ 7662982 w 290404"/>
                <a:gd name="T23" fmla="*/ 7257399 h 291739"/>
                <a:gd name="T24" fmla="*/ 3979449 w 290404"/>
                <a:gd name="T25" fmla="*/ 2076070 h 291739"/>
                <a:gd name="T26" fmla="*/ 4147351 w 290404"/>
                <a:gd name="T27" fmla="*/ 2245224 h 291739"/>
                <a:gd name="T28" fmla="*/ 3979449 w 290404"/>
                <a:gd name="T29" fmla="*/ 2401306 h 291739"/>
                <a:gd name="T30" fmla="*/ 2366088 w 290404"/>
                <a:gd name="T31" fmla="*/ 4027648 h 291739"/>
                <a:gd name="T32" fmla="*/ 2211071 w 290404"/>
                <a:gd name="T33" fmla="*/ 4196758 h 291739"/>
                <a:gd name="T34" fmla="*/ 2056147 w 290404"/>
                <a:gd name="T35" fmla="*/ 4027648 h 291739"/>
                <a:gd name="T36" fmla="*/ 3979449 w 290404"/>
                <a:gd name="T37" fmla="*/ 2076070 h 291739"/>
                <a:gd name="T38" fmla="*/ 4004759 w 290404"/>
                <a:gd name="T39" fmla="*/ 1479141 h 291739"/>
                <a:gd name="T40" fmla="*/ 2201523 w 290404"/>
                <a:gd name="T41" fmla="*/ 2234891 h 291739"/>
                <a:gd name="T42" fmla="*/ 2201523 w 290404"/>
                <a:gd name="T43" fmla="*/ 5883342 h 291739"/>
                <a:gd name="T44" fmla="*/ 4004759 w 290404"/>
                <a:gd name="T45" fmla="*/ 6652126 h 291739"/>
                <a:gd name="T46" fmla="*/ 5820704 w 290404"/>
                <a:gd name="T47" fmla="*/ 5883342 h 291739"/>
                <a:gd name="T48" fmla="*/ 6567767 w 290404"/>
                <a:gd name="T49" fmla="*/ 4059072 h 291739"/>
                <a:gd name="T50" fmla="*/ 5820704 w 290404"/>
                <a:gd name="T51" fmla="*/ 2234891 h 291739"/>
                <a:gd name="T52" fmla="*/ 4004759 w 290404"/>
                <a:gd name="T53" fmla="*/ 1479141 h 291739"/>
                <a:gd name="T54" fmla="*/ 4004759 w 290404"/>
                <a:gd name="T55" fmla="*/ 1153330 h 291739"/>
                <a:gd name="T56" fmla="*/ 6039759 w 290404"/>
                <a:gd name="T57" fmla="*/ 2013406 h 291739"/>
                <a:gd name="T58" fmla="*/ 6876893 w 290404"/>
                <a:gd name="T59" fmla="*/ 4059072 h 291739"/>
                <a:gd name="T60" fmla="*/ 6039759 w 290404"/>
                <a:gd name="T61" fmla="*/ 6117871 h 291739"/>
                <a:gd name="T62" fmla="*/ 4004759 w 290404"/>
                <a:gd name="T63" fmla="*/ 6964847 h 291739"/>
                <a:gd name="T64" fmla="*/ 1982619 w 290404"/>
                <a:gd name="T65" fmla="*/ 6117871 h 291739"/>
                <a:gd name="T66" fmla="*/ 1982619 w 290404"/>
                <a:gd name="T67" fmla="*/ 2013406 h 291739"/>
                <a:gd name="T68" fmla="*/ 4004759 w 290404"/>
                <a:gd name="T69" fmla="*/ 1153330 h 291739"/>
                <a:gd name="T70" fmla="*/ 3958483 w 290404"/>
                <a:gd name="T71" fmla="*/ 314465 h 291739"/>
                <a:gd name="T72" fmla="*/ 1385919 w 290404"/>
                <a:gd name="T73" fmla="*/ 1401722 h 291739"/>
                <a:gd name="T74" fmla="*/ 1385919 w 290404"/>
                <a:gd name="T75" fmla="*/ 6667903 h 291739"/>
                <a:gd name="T76" fmla="*/ 6556733 w 290404"/>
                <a:gd name="T77" fmla="*/ 6667903 h 291739"/>
                <a:gd name="T78" fmla="*/ 7624292 w 290404"/>
                <a:gd name="T79" fmla="*/ 4034780 h 291739"/>
                <a:gd name="T80" fmla="*/ 6556733 w 290404"/>
                <a:gd name="T81" fmla="*/ 1401722 h 291739"/>
                <a:gd name="T82" fmla="*/ 3958483 w 290404"/>
                <a:gd name="T83" fmla="*/ 314465 h 291739"/>
                <a:gd name="T84" fmla="*/ 3958483 w 290404"/>
                <a:gd name="T85" fmla="*/ 0 h 291739"/>
                <a:gd name="T86" fmla="*/ 6775312 w 290404"/>
                <a:gd name="T87" fmla="*/ 1178907 h 291739"/>
                <a:gd name="T88" fmla="*/ 7932932 w 290404"/>
                <a:gd name="T89" fmla="*/ 4034780 h 291739"/>
                <a:gd name="T90" fmla="*/ 7212774 w 290404"/>
                <a:gd name="T91" fmla="*/ 6353480 h 291739"/>
                <a:gd name="T92" fmla="*/ 7881634 w 290404"/>
                <a:gd name="T93" fmla="*/ 7034753 h 291739"/>
                <a:gd name="T94" fmla="*/ 8035914 w 290404"/>
                <a:gd name="T95" fmla="*/ 6877518 h 291739"/>
                <a:gd name="T96" fmla="*/ 8267507 w 290404"/>
                <a:gd name="T97" fmla="*/ 6877518 h 291739"/>
                <a:gd name="T98" fmla="*/ 10235368 w 290404"/>
                <a:gd name="T99" fmla="*/ 8881835 h 291739"/>
                <a:gd name="T100" fmla="*/ 10402628 w 290404"/>
                <a:gd name="T101" fmla="*/ 9300992 h 291739"/>
                <a:gd name="T102" fmla="*/ 10235368 w 290404"/>
                <a:gd name="T103" fmla="*/ 9707100 h 291739"/>
                <a:gd name="T104" fmla="*/ 9528022 w 290404"/>
                <a:gd name="T105" fmla="*/ 10427601 h 291739"/>
                <a:gd name="T106" fmla="*/ 9129290 w 290404"/>
                <a:gd name="T107" fmla="*/ 10597890 h 291739"/>
                <a:gd name="T108" fmla="*/ 8730621 w 290404"/>
                <a:gd name="T109" fmla="*/ 10427601 h 291739"/>
                <a:gd name="T110" fmla="*/ 6749653 w 290404"/>
                <a:gd name="T111" fmla="*/ 8410198 h 291739"/>
                <a:gd name="T112" fmla="*/ 6711103 w 290404"/>
                <a:gd name="T113" fmla="*/ 8292327 h 291739"/>
                <a:gd name="T114" fmla="*/ 6749653 w 290404"/>
                <a:gd name="T115" fmla="*/ 8187537 h 291739"/>
                <a:gd name="T116" fmla="*/ 6916946 w 290404"/>
                <a:gd name="T117" fmla="*/ 8030326 h 291739"/>
                <a:gd name="T118" fmla="*/ 6235175 w 290404"/>
                <a:gd name="T119" fmla="*/ 7349096 h 291739"/>
                <a:gd name="T120" fmla="*/ 3958483 w 290404"/>
                <a:gd name="T121" fmla="*/ 8082695 h 291739"/>
                <a:gd name="T122" fmla="*/ 1167218 w 290404"/>
                <a:gd name="T123" fmla="*/ 6903693 h 291739"/>
                <a:gd name="T124" fmla="*/ 1167218 w 290404"/>
                <a:gd name="T125" fmla="*/ 1178907 h 291739"/>
                <a:gd name="T126" fmla="*/ 3958483 w 290404"/>
                <a:gd name="T127" fmla="*/ 0 h 291739"/>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60000 65536"/>
                <a:gd name="T190" fmla="*/ 0 60000 65536"/>
                <a:gd name="T191" fmla="*/ 0 60000 65536"/>
              </a:gdLst>
              <a:ahLst/>
              <a:cxnLst>
                <a:cxn ang="T128">
                  <a:pos x="T0" y="T1"/>
                </a:cxn>
                <a:cxn ang="T129">
                  <a:pos x="T2" y="T3"/>
                </a:cxn>
                <a:cxn ang="T130">
                  <a:pos x="T4" y="T5"/>
                </a:cxn>
                <a:cxn ang="T131">
                  <a:pos x="T6" y="T7"/>
                </a:cxn>
                <a:cxn ang="T132">
                  <a:pos x="T8" y="T9"/>
                </a:cxn>
                <a:cxn ang="T133">
                  <a:pos x="T10" y="T11"/>
                </a:cxn>
                <a:cxn ang="T134">
                  <a:pos x="T12" y="T13"/>
                </a:cxn>
                <a:cxn ang="T135">
                  <a:pos x="T14" y="T15"/>
                </a:cxn>
                <a:cxn ang="T136">
                  <a:pos x="T16" y="T17"/>
                </a:cxn>
                <a:cxn ang="T137">
                  <a:pos x="T18" y="T19"/>
                </a:cxn>
                <a:cxn ang="T138">
                  <a:pos x="T20" y="T21"/>
                </a:cxn>
                <a:cxn ang="T139">
                  <a:pos x="T22" y="T23"/>
                </a:cxn>
                <a:cxn ang="T140">
                  <a:pos x="T24" y="T25"/>
                </a:cxn>
                <a:cxn ang="T141">
                  <a:pos x="T26" y="T27"/>
                </a:cxn>
                <a:cxn ang="T142">
                  <a:pos x="T28" y="T29"/>
                </a:cxn>
                <a:cxn ang="T143">
                  <a:pos x="T30" y="T31"/>
                </a:cxn>
                <a:cxn ang="T144">
                  <a:pos x="T32" y="T33"/>
                </a:cxn>
                <a:cxn ang="T145">
                  <a:pos x="T34" y="T35"/>
                </a:cxn>
                <a:cxn ang="T146">
                  <a:pos x="T36" y="T37"/>
                </a:cxn>
                <a:cxn ang="T147">
                  <a:pos x="T38" y="T39"/>
                </a:cxn>
                <a:cxn ang="T148">
                  <a:pos x="T40" y="T41"/>
                </a:cxn>
                <a:cxn ang="T149">
                  <a:pos x="T42" y="T43"/>
                </a:cxn>
                <a:cxn ang="T150">
                  <a:pos x="T44" y="T45"/>
                </a:cxn>
                <a:cxn ang="T151">
                  <a:pos x="T46" y="T47"/>
                </a:cxn>
                <a:cxn ang="T152">
                  <a:pos x="T48" y="T49"/>
                </a:cxn>
                <a:cxn ang="T153">
                  <a:pos x="T50" y="T51"/>
                </a:cxn>
                <a:cxn ang="T154">
                  <a:pos x="T52" y="T53"/>
                </a:cxn>
                <a:cxn ang="T155">
                  <a:pos x="T54" y="T55"/>
                </a:cxn>
                <a:cxn ang="T156">
                  <a:pos x="T56" y="T57"/>
                </a:cxn>
                <a:cxn ang="T157">
                  <a:pos x="T58" y="T59"/>
                </a:cxn>
                <a:cxn ang="T158">
                  <a:pos x="T60" y="T61"/>
                </a:cxn>
                <a:cxn ang="T159">
                  <a:pos x="T62" y="T63"/>
                </a:cxn>
                <a:cxn ang="T160">
                  <a:pos x="T64" y="T65"/>
                </a:cxn>
                <a:cxn ang="T161">
                  <a:pos x="T66" y="T67"/>
                </a:cxn>
                <a:cxn ang="T162">
                  <a:pos x="T68" y="T69"/>
                </a:cxn>
                <a:cxn ang="T163">
                  <a:pos x="T70" y="T71"/>
                </a:cxn>
                <a:cxn ang="T164">
                  <a:pos x="T72" y="T73"/>
                </a:cxn>
                <a:cxn ang="T165">
                  <a:pos x="T74" y="T75"/>
                </a:cxn>
                <a:cxn ang="T166">
                  <a:pos x="T76" y="T77"/>
                </a:cxn>
                <a:cxn ang="T167">
                  <a:pos x="T78" y="T79"/>
                </a:cxn>
                <a:cxn ang="T168">
                  <a:pos x="T80" y="T81"/>
                </a:cxn>
                <a:cxn ang="T169">
                  <a:pos x="T82" y="T83"/>
                </a:cxn>
                <a:cxn ang="T170">
                  <a:pos x="T84" y="T85"/>
                </a:cxn>
                <a:cxn ang="T171">
                  <a:pos x="T86" y="T87"/>
                </a:cxn>
                <a:cxn ang="T172">
                  <a:pos x="T88" y="T89"/>
                </a:cxn>
                <a:cxn ang="T173">
                  <a:pos x="T90" y="T91"/>
                </a:cxn>
                <a:cxn ang="T174">
                  <a:pos x="T92" y="T93"/>
                </a:cxn>
                <a:cxn ang="T175">
                  <a:pos x="T94" y="T95"/>
                </a:cxn>
                <a:cxn ang="T176">
                  <a:pos x="T96" y="T97"/>
                </a:cxn>
                <a:cxn ang="T177">
                  <a:pos x="T98" y="T99"/>
                </a:cxn>
                <a:cxn ang="T178">
                  <a:pos x="T100" y="T101"/>
                </a:cxn>
                <a:cxn ang="T179">
                  <a:pos x="T102" y="T103"/>
                </a:cxn>
                <a:cxn ang="T180">
                  <a:pos x="T104" y="T105"/>
                </a:cxn>
                <a:cxn ang="T181">
                  <a:pos x="T106" y="T107"/>
                </a:cxn>
                <a:cxn ang="T182">
                  <a:pos x="T108" y="T109"/>
                </a:cxn>
                <a:cxn ang="T183">
                  <a:pos x="T110" y="T111"/>
                </a:cxn>
                <a:cxn ang="T184">
                  <a:pos x="T112" y="T113"/>
                </a:cxn>
                <a:cxn ang="T185">
                  <a:pos x="T114" y="T115"/>
                </a:cxn>
                <a:cxn ang="T186">
                  <a:pos x="T116" y="T117"/>
                </a:cxn>
                <a:cxn ang="T187">
                  <a:pos x="T118" y="T119"/>
                </a:cxn>
                <a:cxn ang="T188">
                  <a:pos x="T120" y="T121"/>
                </a:cxn>
                <a:cxn ang="T189">
                  <a:pos x="T122" y="T123"/>
                </a:cxn>
                <a:cxn ang="T190">
                  <a:pos x="T124" y="T125"/>
                </a:cxn>
                <a:cxn ang="T191">
                  <a:pos x="T126" y="T127"/>
                </a:cxn>
              </a:cxnLst>
              <a:rect l="0" t="0" r="r" b="b"/>
              <a:pathLst>
                <a:path w="290404" h="291739">
                  <a:moveTo>
                    <a:pt x="227566" y="198700"/>
                  </a:moveTo>
                  <a:lnTo>
                    <a:pt x="197762" y="228271"/>
                  </a:lnTo>
                  <a:lnTo>
                    <a:pt x="249469" y="280921"/>
                  </a:lnTo>
                  <a:cubicBezTo>
                    <a:pt x="252701" y="283445"/>
                    <a:pt x="257010" y="283445"/>
                    <a:pt x="259882" y="280921"/>
                  </a:cubicBezTo>
                  <a:lnTo>
                    <a:pt x="279273" y="261087"/>
                  </a:lnTo>
                  <a:cubicBezTo>
                    <a:pt x="281068" y="259645"/>
                    <a:pt x="281427" y="257841"/>
                    <a:pt x="281427" y="256038"/>
                  </a:cubicBezTo>
                  <a:cubicBezTo>
                    <a:pt x="281427" y="254235"/>
                    <a:pt x="281068" y="252072"/>
                    <a:pt x="279273" y="250629"/>
                  </a:cubicBezTo>
                  <a:lnTo>
                    <a:pt x="227566" y="198700"/>
                  </a:lnTo>
                  <a:close/>
                  <a:moveTo>
                    <a:pt x="195967" y="182112"/>
                  </a:moveTo>
                  <a:cubicBezTo>
                    <a:pt x="194171" y="184997"/>
                    <a:pt x="191658" y="187160"/>
                    <a:pt x="189144" y="190045"/>
                  </a:cubicBezTo>
                  <a:cubicBezTo>
                    <a:pt x="186631" y="192570"/>
                    <a:pt x="184117" y="194733"/>
                    <a:pt x="181245" y="196897"/>
                  </a:cubicBezTo>
                  <a:lnTo>
                    <a:pt x="198839" y="214567"/>
                  </a:lnTo>
                  <a:lnTo>
                    <a:pt x="213921" y="199782"/>
                  </a:lnTo>
                  <a:lnTo>
                    <a:pt x="195967" y="182112"/>
                  </a:lnTo>
                  <a:close/>
                  <a:moveTo>
                    <a:pt x="111093" y="57150"/>
                  </a:moveTo>
                  <a:cubicBezTo>
                    <a:pt x="113976" y="57150"/>
                    <a:pt x="115778" y="59299"/>
                    <a:pt x="115778" y="61806"/>
                  </a:cubicBezTo>
                  <a:cubicBezTo>
                    <a:pt x="115778" y="63955"/>
                    <a:pt x="113976" y="66104"/>
                    <a:pt x="111093" y="66104"/>
                  </a:cubicBezTo>
                  <a:cubicBezTo>
                    <a:pt x="86229" y="66104"/>
                    <a:pt x="66050" y="86160"/>
                    <a:pt x="66050" y="110873"/>
                  </a:cubicBezTo>
                  <a:cubicBezTo>
                    <a:pt x="66050" y="113380"/>
                    <a:pt x="63887" y="115529"/>
                    <a:pt x="61725" y="115529"/>
                  </a:cubicBezTo>
                  <a:cubicBezTo>
                    <a:pt x="59203" y="115529"/>
                    <a:pt x="57401" y="113380"/>
                    <a:pt x="57401" y="110873"/>
                  </a:cubicBezTo>
                  <a:cubicBezTo>
                    <a:pt x="57401" y="81504"/>
                    <a:pt x="81545" y="57150"/>
                    <a:pt x="111093" y="57150"/>
                  </a:cubicBezTo>
                  <a:close/>
                  <a:moveTo>
                    <a:pt x="111796" y="40717"/>
                  </a:moveTo>
                  <a:cubicBezTo>
                    <a:pt x="93099" y="40717"/>
                    <a:pt x="75121" y="48250"/>
                    <a:pt x="61458" y="61522"/>
                  </a:cubicBezTo>
                  <a:cubicBezTo>
                    <a:pt x="33771" y="89141"/>
                    <a:pt x="33771" y="134696"/>
                    <a:pt x="61458" y="161957"/>
                  </a:cubicBezTo>
                  <a:cubicBezTo>
                    <a:pt x="75121" y="175587"/>
                    <a:pt x="93099" y="183120"/>
                    <a:pt x="111796" y="183120"/>
                  </a:cubicBezTo>
                  <a:cubicBezTo>
                    <a:pt x="130853" y="183120"/>
                    <a:pt x="148831" y="175587"/>
                    <a:pt x="162494" y="161957"/>
                  </a:cubicBezTo>
                  <a:cubicBezTo>
                    <a:pt x="176158" y="149044"/>
                    <a:pt x="183349" y="131109"/>
                    <a:pt x="183349" y="111739"/>
                  </a:cubicBezTo>
                  <a:cubicBezTo>
                    <a:pt x="183349" y="92728"/>
                    <a:pt x="176158" y="74794"/>
                    <a:pt x="162494" y="61522"/>
                  </a:cubicBezTo>
                  <a:cubicBezTo>
                    <a:pt x="148831" y="48250"/>
                    <a:pt x="130853" y="40717"/>
                    <a:pt x="111796" y="40717"/>
                  </a:cubicBezTo>
                  <a:close/>
                  <a:moveTo>
                    <a:pt x="111796" y="31750"/>
                  </a:moveTo>
                  <a:cubicBezTo>
                    <a:pt x="133370" y="31750"/>
                    <a:pt x="153505" y="40359"/>
                    <a:pt x="168607" y="55424"/>
                  </a:cubicBezTo>
                  <a:cubicBezTo>
                    <a:pt x="183709" y="70489"/>
                    <a:pt x="191979" y="90576"/>
                    <a:pt x="191979" y="111739"/>
                  </a:cubicBezTo>
                  <a:cubicBezTo>
                    <a:pt x="191979" y="133261"/>
                    <a:pt x="183709" y="153348"/>
                    <a:pt x="168607" y="168413"/>
                  </a:cubicBezTo>
                  <a:cubicBezTo>
                    <a:pt x="153505" y="183478"/>
                    <a:pt x="133370" y="191728"/>
                    <a:pt x="111796" y="191728"/>
                  </a:cubicBezTo>
                  <a:cubicBezTo>
                    <a:pt x="90582" y="191728"/>
                    <a:pt x="70447" y="183478"/>
                    <a:pt x="55345" y="168413"/>
                  </a:cubicBezTo>
                  <a:cubicBezTo>
                    <a:pt x="24063" y="137207"/>
                    <a:pt x="24063" y="86631"/>
                    <a:pt x="55345" y="55424"/>
                  </a:cubicBezTo>
                  <a:cubicBezTo>
                    <a:pt x="70447" y="40359"/>
                    <a:pt x="90582" y="31750"/>
                    <a:pt x="111796" y="31750"/>
                  </a:cubicBezTo>
                  <a:close/>
                  <a:moveTo>
                    <a:pt x="110506" y="8655"/>
                  </a:moveTo>
                  <a:cubicBezTo>
                    <a:pt x="83575" y="8655"/>
                    <a:pt x="57722" y="19473"/>
                    <a:pt x="38691" y="38586"/>
                  </a:cubicBezTo>
                  <a:cubicBezTo>
                    <a:pt x="-1167" y="78615"/>
                    <a:pt x="-1167" y="143526"/>
                    <a:pt x="38691" y="183554"/>
                  </a:cubicBezTo>
                  <a:cubicBezTo>
                    <a:pt x="78548" y="223583"/>
                    <a:pt x="143182" y="223583"/>
                    <a:pt x="183040" y="183554"/>
                  </a:cubicBezTo>
                  <a:cubicBezTo>
                    <a:pt x="202071" y="164442"/>
                    <a:pt x="212843" y="138477"/>
                    <a:pt x="212843" y="111070"/>
                  </a:cubicBezTo>
                  <a:cubicBezTo>
                    <a:pt x="212843" y="83663"/>
                    <a:pt x="202071" y="58059"/>
                    <a:pt x="183040" y="38586"/>
                  </a:cubicBezTo>
                  <a:cubicBezTo>
                    <a:pt x="163650" y="19473"/>
                    <a:pt x="138155" y="8655"/>
                    <a:pt x="110506" y="8655"/>
                  </a:cubicBezTo>
                  <a:close/>
                  <a:moveTo>
                    <a:pt x="110506" y="0"/>
                  </a:moveTo>
                  <a:cubicBezTo>
                    <a:pt x="140310" y="0"/>
                    <a:pt x="168318" y="11540"/>
                    <a:pt x="189144" y="32455"/>
                  </a:cubicBezTo>
                  <a:cubicBezTo>
                    <a:pt x="209971" y="53371"/>
                    <a:pt x="221461" y="81500"/>
                    <a:pt x="221461" y="111070"/>
                  </a:cubicBezTo>
                  <a:cubicBezTo>
                    <a:pt x="221461" y="134510"/>
                    <a:pt x="214280" y="156508"/>
                    <a:pt x="201353" y="174899"/>
                  </a:cubicBezTo>
                  <a:lnTo>
                    <a:pt x="220025" y="193652"/>
                  </a:lnTo>
                  <a:lnTo>
                    <a:pt x="224334" y="189324"/>
                  </a:lnTo>
                  <a:cubicBezTo>
                    <a:pt x="226129" y="187521"/>
                    <a:pt x="228643" y="187521"/>
                    <a:pt x="230797" y="189324"/>
                  </a:cubicBezTo>
                  <a:lnTo>
                    <a:pt x="285736" y="244499"/>
                  </a:lnTo>
                  <a:cubicBezTo>
                    <a:pt x="288609" y="247744"/>
                    <a:pt x="290404" y="251711"/>
                    <a:pt x="290404" y="256038"/>
                  </a:cubicBezTo>
                  <a:cubicBezTo>
                    <a:pt x="290404" y="260005"/>
                    <a:pt x="288609" y="264333"/>
                    <a:pt x="285736" y="267217"/>
                  </a:cubicBezTo>
                  <a:lnTo>
                    <a:pt x="265987" y="287051"/>
                  </a:lnTo>
                  <a:cubicBezTo>
                    <a:pt x="263114" y="289936"/>
                    <a:pt x="258805" y="291739"/>
                    <a:pt x="254855" y="291739"/>
                  </a:cubicBezTo>
                  <a:cubicBezTo>
                    <a:pt x="250546" y="291739"/>
                    <a:pt x="246597" y="289936"/>
                    <a:pt x="243724" y="287051"/>
                  </a:cubicBezTo>
                  <a:lnTo>
                    <a:pt x="188426" y="231516"/>
                  </a:lnTo>
                  <a:cubicBezTo>
                    <a:pt x="187708" y="230795"/>
                    <a:pt x="187349" y="229713"/>
                    <a:pt x="187349" y="228271"/>
                  </a:cubicBezTo>
                  <a:cubicBezTo>
                    <a:pt x="187349" y="227189"/>
                    <a:pt x="187708" y="226107"/>
                    <a:pt x="188426" y="225386"/>
                  </a:cubicBezTo>
                  <a:lnTo>
                    <a:pt x="193094" y="221058"/>
                  </a:lnTo>
                  <a:lnTo>
                    <a:pt x="174063" y="202306"/>
                  </a:lnTo>
                  <a:cubicBezTo>
                    <a:pt x="155032" y="215649"/>
                    <a:pt x="133128" y="222501"/>
                    <a:pt x="110506" y="222501"/>
                  </a:cubicBezTo>
                  <a:cubicBezTo>
                    <a:pt x="82498" y="222501"/>
                    <a:pt x="53772" y="211682"/>
                    <a:pt x="32586" y="190045"/>
                  </a:cubicBezTo>
                  <a:cubicBezTo>
                    <a:pt x="-10862" y="146411"/>
                    <a:pt x="-10862" y="76090"/>
                    <a:pt x="32586" y="32455"/>
                  </a:cubicBezTo>
                  <a:cubicBezTo>
                    <a:pt x="53413" y="11540"/>
                    <a:pt x="81062" y="0"/>
                    <a:pt x="110506" y="0"/>
                  </a:cubicBezTo>
                  <a:close/>
                </a:path>
              </a:pathLst>
            </a:custGeom>
            <a:solidFill>
              <a:srgbClr val="FFFFFF"/>
            </a:solidFill>
            <a:ln>
              <a:noFill/>
            </a:ln>
          </p:spPr>
          <p:txBody>
            <a:bodyPr anchor="ctr"/>
            <a:lstStyle/>
            <a:p>
              <a:pPr marL="0" marR="0" lvl="0" indent="0" defTabSz="91421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AAAAA"/>
                </a:solidFill>
                <a:effectLst/>
                <a:uLnTx/>
                <a:uFillTx/>
                <a:latin typeface="Abadi" panose="020B0604020104020204" pitchFamily="34" charset="0"/>
              </a:endParaRPr>
            </a:p>
          </p:txBody>
        </p:sp>
        <p:sp>
          <p:nvSpPr>
            <p:cNvPr id="34" name="Freeform 940">
              <a:extLst>
                <a:ext uri="{FF2B5EF4-FFF2-40B4-BE49-F238E27FC236}">
                  <a16:creationId xmlns:a16="http://schemas.microsoft.com/office/drawing/2014/main" id="{4380EC83-9782-2810-2AEB-D4F4F3618676}"/>
                </a:ext>
              </a:extLst>
            </p:cNvPr>
            <p:cNvSpPr>
              <a:spLocks noChangeAspect="1"/>
            </p:cNvSpPr>
            <p:nvPr/>
          </p:nvSpPr>
          <p:spPr bwMode="auto">
            <a:xfrm>
              <a:off x="8139704" y="5563090"/>
              <a:ext cx="557758" cy="556047"/>
            </a:xfrm>
            <a:custGeom>
              <a:avLst/>
              <a:gdLst>
                <a:gd name="T0" fmla="*/ 9264488 w 285387"/>
                <a:gd name="T1" fmla="*/ 9842650 h 283803"/>
                <a:gd name="T2" fmla="*/ 5302702 w 285387"/>
                <a:gd name="T3" fmla="*/ 8364308 h 283803"/>
                <a:gd name="T4" fmla="*/ 3046569 w 285387"/>
                <a:gd name="T5" fmla="*/ 8696628 h 283803"/>
                <a:gd name="T6" fmla="*/ 1702630 w 285387"/>
                <a:gd name="T7" fmla="*/ 7584757 h 283803"/>
                <a:gd name="T8" fmla="*/ 2067266 w 285387"/>
                <a:gd name="T9" fmla="*/ 7940769 h 283803"/>
                <a:gd name="T10" fmla="*/ 6382344 w 285387"/>
                <a:gd name="T11" fmla="*/ 7268313 h 283803"/>
                <a:gd name="T12" fmla="*/ 4714197 w 285387"/>
                <a:gd name="T13" fmla="*/ 7600630 h 283803"/>
                <a:gd name="T14" fmla="*/ 3047997 w 285387"/>
                <a:gd name="T15" fmla="*/ 7268313 h 283803"/>
                <a:gd name="T16" fmla="*/ 3876702 w 285387"/>
                <a:gd name="T17" fmla="*/ 7600630 h 283803"/>
                <a:gd name="T18" fmla="*/ 3047997 w 285387"/>
                <a:gd name="T19" fmla="*/ 7268313 h 283803"/>
                <a:gd name="T20" fmla="*/ 1702630 w 285387"/>
                <a:gd name="T21" fmla="*/ 8639621 h 283803"/>
                <a:gd name="T22" fmla="*/ 5509027 w 285387"/>
                <a:gd name="T23" fmla="*/ 6230020 h 283803"/>
                <a:gd name="T24" fmla="*/ 6328420 w 285387"/>
                <a:gd name="T25" fmla="*/ 6562251 h 283803"/>
                <a:gd name="T26" fmla="*/ 5509027 w 285387"/>
                <a:gd name="T27" fmla="*/ 6230020 h 283803"/>
                <a:gd name="T28" fmla="*/ 4829880 w 285387"/>
                <a:gd name="T29" fmla="*/ 6396138 h 283803"/>
                <a:gd name="T30" fmla="*/ 2905573 w 285387"/>
                <a:gd name="T31" fmla="*/ 6396138 h 283803"/>
                <a:gd name="T32" fmla="*/ 1338037 w 285387"/>
                <a:gd name="T33" fmla="*/ 5877293 h 283803"/>
                <a:gd name="T34" fmla="*/ 1702630 w 285387"/>
                <a:gd name="T35" fmla="*/ 5508107 h 283803"/>
                <a:gd name="T36" fmla="*/ 6538784 w 285387"/>
                <a:gd name="T37" fmla="*/ 5357801 h 283803"/>
                <a:gd name="T38" fmla="*/ 4557800 w 285387"/>
                <a:gd name="T39" fmla="*/ 5357801 h 283803"/>
                <a:gd name="T40" fmla="*/ 3876702 w 285387"/>
                <a:gd name="T41" fmla="*/ 5191618 h 283803"/>
                <a:gd name="T42" fmla="*/ 3047997 w 285387"/>
                <a:gd name="T43" fmla="*/ 5523934 h 283803"/>
                <a:gd name="T44" fmla="*/ 1702630 w 285387"/>
                <a:gd name="T45" fmla="*/ 5191618 h 283803"/>
                <a:gd name="T46" fmla="*/ 1025468 w 285387"/>
                <a:gd name="T47" fmla="*/ 5877293 h 283803"/>
                <a:gd name="T48" fmla="*/ 4502932 w 285387"/>
                <a:gd name="T49" fmla="*/ 4153370 h 283803"/>
                <a:gd name="T50" fmla="*/ 3048432 w 285387"/>
                <a:gd name="T51" fmla="*/ 4429708 h 283803"/>
                <a:gd name="T52" fmla="*/ 1702630 w 285387"/>
                <a:gd name="T53" fmla="*/ 3421155 h 283803"/>
                <a:gd name="T54" fmla="*/ 2067266 w 285387"/>
                <a:gd name="T55" fmla="*/ 3793897 h 283803"/>
                <a:gd name="T56" fmla="*/ 6379328 w 285387"/>
                <a:gd name="T57" fmla="*/ 3114984 h 283803"/>
                <a:gd name="T58" fmla="*/ 5742526 w 285387"/>
                <a:gd name="T59" fmla="*/ 3391375 h 283803"/>
                <a:gd name="T60" fmla="*/ 3047333 w 285387"/>
                <a:gd name="T61" fmla="*/ 3114984 h 283803"/>
                <a:gd name="T62" fmla="*/ 4902986 w 285387"/>
                <a:gd name="T63" fmla="*/ 3391375 h 283803"/>
                <a:gd name="T64" fmla="*/ 3047333 w 285387"/>
                <a:gd name="T65" fmla="*/ 3114984 h 283803"/>
                <a:gd name="T66" fmla="*/ 1702630 w 285387"/>
                <a:gd name="T67" fmla="*/ 4486133 h 283803"/>
                <a:gd name="T68" fmla="*/ 1179329 w 285387"/>
                <a:gd name="T69" fmla="*/ 2076650 h 283803"/>
                <a:gd name="T70" fmla="*/ 3422597 w 285387"/>
                <a:gd name="T71" fmla="*/ 2408947 h 283803"/>
                <a:gd name="T72" fmla="*/ 1179329 w 285387"/>
                <a:gd name="T73" fmla="*/ 2076650 h 283803"/>
                <a:gd name="T74" fmla="*/ 9929182 w 285387"/>
                <a:gd name="T75" fmla="*/ 8537255 h 283803"/>
                <a:gd name="T76" fmla="*/ 8573776 w 285387"/>
                <a:gd name="T77" fmla="*/ 1370695 h 283803"/>
                <a:gd name="T78" fmla="*/ 9095075 w 285387"/>
                <a:gd name="T79" fmla="*/ 1370695 h 283803"/>
                <a:gd name="T80" fmla="*/ 4276623 w 285387"/>
                <a:gd name="T81" fmla="*/ 1038272 h 283803"/>
                <a:gd name="T82" fmla="*/ 3003008 w 285387"/>
                <a:gd name="T83" fmla="*/ 1370614 h 283803"/>
                <a:gd name="T84" fmla="*/ 1181186 w 285387"/>
                <a:gd name="T85" fmla="*/ 1038272 h 283803"/>
                <a:gd name="T86" fmla="*/ 2167159 w 285387"/>
                <a:gd name="T87" fmla="*/ 1370614 h 283803"/>
                <a:gd name="T88" fmla="*/ 1181186 w 285387"/>
                <a:gd name="T89" fmla="*/ 1038272 h 283803"/>
                <a:gd name="T90" fmla="*/ 6978580 w 285387"/>
                <a:gd name="T91" fmla="*/ 2088623 h 283803"/>
                <a:gd name="T92" fmla="*/ 8573776 w 285387"/>
                <a:gd name="T93" fmla="*/ 574369 h 283803"/>
                <a:gd name="T94" fmla="*/ 9929182 w 285387"/>
                <a:gd name="T95" fmla="*/ 574369 h 283803"/>
                <a:gd name="T96" fmla="*/ 8834434 w 285387"/>
                <a:gd name="T97" fmla="*/ 313314 h 283803"/>
                <a:gd name="T98" fmla="*/ 7197822 w 285387"/>
                <a:gd name="T99" fmla="*/ 9999276 h 283803"/>
                <a:gd name="T100" fmla="*/ 5146861 w 285387"/>
                <a:gd name="T101" fmla="*/ 2245232 h 283803"/>
                <a:gd name="T102" fmla="*/ 8834434 w 285387"/>
                <a:gd name="T103" fmla="*/ 0 h 283803"/>
                <a:gd name="T104" fmla="*/ 10228960 w 285387"/>
                <a:gd name="T105" fmla="*/ 574369 h 283803"/>
                <a:gd name="T106" fmla="*/ 9394841 w 285387"/>
                <a:gd name="T107" fmla="*/ 10234253 h 283803"/>
                <a:gd name="T108" fmla="*/ 8287068 w 285387"/>
                <a:gd name="T109" fmla="*/ 8772222 h 283803"/>
                <a:gd name="T110" fmla="*/ 8834434 w 285387"/>
                <a:gd name="T111" fmla="*/ 0 h 283803"/>
                <a:gd name="T112" fmla="*/ 5404885 w 285387"/>
                <a:gd name="T113" fmla="*/ 52264 h 283803"/>
                <a:gd name="T114" fmla="*/ 7507443 w 285387"/>
                <a:gd name="T115" fmla="*/ 10155927 h 283803"/>
                <a:gd name="T116" fmla="*/ 0 w 285387"/>
                <a:gd name="T117" fmla="*/ 10155927 h 28380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85387" h="283803">
                  <a:moveTo>
                    <a:pt x="273766" y="243567"/>
                  </a:moveTo>
                  <a:lnTo>
                    <a:pt x="242171" y="243927"/>
                  </a:lnTo>
                  <a:lnTo>
                    <a:pt x="258150" y="270870"/>
                  </a:lnTo>
                  <a:lnTo>
                    <a:pt x="273766" y="243567"/>
                  </a:lnTo>
                  <a:close/>
                  <a:moveTo>
                    <a:pt x="84891" y="230187"/>
                  </a:moveTo>
                  <a:lnTo>
                    <a:pt x="147757" y="230187"/>
                  </a:lnTo>
                  <a:cubicBezTo>
                    <a:pt x="149900" y="230187"/>
                    <a:pt x="152043" y="232092"/>
                    <a:pt x="152043" y="234378"/>
                  </a:cubicBezTo>
                  <a:cubicBezTo>
                    <a:pt x="152043" y="237045"/>
                    <a:pt x="149900" y="239331"/>
                    <a:pt x="147757" y="239331"/>
                  </a:cubicBezTo>
                  <a:lnTo>
                    <a:pt x="84891" y="239331"/>
                  </a:lnTo>
                  <a:cubicBezTo>
                    <a:pt x="82748" y="239331"/>
                    <a:pt x="80962" y="237045"/>
                    <a:pt x="80962" y="234378"/>
                  </a:cubicBezTo>
                  <a:cubicBezTo>
                    <a:pt x="80962" y="232092"/>
                    <a:pt x="82748" y="230187"/>
                    <a:pt x="84891" y="230187"/>
                  </a:cubicBezTo>
                  <a:close/>
                  <a:moveTo>
                    <a:pt x="47443" y="208734"/>
                  </a:moveTo>
                  <a:cubicBezTo>
                    <a:pt x="41638" y="208734"/>
                    <a:pt x="37283" y="213088"/>
                    <a:pt x="37283" y="218531"/>
                  </a:cubicBezTo>
                  <a:cubicBezTo>
                    <a:pt x="37283" y="224336"/>
                    <a:pt x="41638" y="229054"/>
                    <a:pt x="47443" y="229054"/>
                  </a:cubicBezTo>
                  <a:cubicBezTo>
                    <a:pt x="52886" y="229054"/>
                    <a:pt x="57603" y="224336"/>
                    <a:pt x="57603" y="218531"/>
                  </a:cubicBezTo>
                  <a:cubicBezTo>
                    <a:pt x="57603" y="213088"/>
                    <a:pt x="52886" y="208734"/>
                    <a:pt x="47443" y="208734"/>
                  </a:cubicBezTo>
                  <a:close/>
                  <a:moveTo>
                    <a:pt x="131358" y="200025"/>
                  </a:moveTo>
                  <a:lnTo>
                    <a:pt x="177841" y="200025"/>
                  </a:lnTo>
                  <a:cubicBezTo>
                    <a:pt x="180020" y="200025"/>
                    <a:pt x="182199" y="201930"/>
                    <a:pt x="182199" y="204597"/>
                  </a:cubicBezTo>
                  <a:cubicBezTo>
                    <a:pt x="182199" y="207264"/>
                    <a:pt x="180020" y="209169"/>
                    <a:pt x="177841" y="209169"/>
                  </a:cubicBezTo>
                  <a:lnTo>
                    <a:pt x="131358" y="209169"/>
                  </a:lnTo>
                  <a:cubicBezTo>
                    <a:pt x="128816" y="209169"/>
                    <a:pt x="127000" y="207264"/>
                    <a:pt x="127000" y="204597"/>
                  </a:cubicBezTo>
                  <a:cubicBezTo>
                    <a:pt x="127000" y="201930"/>
                    <a:pt x="128816" y="200025"/>
                    <a:pt x="131358" y="200025"/>
                  </a:cubicBezTo>
                  <a:close/>
                  <a:moveTo>
                    <a:pt x="84931" y="200025"/>
                  </a:moveTo>
                  <a:lnTo>
                    <a:pt x="108022" y="200025"/>
                  </a:lnTo>
                  <a:cubicBezTo>
                    <a:pt x="110547" y="200025"/>
                    <a:pt x="112351" y="201930"/>
                    <a:pt x="112351" y="204597"/>
                  </a:cubicBezTo>
                  <a:cubicBezTo>
                    <a:pt x="112351" y="207264"/>
                    <a:pt x="110547" y="209169"/>
                    <a:pt x="108022" y="209169"/>
                  </a:cubicBezTo>
                  <a:lnTo>
                    <a:pt x="84931" y="209169"/>
                  </a:lnTo>
                  <a:cubicBezTo>
                    <a:pt x="82766" y="209169"/>
                    <a:pt x="80962" y="207264"/>
                    <a:pt x="80962" y="204597"/>
                  </a:cubicBezTo>
                  <a:cubicBezTo>
                    <a:pt x="80962" y="201930"/>
                    <a:pt x="82766" y="200025"/>
                    <a:pt x="84931" y="200025"/>
                  </a:cubicBezTo>
                  <a:close/>
                  <a:moveTo>
                    <a:pt x="47443" y="200025"/>
                  </a:moveTo>
                  <a:cubicBezTo>
                    <a:pt x="57603" y="200025"/>
                    <a:pt x="66312" y="208371"/>
                    <a:pt x="66312" y="218531"/>
                  </a:cubicBezTo>
                  <a:cubicBezTo>
                    <a:pt x="66312" y="229054"/>
                    <a:pt x="57603" y="237762"/>
                    <a:pt x="47443" y="237762"/>
                  </a:cubicBezTo>
                  <a:cubicBezTo>
                    <a:pt x="36920" y="237762"/>
                    <a:pt x="28575" y="229054"/>
                    <a:pt x="28575" y="218531"/>
                  </a:cubicBezTo>
                  <a:cubicBezTo>
                    <a:pt x="28575" y="208371"/>
                    <a:pt x="36920" y="200025"/>
                    <a:pt x="47443" y="200025"/>
                  </a:cubicBezTo>
                  <a:close/>
                  <a:moveTo>
                    <a:pt x="153506" y="171450"/>
                  </a:moveTo>
                  <a:lnTo>
                    <a:pt x="176338" y="171450"/>
                  </a:lnTo>
                  <a:cubicBezTo>
                    <a:pt x="178478" y="171450"/>
                    <a:pt x="180619" y="173355"/>
                    <a:pt x="180619" y="176022"/>
                  </a:cubicBezTo>
                  <a:cubicBezTo>
                    <a:pt x="180619" y="178689"/>
                    <a:pt x="178478" y="180594"/>
                    <a:pt x="176338" y="180594"/>
                  </a:cubicBezTo>
                  <a:lnTo>
                    <a:pt x="153506" y="180594"/>
                  </a:lnTo>
                  <a:cubicBezTo>
                    <a:pt x="151009" y="180594"/>
                    <a:pt x="149225" y="178689"/>
                    <a:pt x="149225" y="176022"/>
                  </a:cubicBezTo>
                  <a:cubicBezTo>
                    <a:pt x="149225" y="173355"/>
                    <a:pt x="151009" y="171450"/>
                    <a:pt x="153506" y="171450"/>
                  </a:cubicBezTo>
                  <a:close/>
                  <a:moveTo>
                    <a:pt x="84868" y="171450"/>
                  </a:moveTo>
                  <a:lnTo>
                    <a:pt x="130321" y="171450"/>
                  </a:lnTo>
                  <a:cubicBezTo>
                    <a:pt x="132807" y="171450"/>
                    <a:pt x="134582" y="173355"/>
                    <a:pt x="134582" y="176022"/>
                  </a:cubicBezTo>
                  <a:cubicBezTo>
                    <a:pt x="134582" y="178689"/>
                    <a:pt x="132807" y="180594"/>
                    <a:pt x="130321" y="180594"/>
                  </a:cubicBezTo>
                  <a:lnTo>
                    <a:pt x="84868" y="180594"/>
                  </a:lnTo>
                  <a:cubicBezTo>
                    <a:pt x="82738" y="180594"/>
                    <a:pt x="80962" y="178689"/>
                    <a:pt x="80962" y="176022"/>
                  </a:cubicBezTo>
                  <a:cubicBezTo>
                    <a:pt x="80962" y="173355"/>
                    <a:pt x="82738" y="171450"/>
                    <a:pt x="84868" y="171450"/>
                  </a:cubicBezTo>
                  <a:close/>
                  <a:moveTo>
                    <a:pt x="47443" y="151584"/>
                  </a:moveTo>
                  <a:cubicBezTo>
                    <a:pt x="41638" y="151584"/>
                    <a:pt x="37283" y="155938"/>
                    <a:pt x="37283" y="161744"/>
                  </a:cubicBezTo>
                  <a:cubicBezTo>
                    <a:pt x="37283" y="167549"/>
                    <a:pt x="41638" y="171904"/>
                    <a:pt x="47443" y="171904"/>
                  </a:cubicBezTo>
                  <a:cubicBezTo>
                    <a:pt x="52886" y="171904"/>
                    <a:pt x="57603" y="167549"/>
                    <a:pt x="57603" y="161744"/>
                  </a:cubicBezTo>
                  <a:cubicBezTo>
                    <a:pt x="57603" y="155938"/>
                    <a:pt x="52886" y="151584"/>
                    <a:pt x="47443" y="151584"/>
                  </a:cubicBezTo>
                  <a:close/>
                  <a:moveTo>
                    <a:pt x="131358" y="142875"/>
                  </a:moveTo>
                  <a:lnTo>
                    <a:pt x="177841" y="142875"/>
                  </a:lnTo>
                  <a:cubicBezTo>
                    <a:pt x="180020" y="142875"/>
                    <a:pt x="182199" y="145161"/>
                    <a:pt x="182199" y="147447"/>
                  </a:cubicBezTo>
                  <a:cubicBezTo>
                    <a:pt x="182199" y="150114"/>
                    <a:pt x="180020" y="152019"/>
                    <a:pt x="177841" y="152019"/>
                  </a:cubicBezTo>
                  <a:lnTo>
                    <a:pt x="131358" y="152019"/>
                  </a:lnTo>
                  <a:cubicBezTo>
                    <a:pt x="128816" y="152019"/>
                    <a:pt x="127000" y="150114"/>
                    <a:pt x="127000" y="147447"/>
                  </a:cubicBezTo>
                  <a:cubicBezTo>
                    <a:pt x="127000" y="145161"/>
                    <a:pt x="128816" y="142875"/>
                    <a:pt x="131358" y="142875"/>
                  </a:cubicBezTo>
                  <a:close/>
                  <a:moveTo>
                    <a:pt x="84931" y="142875"/>
                  </a:moveTo>
                  <a:lnTo>
                    <a:pt x="108022" y="142875"/>
                  </a:lnTo>
                  <a:cubicBezTo>
                    <a:pt x="110547" y="142875"/>
                    <a:pt x="112351" y="145161"/>
                    <a:pt x="112351" y="147447"/>
                  </a:cubicBezTo>
                  <a:cubicBezTo>
                    <a:pt x="112351" y="150114"/>
                    <a:pt x="110547" y="152019"/>
                    <a:pt x="108022" y="152019"/>
                  </a:cubicBezTo>
                  <a:lnTo>
                    <a:pt x="84931" y="152019"/>
                  </a:lnTo>
                  <a:cubicBezTo>
                    <a:pt x="82766" y="152019"/>
                    <a:pt x="80962" y="150114"/>
                    <a:pt x="80962" y="147447"/>
                  </a:cubicBezTo>
                  <a:cubicBezTo>
                    <a:pt x="80962" y="145161"/>
                    <a:pt x="82766" y="142875"/>
                    <a:pt x="84931" y="142875"/>
                  </a:cubicBezTo>
                  <a:close/>
                  <a:moveTo>
                    <a:pt x="47443" y="142875"/>
                  </a:moveTo>
                  <a:cubicBezTo>
                    <a:pt x="57603" y="142875"/>
                    <a:pt x="66312" y="151221"/>
                    <a:pt x="66312" y="161744"/>
                  </a:cubicBezTo>
                  <a:cubicBezTo>
                    <a:pt x="66312" y="171904"/>
                    <a:pt x="57603" y="180612"/>
                    <a:pt x="47443" y="180612"/>
                  </a:cubicBezTo>
                  <a:cubicBezTo>
                    <a:pt x="36920" y="180612"/>
                    <a:pt x="28575" y="171904"/>
                    <a:pt x="28575" y="161744"/>
                  </a:cubicBezTo>
                  <a:cubicBezTo>
                    <a:pt x="28575" y="151221"/>
                    <a:pt x="36920" y="142875"/>
                    <a:pt x="47443" y="142875"/>
                  </a:cubicBezTo>
                  <a:close/>
                  <a:moveTo>
                    <a:pt x="84943" y="114300"/>
                  </a:moveTo>
                  <a:lnTo>
                    <a:pt x="125471" y="114300"/>
                  </a:lnTo>
                  <a:cubicBezTo>
                    <a:pt x="128004" y="114300"/>
                    <a:pt x="129813" y="115954"/>
                    <a:pt x="129813" y="117938"/>
                  </a:cubicBezTo>
                  <a:cubicBezTo>
                    <a:pt x="129813" y="120253"/>
                    <a:pt x="128004" y="121906"/>
                    <a:pt x="125471" y="121906"/>
                  </a:cubicBezTo>
                  <a:lnTo>
                    <a:pt x="84943" y="121906"/>
                  </a:lnTo>
                  <a:cubicBezTo>
                    <a:pt x="82772" y="121906"/>
                    <a:pt x="80962" y="120253"/>
                    <a:pt x="80962" y="117938"/>
                  </a:cubicBezTo>
                  <a:cubicBezTo>
                    <a:pt x="80962" y="115954"/>
                    <a:pt x="82772" y="114300"/>
                    <a:pt x="84943" y="114300"/>
                  </a:cubicBezTo>
                  <a:close/>
                  <a:moveTo>
                    <a:pt x="47443" y="94151"/>
                  </a:moveTo>
                  <a:cubicBezTo>
                    <a:pt x="41638" y="94151"/>
                    <a:pt x="37283" y="98913"/>
                    <a:pt x="37283" y="104409"/>
                  </a:cubicBezTo>
                  <a:cubicBezTo>
                    <a:pt x="37283" y="110270"/>
                    <a:pt x="41638" y="115033"/>
                    <a:pt x="47443" y="115033"/>
                  </a:cubicBezTo>
                  <a:cubicBezTo>
                    <a:pt x="52886" y="115033"/>
                    <a:pt x="57603" y="110270"/>
                    <a:pt x="57603" y="104409"/>
                  </a:cubicBezTo>
                  <a:cubicBezTo>
                    <a:pt x="57603" y="98913"/>
                    <a:pt x="52886" y="94151"/>
                    <a:pt x="47443" y="94151"/>
                  </a:cubicBezTo>
                  <a:close/>
                  <a:moveTo>
                    <a:pt x="160011" y="85725"/>
                  </a:moveTo>
                  <a:lnTo>
                    <a:pt x="177756" y="85725"/>
                  </a:lnTo>
                  <a:cubicBezTo>
                    <a:pt x="179974" y="85725"/>
                    <a:pt x="182193" y="87379"/>
                    <a:pt x="182193" y="89693"/>
                  </a:cubicBezTo>
                  <a:cubicBezTo>
                    <a:pt x="182193" y="91678"/>
                    <a:pt x="179974" y="93331"/>
                    <a:pt x="177756" y="93331"/>
                  </a:cubicBezTo>
                  <a:lnTo>
                    <a:pt x="160011" y="93331"/>
                  </a:lnTo>
                  <a:cubicBezTo>
                    <a:pt x="157424" y="93331"/>
                    <a:pt x="155575" y="91678"/>
                    <a:pt x="155575" y="89693"/>
                  </a:cubicBezTo>
                  <a:cubicBezTo>
                    <a:pt x="155575" y="87379"/>
                    <a:pt x="157424" y="85725"/>
                    <a:pt x="160011" y="85725"/>
                  </a:cubicBezTo>
                  <a:close/>
                  <a:moveTo>
                    <a:pt x="84912" y="85725"/>
                  </a:moveTo>
                  <a:lnTo>
                    <a:pt x="136619" y="85725"/>
                  </a:lnTo>
                  <a:cubicBezTo>
                    <a:pt x="139133" y="85725"/>
                    <a:pt x="140928" y="87379"/>
                    <a:pt x="140928" y="89693"/>
                  </a:cubicBezTo>
                  <a:cubicBezTo>
                    <a:pt x="140928" y="91678"/>
                    <a:pt x="139133" y="93331"/>
                    <a:pt x="136619" y="93331"/>
                  </a:cubicBezTo>
                  <a:lnTo>
                    <a:pt x="84912" y="93331"/>
                  </a:lnTo>
                  <a:cubicBezTo>
                    <a:pt x="82758" y="93331"/>
                    <a:pt x="80962" y="91678"/>
                    <a:pt x="80962" y="89693"/>
                  </a:cubicBezTo>
                  <a:cubicBezTo>
                    <a:pt x="80962" y="87379"/>
                    <a:pt x="82758" y="85725"/>
                    <a:pt x="84912" y="85725"/>
                  </a:cubicBezTo>
                  <a:close/>
                  <a:moveTo>
                    <a:pt x="47443" y="85725"/>
                  </a:moveTo>
                  <a:cubicBezTo>
                    <a:pt x="57603" y="85725"/>
                    <a:pt x="66312" y="94151"/>
                    <a:pt x="66312" y="104409"/>
                  </a:cubicBezTo>
                  <a:cubicBezTo>
                    <a:pt x="66312" y="115033"/>
                    <a:pt x="57603" y="123459"/>
                    <a:pt x="47443" y="123459"/>
                  </a:cubicBezTo>
                  <a:cubicBezTo>
                    <a:pt x="36920" y="123459"/>
                    <a:pt x="28575" y="115033"/>
                    <a:pt x="28575" y="104409"/>
                  </a:cubicBezTo>
                  <a:cubicBezTo>
                    <a:pt x="28575" y="94151"/>
                    <a:pt x="36920" y="85725"/>
                    <a:pt x="47443" y="85725"/>
                  </a:cubicBezTo>
                  <a:close/>
                  <a:moveTo>
                    <a:pt x="32861" y="57150"/>
                  </a:moveTo>
                  <a:lnTo>
                    <a:pt x="95369" y="57150"/>
                  </a:lnTo>
                  <a:cubicBezTo>
                    <a:pt x="97869" y="57150"/>
                    <a:pt x="99655" y="59055"/>
                    <a:pt x="99655" y="61722"/>
                  </a:cubicBezTo>
                  <a:cubicBezTo>
                    <a:pt x="99655" y="64008"/>
                    <a:pt x="97869" y="66294"/>
                    <a:pt x="95369" y="66294"/>
                  </a:cubicBezTo>
                  <a:lnTo>
                    <a:pt x="32861" y="66294"/>
                  </a:lnTo>
                  <a:cubicBezTo>
                    <a:pt x="30361" y="66294"/>
                    <a:pt x="28575" y="64008"/>
                    <a:pt x="28575" y="61722"/>
                  </a:cubicBezTo>
                  <a:cubicBezTo>
                    <a:pt x="28575" y="59055"/>
                    <a:pt x="30361" y="57150"/>
                    <a:pt x="32861" y="57150"/>
                  </a:cubicBezTo>
                  <a:close/>
                  <a:moveTo>
                    <a:pt x="262145" y="37721"/>
                  </a:moveTo>
                  <a:lnTo>
                    <a:pt x="262145" y="234946"/>
                  </a:lnTo>
                  <a:lnTo>
                    <a:pt x="276671" y="234946"/>
                  </a:lnTo>
                  <a:lnTo>
                    <a:pt x="276671" y="37721"/>
                  </a:lnTo>
                  <a:lnTo>
                    <a:pt x="262145" y="37721"/>
                  </a:lnTo>
                  <a:close/>
                  <a:moveTo>
                    <a:pt x="238903" y="37721"/>
                  </a:moveTo>
                  <a:lnTo>
                    <a:pt x="238903" y="234946"/>
                  </a:lnTo>
                  <a:lnTo>
                    <a:pt x="253429" y="234946"/>
                  </a:lnTo>
                  <a:lnTo>
                    <a:pt x="253429" y="37721"/>
                  </a:lnTo>
                  <a:lnTo>
                    <a:pt x="238903" y="37721"/>
                  </a:lnTo>
                  <a:close/>
                  <a:moveTo>
                    <a:pt x="83677" y="28575"/>
                  </a:moveTo>
                  <a:lnTo>
                    <a:pt x="119165" y="28575"/>
                  </a:lnTo>
                  <a:cubicBezTo>
                    <a:pt x="121674" y="28575"/>
                    <a:pt x="123467" y="30480"/>
                    <a:pt x="123467" y="33147"/>
                  </a:cubicBezTo>
                  <a:cubicBezTo>
                    <a:pt x="123467" y="35814"/>
                    <a:pt x="121674" y="37719"/>
                    <a:pt x="119165" y="37719"/>
                  </a:cubicBezTo>
                  <a:lnTo>
                    <a:pt x="83677" y="37719"/>
                  </a:lnTo>
                  <a:cubicBezTo>
                    <a:pt x="81168" y="37719"/>
                    <a:pt x="79375" y="35814"/>
                    <a:pt x="79375" y="33147"/>
                  </a:cubicBezTo>
                  <a:cubicBezTo>
                    <a:pt x="79375" y="30480"/>
                    <a:pt x="81168" y="28575"/>
                    <a:pt x="83677" y="28575"/>
                  </a:cubicBezTo>
                  <a:close/>
                  <a:moveTo>
                    <a:pt x="32913" y="28575"/>
                  </a:moveTo>
                  <a:lnTo>
                    <a:pt x="60387" y="28575"/>
                  </a:lnTo>
                  <a:cubicBezTo>
                    <a:pt x="62918" y="28575"/>
                    <a:pt x="64725" y="30480"/>
                    <a:pt x="64725" y="33147"/>
                  </a:cubicBezTo>
                  <a:cubicBezTo>
                    <a:pt x="64725" y="35814"/>
                    <a:pt x="62918" y="37719"/>
                    <a:pt x="60387" y="37719"/>
                  </a:cubicBezTo>
                  <a:lnTo>
                    <a:pt x="32913" y="37719"/>
                  </a:lnTo>
                  <a:cubicBezTo>
                    <a:pt x="30382" y="37719"/>
                    <a:pt x="28575" y="35814"/>
                    <a:pt x="28575" y="33147"/>
                  </a:cubicBezTo>
                  <a:cubicBezTo>
                    <a:pt x="28575" y="30480"/>
                    <a:pt x="30382" y="28575"/>
                    <a:pt x="32913" y="28575"/>
                  </a:cubicBezTo>
                  <a:close/>
                  <a:moveTo>
                    <a:pt x="152041" y="14729"/>
                  </a:moveTo>
                  <a:lnTo>
                    <a:pt x="152041" y="57479"/>
                  </a:lnTo>
                  <a:lnTo>
                    <a:pt x="194454" y="57479"/>
                  </a:lnTo>
                  <a:lnTo>
                    <a:pt x="152041" y="14729"/>
                  </a:lnTo>
                  <a:close/>
                  <a:moveTo>
                    <a:pt x="246166" y="8622"/>
                  </a:moveTo>
                  <a:cubicBezTo>
                    <a:pt x="242171" y="8622"/>
                    <a:pt x="238903" y="11855"/>
                    <a:pt x="238903" y="15807"/>
                  </a:cubicBezTo>
                  <a:lnTo>
                    <a:pt x="238903" y="29099"/>
                  </a:lnTo>
                  <a:lnTo>
                    <a:pt x="276671" y="29099"/>
                  </a:lnTo>
                  <a:lnTo>
                    <a:pt x="276671" y="15807"/>
                  </a:lnTo>
                  <a:cubicBezTo>
                    <a:pt x="276671" y="14010"/>
                    <a:pt x="275582" y="12214"/>
                    <a:pt x="274492" y="10777"/>
                  </a:cubicBezTo>
                  <a:cubicBezTo>
                    <a:pt x="273040" y="9340"/>
                    <a:pt x="271224" y="8622"/>
                    <a:pt x="269408" y="8622"/>
                  </a:cubicBezTo>
                  <a:lnTo>
                    <a:pt x="246166" y="8622"/>
                  </a:lnTo>
                  <a:close/>
                  <a:moveTo>
                    <a:pt x="8626" y="8622"/>
                  </a:moveTo>
                  <a:lnTo>
                    <a:pt x="8626" y="275181"/>
                  </a:lnTo>
                  <a:lnTo>
                    <a:pt x="200564" y="275181"/>
                  </a:lnTo>
                  <a:lnTo>
                    <a:pt x="200564" y="66101"/>
                  </a:lnTo>
                  <a:lnTo>
                    <a:pt x="147728" y="66101"/>
                  </a:lnTo>
                  <a:cubicBezTo>
                    <a:pt x="145571" y="66101"/>
                    <a:pt x="143414" y="63945"/>
                    <a:pt x="143414" y="61790"/>
                  </a:cubicBezTo>
                  <a:lnTo>
                    <a:pt x="143414" y="8622"/>
                  </a:lnTo>
                  <a:lnTo>
                    <a:pt x="8626" y="8622"/>
                  </a:lnTo>
                  <a:close/>
                  <a:moveTo>
                    <a:pt x="246166" y="0"/>
                  </a:moveTo>
                  <a:lnTo>
                    <a:pt x="269408" y="0"/>
                  </a:lnTo>
                  <a:cubicBezTo>
                    <a:pt x="273766" y="0"/>
                    <a:pt x="277398" y="1796"/>
                    <a:pt x="280303" y="4670"/>
                  </a:cubicBezTo>
                  <a:cubicBezTo>
                    <a:pt x="283571" y="7544"/>
                    <a:pt x="285024" y="11855"/>
                    <a:pt x="285024" y="15807"/>
                  </a:cubicBezTo>
                  <a:lnTo>
                    <a:pt x="285387" y="239257"/>
                  </a:lnTo>
                  <a:cubicBezTo>
                    <a:pt x="285387" y="240334"/>
                    <a:pt x="285024" y="240694"/>
                    <a:pt x="284661" y="241412"/>
                  </a:cubicBezTo>
                  <a:lnTo>
                    <a:pt x="261782" y="281647"/>
                  </a:lnTo>
                  <a:cubicBezTo>
                    <a:pt x="261056" y="283084"/>
                    <a:pt x="259603" y="283803"/>
                    <a:pt x="258150" y="283803"/>
                  </a:cubicBezTo>
                  <a:cubicBezTo>
                    <a:pt x="256335" y="283803"/>
                    <a:pt x="254882" y="283084"/>
                    <a:pt x="254156" y="281647"/>
                  </a:cubicBezTo>
                  <a:lnTo>
                    <a:pt x="230914" y="241412"/>
                  </a:lnTo>
                  <a:cubicBezTo>
                    <a:pt x="230550" y="240694"/>
                    <a:pt x="230550" y="240334"/>
                    <a:pt x="230550" y="239257"/>
                  </a:cubicBezTo>
                  <a:lnTo>
                    <a:pt x="230187" y="15807"/>
                  </a:lnTo>
                  <a:cubicBezTo>
                    <a:pt x="230187" y="7185"/>
                    <a:pt x="237450" y="0"/>
                    <a:pt x="246166" y="0"/>
                  </a:cubicBezTo>
                  <a:close/>
                  <a:moveTo>
                    <a:pt x="4313" y="0"/>
                  </a:moveTo>
                  <a:lnTo>
                    <a:pt x="147728" y="0"/>
                  </a:lnTo>
                  <a:cubicBezTo>
                    <a:pt x="148806" y="0"/>
                    <a:pt x="149884" y="359"/>
                    <a:pt x="150603" y="1437"/>
                  </a:cubicBezTo>
                  <a:lnTo>
                    <a:pt x="208113" y="58916"/>
                  </a:lnTo>
                  <a:cubicBezTo>
                    <a:pt x="208831" y="59634"/>
                    <a:pt x="209191" y="60712"/>
                    <a:pt x="209191" y="61790"/>
                  </a:cubicBezTo>
                  <a:lnTo>
                    <a:pt x="209191" y="279492"/>
                  </a:lnTo>
                  <a:cubicBezTo>
                    <a:pt x="209191" y="282007"/>
                    <a:pt x="207394" y="283803"/>
                    <a:pt x="205237" y="283803"/>
                  </a:cubicBezTo>
                  <a:lnTo>
                    <a:pt x="4313" y="283803"/>
                  </a:lnTo>
                  <a:cubicBezTo>
                    <a:pt x="1797" y="283803"/>
                    <a:pt x="0" y="282007"/>
                    <a:pt x="0" y="279492"/>
                  </a:cubicBezTo>
                  <a:lnTo>
                    <a:pt x="0" y="4670"/>
                  </a:lnTo>
                  <a:cubicBezTo>
                    <a:pt x="0" y="1796"/>
                    <a:pt x="1797" y="0"/>
                    <a:pt x="4313" y="0"/>
                  </a:cubicBezTo>
                  <a:close/>
                </a:path>
              </a:pathLst>
            </a:custGeom>
            <a:solidFill>
              <a:srgbClr val="FFFFFF"/>
            </a:solidFill>
            <a:ln>
              <a:noFill/>
            </a:ln>
          </p:spPr>
          <p:txBody>
            <a:bodyPr anchor="ctr"/>
            <a:lstStyle/>
            <a:p>
              <a:pPr marL="0" marR="0" lvl="0" indent="0" defTabSz="91421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AAAAA"/>
                </a:solidFill>
                <a:effectLst/>
                <a:uLnTx/>
                <a:uFillTx/>
                <a:latin typeface="Abadi" panose="020B0604020104020204" pitchFamily="34" charset="0"/>
              </a:endParaRPr>
            </a:p>
          </p:txBody>
        </p:sp>
        <p:sp>
          <p:nvSpPr>
            <p:cNvPr id="39" name="Subtitle 2">
              <a:extLst>
                <a:ext uri="{FF2B5EF4-FFF2-40B4-BE49-F238E27FC236}">
                  <a16:creationId xmlns:a16="http://schemas.microsoft.com/office/drawing/2014/main" id="{0626EE4C-8547-F09F-D1EA-EBD72F61BE86}"/>
                </a:ext>
              </a:extLst>
            </p:cNvPr>
            <p:cNvSpPr txBox="1">
              <a:spLocks/>
            </p:cNvSpPr>
            <p:nvPr/>
          </p:nvSpPr>
          <p:spPr>
            <a:xfrm>
              <a:off x="3421410" y="2742925"/>
              <a:ext cx="4103529" cy="2015808"/>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defTabSz="543818">
                <a:lnSpc>
                  <a:spcPts val="1750"/>
                </a:lnSpc>
              </a:pPr>
              <a:r>
                <a:rPr lang="en-US" sz="2000" b="1" dirty="0">
                  <a:solidFill>
                    <a:srgbClr val="FFFFFF"/>
                  </a:solidFill>
                  <a:latin typeface="Abadi" panose="020B0604020104020204" pitchFamily="34" charset="0"/>
                  <a:ea typeface="Lato Light" panose="020F0502020204030203" pitchFamily="34" charset="0"/>
                  <a:cs typeface="Mukta ExtraLight" panose="020B0000000000000000" pitchFamily="34" charset="77"/>
                </a:rPr>
                <a:t>Targeting Interventions</a:t>
              </a:r>
            </a:p>
            <a:p>
              <a:pPr marL="285750" indent="-285750" algn="l" defTabSz="543818">
                <a:lnSpc>
                  <a:spcPts val="1750"/>
                </a:lnSpc>
                <a:buFont typeface="Arial" panose="020B0604020202020204" pitchFamily="34" charset="0"/>
                <a:buChar char="•"/>
              </a:pPr>
              <a:r>
                <a:rPr lang="en-US" sz="1800" dirty="0">
                  <a:solidFill>
                    <a:schemeClr val="bg1"/>
                  </a:solidFill>
                  <a:latin typeface="Abadi" panose="020B0604020104020204" pitchFamily="34" charset="0"/>
                </a:rPr>
                <a:t>Defining Target Populations</a:t>
              </a:r>
            </a:p>
            <a:p>
              <a:pPr marL="285750" indent="-285750" algn="l" defTabSz="543818">
                <a:lnSpc>
                  <a:spcPts val="1750"/>
                </a:lnSpc>
                <a:buFont typeface="Arial" panose="020B0604020202020204" pitchFamily="34" charset="0"/>
                <a:buChar char="•"/>
              </a:pPr>
              <a:r>
                <a:rPr lang="en-US" sz="1800" dirty="0">
                  <a:solidFill>
                    <a:schemeClr val="bg1"/>
                  </a:solidFill>
                  <a:latin typeface="Abadi" panose="020B0604020104020204" pitchFamily="34" charset="0"/>
                </a:rPr>
                <a:t>Geographic Targeting</a:t>
              </a:r>
            </a:p>
            <a:p>
              <a:pPr marL="285750" indent="-285750" algn="l" defTabSz="543818">
                <a:lnSpc>
                  <a:spcPts val="1750"/>
                </a:lnSpc>
                <a:buFont typeface="Arial" panose="020B0604020202020204" pitchFamily="34" charset="0"/>
                <a:buChar char="•"/>
              </a:pPr>
              <a:r>
                <a:rPr lang="en-US" sz="1800" dirty="0">
                  <a:solidFill>
                    <a:srgbClr val="FFFFFF"/>
                  </a:solidFill>
                  <a:latin typeface="Abadi" panose="020B0604020104020204" pitchFamily="34" charset="0"/>
                  <a:ea typeface="Lato Light" panose="020F0502020204030203" pitchFamily="34" charset="0"/>
                  <a:cs typeface="Mukta ExtraLight" panose="020B0000000000000000" pitchFamily="34" charset="77"/>
                </a:rPr>
                <a:t>Tailoring Interventions</a:t>
              </a:r>
            </a:p>
            <a:p>
              <a:pPr marL="285750" indent="-285750" algn="l" defTabSz="543818">
                <a:lnSpc>
                  <a:spcPts val="1750"/>
                </a:lnSpc>
                <a:buFont typeface="Arial" panose="020B0604020202020204" pitchFamily="34" charset="0"/>
                <a:buChar char="•"/>
              </a:pPr>
              <a:endParaRPr lang="en-US" sz="1800" dirty="0">
                <a:solidFill>
                  <a:srgbClr val="FFFFFF"/>
                </a:solidFill>
                <a:latin typeface="Abadi" panose="020B0604020104020204" pitchFamily="34" charset="0"/>
                <a:ea typeface="Lato Light" panose="020F0502020204030203" pitchFamily="34" charset="0"/>
                <a:cs typeface="Mukta ExtraLight" panose="020B0000000000000000" pitchFamily="34" charset="77"/>
              </a:endParaRPr>
            </a:p>
            <a:p>
              <a:pPr marL="285750" indent="-285750" algn="l" defTabSz="543818">
                <a:lnSpc>
                  <a:spcPts val="1750"/>
                </a:lnSpc>
                <a:buFont typeface="Arial" panose="020B0604020202020204" pitchFamily="34" charset="0"/>
                <a:buChar char="•"/>
              </a:pPr>
              <a:endParaRPr lang="en-US" sz="2000" dirty="0">
                <a:solidFill>
                  <a:srgbClr val="FFFFFF"/>
                </a:solidFill>
                <a:latin typeface="Abadi" panose="020B0604020104020204" pitchFamily="34" charset="0"/>
                <a:ea typeface="Lato Light" panose="020F0502020204030203" pitchFamily="34" charset="0"/>
                <a:cs typeface="Mukta ExtraLight" panose="020B0000000000000000" pitchFamily="34" charset="77"/>
              </a:endParaRPr>
            </a:p>
            <a:p>
              <a:pPr algn="l" defTabSz="543818">
                <a:lnSpc>
                  <a:spcPts val="1750"/>
                </a:lnSpc>
              </a:pPr>
              <a:endParaRPr lang="en-US" sz="2000" b="1" dirty="0">
                <a:solidFill>
                  <a:srgbClr val="FFFFFF"/>
                </a:solidFill>
                <a:latin typeface="Abadi" panose="020B0604020104020204" pitchFamily="34" charset="0"/>
                <a:ea typeface="Lato Light" panose="020F0502020204030203" pitchFamily="34" charset="0"/>
                <a:cs typeface="Mukta ExtraLight" panose="020B0000000000000000" pitchFamily="34" charset="77"/>
              </a:endParaRPr>
            </a:p>
          </p:txBody>
        </p:sp>
        <p:sp>
          <p:nvSpPr>
            <p:cNvPr id="40" name="Subtitle 2">
              <a:extLst>
                <a:ext uri="{FF2B5EF4-FFF2-40B4-BE49-F238E27FC236}">
                  <a16:creationId xmlns:a16="http://schemas.microsoft.com/office/drawing/2014/main" id="{28831F68-77EB-D398-CDBE-C3306B9D26E0}"/>
                </a:ext>
              </a:extLst>
            </p:cNvPr>
            <p:cNvSpPr txBox="1">
              <a:spLocks/>
            </p:cNvSpPr>
            <p:nvPr/>
          </p:nvSpPr>
          <p:spPr>
            <a:xfrm>
              <a:off x="4105970" y="4065060"/>
              <a:ext cx="4892051" cy="1415772"/>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defTabSz="543818">
                <a:lnSpc>
                  <a:spcPts val="1750"/>
                </a:lnSpc>
              </a:pPr>
              <a:r>
                <a:rPr lang="en-US" sz="2000" b="1" dirty="0">
                  <a:solidFill>
                    <a:srgbClr val="FFFFFF"/>
                  </a:solidFill>
                  <a:latin typeface="Abadi" panose="020B0604020104020204" pitchFamily="34" charset="0"/>
                  <a:ea typeface="Lato Light" panose="020F0502020204030203" pitchFamily="34" charset="0"/>
                  <a:cs typeface="Mukta ExtraLight" panose="020B0000000000000000" pitchFamily="34" charset="77"/>
                </a:rPr>
                <a:t>Implementation and Program Management</a:t>
              </a:r>
            </a:p>
            <a:p>
              <a:pPr marL="285750" indent="-285750" algn="l" defTabSz="543818">
                <a:lnSpc>
                  <a:spcPts val="1750"/>
                </a:lnSpc>
                <a:buFont typeface="Arial" panose="020B0604020202020204" pitchFamily="34" charset="0"/>
                <a:buChar char="•"/>
              </a:pPr>
              <a:r>
                <a:rPr lang="en-US" sz="1800" dirty="0">
                  <a:solidFill>
                    <a:srgbClr val="FFFFFF"/>
                  </a:solidFill>
                  <a:latin typeface="Abadi" panose="020B0604020104020204" pitchFamily="34" charset="0"/>
                  <a:ea typeface="Lato Light" panose="020F0502020204030203" pitchFamily="34" charset="0"/>
                  <a:cs typeface="Mukta ExtraLight" panose="020B0000000000000000" pitchFamily="34" charset="77"/>
                </a:rPr>
                <a:t>Tracking Program Progress</a:t>
              </a:r>
            </a:p>
            <a:p>
              <a:pPr marL="285750" indent="-285750" algn="l" defTabSz="543818">
                <a:lnSpc>
                  <a:spcPts val="1750"/>
                </a:lnSpc>
                <a:buFont typeface="Arial" panose="020B0604020202020204" pitchFamily="34" charset="0"/>
                <a:buChar char="•"/>
              </a:pPr>
              <a:r>
                <a:rPr lang="en-US" sz="1800" dirty="0">
                  <a:solidFill>
                    <a:srgbClr val="FFFFFF"/>
                  </a:solidFill>
                  <a:latin typeface="Abadi" panose="020B0604020104020204" pitchFamily="34" charset="0"/>
                  <a:ea typeface="Lato Light" panose="020F0502020204030203" pitchFamily="34" charset="0"/>
                  <a:cs typeface="Mukta ExtraLight" panose="020B0000000000000000" pitchFamily="34" charset="77"/>
                </a:rPr>
                <a:t>Performance Metrics</a:t>
              </a:r>
            </a:p>
            <a:p>
              <a:pPr marL="285750" indent="-285750" algn="l" defTabSz="543818">
                <a:lnSpc>
                  <a:spcPts val="1750"/>
                </a:lnSpc>
                <a:buFont typeface="Arial" panose="020B0604020202020204" pitchFamily="34" charset="0"/>
                <a:buChar char="•"/>
              </a:pPr>
              <a:r>
                <a:rPr lang="en-US" sz="1800" dirty="0">
                  <a:solidFill>
                    <a:srgbClr val="FFFFFF"/>
                  </a:solidFill>
                  <a:latin typeface="Abadi" panose="020B0604020104020204" pitchFamily="34" charset="0"/>
                  <a:ea typeface="Lato Light" panose="020F0502020204030203" pitchFamily="34" charset="0"/>
                  <a:cs typeface="Mukta ExtraLight" panose="020B0000000000000000" pitchFamily="34" charset="77"/>
                </a:rPr>
                <a:t>Adaptation and Continuous Improvement</a:t>
              </a:r>
            </a:p>
            <a:p>
              <a:pPr marL="285750" indent="-285750" algn="l" defTabSz="543818">
                <a:lnSpc>
                  <a:spcPts val="1750"/>
                </a:lnSpc>
                <a:buFont typeface="Arial" panose="020B0604020202020204" pitchFamily="34" charset="0"/>
                <a:buChar char="•"/>
              </a:pPr>
              <a:endParaRPr lang="en-US" sz="1600" dirty="0">
                <a:solidFill>
                  <a:srgbClr val="FFFFFF"/>
                </a:solidFill>
                <a:latin typeface="Abadi" panose="020B0604020104020204" pitchFamily="34" charset="0"/>
                <a:ea typeface="Lato Light" panose="020F0502020204030203" pitchFamily="34" charset="0"/>
                <a:cs typeface="Mukta ExtraLight" panose="020B0000000000000000" pitchFamily="34" charset="77"/>
              </a:endParaRPr>
            </a:p>
          </p:txBody>
        </p:sp>
      </p:grpSp>
      <p:sp>
        <p:nvSpPr>
          <p:cNvPr id="16" name="Subtitle 2">
            <a:extLst>
              <a:ext uri="{FF2B5EF4-FFF2-40B4-BE49-F238E27FC236}">
                <a16:creationId xmlns:a16="http://schemas.microsoft.com/office/drawing/2014/main" id="{1E91C960-E12E-E086-02AB-598A0027002F}"/>
              </a:ext>
            </a:extLst>
          </p:cNvPr>
          <p:cNvSpPr txBox="1">
            <a:spLocks/>
          </p:cNvSpPr>
          <p:nvPr/>
        </p:nvSpPr>
        <p:spPr>
          <a:xfrm flipH="1">
            <a:off x="7781626" y="1247445"/>
            <a:ext cx="4063954" cy="1729576"/>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defTabSz="543818">
              <a:lnSpc>
                <a:spcPts val="1750"/>
              </a:lnSpc>
            </a:pPr>
            <a:r>
              <a:rPr lang="en-US" sz="2000" b="1" dirty="0">
                <a:solidFill>
                  <a:srgbClr val="FFFFFF"/>
                </a:solidFill>
                <a:latin typeface="Abadi" panose="020B0604020104020204" pitchFamily="34" charset="0"/>
                <a:ea typeface="Lato Light" panose="020F0502020204030203" pitchFamily="34" charset="0"/>
                <a:cs typeface="Mukta ExtraLight" panose="020B0000000000000000" pitchFamily="34" charset="77"/>
              </a:rPr>
              <a:t>Monitoring and Evaluation</a:t>
            </a:r>
          </a:p>
          <a:p>
            <a:pPr marL="285750" indent="-285750" algn="l" defTabSz="543818">
              <a:lnSpc>
                <a:spcPts val="1750"/>
              </a:lnSpc>
              <a:buFont typeface="Arial" panose="020B0604020202020204" pitchFamily="34" charset="0"/>
              <a:buChar char="•"/>
            </a:pPr>
            <a:r>
              <a:rPr lang="en-US" sz="1800" dirty="0">
                <a:solidFill>
                  <a:schemeClr val="bg1"/>
                </a:solidFill>
                <a:latin typeface="Abadi" panose="020B0604020104020204" pitchFamily="34" charset="0"/>
              </a:rPr>
              <a:t>Outcome Evaluation</a:t>
            </a:r>
          </a:p>
          <a:p>
            <a:pPr marL="285750" indent="-285750" algn="l" defTabSz="543818">
              <a:lnSpc>
                <a:spcPts val="1750"/>
              </a:lnSpc>
              <a:buFont typeface="Arial" panose="020B0604020202020204" pitchFamily="34" charset="0"/>
              <a:buChar char="•"/>
            </a:pPr>
            <a:r>
              <a:rPr lang="en-US" sz="1800" dirty="0">
                <a:solidFill>
                  <a:srgbClr val="FFFFFF"/>
                </a:solidFill>
                <a:latin typeface="Abadi" panose="020B0604020104020204" pitchFamily="34" charset="0"/>
                <a:ea typeface="Lato Light" panose="020F0502020204030203" pitchFamily="34" charset="0"/>
                <a:cs typeface="Mukta ExtraLight" panose="020B0000000000000000" pitchFamily="34" charset="77"/>
              </a:rPr>
              <a:t>Impact Evaluation</a:t>
            </a:r>
          </a:p>
          <a:p>
            <a:pPr marL="285750" indent="-285750" algn="l" defTabSz="543818">
              <a:lnSpc>
                <a:spcPts val="1750"/>
              </a:lnSpc>
              <a:buFont typeface="Arial" panose="020B0604020202020204" pitchFamily="34" charset="0"/>
              <a:buChar char="•"/>
            </a:pPr>
            <a:r>
              <a:rPr lang="en-US" sz="1800" dirty="0">
                <a:solidFill>
                  <a:srgbClr val="FFFFFF"/>
                </a:solidFill>
                <a:latin typeface="Abadi" panose="020B0604020104020204" pitchFamily="34" charset="0"/>
                <a:ea typeface="Lato Light" panose="020F0502020204030203" pitchFamily="34" charset="0"/>
                <a:cs typeface="Mukta ExtraLight" panose="020B0000000000000000" pitchFamily="34" charset="77"/>
              </a:rPr>
              <a:t>Process Evaluation</a:t>
            </a:r>
          </a:p>
          <a:p>
            <a:pPr marL="285750" indent="-285750" algn="l" defTabSz="543818">
              <a:lnSpc>
                <a:spcPts val="1750"/>
              </a:lnSpc>
              <a:buFont typeface="Arial" panose="020B0604020202020204" pitchFamily="34" charset="0"/>
              <a:buChar char="•"/>
            </a:pPr>
            <a:endParaRPr lang="en-US" sz="2000" dirty="0">
              <a:solidFill>
                <a:srgbClr val="FFFFFF"/>
              </a:solidFill>
              <a:latin typeface="Abadi" panose="020B0604020104020204" pitchFamily="34" charset="0"/>
              <a:ea typeface="Lato Light" panose="020F0502020204030203" pitchFamily="34" charset="0"/>
              <a:cs typeface="Mukta ExtraLight" panose="020B0000000000000000" pitchFamily="34" charset="77"/>
            </a:endParaRPr>
          </a:p>
          <a:p>
            <a:pPr algn="l" defTabSz="543818">
              <a:lnSpc>
                <a:spcPts val="1750"/>
              </a:lnSpc>
            </a:pPr>
            <a:endParaRPr lang="en-US" sz="2000" b="1" dirty="0">
              <a:solidFill>
                <a:srgbClr val="FFFFFF"/>
              </a:solidFill>
              <a:latin typeface="Abadi" panose="020B0604020104020204" pitchFamily="34" charset="0"/>
              <a:ea typeface="Lato Light" panose="020F0502020204030203" pitchFamily="34" charset="0"/>
              <a:cs typeface="Mukta ExtraLight" panose="020B0000000000000000" pitchFamily="34" charset="77"/>
            </a:endParaRPr>
          </a:p>
        </p:txBody>
      </p:sp>
      <p:sp>
        <p:nvSpPr>
          <p:cNvPr id="18" name="Subtitle 2">
            <a:extLst>
              <a:ext uri="{FF2B5EF4-FFF2-40B4-BE49-F238E27FC236}">
                <a16:creationId xmlns:a16="http://schemas.microsoft.com/office/drawing/2014/main" id="{97D5873C-D377-644E-203D-AA30B1C8D5B0}"/>
              </a:ext>
            </a:extLst>
          </p:cNvPr>
          <p:cNvSpPr txBox="1">
            <a:spLocks/>
          </p:cNvSpPr>
          <p:nvPr/>
        </p:nvSpPr>
        <p:spPr>
          <a:xfrm flipH="1">
            <a:off x="7736407" y="3786673"/>
            <a:ext cx="4281852" cy="1381789"/>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defTabSz="543818">
              <a:lnSpc>
                <a:spcPts val="1750"/>
              </a:lnSpc>
            </a:pPr>
            <a:r>
              <a:rPr lang="en-US" sz="2000" b="1" dirty="0">
                <a:solidFill>
                  <a:srgbClr val="FFFFFF"/>
                </a:solidFill>
                <a:latin typeface="Abadi" panose="020B0604020104020204" pitchFamily="34" charset="0"/>
                <a:ea typeface="Lato Light" panose="020F0502020204030203" pitchFamily="34" charset="0"/>
                <a:cs typeface="Mukta ExtraLight" panose="020B0000000000000000" pitchFamily="34" charset="77"/>
              </a:rPr>
              <a:t>Global Health and Multisectoral Collaboration</a:t>
            </a:r>
          </a:p>
          <a:p>
            <a:pPr marL="285750" indent="-285750" algn="l" defTabSz="543818">
              <a:lnSpc>
                <a:spcPts val="1750"/>
              </a:lnSpc>
              <a:buFont typeface="Arial" panose="020B0604020202020204" pitchFamily="34" charset="0"/>
              <a:buChar char="•"/>
            </a:pPr>
            <a:r>
              <a:rPr lang="en-US" sz="1800" dirty="0">
                <a:solidFill>
                  <a:schemeClr val="bg1"/>
                </a:solidFill>
                <a:latin typeface="Abadi" panose="020B0604020104020204" pitchFamily="34" charset="0"/>
              </a:rPr>
              <a:t>International Comparisons</a:t>
            </a:r>
          </a:p>
          <a:p>
            <a:pPr marL="285750" indent="-285750" algn="l" defTabSz="543818">
              <a:lnSpc>
                <a:spcPts val="1750"/>
              </a:lnSpc>
              <a:buFont typeface="Arial" panose="020B0604020202020204" pitchFamily="34" charset="0"/>
              <a:buChar char="•"/>
            </a:pPr>
            <a:r>
              <a:rPr lang="en-US" sz="1800" dirty="0">
                <a:solidFill>
                  <a:schemeClr val="bg1"/>
                </a:solidFill>
                <a:latin typeface="Abadi" panose="020B0604020104020204" pitchFamily="34" charset="0"/>
              </a:rPr>
              <a:t>Collaborative Efforts</a:t>
            </a:r>
          </a:p>
          <a:p>
            <a:pPr algn="l" defTabSz="543818">
              <a:lnSpc>
                <a:spcPts val="1750"/>
              </a:lnSpc>
            </a:pPr>
            <a:endParaRPr lang="en-US" sz="2000" b="1" dirty="0">
              <a:solidFill>
                <a:srgbClr val="FFFFFF"/>
              </a:solidFill>
              <a:latin typeface="Abadi" panose="020B0604020104020204" pitchFamily="34" charset="0"/>
              <a:ea typeface="Lato Light" panose="020F0502020204030203" pitchFamily="34" charset="0"/>
              <a:cs typeface="Mukta ExtraLight" panose="020B0000000000000000" pitchFamily="34" charset="77"/>
            </a:endParaRPr>
          </a:p>
        </p:txBody>
      </p:sp>
      <p:sp>
        <p:nvSpPr>
          <p:cNvPr id="19" name="Subtitle 2">
            <a:extLst>
              <a:ext uri="{FF2B5EF4-FFF2-40B4-BE49-F238E27FC236}">
                <a16:creationId xmlns:a16="http://schemas.microsoft.com/office/drawing/2014/main" id="{7DFE2CBA-69B8-86D4-CA1A-1788008BB579}"/>
              </a:ext>
            </a:extLst>
          </p:cNvPr>
          <p:cNvSpPr txBox="1">
            <a:spLocks/>
          </p:cNvSpPr>
          <p:nvPr/>
        </p:nvSpPr>
        <p:spPr>
          <a:xfrm flipH="1">
            <a:off x="6401767" y="2553030"/>
            <a:ext cx="4281852" cy="1157112"/>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defTabSz="543818">
              <a:lnSpc>
                <a:spcPts val="1750"/>
              </a:lnSpc>
            </a:pPr>
            <a:r>
              <a:rPr lang="en-US" sz="2000" b="1" dirty="0">
                <a:solidFill>
                  <a:srgbClr val="FFFFFF"/>
                </a:solidFill>
                <a:latin typeface="Abadi" panose="020B0604020104020204" pitchFamily="34" charset="0"/>
                <a:ea typeface="Lato Light" panose="020F0502020204030203" pitchFamily="34" charset="0"/>
                <a:cs typeface="Mukta ExtraLight" panose="020B0000000000000000" pitchFamily="34" charset="77"/>
              </a:rPr>
              <a:t>Community Engagement and Feedback</a:t>
            </a:r>
          </a:p>
          <a:p>
            <a:pPr marL="285750" indent="-285750" algn="l" defTabSz="543818">
              <a:lnSpc>
                <a:spcPts val="1750"/>
              </a:lnSpc>
              <a:buFont typeface="Arial" panose="020B0604020202020204" pitchFamily="34" charset="0"/>
              <a:buChar char="•"/>
            </a:pPr>
            <a:r>
              <a:rPr lang="en-US" sz="1800" dirty="0">
                <a:solidFill>
                  <a:schemeClr val="bg1"/>
                </a:solidFill>
                <a:latin typeface="Abadi" panose="020B0604020104020204" pitchFamily="34" charset="0"/>
              </a:rPr>
              <a:t>Data for Community Needs</a:t>
            </a:r>
          </a:p>
          <a:p>
            <a:pPr marL="285750" indent="-285750" algn="l" defTabSz="543818">
              <a:lnSpc>
                <a:spcPts val="1750"/>
              </a:lnSpc>
              <a:buFont typeface="Arial" panose="020B0604020202020204" pitchFamily="34" charset="0"/>
              <a:buChar char="•"/>
            </a:pPr>
            <a:r>
              <a:rPr lang="en-US" sz="1800" dirty="0">
                <a:solidFill>
                  <a:srgbClr val="FFFFFF"/>
                </a:solidFill>
                <a:latin typeface="Abadi" panose="020B0604020104020204" pitchFamily="34" charset="0"/>
                <a:ea typeface="Lato Light" panose="020F0502020204030203" pitchFamily="34" charset="0"/>
                <a:cs typeface="Mukta ExtraLight" panose="020B0000000000000000" pitchFamily="34" charset="77"/>
              </a:rPr>
              <a:t>Real-Time Feedback</a:t>
            </a:r>
          </a:p>
          <a:p>
            <a:pPr algn="l" defTabSz="543818">
              <a:lnSpc>
                <a:spcPts val="1750"/>
              </a:lnSpc>
            </a:pPr>
            <a:endParaRPr lang="en-US" sz="2000" b="1" dirty="0">
              <a:solidFill>
                <a:srgbClr val="FFFFFF"/>
              </a:solidFill>
              <a:latin typeface="Abadi" panose="020B0604020104020204" pitchFamily="34" charset="0"/>
              <a:ea typeface="Lato Light" panose="020F0502020204030203" pitchFamily="34" charset="0"/>
              <a:cs typeface="Mukta ExtraLight" panose="020B0000000000000000" pitchFamily="34" charset="77"/>
            </a:endParaRPr>
          </a:p>
        </p:txBody>
      </p:sp>
      <p:sp>
        <p:nvSpPr>
          <p:cNvPr id="31" name="Subtitle 2">
            <a:extLst>
              <a:ext uri="{FF2B5EF4-FFF2-40B4-BE49-F238E27FC236}">
                <a16:creationId xmlns:a16="http://schemas.microsoft.com/office/drawing/2014/main" id="{4634726D-639A-3092-8E07-F9674877EDF5}"/>
              </a:ext>
            </a:extLst>
          </p:cNvPr>
          <p:cNvSpPr txBox="1">
            <a:spLocks/>
          </p:cNvSpPr>
          <p:nvPr/>
        </p:nvSpPr>
        <p:spPr>
          <a:xfrm flipH="1">
            <a:off x="1565690" y="5136922"/>
            <a:ext cx="4836077" cy="1138132"/>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defTabSz="543818">
              <a:lnSpc>
                <a:spcPts val="1750"/>
              </a:lnSpc>
            </a:pPr>
            <a:r>
              <a:rPr lang="en-US" sz="2000" b="1" dirty="0">
                <a:solidFill>
                  <a:srgbClr val="FFFFFF"/>
                </a:solidFill>
                <a:latin typeface="Abadi" panose="020B0604020104020204" pitchFamily="34" charset="0"/>
                <a:ea typeface="Lato Light" panose="020F0502020204030203" pitchFamily="34" charset="0"/>
                <a:cs typeface="Mukta ExtraLight" panose="020B0000000000000000" pitchFamily="34" charset="77"/>
              </a:rPr>
              <a:t>Policy Development and Advocacy</a:t>
            </a:r>
          </a:p>
          <a:p>
            <a:pPr marL="285750" indent="-285750" algn="l" defTabSz="543818">
              <a:lnSpc>
                <a:spcPts val="1750"/>
              </a:lnSpc>
              <a:buFont typeface="Arial" panose="020B0604020202020204" pitchFamily="34" charset="0"/>
              <a:buChar char="•"/>
            </a:pPr>
            <a:r>
              <a:rPr lang="en-US" sz="1800" dirty="0">
                <a:solidFill>
                  <a:srgbClr val="FFFFFF"/>
                </a:solidFill>
                <a:latin typeface="Abadi" panose="020B0604020104020204" pitchFamily="34" charset="0"/>
                <a:ea typeface="Lato Light" panose="020F0502020204030203" pitchFamily="34" charset="0"/>
                <a:cs typeface="Mukta ExtraLight" panose="020B0000000000000000" pitchFamily="34" charset="77"/>
              </a:rPr>
              <a:t>Evidence-Based Policy Making</a:t>
            </a:r>
          </a:p>
          <a:p>
            <a:pPr marL="285750" indent="-285750" algn="l" defTabSz="543818">
              <a:lnSpc>
                <a:spcPts val="1750"/>
              </a:lnSpc>
              <a:buFont typeface="Arial" panose="020B0604020202020204" pitchFamily="34" charset="0"/>
              <a:buChar char="•"/>
            </a:pPr>
            <a:r>
              <a:rPr lang="en-US" sz="1800" dirty="0">
                <a:solidFill>
                  <a:srgbClr val="FFFFFF"/>
                </a:solidFill>
                <a:latin typeface="Abadi" panose="020B0604020104020204" pitchFamily="34" charset="0"/>
                <a:ea typeface="Lato Light" panose="020F0502020204030203" pitchFamily="34" charset="0"/>
                <a:cs typeface="Mukta ExtraLight" panose="020B0000000000000000" pitchFamily="34" charset="77"/>
              </a:rPr>
              <a:t>Advocacy for Funding and Support</a:t>
            </a:r>
          </a:p>
          <a:p>
            <a:pPr marL="285750" indent="-285750" algn="l" defTabSz="543818">
              <a:lnSpc>
                <a:spcPts val="1750"/>
              </a:lnSpc>
              <a:buFont typeface="Arial" panose="020B0604020202020204" pitchFamily="34" charset="0"/>
              <a:buChar char="•"/>
            </a:pPr>
            <a:r>
              <a:rPr lang="en-US" sz="1800" dirty="0">
                <a:solidFill>
                  <a:srgbClr val="FFFFFF"/>
                </a:solidFill>
                <a:latin typeface="Abadi" panose="020B0604020104020204" pitchFamily="34" charset="0"/>
                <a:ea typeface="Lato Light" panose="020F0502020204030203" pitchFamily="34" charset="0"/>
                <a:cs typeface="Mukta ExtraLight" panose="020B0000000000000000" pitchFamily="34" charset="77"/>
              </a:rPr>
              <a:t>Public Health Messaging</a:t>
            </a:r>
            <a:endParaRPr lang="en-US" sz="1600" dirty="0">
              <a:solidFill>
                <a:srgbClr val="FFFFFF"/>
              </a:solidFill>
              <a:latin typeface="Abadi" panose="020B0604020104020204" pitchFamily="34" charset="0"/>
              <a:ea typeface="Lato Light" panose="020F0502020204030203" pitchFamily="34" charset="0"/>
              <a:cs typeface="Mukta ExtraLight" panose="020B0000000000000000" pitchFamily="34" charset="77"/>
            </a:endParaRPr>
          </a:p>
        </p:txBody>
      </p:sp>
    </p:spTree>
    <p:extLst>
      <p:ext uri="{BB962C8B-B14F-4D97-AF65-F5344CB8AC3E}">
        <p14:creationId xmlns:p14="http://schemas.microsoft.com/office/powerpoint/2010/main" val="11968203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a:extLst>
              <a:ext uri="{FF2B5EF4-FFF2-40B4-BE49-F238E27FC236}">
                <a16:creationId xmlns:a16="http://schemas.microsoft.com/office/drawing/2014/main" id="{97890AD2-465D-886F-02E9-EA68547DB678}"/>
              </a:ext>
            </a:extLst>
          </p:cNvPr>
          <p:cNvSpPr>
            <a:spLocks noGrp="1"/>
          </p:cNvSpPr>
          <p:nvPr>
            <p:ph type="title"/>
          </p:nvPr>
        </p:nvSpPr>
        <p:spPr>
          <a:xfrm>
            <a:off x="1920875" y="147638"/>
            <a:ext cx="8229600" cy="1143000"/>
          </a:xfrm>
        </p:spPr>
        <p:txBody>
          <a:bodyPr/>
          <a:lstStyle/>
          <a:p>
            <a:pPr algn="ctr" eaLnBrk="1" hangingPunct="1"/>
            <a:r>
              <a:rPr lang="en-US" altLang="en-US" sz="3600" b="1" dirty="0">
                <a:solidFill>
                  <a:srgbClr val="002060"/>
                </a:solidFill>
                <a:latin typeface="Poppins" panose="00000500000000000000" pitchFamily="2" charset="0"/>
                <a:cs typeface="Poppins" panose="00000500000000000000" pitchFamily="2" charset="0"/>
              </a:rPr>
              <a:t>        Programs vs Project</a:t>
            </a:r>
          </a:p>
        </p:txBody>
      </p:sp>
      <p:sp>
        <p:nvSpPr>
          <p:cNvPr id="31" name="Rectangle 30">
            <a:extLst>
              <a:ext uri="{FF2B5EF4-FFF2-40B4-BE49-F238E27FC236}">
                <a16:creationId xmlns:a16="http://schemas.microsoft.com/office/drawing/2014/main" id="{DEE90F16-0DA1-665F-DCC9-643B9A4E3F2B}"/>
              </a:ext>
            </a:extLst>
          </p:cNvPr>
          <p:cNvSpPr/>
          <p:nvPr/>
        </p:nvSpPr>
        <p:spPr>
          <a:xfrm>
            <a:off x="5585587" y="4607082"/>
            <a:ext cx="3071711" cy="1668002"/>
          </a:xfrm>
          <a:prstGeom prst="rect">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ndParaRPr>
          </a:p>
        </p:txBody>
      </p:sp>
      <p:sp>
        <p:nvSpPr>
          <p:cNvPr id="35" name="Rectangle 34">
            <a:extLst>
              <a:ext uri="{FF2B5EF4-FFF2-40B4-BE49-F238E27FC236}">
                <a16:creationId xmlns:a16="http://schemas.microsoft.com/office/drawing/2014/main" id="{A46E9ACA-125F-5507-7177-07FDCB4EC6B6}"/>
              </a:ext>
            </a:extLst>
          </p:cNvPr>
          <p:cNvSpPr/>
          <p:nvPr/>
        </p:nvSpPr>
        <p:spPr>
          <a:xfrm>
            <a:off x="2426561" y="4605338"/>
            <a:ext cx="3071711" cy="1668002"/>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ndParaRPr>
          </a:p>
        </p:txBody>
      </p:sp>
      <p:grpSp>
        <p:nvGrpSpPr>
          <p:cNvPr id="8198" name="Group 56">
            <a:extLst>
              <a:ext uri="{FF2B5EF4-FFF2-40B4-BE49-F238E27FC236}">
                <a16:creationId xmlns:a16="http://schemas.microsoft.com/office/drawing/2014/main" id="{5EB25ECB-DDFD-C959-FC4E-5C1326EB132F}"/>
              </a:ext>
            </a:extLst>
          </p:cNvPr>
          <p:cNvGrpSpPr>
            <a:grpSpLocks/>
          </p:cNvGrpSpPr>
          <p:nvPr/>
        </p:nvGrpSpPr>
        <p:grpSpPr bwMode="auto">
          <a:xfrm>
            <a:off x="2420209" y="1290638"/>
            <a:ext cx="6964952" cy="3314700"/>
            <a:chOff x="0" y="1295400"/>
            <a:chExt cx="4331244" cy="3062422"/>
          </a:xfrm>
        </p:grpSpPr>
        <p:sp>
          <p:nvSpPr>
            <p:cNvPr id="8209" name="Freeform 5">
              <a:extLst>
                <a:ext uri="{FF2B5EF4-FFF2-40B4-BE49-F238E27FC236}">
                  <a16:creationId xmlns:a16="http://schemas.microsoft.com/office/drawing/2014/main" id="{3F3D7617-F461-0AE6-4E29-17D769E46A91}"/>
                </a:ext>
              </a:extLst>
            </p:cNvPr>
            <p:cNvSpPr>
              <a:spLocks/>
            </p:cNvSpPr>
            <p:nvPr/>
          </p:nvSpPr>
          <p:spPr bwMode="auto">
            <a:xfrm>
              <a:off x="0" y="1295400"/>
              <a:ext cx="1910183" cy="3062422"/>
            </a:xfrm>
            <a:custGeom>
              <a:avLst/>
              <a:gdLst>
                <a:gd name="T0" fmla="*/ 2147483646 w 4016"/>
                <a:gd name="T1" fmla="*/ 2147483646 h 6400"/>
                <a:gd name="T2" fmla="*/ 0 w 4016"/>
                <a:gd name="T3" fmla="*/ 2147483646 h 6400"/>
                <a:gd name="T4" fmla="*/ 2147483646 w 4016"/>
                <a:gd name="T5" fmla="*/ 2147483646 h 6400"/>
                <a:gd name="T6" fmla="*/ 2147483646 w 4016"/>
                <a:gd name="T7" fmla="*/ 2147483646 h 6400"/>
                <a:gd name="T8" fmla="*/ 2147483646 w 4016"/>
                <a:gd name="T9" fmla="*/ 2147483646 h 6400"/>
                <a:gd name="T10" fmla="*/ 2147483646 w 4016"/>
                <a:gd name="T11" fmla="*/ 2147483646 h 6400"/>
                <a:gd name="T12" fmla="*/ 2147483646 w 4016"/>
                <a:gd name="T13" fmla="*/ 2147483646 h 6400"/>
                <a:gd name="T14" fmla="*/ 0 w 4016"/>
                <a:gd name="T15" fmla="*/ 2147483646 h 6400"/>
                <a:gd name="T16" fmla="*/ 2147483646 w 4016"/>
                <a:gd name="T17" fmla="*/ 2147483646 h 6400"/>
                <a:gd name="T18" fmla="*/ 2147483646 w 4016"/>
                <a:gd name="T19" fmla="*/ 2147483646 h 6400"/>
                <a:gd name="T20" fmla="*/ 2147483646 w 4016"/>
                <a:gd name="T21" fmla="*/ 2147483646 h 6400"/>
                <a:gd name="T22" fmla="*/ 2147483646 w 4016"/>
                <a:gd name="T23" fmla="*/ 2147483646 h 6400"/>
                <a:gd name="T24" fmla="*/ 2147483646 w 4016"/>
                <a:gd name="T25" fmla="*/ 2147483646 h 6400"/>
                <a:gd name="T26" fmla="*/ 2147483646 w 4016"/>
                <a:gd name="T27" fmla="*/ 2147483646 h 6400"/>
                <a:gd name="T28" fmla="*/ 2147483646 w 4016"/>
                <a:gd name="T29" fmla="*/ 2147483646 h 6400"/>
                <a:gd name="T30" fmla="*/ 2147483646 w 4016"/>
                <a:gd name="T31" fmla="*/ 2147483646 h 6400"/>
                <a:gd name="T32" fmla="*/ 2147483646 w 4016"/>
                <a:gd name="T33" fmla="*/ 2147483646 h 6400"/>
                <a:gd name="T34" fmla="*/ 2147483646 w 4016"/>
                <a:gd name="T35" fmla="*/ 2147483646 h 6400"/>
                <a:gd name="T36" fmla="*/ 2147483646 w 4016"/>
                <a:gd name="T37" fmla="*/ 2147483646 h 6400"/>
                <a:gd name="T38" fmla="*/ 2147483646 w 4016"/>
                <a:gd name="T39" fmla="*/ 2147483646 h 6400"/>
                <a:gd name="T40" fmla="*/ 2147483646 w 4016"/>
                <a:gd name="T41" fmla="*/ 2147483646 h 6400"/>
                <a:gd name="T42" fmla="*/ 2147483646 w 4016"/>
                <a:gd name="T43" fmla="*/ 2147483646 h 6400"/>
                <a:gd name="T44" fmla="*/ 2147483646 w 4016"/>
                <a:gd name="T45" fmla="*/ 2147483646 h 6400"/>
                <a:gd name="T46" fmla="*/ 2147483646 w 4016"/>
                <a:gd name="T47" fmla="*/ 2147483646 h 6400"/>
                <a:gd name="T48" fmla="*/ 2147483646 w 4016"/>
                <a:gd name="T49" fmla="*/ 2147483646 h 6400"/>
                <a:gd name="T50" fmla="*/ 2147483646 w 4016"/>
                <a:gd name="T51" fmla="*/ 2147483646 h 6400"/>
                <a:gd name="T52" fmla="*/ 2147483646 w 4016"/>
                <a:gd name="T53" fmla="*/ 2147483646 h 6400"/>
                <a:gd name="T54" fmla="*/ 2147483646 w 4016"/>
                <a:gd name="T55" fmla="*/ 2147483646 h 6400"/>
                <a:gd name="T56" fmla="*/ 2147483646 w 4016"/>
                <a:gd name="T57" fmla="*/ 2147483646 h 6400"/>
                <a:gd name="T58" fmla="*/ 2147483646 w 4016"/>
                <a:gd name="T59" fmla="*/ 2147483646 h 6400"/>
                <a:gd name="T60" fmla="*/ 2147483646 w 4016"/>
                <a:gd name="T61" fmla="*/ 2147483646 h 6400"/>
                <a:gd name="T62" fmla="*/ 2147483646 w 4016"/>
                <a:gd name="T63" fmla="*/ 2147483646 h 640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4016" h="6400">
                  <a:moveTo>
                    <a:pt x="493" y="5450"/>
                  </a:moveTo>
                  <a:cubicBezTo>
                    <a:pt x="338" y="5450"/>
                    <a:pt x="183" y="5450"/>
                    <a:pt x="27" y="5450"/>
                  </a:cubicBezTo>
                  <a:cubicBezTo>
                    <a:pt x="0" y="5450"/>
                    <a:pt x="0" y="5450"/>
                    <a:pt x="0" y="5422"/>
                  </a:cubicBezTo>
                  <a:cubicBezTo>
                    <a:pt x="0" y="5120"/>
                    <a:pt x="0" y="3898"/>
                    <a:pt x="0" y="3596"/>
                  </a:cubicBezTo>
                  <a:cubicBezTo>
                    <a:pt x="0" y="3558"/>
                    <a:pt x="19" y="3529"/>
                    <a:pt x="53" y="3515"/>
                  </a:cubicBezTo>
                  <a:cubicBezTo>
                    <a:pt x="85" y="3502"/>
                    <a:pt x="116" y="3510"/>
                    <a:pt x="144" y="3537"/>
                  </a:cubicBezTo>
                  <a:cubicBezTo>
                    <a:pt x="241" y="3628"/>
                    <a:pt x="355" y="3674"/>
                    <a:pt x="489" y="3671"/>
                  </a:cubicBezTo>
                  <a:cubicBezTo>
                    <a:pt x="566" y="3669"/>
                    <a:pt x="638" y="3649"/>
                    <a:pt x="704" y="3612"/>
                  </a:cubicBezTo>
                  <a:cubicBezTo>
                    <a:pt x="767" y="3577"/>
                    <a:pt x="819" y="3530"/>
                    <a:pt x="861" y="3471"/>
                  </a:cubicBezTo>
                  <a:cubicBezTo>
                    <a:pt x="921" y="3384"/>
                    <a:pt x="949" y="3288"/>
                    <a:pt x="945" y="3183"/>
                  </a:cubicBezTo>
                  <a:cubicBezTo>
                    <a:pt x="940" y="3063"/>
                    <a:pt x="896" y="2960"/>
                    <a:pt x="813" y="2873"/>
                  </a:cubicBezTo>
                  <a:cubicBezTo>
                    <a:pt x="700" y="2757"/>
                    <a:pt x="561" y="2715"/>
                    <a:pt x="404" y="2734"/>
                  </a:cubicBezTo>
                  <a:cubicBezTo>
                    <a:pt x="303" y="2747"/>
                    <a:pt x="216" y="2793"/>
                    <a:pt x="143" y="2865"/>
                  </a:cubicBezTo>
                  <a:cubicBezTo>
                    <a:pt x="119" y="2888"/>
                    <a:pt x="85" y="2898"/>
                    <a:pt x="58" y="2888"/>
                  </a:cubicBezTo>
                  <a:cubicBezTo>
                    <a:pt x="21" y="2874"/>
                    <a:pt x="0" y="2845"/>
                    <a:pt x="0" y="2808"/>
                  </a:cubicBezTo>
                  <a:cubicBezTo>
                    <a:pt x="0" y="2623"/>
                    <a:pt x="0" y="2438"/>
                    <a:pt x="0" y="2254"/>
                  </a:cubicBezTo>
                  <a:cubicBezTo>
                    <a:pt x="0" y="2136"/>
                    <a:pt x="0" y="1098"/>
                    <a:pt x="0" y="980"/>
                  </a:cubicBezTo>
                  <a:cubicBezTo>
                    <a:pt x="0" y="951"/>
                    <a:pt x="0" y="951"/>
                    <a:pt x="29" y="951"/>
                  </a:cubicBezTo>
                  <a:cubicBezTo>
                    <a:pt x="327" y="951"/>
                    <a:pt x="1305" y="951"/>
                    <a:pt x="1603" y="951"/>
                  </a:cubicBezTo>
                  <a:cubicBezTo>
                    <a:pt x="1637" y="951"/>
                    <a:pt x="1670" y="948"/>
                    <a:pt x="1702" y="933"/>
                  </a:cubicBezTo>
                  <a:cubicBezTo>
                    <a:pt x="1786" y="894"/>
                    <a:pt x="1832" y="790"/>
                    <a:pt x="1802" y="702"/>
                  </a:cubicBezTo>
                  <a:cubicBezTo>
                    <a:pt x="1791" y="669"/>
                    <a:pt x="1773" y="641"/>
                    <a:pt x="1750" y="615"/>
                  </a:cubicBezTo>
                  <a:cubicBezTo>
                    <a:pt x="1656" y="512"/>
                    <a:pt x="1626" y="393"/>
                    <a:pt x="1667" y="259"/>
                  </a:cubicBezTo>
                  <a:cubicBezTo>
                    <a:pt x="1707" y="127"/>
                    <a:pt x="1800" y="56"/>
                    <a:pt x="1932" y="28"/>
                  </a:cubicBezTo>
                  <a:cubicBezTo>
                    <a:pt x="2058" y="0"/>
                    <a:pt x="2174" y="20"/>
                    <a:pt x="2266" y="117"/>
                  </a:cubicBezTo>
                  <a:cubicBezTo>
                    <a:pt x="2356" y="213"/>
                    <a:pt x="2387" y="326"/>
                    <a:pt x="2356" y="455"/>
                  </a:cubicBezTo>
                  <a:cubicBezTo>
                    <a:pt x="2340" y="521"/>
                    <a:pt x="2306" y="576"/>
                    <a:pt x="2259" y="624"/>
                  </a:cubicBezTo>
                  <a:cubicBezTo>
                    <a:pt x="2163" y="724"/>
                    <a:pt x="2199" y="901"/>
                    <a:pt x="2348" y="946"/>
                  </a:cubicBezTo>
                  <a:cubicBezTo>
                    <a:pt x="2369" y="952"/>
                    <a:pt x="2392" y="951"/>
                    <a:pt x="2414" y="951"/>
                  </a:cubicBezTo>
                  <a:cubicBezTo>
                    <a:pt x="2711" y="952"/>
                    <a:pt x="3688" y="952"/>
                    <a:pt x="3986" y="952"/>
                  </a:cubicBezTo>
                  <a:cubicBezTo>
                    <a:pt x="4016" y="952"/>
                    <a:pt x="4016" y="952"/>
                    <a:pt x="4016" y="983"/>
                  </a:cubicBezTo>
                  <a:cubicBezTo>
                    <a:pt x="4016" y="1281"/>
                    <a:pt x="4016" y="2499"/>
                    <a:pt x="4016" y="2797"/>
                  </a:cubicBezTo>
                  <a:cubicBezTo>
                    <a:pt x="4016" y="2845"/>
                    <a:pt x="3999" y="2871"/>
                    <a:pt x="3959" y="2887"/>
                  </a:cubicBezTo>
                  <a:cubicBezTo>
                    <a:pt x="3928" y="2899"/>
                    <a:pt x="3901" y="2890"/>
                    <a:pt x="3880" y="2869"/>
                  </a:cubicBezTo>
                  <a:cubicBezTo>
                    <a:pt x="3826" y="2818"/>
                    <a:pt x="3766" y="2777"/>
                    <a:pt x="3696" y="2754"/>
                  </a:cubicBezTo>
                  <a:cubicBezTo>
                    <a:pt x="3605" y="2723"/>
                    <a:pt x="3512" y="2721"/>
                    <a:pt x="3419" y="2746"/>
                  </a:cubicBezTo>
                  <a:cubicBezTo>
                    <a:pt x="3333" y="2768"/>
                    <a:pt x="3260" y="2813"/>
                    <a:pt x="3200" y="2877"/>
                  </a:cubicBezTo>
                  <a:cubicBezTo>
                    <a:pt x="3141" y="2939"/>
                    <a:pt x="3102" y="3013"/>
                    <a:pt x="3083" y="3097"/>
                  </a:cubicBezTo>
                  <a:cubicBezTo>
                    <a:pt x="3063" y="3184"/>
                    <a:pt x="3068" y="3268"/>
                    <a:pt x="3096" y="3351"/>
                  </a:cubicBezTo>
                  <a:cubicBezTo>
                    <a:pt x="3134" y="3463"/>
                    <a:pt x="3205" y="3549"/>
                    <a:pt x="3307" y="3609"/>
                  </a:cubicBezTo>
                  <a:cubicBezTo>
                    <a:pt x="3382" y="3654"/>
                    <a:pt x="3465" y="3673"/>
                    <a:pt x="3553" y="3672"/>
                  </a:cubicBezTo>
                  <a:cubicBezTo>
                    <a:pt x="3632" y="3670"/>
                    <a:pt x="3706" y="3652"/>
                    <a:pt x="3774" y="3612"/>
                  </a:cubicBezTo>
                  <a:cubicBezTo>
                    <a:pt x="3810" y="3590"/>
                    <a:pt x="3843" y="3561"/>
                    <a:pt x="3876" y="3534"/>
                  </a:cubicBezTo>
                  <a:cubicBezTo>
                    <a:pt x="3899" y="3517"/>
                    <a:pt x="3922" y="3504"/>
                    <a:pt x="3951" y="3512"/>
                  </a:cubicBezTo>
                  <a:cubicBezTo>
                    <a:pt x="3984" y="3521"/>
                    <a:pt x="4007" y="3540"/>
                    <a:pt x="4014" y="3576"/>
                  </a:cubicBezTo>
                  <a:cubicBezTo>
                    <a:pt x="4016" y="3586"/>
                    <a:pt x="4016" y="3597"/>
                    <a:pt x="4016" y="3608"/>
                  </a:cubicBezTo>
                  <a:cubicBezTo>
                    <a:pt x="4016" y="3905"/>
                    <a:pt x="4016" y="5122"/>
                    <a:pt x="4016" y="5420"/>
                  </a:cubicBezTo>
                  <a:cubicBezTo>
                    <a:pt x="4016" y="5449"/>
                    <a:pt x="4016" y="5449"/>
                    <a:pt x="3986" y="5449"/>
                  </a:cubicBezTo>
                  <a:cubicBezTo>
                    <a:pt x="3694" y="5449"/>
                    <a:pt x="2721" y="5448"/>
                    <a:pt x="2428" y="5448"/>
                  </a:cubicBezTo>
                  <a:cubicBezTo>
                    <a:pt x="2394" y="5448"/>
                    <a:pt x="2357" y="5449"/>
                    <a:pt x="2326" y="5462"/>
                  </a:cubicBezTo>
                  <a:cubicBezTo>
                    <a:pt x="2261" y="5489"/>
                    <a:pt x="2220" y="5541"/>
                    <a:pt x="2208" y="5614"/>
                  </a:cubicBezTo>
                  <a:cubicBezTo>
                    <a:pt x="2200" y="5666"/>
                    <a:pt x="2213" y="5715"/>
                    <a:pt x="2241" y="5758"/>
                  </a:cubicBezTo>
                  <a:cubicBezTo>
                    <a:pt x="2253" y="5777"/>
                    <a:pt x="2273" y="5791"/>
                    <a:pt x="2287" y="5809"/>
                  </a:cubicBezTo>
                  <a:cubicBezTo>
                    <a:pt x="2359" y="5902"/>
                    <a:pt x="2385" y="6005"/>
                    <a:pt x="2357" y="6121"/>
                  </a:cubicBezTo>
                  <a:cubicBezTo>
                    <a:pt x="2338" y="6197"/>
                    <a:pt x="2299" y="6260"/>
                    <a:pt x="2240" y="6310"/>
                  </a:cubicBezTo>
                  <a:cubicBezTo>
                    <a:pt x="2164" y="6374"/>
                    <a:pt x="2075" y="6400"/>
                    <a:pt x="1976" y="6392"/>
                  </a:cubicBezTo>
                  <a:cubicBezTo>
                    <a:pt x="1875" y="6383"/>
                    <a:pt x="1794" y="6337"/>
                    <a:pt x="1728" y="6261"/>
                  </a:cubicBezTo>
                  <a:cubicBezTo>
                    <a:pt x="1646" y="6165"/>
                    <a:pt x="1630" y="6056"/>
                    <a:pt x="1663" y="5937"/>
                  </a:cubicBezTo>
                  <a:cubicBezTo>
                    <a:pt x="1680" y="5876"/>
                    <a:pt x="1712" y="5825"/>
                    <a:pt x="1755" y="5779"/>
                  </a:cubicBezTo>
                  <a:cubicBezTo>
                    <a:pt x="1824" y="5707"/>
                    <a:pt x="1833" y="5610"/>
                    <a:pt x="1775" y="5529"/>
                  </a:cubicBezTo>
                  <a:cubicBezTo>
                    <a:pt x="1741" y="5483"/>
                    <a:pt x="1695" y="5452"/>
                    <a:pt x="1635" y="5451"/>
                  </a:cubicBezTo>
                  <a:cubicBezTo>
                    <a:pt x="1487" y="5450"/>
                    <a:pt x="658" y="5450"/>
                    <a:pt x="509" y="5450"/>
                  </a:cubicBezTo>
                  <a:cubicBezTo>
                    <a:pt x="504" y="5450"/>
                    <a:pt x="499" y="5450"/>
                    <a:pt x="493" y="5450"/>
                  </a:cubicBezTo>
                  <a:cubicBezTo>
                    <a:pt x="493" y="5450"/>
                    <a:pt x="493" y="5450"/>
                    <a:pt x="493" y="545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210" name="Freeform 6">
              <a:extLst>
                <a:ext uri="{FF2B5EF4-FFF2-40B4-BE49-F238E27FC236}">
                  <a16:creationId xmlns:a16="http://schemas.microsoft.com/office/drawing/2014/main" id="{58DDAB04-4D4C-4AE9-A106-8A2D5C9EDC8C}"/>
                </a:ext>
              </a:extLst>
            </p:cNvPr>
            <p:cNvSpPr>
              <a:spLocks/>
            </p:cNvSpPr>
            <p:nvPr/>
          </p:nvSpPr>
          <p:spPr bwMode="auto">
            <a:xfrm>
              <a:off x="1505970" y="1749433"/>
              <a:ext cx="2825274" cy="2154358"/>
            </a:xfrm>
            <a:custGeom>
              <a:avLst/>
              <a:gdLst>
                <a:gd name="T0" fmla="*/ 2147483646 w 5936"/>
                <a:gd name="T1" fmla="*/ 2147483646 h 4502"/>
                <a:gd name="T2" fmla="*/ 2147483646 w 5936"/>
                <a:gd name="T3" fmla="*/ 2147483646 h 4502"/>
                <a:gd name="T4" fmla="*/ 2147483646 w 5936"/>
                <a:gd name="T5" fmla="*/ 2147483646 h 4502"/>
                <a:gd name="T6" fmla="*/ 2147483646 w 5936"/>
                <a:gd name="T7" fmla="*/ 2147483646 h 4502"/>
                <a:gd name="T8" fmla="*/ 2147483646 w 5936"/>
                <a:gd name="T9" fmla="*/ 2147483646 h 4502"/>
                <a:gd name="T10" fmla="*/ 2147483646 w 5936"/>
                <a:gd name="T11" fmla="*/ 2147483646 h 4502"/>
                <a:gd name="T12" fmla="*/ 2147483646 w 5936"/>
                <a:gd name="T13" fmla="*/ 2147483646 h 4502"/>
                <a:gd name="T14" fmla="*/ 2147483646 w 5936"/>
                <a:gd name="T15" fmla="*/ 2147483646 h 4502"/>
                <a:gd name="T16" fmla="*/ 2147483646 w 5936"/>
                <a:gd name="T17" fmla="*/ 2147483646 h 4502"/>
                <a:gd name="T18" fmla="*/ 2147483646 w 5936"/>
                <a:gd name="T19" fmla="*/ 2147483646 h 4502"/>
                <a:gd name="T20" fmla="*/ 2147483646 w 5936"/>
                <a:gd name="T21" fmla="*/ 2147483646 h 4502"/>
                <a:gd name="T22" fmla="*/ 2147483646 w 5936"/>
                <a:gd name="T23" fmla="*/ 2147483646 h 4502"/>
                <a:gd name="T24" fmla="*/ 2147483646 w 5936"/>
                <a:gd name="T25" fmla="*/ 2147483646 h 4502"/>
                <a:gd name="T26" fmla="*/ 2147483646 w 5936"/>
                <a:gd name="T27" fmla="*/ 2147483646 h 4502"/>
                <a:gd name="T28" fmla="*/ 2147483646 w 5936"/>
                <a:gd name="T29" fmla="*/ 2147483646 h 4502"/>
                <a:gd name="T30" fmla="*/ 2147483646 w 5936"/>
                <a:gd name="T31" fmla="*/ 2147483646 h 4502"/>
                <a:gd name="T32" fmla="*/ 2147483646 w 5936"/>
                <a:gd name="T33" fmla="*/ 2147483646 h 4502"/>
                <a:gd name="T34" fmla="*/ 2147483646 w 5936"/>
                <a:gd name="T35" fmla="*/ 2147483646 h 4502"/>
                <a:gd name="T36" fmla="*/ 2147483646 w 5936"/>
                <a:gd name="T37" fmla="*/ 2147483646 h 4502"/>
                <a:gd name="T38" fmla="*/ 2147483646 w 5936"/>
                <a:gd name="T39" fmla="*/ 2147483646 h 4502"/>
                <a:gd name="T40" fmla="*/ 2147483646 w 5936"/>
                <a:gd name="T41" fmla="*/ 2147483646 h 4502"/>
                <a:gd name="T42" fmla="*/ 2147483646 w 5936"/>
                <a:gd name="T43" fmla="*/ 2147483646 h 4502"/>
                <a:gd name="T44" fmla="*/ 2147483646 w 5936"/>
                <a:gd name="T45" fmla="*/ 2147483646 h 4502"/>
                <a:gd name="T46" fmla="*/ 2147483646 w 5936"/>
                <a:gd name="T47" fmla="*/ 2147483646 h 4502"/>
                <a:gd name="T48" fmla="*/ 2147483646 w 5936"/>
                <a:gd name="T49" fmla="*/ 2147483646 h 4502"/>
                <a:gd name="T50" fmla="*/ 2147483646 w 5936"/>
                <a:gd name="T51" fmla="*/ 2147483646 h 4502"/>
                <a:gd name="T52" fmla="*/ 2147483646 w 5936"/>
                <a:gd name="T53" fmla="*/ 2147483646 h 4502"/>
                <a:gd name="T54" fmla="*/ 2147483646 w 5936"/>
                <a:gd name="T55" fmla="*/ 2147483646 h 4502"/>
                <a:gd name="T56" fmla="*/ 2147483646 w 5936"/>
                <a:gd name="T57" fmla="*/ 2147483646 h 4502"/>
                <a:gd name="T58" fmla="*/ 2147483646 w 5936"/>
                <a:gd name="T59" fmla="*/ 2147483646 h 4502"/>
                <a:gd name="T60" fmla="*/ 2147483646 w 5936"/>
                <a:gd name="T61" fmla="*/ 2147483646 h 4502"/>
                <a:gd name="T62" fmla="*/ 2147483646 w 5936"/>
                <a:gd name="T63" fmla="*/ 2147483646 h 4502"/>
                <a:gd name="T64" fmla="*/ 2147483646 w 5936"/>
                <a:gd name="T65" fmla="*/ 2147483646 h 450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5936" h="4502">
                  <a:moveTo>
                    <a:pt x="963" y="488"/>
                  </a:moveTo>
                  <a:cubicBezTo>
                    <a:pt x="963" y="335"/>
                    <a:pt x="963" y="183"/>
                    <a:pt x="963" y="30"/>
                  </a:cubicBezTo>
                  <a:cubicBezTo>
                    <a:pt x="962" y="11"/>
                    <a:pt x="967" y="3"/>
                    <a:pt x="988" y="3"/>
                  </a:cubicBezTo>
                  <a:cubicBezTo>
                    <a:pt x="1288" y="4"/>
                    <a:pt x="2269" y="4"/>
                    <a:pt x="2570" y="4"/>
                  </a:cubicBezTo>
                  <a:cubicBezTo>
                    <a:pt x="2638" y="4"/>
                    <a:pt x="2677" y="59"/>
                    <a:pt x="2652" y="121"/>
                  </a:cubicBezTo>
                  <a:cubicBezTo>
                    <a:pt x="2647" y="135"/>
                    <a:pt x="2635" y="146"/>
                    <a:pt x="2625" y="157"/>
                  </a:cubicBezTo>
                  <a:cubicBezTo>
                    <a:pt x="2561" y="228"/>
                    <a:pt x="2520" y="309"/>
                    <a:pt x="2505" y="404"/>
                  </a:cubicBezTo>
                  <a:cubicBezTo>
                    <a:pt x="2490" y="492"/>
                    <a:pt x="2500" y="576"/>
                    <a:pt x="2534" y="658"/>
                  </a:cubicBezTo>
                  <a:cubicBezTo>
                    <a:pt x="2576" y="762"/>
                    <a:pt x="2648" y="841"/>
                    <a:pt x="2747" y="894"/>
                  </a:cubicBezTo>
                  <a:cubicBezTo>
                    <a:pt x="2847" y="947"/>
                    <a:pt x="2953" y="964"/>
                    <a:pt x="3066" y="940"/>
                  </a:cubicBezTo>
                  <a:cubicBezTo>
                    <a:pt x="3150" y="922"/>
                    <a:pt x="3224" y="885"/>
                    <a:pt x="3287" y="827"/>
                  </a:cubicBezTo>
                  <a:cubicBezTo>
                    <a:pt x="3358" y="762"/>
                    <a:pt x="3406" y="683"/>
                    <a:pt x="3428" y="588"/>
                  </a:cubicBezTo>
                  <a:cubicBezTo>
                    <a:pt x="3442" y="529"/>
                    <a:pt x="3446" y="471"/>
                    <a:pt x="3437" y="411"/>
                  </a:cubicBezTo>
                  <a:cubicBezTo>
                    <a:pt x="3422" y="310"/>
                    <a:pt x="3379" y="222"/>
                    <a:pt x="3308" y="150"/>
                  </a:cubicBezTo>
                  <a:cubicBezTo>
                    <a:pt x="3281" y="122"/>
                    <a:pt x="3275" y="92"/>
                    <a:pt x="3284" y="58"/>
                  </a:cubicBezTo>
                  <a:cubicBezTo>
                    <a:pt x="3293" y="27"/>
                    <a:pt x="3331" y="2"/>
                    <a:pt x="3369" y="1"/>
                  </a:cubicBezTo>
                  <a:cubicBezTo>
                    <a:pt x="3405" y="0"/>
                    <a:pt x="3442" y="1"/>
                    <a:pt x="3479" y="1"/>
                  </a:cubicBezTo>
                  <a:cubicBezTo>
                    <a:pt x="3557" y="1"/>
                    <a:pt x="3636" y="1"/>
                    <a:pt x="3715" y="1"/>
                  </a:cubicBezTo>
                  <a:cubicBezTo>
                    <a:pt x="3885" y="1"/>
                    <a:pt x="4735" y="1"/>
                    <a:pt x="4905" y="1"/>
                  </a:cubicBezTo>
                  <a:cubicBezTo>
                    <a:pt x="4923" y="1"/>
                    <a:pt x="4940" y="3"/>
                    <a:pt x="4958" y="3"/>
                  </a:cubicBezTo>
                  <a:cubicBezTo>
                    <a:pt x="4973" y="3"/>
                    <a:pt x="4979" y="9"/>
                    <a:pt x="4978" y="24"/>
                  </a:cubicBezTo>
                  <a:cubicBezTo>
                    <a:pt x="4977" y="34"/>
                    <a:pt x="4978" y="44"/>
                    <a:pt x="4978" y="54"/>
                  </a:cubicBezTo>
                  <a:cubicBezTo>
                    <a:pt x="4978" y="345"/>
                    <a:pt x="4978" y="1556"/>
                    <a:pt x="4978" y="1848"/>
                  </a:cubicBezTo>
                  <a:cubicBezTo>
                    <a:pt x="4977" y="1911"/>
                    <a:pt x="4998" y="1964"/>
                    <a:pt x="5045" y="2008"/>
                  </a:cubicBezTo>
                  <a:cubicBezTo>
                    <a:pt x="5093" y="2053"/>
                    <a:pt x="5183" y="2071"/>
                    <a:pt x="5243" y="2041"/>
                  </a:cubicBezTo>
                  <a:cubicBezTo>
                    <a:pt x="5269" y="2028"/>
                    <a:pt x="5295" y="2010"/>
                    <a:pt x="5317" y="1990"/>
                  </a:cubicBezTo>
                  <a:cubicBezTo>
                    <a:pt x="5418" y="1904"/>
                    <a:pt x="5530" y="1871"/>
                    <a:pt x="5660" y="1907"/>
                  </a:cubicBezTo>
                  <a:cubicBezTo>
                    <a:pt x="5760" y="1934"/>
                    <a:pt x="5835" y="1995"/>
                    <a:pt x="5883" y="2086"/>
                  </a:cubicBezTo>
                  <a:cubicBezTo>
                    <a:pt x="5926" y="2169"/>
                    <a:pt x="5936" y="2258"/>
                    <a:pt x="5910" y="2349"/>
                  </a:cubicBezTo>
                  <a:cubicBezTo>
                    <a:pt x="5886" y="2436"/>
                    <a:pt x="5836" y="2505"/>
                    <a:pt x="5761" y="2554"/>
                  </a:cubicBezTo>
                  <a:cubicBezTo>
                    <a:pt x="5671" y="2611"/>
                    <a:pt x="5574" y="2627"/>
                    <a:pt x="5470" y="2599"/>
                  </a:cubicBezTo>
                  <a:cubicBezTo>
                    <a:pt x="5403" y="2581"/>
                    <a:pt x="5349" y="2542"/>
                    <a:pt x="5298" y="2496"/>
                  </a:cubicBezTo>
                  <a:cubicBezTo>
                    <a:pt x="5240" y="2446"/>
                    <a:pt x="5172" y="2434"/>
                    <a:pt x="5100" y="2464"/>
                  </a:cubicBezTo>
                  <a:cubicBezTo>
                    <a:pt x="5019" y="2498"/>
                    <a:pt x="4979" y="2562"/>
                    <a:pt x="4978" y="2648"/>
                  </a:cubicBezTo>
                  <a:cubicBezTo>
                    <a:pt x="4977" y="2950"/>
                    <a:pt x="4978" y="4172"/>
                    <a:pt x="4978" y="4474"/>
                  </a:cubicBezTo>
                  <a:cubicBezTo>
                    <a:pt x="4978" y="4502"/>
                    <a:pt x="4978" y="4502"/>
                    <a:pt x="4950" y="4501"/>
                  </a:cubicBezTo>
                  <a:cubicBezTo>
                    <a:pt x="4651" y="4501"/>
                    <a:pt x="3672" y="4501"/>
                    <a:pt x="3372" y="4501"/>
                  </a:cubicBezTo>
                  <a:cubicBezTo>
                    <a:pt x="3344" y="4501"/>
                    <a:pt x="3318" y="4494"/>
                    <a:pt x="3299" y="4471"/>
                  </a:cubicBezTo>
                  <a:cubicBezTo>
                    <a:pt x="3272" y="4438"/>
                    <a:pt x="3274" y="4390"/>
                    <a:pt x="3304" y="4359"/>
                  </a:cubicBezTo>
                  <a:cubicBezTo>
                    <a:pt x="3360" y="4303"/>
                    <a:pt x="3401" y="4237"/>
                    <a:pt x="3423" y="4161"/>
                  </a:cubicBezTo>
                  <a:cubicBezTo>
                    <a:pt x="3445" y="4083"/>
                    <a:pt x="3449" y="4003"/>
                    <a:pt x="3430" y="3922"/>
                  </a:cubicBezTo>
                  <a:cubicBezTo>
                    <a:pt x="3408" y="3830"/>
                    <a:pt x="3364" y="3752"/>
                    <a:pt x="3297" y="3687"/>
                  </a:cubicBezTo>
                  <a:cubicBezTo>
                    <a:pt x="3233" y="3625"/>
                    <a:pt x="3157" y="3585"/>
                    <a:pt x="3069" y="3566"/>
                  </a:cubicBezTo>
                  <a:cubicBezTo>
                    <a:pt x="2988" y="3549"/>
                    <a:pt x="2908" y="3552"/>
                    <a:pt x="2829" y="3576"/>
                  </a:cubicBezTo>
                  <a:cubicBezTo>
                    <a:pt x="2737" y="3604"/>
                    <a:pt x="2661" y="3657"/>
                    <a:pt x="2602" y="3732"/>
                  </a:cubicBezTo>
                  <a:cubicBezTo>
                    <a:pt x="2518" y="3838"/>
                    <a:pt x="2484" y="3960"/>
                    <a:pt x="2504" y="4096"/>
                  </a:cubicBezTo>
                  <a:cubicBezTo>
                    <a:pt x="2519" y="4198"/>
                    <a:pt x="2564" y="4284"/>
                    <a:pt x="2635" y="4359"/>
                  </a:cubicBezTo>
                  <a:cubicBezTo>
                    <a:pt x="2661" y="4387"/>
                    <a:pt x="2667" y="4419"/>
                    <a:pt x="2652" y="4454"/>
                  </a:cubicBezTo>
                  <a:cubicBezTo>
                    <a:pt x="2637" y="4486"/>
                    <a:pt x="2609" y="4501"/>
                    <a:pt x="2575" y="4502"/>
                  </a:cubicBezTo>
                  <a:cubicBezTo>
                    <a:pt x="2378" y="4502"/>
                    <a:pt x="2180" y="4502"/>
                    <a:pt x="1983" y="4501"/>
                  </a:cubicBezTo>
                  <a:cubicBezTo>
                    <a:pt x="1878" y="4501"/>
                    <a:pt x="1092" y="4500"/>
                    <a:pt x="987" y="4501"/>
                  </a:cubicBezTo>
                  <a:cubicBezTo>
                    <a:pt x="967" y="4502"/>
                    <a:pt x="963" y="4495"/>
                    <a:pt x="963" y="4477"/>
                  </a:cubicBezTo>
                  <a:cubicBezTo>
                    <a:pt x="963" y="4175"/>
                    <a:pt x="963" y="2954"/>
                    <a:pt x="963" y="2653"/>
                  </a:cubicBezTo>
                  <a:cubicBezTo>
                    <a:pt x="963" y="2577"/>
                    <a:pt x="932" y="2517"/>
                    <a:pt x="869" y="2477"/>
                  </a:cubicBezTo>
                  <a:cubicBezTo>
                    <a:pt x="796" y="2432"/>
                    <a:pt x="701" y="2439"/>
                    <a:pt x="638" y="2499"/>
                  </a:cubicBezTo>
                  <a:cubicBezTo>
                    <a:pt x="559" y="2576"/>
                    <a:pt x="465" y="2618"/>
                    <a:pt x="354" y="2611"/>
                  </a:cubicBezTo>
                  <a:cubicBezTo>
                    <a:pt x="251" y="2604"/>
                    <a:pt x="165" y="2560"/>
                    <a:pt x="99" y="2480"/>
                  </a:cubicBezTo>
                  <a:cubicBezTo>
                    <a:pt x="20" y="2384"/>
                    <a:pt x="0" y="2273"/>
                    <a:pt x="31" y="2154"/>
                  </a:cubicBezTo>
                  <a:cubicBezTo>
                    <a:pt x="52" y="2075"/>
                    <a:pt x="98" y="2011"/>
                    <a:pt x="165" y="1962"/>
                  </a:cubicBezTo>
                  <a:cubicBezTo>
                    <a:pt x="233" y="1914"/>
                    <a:pt x="308" y="1890"/>
                    <a:pt x="390" y="1894"/>
                  </a:cubicBezTo>
                  <a:cubicBezTo>
                    <a:pt x="470" y="1897"/>
                    <a:pt x="543" y="1924"/>
                    <a:pt x="605" y="1977"/>
                  </a:cubicBezTo>
                  <a:cubicBezTo>
                    <a:pt x="639" y="2006"/>
                    <a:pt x="670" y="2038"/>
                    <a:pt x="715" y="2049"/>
                  </a:cubicBezTo>
                  <a:cubicBezTo>
                    <a:pt x="814" y="2075"/>
                    <a:pt x="912" y="2023"/>
                    <a:pt x="948" y="1933"/>
                  </a:cubicBezTo>
                  <a:cubicBezTo>
                    <a:pt x="960" y="1903"/>
                    <a:pt x="963" y="1872"/>
                    <a:pt x="963" y="1840"/>
                  </a:cubicBezTo>
                  <a:cubicBezTo>
                    <a:pt x="963" y="1696"/>
                    <a:pt x="963" y="632"/>
                    <a:pt x="963" y="488"/>
                  </a:cubicBezTo>
                  <a:cubicBezTo>
                    <a:pt x="963" y="488"/>
                    <a:pt x="963" y="488"/>
                    <a:pt x="963" y="488"/>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8199" name="TextBox 41">
            <a:extLst>
              <a:ext uri="{FF2B5EF4-FFF2-40B4-BE49-F238E27FC236}">
                <a16:creationId xmlns:a16="http://schemas.microsoft.com/office/drawing/2014/main" id="{0FB74193-158C-4B2B-4703-229D5110CB4A}"/>
              </a:ext>
            </a:extLst>
          </p:cNvPr>
          <p:cNvSpPr txBox="1">
            <a:spLocks noChangeArrowheads="1"/>
          </p:cNvSpPr>
          <p:nvPr/>
        </p:nvSpPr>
        <p:spPr bwMode="auto">
          <a:xfrm>
            <a:off x="3157856" y="2749808"/>
            <a:ext cx="1590675"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US" altLang="en-US" sz="2400" b="1" dirty="0">
                <a:solidFill>
                  <a:srgbClr val="FFFFFF"/>
                </a:solidFill>
                <a:latin typeface="Open Sans" panose="020B0606030504020204" pitchFamily="34" charset="0"/>
              </a:rPr>
              <a:t>Program</a:t>
            </a:r>
            <a:endParaRPr lang="en-GB" altLang="en-US" sz="2400" b="1" dirty="0">
              <a:solidFill>
                <a:srgbClr val="FFFFFF"/>
              </a:solidFill>
              <a:latin typeface="Noto Sans" panose="020B0502040504020204" pitchFamily="34" charset="0"/>
              <a:ea typeface="Noto Sans" panose="020B0502040504020204" pitchFamily="34" charset="0"/>
              <a:cs typeface="Noto Sans" panose="020B0502040504020204" pitchFamily="34" charset="0"/>
            </a:endParaRPr>
          </a:p>
        </p:txBody>
      </p:sp>
      <p:sp>
        <p:nvSpPr>
          <p:cNvPr id="8200" name="TextBox 46">
            <a:extLst>
              <a:ext uri="{FF2B5EF4-FFF2-40B4-BE49-F238E27FC236}">
                <a16:creationId xmlns:a16="http://schemas.microsoft.com/office/drawing/2014/main" id="{6CA6CF6E-B0D4-419C-DC07-2F381E63918E}"/>
              </a:ext>
            </a:extLst>
          </p:cNvPr>
          <p:cNvSpPr txBox="1">
            <a:spLocks noChangeArrowheads="1"/>
          </p:cNvSpPr>
          <p:nvPr/>
        </p:nvSpPr>
        <p:spPr bwMode="auto">
          <a:xfrm>
            <a:off x="2546891" y="4678363"/>
            <a:ext cx="2945030" cy="1089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pPr>
            <a:r>
              <a:rPr lang="en-US" altLang="en-US" dirty="0"/>
              <a:t>organized effort to respond to a broad social problem (typically organized at national level)</a:t>
            </a:r>
          </a:p>
        </p:txBody>
      </p:sp>
      <p:sp>
        <p:nvSpPr>
          <p:cNvPr id="8201" name="TextBox 47">
            <a:extLst>
              <a:ext uri="{FF2B5EF4-FFF2-40B4-BE49-F238E27FC236}">
                <a16:creationId xmlns:a16="http://schemas.microsoft.com/office/drawing/2014/main" id="{0E5C0DE8-0430-CAA4-929E-32F258EC4896}"/>
              </a:ext>
            </a:extLst>
          </p:cNvPr>
          <p:cNvSpPr txBox="1">
            <a:spLocks noChangeArrowheads="1"/>
          </p:cNvSpPr>
          <p:nvPr/>
        </p:nvSpPr>
        <p:spPr bwMode="auto">
          <a:xfrm>
            <a:off x="5712587" y="4649946"/>
            <a:ext cx="2905344" cy="1588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pPr>
            <a:r>
              <a:rPr lang="en-US" altLang="en-US" dirty="0"/>
              <a:t>specific set of activities with linked objectives, that contribute to the overall objective of a </a:t>
            </a:r>
            <a:r>
              <a:rPr lang="en-US" altLang="en-US" i="1" dirty="0"/>
              <a:t>program </a:t>
            </a:r>
            <a:r>
              <a:rPr lang="en-US" altLang="en-US" dirty="0"/>
              <a:t>(typically organized at sub-national level)</a:t>
            </a:r>
          </a:p>
        </p:txBody>
      </p:sp>
      <p:sp>
        <p:nvSpPr>
          <p:cNvPr id="52" name="Rectangle 51">
            <a:extLst>
              <a:ext uri="{FF2B5EF4-FFF2-40B4-BE49-F238E27FC236}">
                <a16:creationId xmlns:a16="http://schemas.microsoft.com/office/drawing/2014/main" id="{A940EA39-106E-F5B6-FAB0-FA3CFE77102A}"/>
              </a:ext>
            </a:extLst>
          </p:cNvPr>
          <p:cNvSpPr/>
          <p:nvPr/>
        </p:nvSpPr>
        <p:spPr>
          <a:xfrm flipH="1">
            <a:off x="2420209" y="4610100"/>
            <a:ext cx="45719" cy="16632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ndParaRPr>
          </a:p>
        </p:txBody>
      </p:sp>
      <p:sp>
        <p:nvSpPr>
          <p:cNvPr id="53" name="Rectangle 52">
            <a:extLst>
              <a:ext uri="{FF2B5EF4-FFF2-40B4-BE49-F238E27FC236}">
                <a16:creationId xmlns:a16="http://schemas.microsoft.com/office/drawing/2014/main" id="{907ABB5A-1F38-2997-C317-47FE15A78CAB}"/>
              </a:ext>
            </a:extLst>
          </p:cNvPr>
          <p:cNvSpPr/>
          <p:nvPr/>
        </p:nvSpPr>
        <p:spPr>
          <a:xfrm>
            <a:off x="5579235" y="4592796"/>
            <a:ext cx="47626" cy="164352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ndParaRPr>
          </a:p>
        </p:txBody>
      </p:sp>
      <p:sp>
        <p:nvSpPr>
          <p:cNvPr id="8206" name="TextBox 57">
            <a:extLst>
              <a:ext uri="{FF2B5EF4-FFF2-40B4-BE49-F238E27FC236}">
                <a16:creationId xmlns:a16="http://schemas.microsoft.com/office/drawing/2014/main" id="{01010FD2-0443-BDBC-7327-14E7F1A5A935}"/>
              </a:ext>
            </a:extLst>
          </p:cNvPr>
          <p:cNvSpPr txBox="1">
            <a:spLocks noChangeArrowheads="1"/>
          </p:cNvSpPr>
          <p:nvPr/>
        </p:nvSpPr>
        <p:spPr bwMode="auto">
          <a:xfrm>
            <a:off x="6322954" y="2705562"/>
            <a:ext cx="1590675"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US" altLang="en-US" sz="2400" b="1" dirty="0">
                <a:solidFill>
                  <a:srgbClr val="FFFFFF"/>
                </a:solidFill>
                <a:latin typeface="Open Sans" panose="020B0606030504020204" pitchFamily="34" charset="0"/>
              </a:rPr>
              <a:t>Project</a:t>
            </a:r>
            <a:endParaRPr lang="en-GB" altLang="en-US" sz="2400" b="1" dirty="0">
              <a:solidFill>
                <a:srgbClr val="FFFFFF"/>
              </a:solidFill>
              <a:latin typeface="Noto Sans" panose="020B0502040504020204" pitchFamily="34" charset="0"/>
              <a:ea typeface="Noto Sans" panose="020B0502040504020204" pitchFamily="34" charset="0"/>
              <a:cs typeface="Noto Sans" panose="020B0502040504020204"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9"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1000" fill="hold"/>
                                        <p:tgtEl>
                                          <p:spTgt spid="4"/>
                                        </p:tgtEl>
                                        <p:attrNameLst>
                                          <p:attrName>ppt_x</p:attrName>
                                        </p:attrNameLst>
                                      </p:cBhvr>
                                      <p:tavLst>
                                        <p:tav tm="0">
                                          <p:val>
                                            <p:strVal val="#ppt_x-.2"/>
                                          </p:val>
                                        </p:tav>
                                        <p:tav tm="100000">
                                          <p:val>
                                            <p:strVal val="#ppt_x"/>
                                          </p:val>
                                        </p:tav>
                                      </p:tavLst>
                                    </p:anim>
                                    <p:anim calcmode="lin" valueType="num">
                                      <p:cBhvr>
                                        <p:cTn id="8" dur="1000" fill="hold"/>
                                        <p:tgtEl>
                                          <p:spTgt spid="4"/>
                                        </p:tgtEl>
                                        <p:attrNameLst>
                                          <p:attrName>ppt_y</p:attrName>
                                        </p:attrNameLst>
                                      </p:cBhvr>
                                      <p:tavLst>
                                        <p:tav tm="0">
                                          <p:val>
                                            <p:strVal val="#ppt_y"/>
                                          </p:val>
                                        </p:tav>
                                        <p:tav tm="100000">
                                          <p:val>
                                            <p:strVal val="#ppt_y"/>
                                          </p:val>
                                        </p:tav>
                                      </p:tavLst>
                                    </p:anim>
                                    <p:animEffect transition="in" filter="wipe(right)" prLst="gradientSize: 0.1">
                                      <p:cBhvr>
                                        <p:cTn id="9"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EA5A020-9289-BC3F-6AE9-4B69C67492FE}"/>
              </a:ext>
            </a:extLst>
          </p:cNvPr>
          <p:cNvSpPr txBox="1"/>
          <p:nvPr/>
        </p:nvSpPr>
        <p:spPr>
          <a:xfrm>
            <a:off x="1654892" y="3273831"/>
            <a:ext cx="9406398" cy="707886"/>
          </a:xfrm>
          <a:prstGeom prst="rect">
            <a:avLst/>
          </a:prstGeom>
          <a:noFill/>
        </p:spPr>
        <p:txBody>
          <a:bodyPr wrap="square">
            <a:spAutoFit/>
          </a:bodyPr>
          <a:lstStyle/>
          <a:p>
            <a:r>
              <a:rPr lang="en-US" sz="4000" b="1" dirty="0">
                <a:solidFill>
                  <a:srgbClr val="002060"/>
                </a:solidFill>
                <a:latin typeface="Poppins" panose="00000500000000000000" pitchFamily="2" charset="0"/>
                <a:cs typeface="Poppins" panose="00000500000000000000" pitchFamily="2" charset="0"/>
              </a:rPr>
              <a:t>Patient Flow in a Facility</a:t>
            </a:r>
          </a:p>
        </p:txBody>
      </p:sp>
    </p:spTree>
    <p:extLst>
      <p:ext uri="{BB962C8B-B14F-4D97-AF65-F5344CB8AC3E}">
        <p14:creationId xmlns:p14="http://schemas.microsoft.com/office/powerpoint/2010/main" val="244855261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32098" name="Rectangle 2">
            <a:extLst>
              <a:ext uri="{FF2B5EF4-FFF2-40B4-BE49-F238E27FC236}">
                <a16:creationId xmlns:a16="http://schemas.microsoft.com/office/drawing/2014/main" id="{72C47837-B6CC-3F17-CFB5-E5EC0729250E}"/>
              </a:ext>
            </a:extLst>
          </p:cNvPr>
          <p:cNvSpPr>
            <a:spLocks noGrp="1" noChangeArrowheads="1"/>
          </p:cNvSpPr>
          <p:nvPr>
            <p:ph type="title"/>
          </p:nvPr>
        </p:nvSpPr>
        <p:spPr>
          <a:xfrm>
            <a:off x="2667000" y="307975"/>
            <a:ext cx="6478588" cy="685800"/>
          </a:xfrm>
        </p:spPr>
        <p:txBody>
          <a:bodyPr>
            <a:normAutofit fontScale="90000"/>
          </a:bodyPr>
          <a:lstStyle/>
          <a:p>
            <a:pPr eaLnBrk="1" hangingPunct="1">
              <a:defRPr/>
            </a:pPr>
            <a:r>
              <a:rPr lang="en-US" sz="3200" b="1">
                <a:solidFill>
                  <a:srgbClr val="000000"/>
                </a:solidFill>
                <a:effectLst>
                  <a:outerShdw blurRad="38100" dist="38100" dir="2700000" algn="tl">
                    <a:srgbClr val="FFFFFF"/>
                  </a:outerShdw>
                </a:effectLst>
                <a:latin typeface="Trebuchet MS"/>
              </a:rPr>
              <a:t>Overall On-Site patient/Data Flow</a:t>
            </a:r>
          </a:p>
        </p:txBody>
      </p:sp>
      <p:sp>
        <p:nvSpPr>
          <p:cNvPr id="132099" name="Rectangle 3">
            <a:extLst>
              <a:ext uri="{FF2B5EF4-FFF2-40B4-BE49-F238E27FC236}">
                <a16:creationId xmlns:a16="http://schemas.microsoft.com/office/drawing/2014/main" id="{2324381C-A02A-98D8-66E5-A62475854DA7}"/>
              </a:ext>
            </a:extLst>
          </p:cNvPr>
          <p:cNvSpPr>
            <a:spLocks noChangeArrowheads="1"/>
          </p:cNvSpPr>
          <p:nvPr/>
        </p:nvSpPr>
        <p:spPr bwMode="auto">
          <a:xfrm>
            <a:off x="1905001" y="1946276"/>
            <a:ext cx="1420813" cy="79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outerShdw blurRad="38100" dist="38100" dir="2700000" algn="tl">
                    <a:srgbClr val="000000"/>
                  </a:outerShdw>
                </a:effectLst>
                <a:uLnTx/>
                <a:uFillTx/>
                <a:latin typeface="Arial Unicode MS" pitchFamily="34" charset="-128"/>
                <a:ea typeface="+mn-ea"/>
                <a:cs typeface="Arial" charset="0"/>
              </a:rPr>
              <a:t>PMM Forms </a:t>
            </a:r>
          </a:p>
        </p:txBody>
      </p:sp>
      <p:sp>
        <p:nvSpPr>
          <p:cNvPr id="132100" name="Rectangle 4">
            <a:extLst>
              <a:ext uri="{FF2B5EF4-FFF2-40B4-BE49-F238E27FC236}">
                <a16:creationId xmlns:a16="http://schemas.microsoft.com/office/drawing/2014/main" id="{FDA89266-6876-ED45-ABBE-7DD070505119}"/>
              </a:ext>
            </a:extLst>
          </p:cNvPr>
          <p:cNvSpPr>
            <a:spLocks noChangeArrowheads="1"/>
          </p:cNvSpPr>
          <p:nvPr/>
        </p:nvSpPr>
        <p:spPr bwMode="auto">
          <a:xfrm>
            <a:off x="1905000" y="3124200"/>
            <a:ext cx="1371600" cy="457200"/>
          </a:xfrm>
          <a:prstGeom prst="rect">
            <a:avLst/>
          </a:prstGeom>
          <a:solidFill>
            <a:srgbClr val="99CC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3366"/>
                </a:solidFill>
                <a:effectLst>
                  <a:outerShdw blurRad="38100" dist="38100" dir="2700000" algn="tl">
                    <a:srgbClr val="000000"/>
                  </a:outerShdw>
                </a:effectLst>
                <a:uLnTx/>
                <a:uFillTx/>
                <a:latin typeface="Arial Unicode MS" pitchFamily="34" charset="-128"/>
                <a:ea typeface="+mn-ea"/>
                <a:cs typeface="Arial" charset="0"/>
              </a:rPr>
              <a:t>CLINIC</a:t>
            </a:r>
          </a:p>
        </p:txBody>
      </p:sp>
      <p:sp>
        <p:nvSpPr>
          <p:cNvPr id="14341" name="Rectangle 5">
            <a:extLst>
              <a:ext uri="{FF2B5EF4-FFF2-40B4-BE49-F238E27FC236}">
                <a16:creationId xmlns:a16="http://schemas.microsoft.com/office/drawing/2014/main" id="{43271C90-B387-199F-41EA-F5E3C214D192}"/>
              </a:ext>
            </a:extLst>
          </p:cNvPr>
          <p:cNvSpPr>
            <a:spLocks noChangeArrowheads="1"/>
          </p:cNvSpPr>
          <p:nvPr/>
        </p:nvSpPr>
        <p:spPr bwMode="auto">
          <a:xfrm>
            <a:off x="7067550" y="3200401"/>
            <a:ext cx="1466850" cy="354013"/>
          </a:xfrm>
          <a:prstGeom prst="rect">
            <a:avLst/>
          </a:prstGeom>
          <a:solidFill>
            <a:srgbClr val="99CC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en-US" sz="1600" b="1" i="0" u="none" strike="noStrike" kern="1200" cap="none" spc="0" normalizeH="0" baseline="0" noProof="0">
                <a:ln>
                  <a:noFill/>
                </a:ln>
                <a:solidFill>
                  <a:srgbClr val="003366"/>
                </a:solidFill>
                <a:effectLst/>
                <a:uLnTx/>
                <a:uFillTx/>
                <a:latin typeface="Arial Unicode MS" pitchFamily="34" charset="-128"/>
                <a:ea typeface="+mn-ea"/>
                <a:cs typeface="Arial" panose="020B0604020202020204" pitchFamily="34" charset="0"/>
              </a:rPr>
              <a:t>M &amp; E Officer</a:t>
            </a:r>
          </a:p>
        </p:txBody>
      </p:sp>
      <p:sp>
        <p:nvSpPr>
          <p:cNvPr id="14342" name="Rectangle 6">
            <a:extLst>
              <a:ext uri="{FF2B5EF4-FFF2-40B4-BE49-F238E27FC236}">
                <a16:creationId xmlns:a16="http://schemas.microsoft.com/office/drawing/2014/main" id="{3FBC6AE5-1433-8137-9CD5-32F4753331C8}"/>
              </a:ext>
            </a:extLst>
          </p:cNvPr>
          <p:cNvSpPr>
            <a:spLocks noChangeArrowheads="1"/>
          </p:cNvSpPr>
          <p:nvPr/>
        </p:nvSpPr>
        <p:spPr bwMode="auto">
          <a:xfrm>
            <a:off x="9094788" y="2895600"/>
            <a:ext cx="887412" cy="685800"/>
          </a:xfrm>
          <a:prstGeom prst="rect">
            <a:avLst/>
          </a:prstGeom>
          <a:solidFill>
            <a:srgbClr val="99CC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altLang="en-US" sz="1600" b="1" i="0" u="none" strike="noStrike" kern="1200" cap="none" spc="0" normalizeH="0" baseline="0" noProof="0">
              <a:ln>
                <a:noFill/>
              </a:ln>
              <a:solidFill>
                <a:srgbClr val="003366"/>
              </a:solidFill>
              <a:effectLst/>
              <a:uLnTx/>
              <a:uFillTx/>
              <a:latin typeface="Arial Unicode MS" pitchFamily="34" charset="-128"/>
              <a:ea typeface="+mn-ea"/>
              <a:cs typeface="Arial" panose="020B0604020202020204" pitchFamily="34" charset="0"/>
            </a:endParaRPr>
          </a:p>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altLang="en-US" sz="1600" b="1" i="0" u="none" strike="noStrike" kern="1200" cap="none" spc="0" normalizeH="0" baseline="0" noProof="0">
                <a:ln>
                  <a:noFill/>
                </a:ln>
                <a:solidFill>
                  <a:srgbClr val="003366"/>
                </a:solidFill>
                <a:effectLst/>
                <a:uLnTx/>
                <a:uFillTx/>
                <a:latin typeface="Arial Unicode MS" pitchFamily="34" charset="-128"/>
                <a:ea typeface="+mn-ea"/>
                <a:cs typeface="Arial" panose="020B0604020202020204" pitchFamily="34" charset="0"/>
              </a:rPr>
              <a:t>HMIS </a:t>
            </a:r>
          </a:p>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altLang="en-US" sz="1600" b="1" i="0" u="none" strike="noStrike" kern="1200" cap="none" spc="0" normalizeH="0" baseline="0" noProof="0">
              <a:ln>
                <a:noFill/>
              </a:ln>
              <a:solidFill>
                <a:srgbClr val="003366"/>
              </a:solidFill>
              <a:effectLst/>
              <a:uLnTx/>
              <a:uFillTx/>
              <a:latin typeface="Arial Unicode MS" pitchFamily="34" charset="-128"/>
              <a:ea typeface="+mn-ea"/>
              <a:cs typeface="Arial" panose="020B0604020202020204" pitchFamily="34" charset="0"/>
            </a:endParaRPr>
          </a:p>
        </p:txBody>
      </p:sp>
      <p:sp>
        <p:nvSpPr>
          <p:cNvPr id="14343" name="Text Box 7">
            <a:extLst>
              <a:ext uri="{FF2B5EF4-FFF2-40B4-BE49-F238E27FC236}">
                <a16:creationId xmlns:a16="http://schemas.microsoft.com/office/drawing/2014/main" id="{096C8845-A049-3852-5389-F2D2FA6B52E2}"/>
              </a:ext>
            </a:extLst>
          </p:cNvPr>
          <p:cNvSpPr txBox="1">
            <a:spLocks noChangeArrowheads="1"/>
          </p:cNvSpPr>
          <p:nvPr/>
        </p:nvSpPr>
        <p:spPr bwMode="auto">
          <a:xfrm>
            <a:off x="4419600" y="1600201"/>
            <a:ext cx="1828800" cy="366713"/>
          </a:xfrm>
          <a:prstGeom prst="rect">
            <a:avLst/>
          </a:prstGeom>
          <a:solidFill>
            <a:srgbClr val="99CC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altLang="en-US" sz="1800" b="1" i="0" u="none" strike="noStrike" kern="1200" cap="none" spc="0" normalizeH="0" baseline="0" noProof="0">
                <a:ln>
                  <a:noFill/>
                </a:ln>
                <a:solidFill>
                  <a:srgbClr val="003366"/>
                </a:solidFill>
                <a:effectLst/>
                <a:uLnTx/>
                <a:uFillTx/>
                <a:latin typeface="Arial Unicode MS" pitchFamily="34" charset="-128"/>
                <a:ea typeface="+mn-ea"/>
                <a:cs typeface="Arial" panose="020B0604020202020204" pitchFamily="34" charset="0"/>
              </a:rPr>
              <a:t>Laboratory</a:t>
            </a:r>
          </a:p>
        </p:txBody>
      </p:sp>
      <p:sp>
        <p:nvSpPr>
          <p:cNvPr id="14344" name="Text Box 8">
            <a:extLst>
              <a:ext uri="{FF2B5EF4-FFF2-40B4-BE49-F238E27FC236}">
                <a16:creationId xmlns:a16="http://schemas.microsoft.com/office/drawing/2014/main" id="{596A5551-1E24-BC91-9A68-A1768E4DC044}"/>
              </a:ext>
            </a:extLst>
          </p:cNvPr>
          <p:cNvSpPr txBox="1">
            <a:spLocks noChangeArrowheads="1"/>
          </p:cNvSpPr>
          <p:nvPr/>
        </p:nvSpPr>
        <p:spPr bwMode="auto">
          <a:xfrm>
            <a:off x="4468814" y="2514601"/>
            <a:ext cx="1779587" cy="366713"/>
          </a:xfrm>
          <a:prstGeom prst="rect">
            <a:avLst/>
          </a:prstGeom>
          <a:solidFill>
            <a:srgbClr val="99CC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altLang="en-US" sz="1800" b="1" i="0" u="none" strike="noStrike" kern="1200" cap="none" spc="0" normalizeH="0" baseline="0" noProof="0">
                <a:ln>
                  <a:noFill/>
                </a:ln>
                <a:solidFill>
                  <a:srgbClr val="003366"/>
                </a:solidFill>
                <a:effectLst/>
                <a:uLnTx/>
                <a:uFillTx/>
                <a:latin typeface="Arial Unicode MS" pitchFamily="34" charset="-128"/>
                <a:ea typeface="+mn-ea"/>
                <a:cs typeface="Arial" panose="020B0604020202020204" pitchFamily="34" charset="0"/>
              </a:rPr>
              <a:t>PMTCT</a:t>
            </a:r>
          </a:p>
        </p:txBody>
      </p:sp>
      <p:sp>
        <p:nvSpPr>
          <p:cNvPr id="14345" name="Text Box 9">
            <a:extLst>
              <a:ext uri="{FF2B5EF4-FFF2-40B4-BE49-F238E27FC236}">
                <a16:creationId xmlns:a16="http://schemas.microsoft.com/office/drawing/2014/main" id="{7F786775-CE11-4F1B-E413-F16BA2DD5FA4}"/>
              </a:ext>
            </a:extLst>
          </p:cNvPr>
          <p:cNvSpPr txBox="1">
            <a:spLocks noChangeArrowheads="1"/>
          </p:cNvSpPr>
          <p:nvPr/>
        </p:nvSpPr>
        <p:spPr bwMode="auto">
          <a:xfrm>
            <a:off x="4468814" y="3976688"/>
            <a:ext cx="1779587" cy="366712"/>
          </a:xfrm>
          <a:prstGeom prst="rect">
            <a:avLst/>
          </a:prstGeom>
          <a:solidFill>
            <a:srgbClr val="99CC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altLang="en-US" sz="1800" b="1" i="0" u="none" strike="noStrike" kern="1200" cap="none" spc="0" normalizeH="0" baseline="0" noProof="0">
                <a:ln>
                  <a:noFill/>
                </a:ln>
                <a:solidFill>
                  <a:srgbClr val="003366"/>
                </a:solidFill>
                <a:effectLst/>
                <a:uLnTx/>
                <a:uFillTx/>
                <a:latin typeface="Arial Unicode MS" pitchFamily="34" charset="-128"/>
                <a:ea typeface="+mn-ea"/>
                <a:cs typeface="Arial" panose="020B0604020202020204" pitchFamily="34" charset="0"/>
              </a:rPr>
              <a:t>Pharmacy</a:t>
            </a:r>
          </a:p>
        </p:txBody>
      </p:sp>
      <p:sp>
        <p:nvSpPr>
          <p:cNvPr id="14346" name="Text Box 10">
            <a:extLst>
              <a:ext uri="{FF2B5EF4-FFF2-40B4-BE49-F238E27FC236}">
                <a16:creationId xmlns:a16="http://schemas.microsoft.com/office/drawing/2014/main" id="{7980115A-70FC-196B-7019-66B7CF11EF20}"/>
              </a:ext>
            </a:extLst>
          </p:cNvPr>
          <p:cNvSpPr txBox="1">
            <a:spLocks noChangeArrowheads="1"/>
          </p:cNvSpPr>
          <p:nvPr/>
        </p:nvSpPr>
        <p:spPr bwMode="auto">
          <a:xfrm>
            <a:off x="4468814" y="4876800"/>
            <a:ext cx="1779587" cy="336550"/>
          </a:xfrm>
          <a:prstGeom prst="rect">
            <a:avLst/>
          </a:prstGeom>
          <a:solidFill>
            <a:srgbClr val="99CC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altLang="en-US" sz="1600" b="1" i="0" u="none" strike="noStrike" kern="1200" cap="none" spc="0" normalizeH="0" baseline="0" noProof="0">
                <a:ln>
                  <a:noFill/>
                </a:ln>
                <a:solidFill>
                  <a:srgbClr val="003366"/>
                </a:solidFill>
                <a:effectLst/>
                <a:uLnTx/>
                <a:uFillTx/>
                <a:latin typeface="Arial Unicode MS" pitchFamily="34" charset="-128"/>
                <a:ea typeface="+mn-ea"/>
                <a:cs typeface="Arial" panose="020B0604020202020204" pitchFamily="34" charset="0"/>
              </a:rPr>
              <a:t>Adherence</a:t>
            </a:r>
          </a:p>
        </p:txBody>
      </p:sp>
      <p:cxnSp>
        <p:nvCxnSpPr>
          <p:cNvPr id="14347" name="AutoShape 11">
            <a:extLst>
              <a:ext uri="{FF2B5EF4-FFF2-40B4-BE49-F238E27FC236}">
                <a16:creationId xmlns:a16="http://schemas.microsoft.com/office/drawing/2014/main" id="{9A359F33-2D31-9A0B-C9A2-6A451E5A88C1}"/>
              </a:ext>
            </a:extLst>
          </p:cNvPr>
          <p:cNvCxnSpPr>
            <a:cxnSpLocks noChangeShapeType="1"/>
            <a:stCxn id="132100" idx="3"/>
            <a:endCxn id="14343" idx="1"/>
          </p:cNvCxnSpPr>
          <p:nvPr/>
        </p:nvCxnSpPr>
        <p:spPr bwMode="auto">
          <a:xfrm flipV="1">
            <a:off x="3276600" y="1784350"/>
            <a:ext cx="1143000" cy="1568450"/>
          </a:xfrm>
          <a:prstGeom prst="curvedConnector3">
            <a:avLst>
              <a:gd name="adj1" fmla="val 32639"/>
            </a:avLst>
          </a:prstGeom>
          <a:noFill/>
          <a:ln w="38100">
            <a:solidFill>
              <a:srgbClr val="800000"/>
            </a:solidFill>
            <a:round/>
            <a:headEnd/>
            <a:tailEnd type="stealth"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348" name="AutoShape 12">
            <a:extLst>
              <a:ext uri="{FF2B5EF4-FFF2-40B4-BE49-F238E27FC236}">
                <a16:creationId xmlns:a16="http://schemas.microsoft.com/office/drawing/2014/main" id="{A6DE48EC-D473-02B8-7B6E-EF06B6131FA1}"/>
              </a:ext>
            </a:extLst>
          </p:cNvPr>
          <p:cNvCxnSpPr>
            <a:cxnSpLocks noChangeShapeType="1"/>
            <a:stCxn id="132100" idx="3"/>
            <a:endCxn id="14344" idx="1"/>
          </p:cNvCxnSpPr>
          <p:nvPr/>
        </p:nvCxnSpPr>
        <p:spPr bwMode="auto">
          <a:xfrm flipV="1">
            <a:off x="3276601" y="2698750"/>
            <a:ext cx="1192213" cy="654050"/>
          </a:xfrm>
          <a:prstGeom prst="curvedConnector3">
            <a:avLst>
              <a:gd name="adj1" fmla="val 49935"/>
            </a:avLst>
          </a:prstGeom>
          <a:noFill/>
          <a:ln w="38100">
            <a:solidFill>
              <a:srgbClr val="800000"/>
            </a:solidFill>
            <a:round/>
            <a:headEnd/>
            <a:tailEnd type="stealth"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349" name="AutoShape 13">
            <a:extLst>
              <a:ext uri="{FF2B5EF4-FFF2-40B4-BE49-F238E27FC236}">
                <a16:creationId xmlns:a16="http://schemas.microsoft.com/office/drawing/2014/main" id="{7FFC25BA-1D3B-EA0F-7789-1D363A03C77F}"/>
              </a:ext>
            </a:extLst>
          </p:cNvPr>
          <p:cNvCxnSpPr>
            <a:cxnSpLocks noChangeShapeType="1"/>
            <a:stCxn id="14346" idx="3"/>
            <a:endCxn id="14341" idx="2"/>
          </p:cNvCxnSpPr>
          <p:nvPr/>
        </p:nvCxnSpPr>
        <p:spPr bwMode="auto">
          <a:xfrm flipV="1">
            <a:off x="6248401" y="3554413"/>
            <a:ext cx="1552575" cy="1490662"/>
          </a:xfrm>
          <a:prstGeom prst="curvedConnector2">
            <a:avLst/>
          </a:prstGeom>
          <a:noFill/>
          <a:ln w="38100">
            <a:solidFill>
              <a:schemeClr val="tx2"/>
            </a:solidFill>
            <a:round/>
            <a:headEnd type="diamond" w="lg" len="lg"/>
            <a:tailEnd type="stealth"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350" name="AutoShape 14">
            <a:extLst>
              <a:ext uri="{FF2B5EF4-FFF2-40B4-BE49-F238E27FC236}">
                <a16:creationId xmlns:a16="http://schemas.microsoft.com/office/drawing/2014/main" id="{36CD8024-F489-8A39-0763-67A024AB784C}"/>
              </a:ext>
            </a:extLst>
          </p:cNvPr>
          <p:cNvCxnSpPr>
            <a:cxnSpLocks noChangeShapeType="1"/>
            <a:stCxn id="14345" idx="3"/>
            <a:endCxn id="14341" idx="1"/>
          </p:cNvCxnSpPr>
          <p:nvPr/>
        </p:nvCxnSpPr>
        <p:spPr bwMode="auto">
          <a:xfrm flipV="1">
            <a:off x="6248400" y="3378200"/>
            <a:ext cx="819150" cy="782638"/>
          </a:xfrm>
          <a:prstGeom prst="curvedConnector3">
            <a:avLst>
              <a:gd name="adj1" fmla="val 50000"/>
            </a:avLst>
          </a:prstGeom>
          <a:noFill/>
          <a:ln w="38100">
            <a:solidFill>
              <a:schemeClr val="tx2"/>
            </a:solidFill>
            <a:round/>
            <a:headEnd type="diamond" w="lg" len="lg"/>
            <a:tailEnd type="stealth"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351" name="AutoShape 15">
            <a:extLst>
              <a:ext uri="{FF2B5EF4-FFF2-40B4-BE49-F238E27FC236}">
                <a16:creationId xmlns:a16="http://schemas.microsoft.com/office/drawing/2014/main" id="{B3013BC0-8189-ECB1-9A07-175983AD987C}"/>
              </a:ext>
            </a:extLst>
          </p:cNvPr>
          <p:cNvCxnSpPr>
            <a:cxnSpLocks noChangeShapeType="1"/>
            <a:stCxn id="14344" idx="3"/>
            <a:endCxn id="14341" idx="1"/>
          </p:cNvCxnSpPr>
          <p:nvPr/>
        </p:nvCxnSpPr>
        <p:spPr bwMode="auto">
          <a:xfrm>
            <a:off x="6248400" y="2698750"/>
            <a:ext cx="819150" cy="679450"/>
          </a:xfrm>
          <a:prstGeom prst="curvedConnector3">
            <a:avLst>
              <a:gd name="adj1" fmla="val 50000"/>
            </a:avLst>
          </a:prstGeom>
          <a:noFill/>
          <a:ln w="38100">
            <a:solidFill>
              <a:schemeClr val="tx2"/>
            </a:solidFill>
            <a:round/>
            <a:headEnd type="diamond" w="lg" len="lg"/>
            <a:tailEnd type="stealth"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352" name="AutoShape 16">
            <a:extLst>
              <a:ext uri="{FF2B5EF4-FFF2-40B4-BE49-F238E27FC236}">
                <a16:creationId xmlns:a16="http://schemas.microsoft.com/office/drawing/2014/main" id="{181D74EF-082C-C4F0-6056-2C89E0BF73EC}"/>
              </a:ext>
            </a:extLst>
          </p:cNvPr>
          <p:cNvCxnSpPr>
            <a:cxnSpLocks noChangeShapeType="1"/>
            <a:stCxn id="14343" idx="3"/>
            <a:endCxn id="14341" idx="0"/>
          </p:cNvCxnSpPr>
          <p:nvPr/>
        </p:nvCxnSpPr>
        <p:spPr bwMode="auto">
          <a:xfrm>
            <a:off x="6248401" y="1784350"/>
            <a:ext cx="1552575" cy="1416050"/>
          </a:xfrm>
          <a:prstGeom prst="curvedConnector2">
            <a:avLst/>
          </a:prstGeom>
          <a:noFill/>
          <a:ln w="38100">
            <a:solidFill>
              <a:schemeClr val="tx2"/>
            </a:solidFill>
            <a:round/>
            <a:headEnd type="diamond" w="lg" len="lg"/>
            <a:tailEnd type="stealth"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353" name="AutoShape 17">
            <a:extLst>
              <a:ext uri="{FF2B5EF4-FFF2-40B4-BE49-F238E27FC236}">
                <a16:creationId xmlns:a16="http://schemas.microsoft.com/office/drawing/2014/main" id="{486B9027-13AE-E105-1EF0-B73EC9986207}"/>
              </a:ext>
            </a:extLst>
          </p:cNvPr>
          <p:cNvCxnSpPr>
            <a:cxnSpLocks noChangeShapeType="1"/>
            <a:stCxn id="132100" idx="3"/>
            <a:endCxn id="14345" idx="1"/>
          </p:cNvCxnSpPr>
          <p:nvPr/>
        </p:nvCxnSpPr>
        <p:spPr bwMode="auto">
          <a:xfrm>
            <a:off x="3276601" y="3352800"/>
            <a:ext cx="1192213" cy="808038"/>
          </a:xfrm>
          <a:prstGeom prst="curvedConnector3">
            <a:avLst>
              <a:gd name="adj1" fmla="val 49935"/>
            </a:avLst>
          </a:prstGeom>
          <a:noFill/>
          <a:ln w="38100">
            <a:solidFill>
              <a:srgbClr val="800000"/>
            </a:solidFill>
            <a:round/>
            <a:headEnd/>
            <a:tailEnd type="stealth"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354" name="AutoShape 18">
            <a:extLst>
              <a:ext uri="{FF2B5EF4-FFF2-40B4-BE49-F238E27FC236}">
                <a16:creationId xmlns:a16="http://schemas.microsoft.com/office/drawing/2014/main" id="{BA14E77A-5E77-4D84-BCE1-6E3E3F59B5EE}"/>
              </a:ext>
            </a:extLst>
          </p:cNvPr>
          <p:cNvCxnSpPr>
            <a:cxnSpLocks noChangeShapeType="1"/>
            <a:stCxn id="132100" idx="3"/>
            <a:endCxn id="14346" idx="1"/>
          </p:cNvCxnSpPr>
          <p:nvPr/>
        </p:nvCxnSpPr>
        <p:spPr bwMode="auto">
          <a:xfrm>
            <a:off x="3276601" y="3352801"/>
            <a:ext cx="1192213" cy="1692275"/>
          </a:xfrm>
          <a:prstGeom prst="curvedConnector3">
            <a:avLst>
              <a:gd name="adj1" fmla="val 32093"/>
            </a:avLst>
          </a:prstGeom>
          <a:noFill/>
          <a:ln w="38100">
            <a:solidFill>
              <a:srgbClr val="800000"/>
            </a:solidFill>
            <a:round/>
            <a:headEnd/>
            <a:tailEnd type="stealth"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355" name="AutoShape 19">
            <a:extLst>
              <a:ext uri="{FF2B5EF4-FFF2-40B4-BE49-F238E27FC236}">
                <a16:creationId xmlns:a16="http://schemas.microsoft.com/office/drawing/2014/main" id="{EF638437-9819-F34C-B393-C486B8E0B3DE}"/>
              </a:ext>
            </a:extLst>
          </p:cNvPr>
          <p:cNvCxnSpPr>
            <a:cxnSpLocks noChangeShapeType="1"/>
            <a:stCxn id="132100" idx="2"/>
            <a:endCxn id="14342" idx="2"/>
          </p:cNvCxnSpPr>
          <p:nvPr/>
        </p:nvCxnSpPr>
        <p:spPr bwMode="auto">
          <a:xfrm rot="16200000" flipH="1">
            <a:off x="6064250" y="107950"/>
            <a:ext cx="1588" cy="6948488"/>
          </a:xfrm>
          <a:prstGeom prst="curvedConnector3">
            <a:avLst>
              <a:gd name="adj1" fmla="val 189300000"/>
            </a:avLst>
          </a:prstGeom>
          <a:noFill/>
          <a:ln w="57150">
            <a:solidFill>
              <a:srgbClr val="FFFFFF"/>
            </a:solidFill>
            <a:round/>
            <a:headEnd type="triangle" w="lg" len="sm"/>
            <a:tailEnd type="triangle" w="lg"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356" name="AutoShape 20">
            <a:extLst>
              <a:ext uri="{FF2B5EF4-FFF2-40B4-BE49-F238E27FC236}">
                <a16:creationId xmlns:a16="http://schemas.microsoft.com/office/drawing/2014/main" id="{991B3C7B-1BB7-8B68-5C09-3774749257EE}"/>
              </a:ext>
            </a:extLst>
          </p:cNvPr>
          <p:cNvCxnSpPr>
            <a:cxnSpLocks noChangeShapeType="1"/>
            <a:stCxn id="14341" idx="3"/>
            <a:endCxn id="14342" idx="0"/>
          </p:cNvCxnSpPr>
          <p:nvPr/>
        </p:nvCxnSpPr>
        <p:spPr bwMode="auto">
          <a:xfrm flipV="1">
            <a:off x="8534400" y="2895600"/>
            <a:ext cx="1004888" cy="482600"/>
          </a:xfrm>
          <a:prstGeom prst="bentConnector4">
            <a:avLst>
              <a:gd name="adj1" fmla="val 38384"/>
              <a:gd name="adj2" fmla="val 242431"/>
            </a:avLst>
          </a:prstGeom>
          <a:noFill/>
          <a:ln w="50800">
            <a:solidFill>
              <a:srgbClr val="FFFFFF"/>
            </a:solidFill>
            <a:miter lim="800000"/>
            <a:headEnd type="triangle" w="lg" len="sm"/>
            <a:tailEnd type="triangle" w="lg"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357" name="Text Box 21">
            <a:extLst>
              <a:ext uri="{FF2B5EF4-FFF2-40B4-BE49-F238E27FC236}">
                <a16:creationId xmlns:a16="http://schemas.microsoft.com/office/drawing/2014/main" id="{5280C42A-B1D9-EC09-9B28-9AED589607EA}"/>
              </a:ext>
            </a:extLst>
          </p:cNvPr>
          <p:cNvSpPr txBox="1">
            <a:spLocks noChangeArrowheads="1"/>
          </p:cNvSpPr>
          <p:nvPr/>
        </p:nvSpPr>
        <p:spPr bwMode="auto">
          <a:xfrm>
            <a:off x="1828800" y="5867400"/>
            <a:ext cx="1779588" cy="336550"/>
          </a:xfrm>
          <a:prstGeom prst="rect">
            <a:avLst/>
          </a:prstGeom>
          <a:solidFill>
            <a:srgbClr val="99CC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altLang="en-US" sz="1600" b="1" i="0" u="none" strike="noStrike" kern="1200" cap="none" spc="0" normalizeH="0" baseline="0" noProof="0">
                <a:ln>
                  <a:noFill/>
                </a:ln>
                <a:solidFill>
                  <a:srgbClr val="003366"/>
                </a:solidFill>
                <a:effectLst/>
                <a:uLnTx/>
                <a:uFillTx/>
                <a:latin typeface="Arial Unicode MS" pitchFamily="34" charset="-128"/>
                <a:ea typeface="+mn-ea"/>
                <a:cs typeface="Arial" panose="020B0604020202020204" pitchFamily="34" charset="0"/>
              </a:rPr>
              <a:t>VCT</a:t>
            </a:r>
          </a:p>
        </p:txBody>
      </p:sp>
      <p:cxnSp>
        <p:nvCxnSpPr>
          <p:cNvPr id="14358" name="AutoShape 24">
            <a:extLst>
              <a:ext uri="{FF2B5EF4-FFF2-40B4-BE49-F238E27FC236}">
                <a16:creationId xmlns:a16="http://schemas.microsoft.com/office/drawing/2014/main" id="{E6767FA9-8EE7-3D6B-9FCF-85CA1AA4A42F}"/>
              </a:ext>
            </a:extLst>
          </p:cNvPr>
          <p:cNvCxnSpPr>
            <a:cxnSpLocks noChangeShapeType="1"/>
          </p:cNvCxnSpPr>
          <p:nvPr/>
        </p:nvCxnSpPr>
        <p:spPr bwMode="auto">
          <a:xfrm rot="5400000" flipH="1">
            <a:off x="968375" y="4213225"/>
            <a:ext cx="2482850" cy="762000"/>
          </a:xfrm>
          <a:prstGeom prst="curvedConnector3">
            <a:avLst>
              <a:gd name="adj1" fmla="val 7861"/>
            </a:avLst>
          </a:prstGeom>
          <a:noFill/>
          <a:ln w="38100">
            <a:solidFill>
              <a:srgbClr val="800000"/>
            </a:solidFill>
            <a:round/>
            <a:headEnd/>
            <a:tailEnd type="stealth"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509199563"/>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EA5A020-9289-BC3F-6AE9-4B69C67492FE}"/>
              </a:ext>
            </a:extLst>
          </p:cNvPr>
          <p:cNvSpPr txBox="1"/>
          <p:nvPr/>
        </p:nvSpPr>
        <p:spPr>
          <a:xfrm>
            <a:off x="1654892" y="3273831"/>
            <a:ext cx="9406398" cy="1323439"/>
          </a:xfrm>
          <a:prstGeom prst="rect">
            <a:avLst/>
          </a:prstGeom>
          <a:noFill/>
        </p:spPr>
        <p:txBody>
          <a:bodyPr wrap="square">
            <a:spAutoFit/>
          </a:bodyPr>
          <a:lstStyle/>
          <a:p>
            <a:r>
              <a:rPr lang="en-US" sz="4000" b="1" dirty="0">
                <a:solidFill>
                  <a:srgbClr val="002060"/>
                </a:solidFill>
                <a:latin typeface="Poppins" panose="00000500000000000000" pitchFamily="2" charset="0"/>
                <a:cs typeface="Poppins" panose="00000500000000000000" pitchFamily="2" charset="0"/>
              </a:rPr>
              <a:t>National Tools and Registers (PMM and PME)</a:t>
            </a:r>
          </a:p>
        </p:txBody>
      </p:sp>
    </p:spTree>
    <p:extLst>
      <p:ext uri="{BB962C8B-B14F-4D97-AF65-F5344CB8AC3E}">
        <p14:creationId xmlns:p14="http://schemas.microsoft.com/office/powerpoint/2010/main" val="295225483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54"/>
        <p:cNvGrpSpPr/>
        <p:nvPr/>
      </p:nvGrpSpPr>
      <p:grpSpPr>
        <a:xfrm>
          <a:off x="0" y="0"/>
          <a:ext cx="0" cy="0"/>
          <a:chOff x="0" y="0"/>
          <a:chExt cx="0" cy="0"/>
        </a:xfrm>
      </p:grpSpPr>
      <p:sp>
        <p:nvSpPr>
          <p:cNvPr id="57" name="Google Shape;57;p15"/>
          <p:cNvSpPr/>
          <p:nvPr/>
        </p:nvSpPr>
        <p:spPr>
          <a:xfrm>
            <a:off x="5921160" y="1141790"/>
            <a:ext cx="274524" cy="5387216"/>
          </a:xfrm>
          <a:custGeom>
            <a:avLst/>
            <a:gdLst/>
            <a:ahLst/>
            <a:cxnLst/>
            <a:rect l="l" t="t" r="r" b="b"/>
            <a:pathLst>
              <a:path w="1513" h="166415" extrusionOk="0">
                <a:moveTo>
                  <a:pt x="751" y="1"/>
                </a:moveTo>
                <a:cubicBezTo>
                  <a:pt x="346" y="1"/>
                  <a:pt x="1" y="334"/>
                  <a:pt x="1" y="751"/>
                </a:cubicBezTo>
                <a:lnTo>
                  <a:pt x="1" y="165664"/>
                </a:lnTo>
                <a:cubicBezTo>
                  <a:pt x="1" y="166081"/>
                  <a:pt x="334" y="166414"/>
                  <a:pt x="751" y="166414"/>
                </a:cubicBezTo>
                <a:cubicBezTo>
                  <a:pt x="1167" y="166414"/>
                  <a:pt x="1513" y="166081"/>
                  <a:pt x="1513" y="165664"/>
                </a:cubicBezTo>
                <a:lnTo>
                  <a:pt x="1513" y="751"/>
                </a:lnTo>
                <a:cubicBezTo>
                  <a:pt x="1513" y="334"/>
                  <a:pt x="1167" y="1"/>
                  <a:pt x="751" y="1"/>
                </a:cubicBezTo>
                <a:close/>
              </a:path>
            </a:pathLst>
          </a:custGeom>
          <a:solidFill>
            <a:schemeClr val="lt2"/>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grpSp>
        <p:nvGrpSpPr>
          <p:cNvPr id="67" name="Google Shape;67;p15"/>
          <p:cNvGrpSpPr/>
          <p:nvPr/>
        </p:nvGrpSpPr>
        <p:grpSpPr>
          <a:xfrm>
            <a:off x="5704105" y="4864768"/>
            <a:ext cx="5979895" cy="1492658"/>
            <a:chOff x="2723278" y="2387425"/>
            <a:chExt cx="2078594" cy="979041"/>
          </a:xfrm>
        </p:grpSpPr>
        <p:sp>
          <p:nvSpPr>
            <p:cNvPr id="68" name="Google Shape;68;p15"/>
            <p:cNvSpPr/>
            <p:nvPr/>
          </p:nvSpPr>
          <p:spPr>
            <a:xfrm>
              <a:off x="2723278" y="2405547"/>
              <a:ext cx="1980694" cy="960919"/>
            </a:xfrm>
            <a:custGeom>
              <a:avLst/>
              <a:gdLst/>
              <a:ahLst/>
              <a:cxnLst/>
              <a:rect l="l" t="t" r="r" b="b"/>
              <a:pathLst>
                <a:path w="51793" h="25127" extrusionOk="0">
                  <a:moveTo>
                    <a:pt x="18249" y="1"/>
                  </a:moveTo>
                  <a:cubicBezTo>
                    <a:pt x="16321" y="1"/>
                    <a:pt x="14715" y="1515"/>
                    <a:pt x="14657" y="3431"/>
                  </a:cubicBezTo>
                  <a:lnTo>
                    <a:pt x="14348" y="12599"/>
                  </a:lnTo>
                  <a:cubicBezTo>
                    <a:pt x="14312" y="13708"/>
                    <a:pt x="13396" y="14577"/>
                    <a:pt x="12283" y="14577"/>
                  </a:cubicBezTo>
                  <a:cubicBezTo>
                    <a:pt x="12261" y="14577"/>
                    <a:pt x="12239" y="14576"/>
                    <a:pt x="12216" y="14576"/>
                  </a:cubicBezTo>
                  <a:lnTo>
                    <a:pt x="8871" y="14468"/>
                  </a:lnTo>
                  <a:cubicBezTo>
                    <a:pt x="8121" y="14433"/>
                    <a:pt x="7466" y="14016"/>
                    <a:pt x="7132" y="13397"/>
                  </a:cubicBezTo>
                  <a:cubicBezTo>
                    <a:pt x="6501" y="12301"/>
                    <a:pt x="5334" y="11539"/>
                    <a:pt x="3965" y="11504"/>
                  </a:cubicBezTo>
                  <a:cubicBezTo>
                    <a:pt x="3921" y="11502"/>
                    <a:pt x="3876" y="11501"/>
                    <a:pt x="3832" y="11501"/>
                  </a:cubicBezTo>
                  <a:cubicBezTo>
                    <a:pt x="1807" y="11501"/>
                    <a:pt x="130" y="13084"/>
                    <a:pt x="60" y="15099"/>
                  </a:cubicBezTo>
                  <a:cubicBezTo>
                    <a:pt x="0" y="17159"/>
                    <a:pt x="1632" y="18886"/>
                    <a:pt x="3715" y="18957"/>
                  </a:cubicBezTo>
                  <a:cubicBezTo>
                    <a:pt x="3760" y="18959"/>
                    <a:pt x="3806" y="18959"/>
                    <a:pt x="3850" y="18959"/>
                  </a:cubicBezTo>
                  <a:cubicBezTo>
                    <a:pt x="5164" y="18959"/>
                    <a:pt x="6322" y="18291"/>
                    <a:pt x="7001" y="17266"/>
                  </a:cubicBezTo>
                  <a:cubicBezTo>
                    <a:pt x="7371" y="16700"/>
                    <a:pt x="8021" y="16325"/>
                    <a:pt x="8745" y="16325"/>
                  </a:cubicBezTo>
                  <a:cubicBezTo>
                    <a:pt x="8767" y="16325"/>
                    <a:pt x="8789" y="16325"/>
                    <a:pt x="8811" y="16326"/>
                  </a:cubicBezTo>
                  <a:lnTo>
                    <a:pt x="12157" y="16433"/>
                  </a:lnTo>
                  <a:cubicBezTo>
                    <a:pt x="13300" y="16469"/>
                    <a:pt x="14193" y="17421"/>
                    <a:pt x="14157" y="18540"/>
                  </a:cubicBezTo>
                  <a:lnTo>
                    <a:pt x="14097" y="20481"/>
                  </a:lnTo>
                  <a:cubicBezTo>
                    <a:pt x="14026" y="22434"/>
                    <a:pt x="15586" y="24077"/>
                    <a:pt x="17562" y="24148"/>
                  </a:cubicBezTo>
                  <a:lnTo>
                    <a:pt x="47459" y="25124"/>
                  </a:lnTo>
                  <a:cubicBezTo>
                    <a:pt x="47503" y="25126"/>
                    <a:pt x="47548" y="25127"/>
                    <a:pt x="47592" y="25127"/>
                  </a:cubicBezTo>
                  <a:cubicBezTo>
                    <a:pt x="49520" y="25127"/>
                    <a:pt x="51104" y="23616"/>
                    <a:pt x="51174" y="21695"/>
                  </a:cubicBezTo>
                  <a:lnTo>
                    <a:pt x="51733" y="4658"/>
                  </a:lnTo>
                  <a:cubicBezTo>
                    <a:pt x="51793" y="2693"/>
                    <a:pt x="50245" y="1050"/>
                    <a:pt x="48257" y="991"/>
                  </a:cubicBezTo>
                  <a:lnTo>
                    <a:pt x="18360" y="2"/>
                  </a:lnTo>
                  <a:cubicBezTo>
                    <a:pt x="18323" y="1"/>
                    <a:pt x="18286" y="1"/>
                    <a:pt x="18249" y="1"/>
                  </a:cubicBezTo>
                  <a:close/>
                </a:path>
              </a:pathLst>
            </a:custGeom>
            <a:solidFill>
              <a:srgbClr val="B7B7B7">
                <a:alpha val="55310"/>
              </a:srgbClr>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69" name="Google Shape;69;p15"/>
            <p:cNvSpPr/>
            <p:nvPr/>
          </p:nvSpPr>
          <p:spPr>
            <a:xfrm>
              <a:off x="4624272" y="2643417"/>
              <a:ext cx="177598" cy="256076"/>
            </a:xfrm>
            <a:custGeom>
              <a:avLst/>
              <a:gdLst/>
              <a:ahLst/>
              <a:cxnLst/>
              <a:rect l="l" t="t" r="r" b="b"/>
              <a:pathLst>
                <a:path w="4644" h="6014" extrusionOk="0">
                  <a:moveTo>
                    <a:pt x="0" y="1"/>
                  </a:moveTo>
                  <a:lnTo>
                    <a:pt x="0" y="6014"/>
                  </a:lnTo>
                  <a:lnTo>
                    <a:pt x="1643" y="6014"/>
                  </a:lnTo>
                  <a:cubicBezTo>
                    <a:pt x="3298" y="6014"/>
                    <a:pt x="4643" y="4668"/>
                    <a:pt x="4643" y="3001"/>
                  </a:cubicBezTo>
                  <a:cubicBezTo>
                    <a:pt x="4643" y="2180"/>
                    <a:pt x="4310" y="1430"/>
                    <a:pt x="3762" y="882"/>
                  </a:cubicBezTo>
                  <a:cubicBezTo>
                    <a:pt x="3215" y="334"/>
                    <a:pt x="2465" y="1"/>
                    <a:pt x="1643" y="1"/>
                  </a:cubicBezTo>
                  <a:close/>
                </a:path>
              </a:pathLst>
            </a:custGeom>
            <a:solidFill>
              <a:srgbClr val="1B1BBD"/>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70" name="Google Shape;70;p15"/>
            <p:cNvSpPr/>
            <p:nvPr/>
          </p:nvSpPr>
          <p:spPr>
            <a:xfrm>
              <a:off x="2725573" y="2387840"/>
              <a:ext cx="1939698" cy="923442"/>
            </a:xfrm>
            <a:custGeom>
              <a:avLst/>
              <a:gdLst/>
              <a:ahLst/>
              <a:cxnLst/>
              <a:rect l="l" t="t" r="r" b="b"/>
              <a:pathLst>
                <a:path w="50721" h="24147" extrusionOk="0">
                  <a:moveTo>
                    <a:pt x="17597" y="1"/>
                  </a:moveTo>
                  <a:cubicBezTo>
                    <a:pt x="15633" y="1"/>
                    <a:pt x="14037" y="1585"/>
                    <a:pt x="14037" y="3549"/>
                  </a:cubicBezTo>
                  <a:lnTo>
                    <a:pt x="14037" y="12717"/>
                  </a:lnTo>
                  <a:cubicBezTo>
                    <a:pt x="14037" y="13848"/>
                    <a:pt x="13121" y="14765"/>
                    <a:pt x="11990" y="14765"/>
                  </a:cubicBezTo>
                  <a:lnTo>
                    <a:pt x="8692" y="14765"/>
                  </a:lnTo>
                  <a:cubicBezTo>
                    <a:pt x="7941" y="14765"/>
                    <a:pt x="7287" y="14360"/>
                    <a:pt x="6929" y="13753"/>
                  </a:cubicBezTo>
                  <a:cubicBezTo>
                    <a:pt x="6275" y="12681"/>
                    <a:pt x="5084" y="11955"/>
                    <a:pt x="3739" y="11955"/>
                  </a:cubicBezTo>
                  <a:cubicBezTo>
                    <a:pt x="1679" y="11955"/>
                    <a:pt x="0" y="13634"/>
                    <a:pt x="0" y="15693"/>
                  </a:cubicBezTo>
                  <a:cubicBezTo>
                    <a:pt x="0" y="17753"/>
                    <a:pt x="1679" y="19420"/>
                    <a:pt x="3739" y="19420"/>
                  </a:cubicBezTo>
                  <a:cubicBezTo>
                    <a:pt x="5084" y="19420"/>
                    <a:pt x="6275" y="18706"/>
                    <a:pt x="6929" y="17622"/>
                  </a:cubicBezTo>
                  <a:cubicBezTo>
                    <a:pt x="7287" y="17027"/>
                    <a:pt x="7941" y="16622"/>
                    <a:pt x="8692" y="16622"/>
                  </a:cubicBezTo>
                  <a:lnTo>
                    <a:pt x="11990" y="16622"/>
                  </a:lnTo>
                  <a:cubicBezTo>
                    <a:pt x="13121" y="16622"/>
                    <a:pt x="14037" y="17539"/>
                    <a:pt x="14037" y="18670"/>
                  </a:cubicBezTo>
                  <a:lnTo>
                    <a:pt x="14037" y="20599"/>
                  </a:lnTo>
                  <a:cubicBezTo>
                    <a:pt x="14037" y="22551"/>
                    <a:pt x="15633" y="24147"/>
                    <a:pt x="17597" y="24147"/>
                  </a:cubicBezTo>
                  <a:lnTo>
                    <a:pt x="47173" y="24147"/>
                  </a:lnTo>
                  <a:cubicBezTo>
                    <a:pt x="49137" y="24147"/>
                    <a:pt x="50721" y="22551"/>
                    <a:pt x="50721" y="20599"/>
                  </a:cubicBezTo>
                  <a:lnTo>
                    <a:pt x="50721" y="3549"/>
                  </a:lnTo>
                  <a:cubicBezTo>
                    <a:pt x="50721" y="1585"/>
                    <a:pt x="49137" y="1"/>
                    <a:pt x="47173" y="1"/>
                  </a:cubicBezTo>
                  <a:close/>
                </a:path>
              </a:pathLst>
            </a:custGeom>
            <a:solidFill>
              <a:srgbClr val="FDFDFD"/>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71" name="Google Shape;71;p15"/>
            <p:cNvSpPr/>
            <p:nvPr/>
          </p:nvSpPr>
          <p:spPr>
            <a:xfrm>
              <a:off x="2752419" y="2871873"/>
              <a:ext cx="232247" cy="232247"/>
            </a:xfrm>
            <a:custGeom>
              <a:avLst/>
              <a:gdLst/>
              <a:ahLst/>
              <a:cxnLst/>
              <a:rect l="l" t="t" r="r" b="b"/>
              <a:pathLst>
                <a:path w="6073" h="6073" extrusionOk="0">
                  <a:moveTo>
                    <a:pt x="3037" y="0"/>
                  </a:moveTo>
                  <a:cubicBezTo>
                    <a:pt x="1358" y="0"/>
                    <a:pt x="0" y="1358"/>
                    <a:pt x="0" y="3036"/>
                  </a:cubicBezTo>
                  <a:cubicBezTo>
                    <a:pt x="0" y="4715"/>
                    <a:pt x="1358" y="6072"/>
                    <a:pt x="3037" y="6072"/>
                  </a:cubicBezTo>
                  <a:cubicBezTo>
                    <a:pt x="4715" y="6072"/>
                    <a:pt x="6073" y="4715"/>
                    <a:pt x="6073" y="3036"/>
                  </a:cubicBezTo>
                  <a:cubicBezTo>
                    <a:pt x="6073" y="1358"/>
                    <a:pt x="4715" y="0"/>
                    <a:pt x="3037" y="0"/>
                  </a:cubicBezTo>
                  <a:close/>
                </a:path>
              </a:pathLst>
            </a:custGeom>
            <a:solidFill>
              <a:srgbClr val="4949E7"/>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72" name="Google Shape;72;p15"/>
            <p:cNvSpPr/>
            <p:nvPr/>
          </p:nvSpPr>
          <p:spPr>
            <a:xfrm>
              <a:off x="3195458" y="2417319"/>
              <a:ext cx="1606414" cy="369126"/>
            </a:xfrm>
            <a:custGeom>
              <a:avLst/>
              <a:gdLst/>
              <a:ahLst/>
              <a:cxnLst/>
              <a:rect l="l" t="t" r="r" b="b"/>
              <a:pathLst>
                <a:path w="42006" h="8669" extrusionOk="0">
                  <a:moveTo>
                    <a:pt x="3001" y="1"/>
                  </a:moveTo>
                  <a:cubicBezTo>
                    <a:pt x="1465" y="1"/>
                    <a:pt x="191" y="1168"/>
                    <a:pt x="12" y="2656"/>
                  </a:cubicBezTo>
                  <a:cubicBezTo>
                    <a:pt x="0" y="2775"/>
                    <a:pt x="0" y="2894"/>
                    <a:pt x="0" y="3013"/>
                  </a:cubicBezTo>
                  <a:cubicBezTo>
                    <a:pt x="0" y="4680"/>
                    <a:pt x="1346" y="6025"/>
                    <a:pt x="3001" y="6025"/>
                  </a:cubicBezTo>
                  <a:lnTo>
                    <a:pt x="39005" y="6025"/>
                  </a:lnTo>
                  <a:cubicBezTo>
                    <a:pt x="39827" y="6025"/>
                    <a:pt x="40589" y="6359"/>
                    <a:pt x="41124" y="6906"/>
                  </a:cubicBezTo>
                  <a:cubicBezTo>
                    <a:pt x="41589" y="7371"/>
                    <a:pt x="41898" y="7990"/>
                    <a:pt x="41982" y="8668"/>
                  </a:cubicBezTo>
                  <a:lnTo>
                    <a:pt x="42005" y="8311"/>
                  </a:lnTo>
                  <a:lnTo>
                    <a:pt x="42005" y="3013"/>
                  </a:lnTo>
                  <a:cubicBezTo>
                    <a:pt x="42005" y="2192"/>
                    <a:pt x="41672" y="1430"/>
                    <a:pt x="41124" y="894"/>
                  </a:cubicBezTo>
                  <a:cubicBezTo>
                    <a:pt x="40589" y="346"/>
                    <a:pt x="39827" y="1"/>
                    <a:pt x="39005" y="1"/>
                  </a:cubicBezTo>
                  <a:close/>
                </a:path>
              </a:pathLst>
            </a:custGeom>
            <a:solidFill>
              <a:srgbClr val="B7B7B7">
                <a:alpha val="55310"/>
              </a:srgbClr>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73" name="Google Shape;73;p15"/>
            <p:cNvSpPr/>
            <p:nvPr/>
          </p:nvSpPr>
          <p:spPr>
            <a:xfrm>
              <a:off x="3195458" y="2387428"/>
              <a:ext cx="1606414" cy="383816"/>
            </a:xfrm>
            <a:custGeom>
              <a:avLst/>
              <a:gdLst/>
              <a:ahLst/>
              <a:cxnLst/>
              <a:rect l="l" t="t" r="r" b="b"/>
              <a:pathLst>
                <a:path w="42006" h="9014" extrusionOk="0">
                  <a:moveTo>
                    <a:pt x="3001" y="0"/>
                  </a:moveTo>
                  <a:cubicBezTo>
                    <a:pt x="1346" y="0"/>
                    <a:pt x="0" y="1346"/>
                    <a:pt x="0" y="3013"/>
                  </a:cubicBezTo>
                  <a:cubicBezTo>
                    <a:pt x="0" y="4668"/>
                    <a:pt x="1346" y="6013"/>
                    <a:pt x="3001" y="6013"/>
                  </a:cubicBezTo>
                  <a:lnTo>
                    <a:pt x="39005" y="6013"/>
                  </a:lnTo>
                  <a:cubicBezTo>
                    <a:pt x="39827" y="6013"/>
                    <a:pt x="40577" y="6346"/>
                    <a:pt x="41124" y="6894"/>
                  </a:cubicBezTo>
                  <a:cubicBezTo>
                    <a:pt x="41672" y="7442"/>
                    <a:pt x="42005" y="8192"/>
                    <a:pt x="42005" y="9013"/>
                  </a:cubicBezTo>
                  <a:lnTo>
                    <a:pt x="42005" y="3013"/>
                  </a:lnTo>
                  <a:cubicBezTo>
                    <a:pt x="42005" y="2179"/>
                    <a:pt x="41672" y="1429"/>
                    <a:pt x="41124" y="881"/>
                  </a:cubicBezTo>
                  <a:cubicBezTo>
                    <a:pt x="40577" y="334"/>
                    <a:pt x="39827" y="0"/>
                    <a:pt x="39005" y="0"/>
                  </a:cubicBezTo>
                  <a:close/>
                </a:path>
              </a:pathLst>
            </a:custGeom>
            <a:solidFill>
              <a:srgbClr val="4949E7"/>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74" name="Google Shape;74;p15"/>
            <p:cNvSpPr txBox="1"/>
            <p:nvPr/>
          </p:nvSpPr>
          <p:spPr>
            <a:xfrm>
              <a:off x="3265722" y="2715750"/>
              <a:ext cx="1390200" cy="534900"/>
            </a:xfrm>
            <a:prstGeom prst="rect">
              <a:avLst/>
            </a:prstGeom>
            <a:no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Understand versioning of DCTs and importance of tools review</a:t>
              </a:r>
            </a:p>
          </p:txBody>
        </p:sp>
        <p:sp>
          <p:nvSpPr>
            <p:cNvPr id="75" name="Google Shape;75;p15"/>
            <p:cNvSpPr txBox="1"/>
            <p:nvPr/>
          </p:nvSpPr>
          <p:spPr>
            <a:xfrm>
              <a:off x="3195450" y="2387425"/>
              <a:ext cx="1469700" cy="255900"/>
            </a:xfrm>
            <a:prstGeom prst="rect">
              <a:avLst/>
            </a:prstGeom>
            <a:no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400" b="0" i="0" u="none" strike="noStrike" kern="1200" cap="none" spc="0" normalizeH="0" baseline="0" noProof="0" dirty="0">
                  <a:ln>
                    <a:noFill/>
                  </a:ln>
                  <a:solidFill>
                    <a:srgbClr val="FFFFFF"/>
                  </a:solidFill>
                  <a:effectLst/>
                  <a:uLnTx/>
                  <a:uFillTx/>
                  <a:latin typeface="Fira Sans Extra Condensed Medium"/>
                  <a:ea typeface="Fira Sans Extra Condensed Medium"/>
                  <a:cs typeface="Fira Sans Extra Condensed Medium"/>
                  <a:sym typeface="Fira Sans Extra Condensed Medium"/>
                </a:rPr>
                <a:t>Four</a:t>
              </a:r>
              <a:endParaRPr kumimoji="0" sz="2400" b="0" i="0" u="none" strike="noStrike" kern="1200" cap="none" spc="0" normalizeH="0" baseline="0" noProof="0" dirty="0">
                <a:ln>
                  <a:noFill/>
                </a:ln>
                <a:solidFill>
                  <a:srgbClr val="FFFFFF"/>
                </a:solidFill>
                <a:effectLst/>
                <a:uLnTx/>
                <a:uFillTx/>
                <a:latin typeface="Fira Sans Extra Condensed Medium"/>
                <a:ea typeface="Fira Sans Extra Condensed Medium"/>
                <a:cs typeface="Fira Sans Extra Condensed Medium"/>
                <a:sym typeface="Fira Sans Extra Condensed Medium"/>
              </a:endParaRPr>
            </a:p>
          </p:txBody>
        </p:sp>
      </p:grpSp>
      <p:grpSp>
        <p:nvGrpSpPr>
          <p:cNvPr id="76" name="Google Shape;76;p15"/>
          <p:cNvGrpSpPr/>
          <p:nvPr/>
        </p:nvGrpSpPr>
        <p:grpSpPr>
          <a:xfrm>
            <a:off x="5669265" y="2520776"/>
            <a:ext cx="5980867" cy="1521517"/>
            <a:chOff x="2723278" y="1150750"/>
            <a:chExt cx="2078594" cy="979497"/>
          </a:xfrm>
        </p:grpSpPr>
        <p:sp>
          <p:nvSpPr>
            <p:cNvPr id="77" name="Google Shape;77;p15"/>
            <p:cNvSpPr/>
            <p:nvPr/>
          </p:nvSpPr>
          <p:spPr>
            <a:xfrm>
              <a:off x="2723278" y="1169328"/>
              <a:ext cx="1980694" cy="960919"/>
            </a:xfrm>
            <a:custGeom>
              <a:avLst/>
              <a:gdLst/>
              <a:ahLst/>
              <a:cxnLst/>
              <a:rect l="l" t="t" r="r" b="b"/>
              <a:pathLst>
                <a:path w="51793" h="25127" extrusionOk="0">
                  <a:moveTo>
                    <a:pt x="18228" y="1"/>
                  </a:moveTo>
                  <a:cubicBezTo>
                    <a:pt x="16310" y="1"/>
                    <a:pt x="14715" y="1511"/>
                    <a:pt x="14657" y="3432"/>
                  </a:cubicBezTo>
                  <a:lnTo>
                    <a:pt x="14348" y="12588"/>
                  </a:lnTo>
                  <a:cubicBezTo>
                    <a:pt x="14312" y="13697"/>
                    <a:pt x="13396" y="14565"/>
                    <a:pt x="12283" y="14565"/>
                  </a:cubicBezTo>
                  <a:cubicBezTo>
                    <a:pt x="12261" y="14565"/>
                    <a:pt x="12239" y="14565"/>
                    <a:pt x="12216" y="14564"/>
                  </a:cubicBezTo>
                  <a:lnTo>
                    <a:pt x="8871" y="14457"/>
                  </a:lnTo>
                  <a:cubicBezTo>
                    <a:pt x="8121" y="14433"/>
                    <a:pt x="7466" y="14005"/>
                    <a:pt x="7132" y="13397"/>
                  </a:cubicBezTo>
                  <a:cubicBezTo>
                    <a:pt x="6501" y="12302"/>
                    <a:pt x="5334" y="11540"/>
                    <a:pt x="3965" y="11492"/>
                  </a:cubicBezTo>
                  <a:cubicBezTo>
                    <a:pt x="3921" y="11491"/>
                    <a:pt x="3877" y="11490"/>
                    <a:pt x="3833" y="11490"/>
                  </a:cubicBezTo>
                  <a:cubicBezTo>
                    <a:pt x="1808" y="11490"/>
                    <a:pt x="130" y="13084"/>
                    <a:pt x="60" y="15100"/>
                  </a:cubicBezTo>
                  <a:cubicBezTo>
                    <a:pt x="0" y="17160"/>
                    <a:pt x="1632" y="18886"/>
                    <a:pt x="3715" y="18958"/>
                  </a:cubicBezTo>
                  <a:cubicBezTo>
                    <a:pt x="3750" y="18959"/>
                    <a:pt x="3784" y="18959"/>
                    <a:pt x="3818" y="18959"/>
                  </a:cubicBezTo>
                  <a:cubicBezTo>
                    <a:pt x="5145" y="18959"/>
                    <a:pt x="6317" y="18288"/>
                    <a:pt x="7001" y="17267"/>
                  </a:cubicBezTo>
                  <a:cubicBezTo>
                    <a:pt x="7371" y="16690"/>
                    <a:pt x="8020" y="16325"/>
                    <a:pt x="8743" y="16325"/>
                  </a:cubicBezTo>
                  <a:cubicBezTo>
                    <a:pt x="8765" y="16325"/>
                    <a:pt x="8788" y="16326"/>
                    <a:pt x="8811" y="16326"/>
                  </a:cubicBezTo>
                  <a:lnTo>
                    <a:pt x="12157" y="16434"/>
                  </a:lnTo>
                  <a:cubicBezTo>
                    <a:pt x="13300" y="16469"/>
                    <a:pt x="14193" y="17410"/>
                    <a:pt x="14157" y="18541"/>
                  </a:cubicBezTo>
                  <a:lnTo>
                    <a:pt x="14097" y="20470"/>
                  </a:lnTo>
                  <a:cubicBezTo>
                    <a:pt x="14026" y="22434"/>
                    <a:pt x="15586" y="24077"/>
                    <a:pt x="17562" y="24137"/>
                  </a:cubicBezTo>
                  <a:lnTo>
                    <a:pt x="47459" y="25125"/>
                  </a:lnTo>
                  <a:cubicBezTo>
                    <a:pt x="47496" y="25126"/>
                    <a:pt x="47533" y="25127"/>
                    <a:pt x="47570" y="25127"/>
                  </a:cubicBezTo>
                  <a:cubicBezTo>
                    <a:pt x="49509" y="25127"/>
                    <a:pt x="51103" y="23612"/>
                    <a:pt x="51174" y="21696"/>
                  </a:cubicBezTo>
                  <a:lnTo>
                    <a:pt x="51733" y="4646"/>
                  </a:lnTo>
                  <a:cubicBezTo>
                    <a:pt x="51793" y="2694"/>
                    <a:pt x="50245" y="1051"/>
                    <a:pt x="48257" y="979"/>
                  </a:cubicBezTo>
                  <a:lnTo>
                    <a:pt x="18360" y="3"/>
                  </a:lnTo>
                  <a:cubicBezTo>
                    <a:pt x="18316" y="1"/>
                    <a:pt x="18271" y="1"/>
                    <a:pt x="18228" y="1"/>
                  </a:cubicBezTo>
                  <a:close/>
                </a:path>
              </a:pathLst>
            </a:custGeom>
            <a:solidFill>
              <a:srgbClr val="B7B7B7">
                <a:alpha val="55310"/>
              </a:srgbClr>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78" name="Google Shape;78;p15"/>
            <p:cNvSpPr/>
            <p:nvPr/>
          </p:nvSpPr>
          <p:spPr>
            <a:xfrm>
              <a:off x="4624272" y="1406505"/>
              <a:ext cx="177598" cy="256316"/>
            </a:xfrm>
            <a:custGeom>
              <a:avLst/>
              <a:gdLst/>
              <a:ahLst/>
              <a:cxnLst/>
              <a:rect l="l" t="t" r="r" b="b"/>
              <a:pathLst>
                <a:path w="4644" h="6026" extrusionOk="0">
                  <a:moveTo>
                    <a:pt x="0" y="1"/>
                  </a:moveTo>
                  <a:lnTo>
                    <a:pt x="0" y="6025"/>
                  </a:lnTo>
                  <a:lnTo>
                    <a:pt x="1643" y="6025"/>
                  </a:lnTo>
                  <a:cubicBezTo>
                    <a:pt x="3298" y="6025"/>
                    <a:pt x="4643" y="4668"/>
                    <a:pt x="4643" y="3013"/>
                  </a:cubicBezTo>
                  <a:cubicBezTo>
                    <a:pt x="4643" y="2179"/>
                    <a:pt x="4310" y="1429"/>
                    <a:pt x="3762" y="894"/>
                  </a:cubicBezTo>
                  <a:cubicBezTo>
                    <a:pt x="3215" y="346"/>
                    <a:pt x="2465" y="1"/>
                    <a:pt x="1643" y="1"/>
                  </a:cubicBezTo>
                  <a:close/>
                </a:path>
              </a:pathLst>
            </a:custGeom>
            <a:solidFill>
              <a:srgbClr val="20C33F"/>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79" name="Google Shape;79;p15"/>
            <p:cNvSpPr/>
            <p:nvPr/>
          </p:nvSpPr>
          <p:spPr>
            <a:xfrm>
              <a:off x="2725573" y="1151201"/>
              <a:ext cx="1939698" cy="923901"/>
            </a:xfrm>
            <a:custGeom>
              <a:avLst/>
              <a:gdLst/>
              <a:ahLst/>
              <a:cxnLst/>
              <a:rect l="l" t="t" r="r" b="b"/>
              <a:pathLst>
                <a:path w="50721" h="24159" extrusionOk="0">
                  <a:moveTo>
                    <a:pt x="17597" y="1"/>
                  </a:moveTo>
                  <a:cubicBezTo>
                    <a:pt x="15633" y="1"/>
                    <a:pt x="14037" y="1596"/>
                    <a:pt x="14037" y="3561"/>
                  </a:cubicBezTo>
                  <a:lnTo>
                    <a:pt x="14037" y="12717"/>
                  </a:lnTo>
                  <a:cubicBezTo>
                    <a:pt x="14037" y="13848"/>
                    <a:pt x="13121" y="14764"/>
                    <a:pt x="11990" y="14764"/>
                  </a:cubicBezTo>
                  <a:lnTo>
                    <a:pt x="8692" y="14764"/>
                  </a:lnTo>
                  <a:cubicBezTo>
                    <a:pt x="7941" y="14764"/>
                    <a:pt x="7287" y="14360"/>
                    <a:pt x="6929" y="13764"/>
                  </a:cubicBezTo>
                  <a:cubicBezTo>
                    <a:pt x="6275" y="12681"/>
                    <a:pt x="5084" y="11966"/>
                    <a:pt x="3739" y="11966"/>
                  </a:cubicBezTo>
                  <a:cubicBezTo>
                    <a:pt x="1679" y="11966"/>
                    <a:pt x="0" y="13633"/>
                    <a:pt x="0" y="15693"/>
                  </a:cubicBezTo>
                  <a:cubicBezTo>
                    <a:pt x="0" y="17753"/>
                    <a:pt x="1679" y="19432"/>
                    <a:pt x="3739" y="19432"/>
                  </a:cubicBezTo>
                  <a:cubicBezTo>
                    <a:pt x="5084" y="19432"/>
                    <a:pt x="6275" y="18705"/>
                    <a:pt x="6929" y="17634"/>
                  </a:cubicBezTo>
                  <a:cubicBezTo>
                    <a:pt x="7287" y="17027"/>
                    <a:pt x="7941" y="16634"/>
                    <a:pt x="8692" y="16634"/>
                  </a:cubicBezTo>
                  <a:lnTo>
                    <a:pt x="11990" y="16634"/>
                  </a:lnTo>
                  <a:cubicBezTo>
                    <a:pt x="13121" y="16634"/>
                    <a:pt x="14037" y="17539"/>
                    <a:pt x="14037" y="18670"/>
                  </a:cubicBezTo>
                  <a:lnTo>
                    <a:pt x="14037" y="20598"/>
                  </a:lnTo>
                  <a:cubicBezTo>
                    <a:pt x="14037" y="22563"/>
                    <a:pt x="15633" y="24158"/>
                    <a:pt x="17597" y="24158"/>
                  </a:cubicBezTo>
                  <a:lnTo>
                    <a:pt x="47173" y="24158"/>
                  </a:lnTo>
                  <a:cubicBezTo>
                    <a:pt x="49137" y="24158"/>
                    <a:pt x="50721" y="22563"/>
                    <a:pt x="50721" y="20598"/>
                  </a:cubicBezTo>
                  <a:lnTo>
                    <a:pt x="50721" y="3561"/>
                  </a:lnTo>
                  <a:cubicBezTo>
                    <a:pt x="50721" y="1596"/>
                    <a:pt x="49137" y="1"/>
                    <a:pt x="47173" y="1"/>
                  </a:cubicBezTo>
                  <a:close/>
                </a:path>
              </a:pathLst>
            </a:custGeom>
            <a:solidFill>
              <a:srgbClr val="FDFDFD"/>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80" name="Google Shape;80;p15"/>
            <p:cNvSpPr/>
            <p:nvPr/>
          </p:nvSpPr>
          <p:spPr>
            <a:xfrm>
              <a:off x="2752419" y="1635195"/>
              <a:ext cx="232247" cy="232285"/>
            </a:xfrm>
            <a:custGeom>
              <a:avLst/>
              <a:gdLst/>
              <a:ahLst/>
              <a:cxnLst/>
              <a:rect l="l" t="t" r="r" b="b"/>
              <a:pathLst>
                <a:path w="6073" h="6074" extrusionOk="0">
                  <a:moveTo>
                    <a:pt x="3037" y="1"/>
                  </a:moveTo>
                  <a:cubicBezTo>
                    <a:pt x="1358" y="1"/>
                    <a:pt x="0" y="1358"/>
                    <a:pt x="0" y="3037"/>
                  </a:cubicBezTo>
                  <a:cubicBezTo>
                    <a:pt x="0" y="4716"/>
                    <a:pt x="1358" y="6073"/>
                    <a:pt x="3037" y="6073"/>
                  </a:cubicBezTo>
                  <a:cubicBezTo>
                    <a:pt x="4715" y="6073"/>
                    <a:pt x="6073" y="4716"/>
                    <a:pt x="6073" y="3037"/>
                  </a:cubicBezTo>
                  <a:cubicBezTo>
                    <a:pt x="6073" y="1358"/>
                    <a:pt x="4715" y="1"/>
                    <a:pt x="3037" y="1"/>
                  </a:cubicBezTo>
                  <a:close/>
                </a:path>
              </a:pathLst>
            </a:custGeom>
            <a:solidFill>
              <a:srgbClr val="69E78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81" name="Google Shape;81;p15"/>
            <p:cNvSpPr/>
            <p:nvPr/>
          </p:nvSpPr>
          <p:spPr>
            <a:xfrm>
              <a:off x="3195458" y="1181162"/>
              <a:ext cx="1606414" cy="368736"/>
            </a:xfrm>
            <a:custGeom>
              <a:avLst/>
              <a:gdLst/>
              <a:ahLst/>
              <a:cxnLst/>
              <a:rect l="l" t="t" r="r" b="b"/>
              <a:pathLst>
                <a:path w="42006" h="8669" extrusionOk="0">
                  <a:moveTo>
                    <a:pt x="3001" y="0"/>
                  </a:moveTo>
                  <a:cubicBezTo>
                    <a:pt x="1465" y="0"/>
                    <a:pt x="191" y="1155"/>
                    <a:pt x="12" y="2655"/>
                  </a:cubicBezTo>
                  <a:cubicBezTo>
                    <a:pt x="0" y="2775"/>
                    <a:pt x="0" y="2894"/>
                    <a:pt x="0" y="3013"/>
                  </a:cubicBezTo>
                  <a:cubicBezTo>
                    <a:pt x="0" y="4668"/>
                    <a:pt x="1346" y="6013"/>
                    <a:pt x="3001" y="6013"/>
                  </a:cubicBezTo>
                  <a:lnTo>
                    <a:pt x="39005" y="6013"/>
                  </a:lnTo>
                  <a:cubicBezTo>
                    <a:pt x="39827" y="6013"/>
                    <a:pt x="40589" y="6358"/>
                    <a:pt x="41124" y="6894"/>
                  </a:cubicBezTo>
                  <a:cubicBezTo>
                    <a:pt x="41589" y="7358"/>
                    <a:pt x="41898" y="7978"/>
                    <a:pt x="41982" y="8668"/>
                  </a:cubicBezTo>
                  <a:lnTo>
                    <a:pt x="42005" y="8311"/>
                  </a:lnTo>
                  <a:lnTo>
                    <a:pt x="42005" y="3013"/>
                  </a:lnTo>
                  <a:cubicBezTo>
                    <a:pt x="42005" y="2179"/>
                    <a:pt x="41672" y="1429"/>
                    <a:pt x="41124" y="881"/>
                  </a:cubicBezTo>
                  <a:cubicBezTo>
                    <a:pt x="40589" y="346"/>
                    <a:pt x="39827" y="0"/>
                    <a:pt x="39005" y="0"/>
                  </a:cubicBezTo>
                  <a:close/>
                </a:path>
              </a:pathLst>
            </a:custGeom>
            <a:solidFill>
              <a:srgbClr val="B7B7B7">
                <a:alpha val="55310"/>
              </a:srgbClr>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82" name="Google Shape;82;p15"/>
            <p:cNvSpPr/>
            <p:nvPr/>
          </p:nvSpPr>
          <p:spPr>
            <a:xfrm>
              <a:off x="3195458" y="1150750"/>
              <a:ext cx="1606414" cy="383921"/>
            </a:xfrm>
            <a:custGeom>
              <a:avLst/>
              <a:gdLst/>
              <a:ahLst/>
              <a:cxnLst/>
              <a:rect l="l" t="t" r="r" b="b"/>
              <a:pathLst>
                <a:path w="42006" h="9026" extrusionOk="0">
                  <a:moveTo>
                    <a:pt x="3001" y="1"/>
                  </a:moveTo>
                  <a:cubicBezTo>
                    <a:pt x="1346" y="1"/>
                    <a:pt x="0" y="1346"/>
                    <a:pt x="0" y="3013"/>
                  </a:cubicBezTo>
                  <a:cubicBezTo>
                    <a:pt x="0" y="4668"/>
                    <a:pt x="1346" y="6014"/>
                    <a:pt x="3001" y="6014"/>
                  </a:cubicBezTo>
                  <a:lnTo>
                    <a:pt x="39005" y="6014"/>
                  </a:lnTo>
                  <a:cubicBezTo>
                    <a:pt x="39827" y="6014"/>
                    <a:pt x="40577" y="6359"/>
                    <a:pt x="41124" y="6907"/>
                  </a:cubicBezTo>
                  <a:cubicBezTo>
                    <a:pt x="41672" y="7442"/>
                    <a:pt x="42005" y="8192"/>
                    <a:pt x="42005" y="9026"/>
                  </a:cubicBezTo>
                  <a:lnTo>
                    <a:pt x="42005" y="3013"/>
                  </a:lnTo>
                  <a:cubicBezTo>
                    <a:pt x="42005" y="2180"/>
                    <a:pt x="41672" y="1430"/>
                    <a:pt x="41124" y="882"/>
                  </a:cubicBezTo>
                  <a:cubicBezTo>
                    <a:pt x="40577" y="346"/>
                    <a:pt x="39827" y="1"/>
                    <a:pt x="39005" y="1"/>
                  </a:cubicBezTo>
                  <a:close/>
                </a:path>
              </a:pathLst>
            </a:custGeom>
            <a:solidFill>
              <a:srgbClr val="69E78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83" name="Google Shape;83;p15"/>
            <p:cNvSpPr txBox="1"/>
            <p:nvPr/>
          </p:nvSpPr>
          <p:spPr>
            <a:xfrm>
              <a:off x="3265722" y="1475500"/>
              <a:ext cx="1390200" cy="534900"/>
            </a:xfrm>
            <a:prstGeom prst="rect">
              <a:avLst/>
            </a:prstGeom>
            <a:no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Understand the source document used in filling/updating the registers</a:t>
              </a:r>
            </a:p>
          </p:txBody>
        </p:sp>
        <p:sp>
          <p:nvSpPr>
            <p:cNvPr id="84" name="Google Shape;84;p15"/>
            <p:cNvSpPr txBox="1"/>
            <p:nvPr/>
          </p:nvSpPr>
          <p:spPr>
            <a:xfrm>
              <a:off x="3195450" y="1150750"/>
              <a:ext cx="1469700" cy="255900"/>
            </a:xfrm>
            <a:prstGeom prst="rect">
              <a:avLst/>
            </a:prstGeom>
            <a:no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400" b="0" i="0" u="none" strike="noStrike" kern="1200" cap="none" spc="0" normalizeH="0" baseline="0" noProof="0" dirty="0">
                  <a:ln>
                    <a:noFill/>
                  </a:ln>
                  <a:solidFill>
                    <a:srgbClr val="FFFFFF"/>
                  </a:solidFill>
                  <a:effectLst/>
                  <a:uLnTx/>
                  <a:uFillTx/>
                  <a:latin typeface="Fira Sans Extra Condensed Medium"/>
                  <a:ea typeface="Fira Sans Extra Condensed Medium"/>
                  <a:cs typeface="Fira Sans Extra Condensed Medium"/>
                  <a:sym typeface="Fira Sans Extra Condensed Medium"/>
                </a:rPr>
                <a:t>Two</a:t>
              </a:r>
              <a:endParaRPr kumimoji="0" sz="2400" b="0" i="0" u="none" strike="noStrike" kern="1200" cap="none" spc="0" normalizeH="0" baseline="0" noProof="0" dirty="0">
                <a:ln>
                  <a:noFill/>
                </a:ln>
                <a:solidFill>
                  <a:srgbClr val="FFFFFF"/>
                </a:solidFill>
                <a:effectLst/>
                <a:uLnTx/>
                <a:uFillTx/>
                <a:latin typeface="Fira Sans Extra Condensed Medium"/>
                <a:ea typeface="Fira Sans Extra Condensed Medium"/>
                <a:cs typeface="Fira Sans Extra Condensed Medium"/>
                <a:sym typeface="Fira Sans Extra Condensed Medium"/>
              </a:endParaRPr>
            </a:p>
          </p:txBody>
        </p:sp>
      </p:grpSp>
      <p:grpSp>
        <p:nvGrpSpPr>
          <p:cNvPr id="85" name="Google Shape;85;p15"/>
          <p:cNvGrpSpPr/>
          <p:nvPr/>
        </p:nvGrpSpPr>
        <p:grpSpPr>
          <a:xfrm>
            <a:off x="1003238" y="1623274"/>
            <a:ext cx="5386752" cy="1305395"/>
            <a:chOff x="933838" y="532900"/>
            <a:chExt cx="2079971" cy="979046"/>
          </a:xfrm>
        </p:grpSpPr>
        <p:sp>
          <p:nvSpPr>
            <p:cNvPr id="86" name="Google Shape;86;p15"/>
            <p:cNvSpPr/>
            <p:nvPr/>
          </p:nvSpPr>
          <p:spPr>
            <a:xfrm>
              <a:off x="1033115" y="551027"/>
              <a:ext cx="1980694" cy="960919"/>
            </a:xfrm>
            <a:custGeom>
              <a:avLst/>
              <a:gdLst/>
              <a:ahLst/>
              <a:cxnLst/>
              <a:rect l="l" t="t" r="r" b="b"/>
              <a:pathLst>
                <a:path w="51793" h="25127" extrusionOk="0">
                  <a:moveTo>
                    <a:pt x="33544" y="1"/>
                  </a:moveTo>
                  <a:cubicBezTo>
                    <a:pt x="33507" y="1"/>
                    <a:pt x="33470" y="1"/>
                    <a:pt x="33433" y="2"/>
                  </a:cubicBezTo>
                  <a:lnTo>
                    <a:pt x="3537" y="990"/>
                  </a:lnTo>
                  <a:cubicBezTo>
                    <a:pt x="1548" y="1050"/>
                    <a:pt x="0" y="2693"/>
                    <a:pt x="60" y="4658"/>
                  </a:cubicBezTo>
                  <a:lnTo>
                    <a:pt x="620" y="21695"/>
                  </a:lnTo>
                  <a:cubicBezTo>
                    <a:pt x="690" y="23611"/>
                    <a:pt x="2284" y="25126"/>
                    <a:pt x="4211" y="25126"/>
                  </a:cubicBezTo>
                  <a:cubicBezTo>
                    <a:pt x="4248" y="25126"/>
                    <a:pt x="4285" y="25126"/>
                    <a:pt x="4322" y="25124"/>
                  </a:cubicBezTo>
                  <a:lnTo>
                    <a:pt x="34231" y="24136"/>
                  </a:lnTo>
                  <a:cubicBezTo>
                    <a:pt x="36207" y="24077"/>
                    <a:pt x="37767" y="22434"/>
                    <a:pt x="37696" y="20469"/>
                  </a:cubicBezTo>
                  <a:lnTo>
                    <a:pt x="37636" y="18540"/>
                  </a:lnTo>
                  <a:cubicBezTo>
                    <a:pt x="37600" y="17409"/>
                    <a:pt x="38493" y="16469"/>
                    <a:pt x="39636" y="16433"/>
                  </a:cubicBezTo>
                  <a:lnTo>
                    <a:pt x="42982" y="16326"/>
                  </a:lnTo>
                  <a:cubicBezTo>
                    <a:pt x="43004" y="16325"/>
                    <a:pt x="43026" y="16325"/>
                    <a:pt x="43049" y="16325"/>
                  </a:cubicBezTo>
                  <a:cubicBezTo>
                    <a:pt x="43772" y="16325"/>
                    <a:pt x="44422" y="16700"/>
                    <a:pt x="44792" y="17266"/>
                  </a:cubicBezTo>
                  <a:cubicBezTo>
                    <a:pt x="45460" y="18291"/>
                    <a:pt x="46628" y="18959"/>
                    <a:pt x="47943" y="18959"/>
                  </a:cubicBezTo>
                  <a:cubicBezTo>
                    <a:pt x="47988" y="18959"/>
                    <a:pt x="48033" y="18959"/>
                    <a:pt x="48078" y="18957"/>
                  </a:cubicBezTo>
                  <a:cubicBezTo>
                    <a:pt x="50162" y="18886"/>
                    <a:pt x="51793" y="17159"/>
                    <a:pt x="51721" y="15099"/>
                  </a:cubicBezTo>
                  <a:cubicBezTo>
                    <a:pt x="51663" y="13077"/>
                    <a:pt x="49974" y="11490"/>
                    <a:pt x="47940" y="11490"/>
                  </a:cubicBezTo>
                  <a:cubicBezTo>
                    <a:pt x="47903" y="11490"/>
                    <a:pt x="47865" y="11491"/>
                    <a:pt x="47828" y="11492"/>
                  </a:cubicBezTo>
                  <a:cubicBezTo>
                    <a:pt x="46459" y="11539"/>
                    <a:pt x="45292" y="12301"/>
                    <a:pt x="44661" y="13397"/>
                  </a:cubicBezTo>
                  <a:cubicBezTo>
                    <a:pt x="44327" y="14004"/>
                    <a:pt x="43673" y="14433"/>
                    <a:pt x="42911" y="14456"/>
                  </a:cubicBezTo>
                  <a:lnTo>
                    <a:pt x="39577" y="14575"/>
                  </a:lnTo>
                  <a:cubicBezTo>
                    <a:pt x="39555" y="14576"/>
                    <a:pt x="39533" y="14577"/>
                    <a:pt x="39511" y="14577"/>
                  </a:cubicBezTo>
                  <a:cubicBezTo>
                    <a:pt x="38397" y="14577"/>
                    <a:pt x="37480" y="13697"/>
                    <a:pt x="37434" y="12599"/>
                  </a:cubicBezTo>
                  <a:lnTo>
                    <a:pt x="37136" y="3431"/>
                  </a:lnTo>
                  <a:cubicBezTo>
                    <a:pt x="37078" y="1515"/>
                    <a:pt x="35472" y="1"/>
                    <a:pt x="33544" y="1"/>
                  </a:cubicBezTo>
                  <a:close/>
                </a:path>
              </a:pathLst>
            </a:custGeom>
            <a:solidFill>
              <a:srgbClr val="B7B7B7">
                <a:alpha val="55310"/>
              </a:srgbClr>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87" name="Google Shape;87;p15"/>
            <p:cNvSpPr/>
            <p:nvPr/>
          </p:nvSpPr>
          <p:spPr>
            <a:xfrm>
              <a:off x="933838" y="788897"/>
              <a:ext cx="177598" cy="256076"/>
            </a:xfrm>
            <a:custGeom>
              <a:avLst/>
              <a:gdLst/>
              <a:ahLst/>
              <a:cxnLst/>
              <a:rect l="l" t="t" r="r" b="b"/>
              <a:pathLst>
                <a:path w="4644" h="6014" extrusionOk="0">
                  <a:moveTo>
                    <a:pt x="3001" y="1"/>
                  </a:moveTo>
                  <a:cubicBezTo>
                    <a:pt x="2168" y="1"/>
                    <a:pt x="1417" y="334"/>
                    <a:pt x="882" y="882"/>
                  </a:cubicBezTo>
                  <a:cubicBezTo>
                    <a:pt x="334" y="1418"/>
                    <a:pt x="1" y="2180"/>
                    <a:pt x="1" y="3001"/>
                  </a:cubicBezTo>
                  <a:cubicBezTo>
                    <a:pt x="1" y="4668"/>
                    <a:pt x="1346" y="6014"/>
                    <a:pt x="3001" y="6014"/>
                  </a:cubicBezTo>
                  <a:lnTo>
                    <a:pt x="4644" y="6014"/>
                  </a:lnTo>
                  <a:lnTo>
                    <a:pt x="4644" y="1"/>
                  </a:lnTo>
                  <a:close/>
                </a:path>
              </a:pathLst>
            </a:custGeom>
            <a:solidFill>
              <a:srgbClr val="EB7D16"/>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88" name="Google Shape;88;p15"/>
            <p:cNvSpPr/>
            <p:nvPr/>
          </p:nvSpPr>
          <p:spPr>
            <a:xfrm>
              <a:off x="1071816" y="532900"/>
              <a:ext cx="1939277" cy="923862"/>
            </a:xfrm>
            <a:custGeom>
              <a:avLst/>
              <a:gdLst/>
              <a:ahLst/>
              <a:cxnLst/>
              <a:rect l="l" t="t" r="r" b="b"/>
              <a:pathLst>
                <a:path w="50710" h="24158" extrusionOk="0">
                  <a:moveTo>
                    <a:pt x="3549" y="0"/>
                  </a:moveTo>
                  <a:cubicBezTo>
                    <a:pt x="1584" y="0"/>
                    <a:pt x="1" y="1595"/>
                    <a:pt x="1" y="3560"/>
                  </a:cubicBezTo>
                  <a:lnTo>
                    <a:pt x="1" y="20610"/>
                  </a:lnTo>
                  <a:cubicBezTo>
                    <a:pt x="1" y="22562"/>
                    <a:pt x="1584" y="24158"/>
                    <a:pt x="3549" y="24158"/>
                  </a:cubicBezTo>
                  <a:lnTo>
                    <a:pt x="33124" y="24158"/>
                  </a:lnTo>
                  <a:cubicBezTo>
                    <a:pt x="35088" y="24158"/>
                    <a:pt x="36684" y="22562"/>
                    <a:pt x="36684" y="20610"/>
                  </a:cubicBezTo>
                  <a:lnTo>
                    <a:pt x="36684" y="18669"/>
                  </a:lnTo>
                  <a:cubicBezTo>
                    <a:pt x="36684" y="17550"/>
                    <a:pt x="37600" y="16633"/>
                    <a:pt x="38720" y="16633"/>
                  </a:cubicBezTo>
                  <a:lnTo>
                    <a:pt x="42030" y="16633"/>
                  </a:lnTo>
                  <a:cubicBezTo>
                    <a:pt x="42780" y="16633"/>
                    <a:pt x="43435" y="17038"/>
                    <a:pt x="43792" y="17633"/>
                  </a:cubicBezTo>
                  <a:cubicBezTo>
                    <a:pt x="44447" y="18705"/>
                    <a:pt x="45625" y="19431"/>
                    <a:pt x="46983" y="19431"/>
                  </a:cubicBezTo>
                  <a:cubicBezTo>
                    <a:pt x="49042" y="19431"/>
                    <a:pt x="50709" y="17752"/>
                    <a:pt x="50709" y="15692"/>
                  </a:cubicBezTo>
                  <a:cubicBezTo>
                    <a:pt x="50709" y="13633"/>
                    <a:pt x="49042" y="11966"/>
                    <a:pt x="46983" y="11966"/>
                  </a:cubicBezTo>
                  <a:cubicBezTo>
                    <a:pt x="45625" y="11966"/>
                    <a:pt x="44447" y="12692"/>
                    <a:pt x="43792" y="13764"/>
                  </a:cubicBezTo>
                  <a:cubicBezTo>
                    <a:pt x="43435" y="14359"/>
                    <a:pt x="42780" y="14764"/>
                    <a:pt x="42030" y="14764"/>
                  </a:cubicBezTo>
                  <a:lnTo>
                    <a:pt x="38720" y="14764"/>
                  </a:lnTo>
                  <a:cubicBezTo>
                    <a:pt x="37600" y="14764"/>
                    <a:pt x="36684" y="13847"/>
                    <a:pt x="36684" y="12728"/>
                  </a:cubicBezTo>
                  <a:lnTo>
                    <a:pt x="36684" y="3560"/>
                  </a:lnTo>
                  <a:cubicBezTo>
                    <a:pt x="36684" y="1595"/>
                    <a:pt x="35088" y="0"/>
                    <a:pt x="33124" y="0"/>
                  </a:cubicBezTo>
                  <a:close/>
                </a:path>
              </a:pathLst>
            </a:custGeom>
            <a:solidFill>
              <a:srgbClr val="FDFDFD"/>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89" name="Google Shape;89;p15"/>
            <p:cNvSpPr/>
            <p:nvPr/>
          </p:nvSpPr>
          <p:spPr>
            <a:xfrm>
              <a:off x="2752419" y="1016894"/>
              <a:ext cx="232247" cy="232706"/>
            </a:xfrm>
            <a:custGeom>
              <a:avLst/>
              <a:gdLst/>
              <a:ahLst/>
              <a:cxnLst/>
              <a:rect l="l" t="t" r="r" b="b"/>
              <a:pathLst>
                <a:path w="6073" h="6085" extrusionOk="0">
                  <a:moveTo>
                    <a:pt x="3037" y="0"/>
                  </a:moveTo>
                  <a:cubicBezTo>
                    <a:pt x="1358" y="0"/>
                    <a:pt x="0" y="1370"/>
                    <a:pt x="0" y="3036"/>
                  </a:cubicBezTo>
                  <a:cubicBezTo>
                    <a:pt x="0" y="4715"/>
                    <a:pt x="1358" y="6084"/>
                    <a:pt x="3037" y="6084"/>
                  </a:cubicBezTo>
                  <a:cubicBezTo>
                    <a:pt x="4715" y="6084"/>
                    <a:pt x="6073" y="4715"/>
                    <a:pt x="6073" y="3036"/>
                  </a:cubicBezTo>
                  <a:cubicBezTo>
                    <a:pt x="6073" y="1370"/>
                    <a:pt x="4715" y="0"/>
                    <a:pt x="3037" y="0"/>
                  </a:cubicBezTo>
                  <a:close/>
                </a:path>
              </a:pathLst>
            </a:custGeom>
            <a:solidFill>
              <a:srgbClr val="FCBD24"/>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90" name="Google Shape;90;p15"/>
            <p:cNvSpPr/>
            <p:nvPr/>
          </p:nvSpPr>
          <p:spPr>
            <a:xfrm>
              <a:off x="935214" y="562799"/>
              <a:ext cx="1606414" cy="369126"/>
            </a:xfrm>
            <a:custGeom>
              <a:avLst/>
              <a:gdLst/>
              <a:ahLst/>
              <a:cxnLst/>
              <a:rect l="l" t="t" r="r" b="b"/>
              <a:pathLst>
                <a:path w="42006" h="8669" extrusionOk="0">
                  <a:moveTo>
                    <a:pt x="3001" y="1"/>
                  </a:moveTo>
                  <a:cubicBezTo>
                    <a:pt x="2168" y="1"/>
                    <a:pt x="1417" y="346"/>
                    <a:pt x="882" y="882"/>
                  </a:cubicBezTo>
                  <a:cubicBezTo>
                    <a:pt x="334" y="1429"/>
                    <a:pt x="1" y="2180"/>
                    <a:pt x="1" y="3013"/>
                  </a:cubicBezTo>
                  <a:lnTo>
                    <a:pt x="1" y="8311"/>
                  </a:lnTo>
                  <a:lnTo>
                    <a:pt x="24" y="8668"/>
                  </a:lnTo>
                  <a:cubicBezTo>
                    <a:pt x="108" y="7978"/>
                    <a:pt x="417" y="7371"/>
                    <a:pt x="882" y="6894"/>
                  </a:cubicBezTo>
                  <a:cubicBezTo>
                    <a:pt x="1417" y="6359"/>
                    <a:pt x="2168" y="6013"/>
                    <a:pt x="3001" y="6013"/>
                  </a:cubicBezTo>
                  <a:lnTo>
                    <a:pt x="39006" y="6013"/>
                  </a:lnTo>
                  <a:cubicBezTo>
                    <a:pt x="40660" y="6013"/>
                    <a:pt x="42006" y="4668"/>
                    <a:pt x="42006" y="3013"/>
                  </a:cubicBezTo>
                  <a:cubicBezTo>
                    <a:pt x="42006" y="2894"/>
                    <a:pt x="42006" y="2775"/>
                    <a:pt x="41982" y="2656"/>
                  </a:cubicBezTo>
                  <a:cubicBezTo>
                    <a:pt x="41815" y="1168"/>
                    <a:pt x="40541" y="1"/>
                    <a:pt x="39006" y="1"/>
                  </a:cubicBezTo>
                  <a:close/>
                </a:path>
              </a:pathLst>
            </a:custGeom>
            <a:solidFill>
              <a:srgbClr val="B7B7B7">
                <a:alpha val="55310"/>
              </a:srgbClr>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91" name="Google Shape;91;p15"/>
            <p:cNvSpPr/>
            <p:nvPr/>
          </p:nvSpPr>
          <p:spPr>
            <a:xfrm>
              <a:off x="935214" y="532909"/>
              <a:ext cx="1606414" cy="383816"/>
            </a:xfrm>
            <a:custGeom>
              <a:avLst/>
              <a:gdLst/>
              <a:ahLst/>
              <a:cxnLst/>
              <a:rect l="l" t="t" r="r" b="b"/>
              <a:pathLst>
                <a:path w="42006" h="9014" extrusionOk="0">
                  <a:moveTo>
                    <a:pt x="3001" y="0"/>
                  </a:moveTo>
                  <a:cubicBezTo>
                    <a:pt x="2168" y="0"/>
                    <a:pt x="1417" y="334"/>
                    <a:pt x="882" y="881"/>
                  </a:cubicBezTo>
                  <a:cubicBezTo>
                    <a:pt x="334" y="1417"/>
                    <a:pt x="1" y="2167"/>
                    <a:pt x="1" y="3001"/>
                  </a:cubicBezTo>
                  <a:lnTo>
                    <a:pt x="1" y="9013"/>
                  </a:lnTo>
                  <a:cubicBezTo>
                    <a:pt x="1" y="8192"/>
                    <a:pt x="334" y="7430"/>
                    <a:pt x="882" y="6894"/>
                  </a:cubicBezTo>
                  <a:cubicBezTo>
                    <a:pt x="1417" y="6346"/>
                    <a:pt x="2168" y="6013"/>
                    <a:pt x="3001" y="6013"/>
                  </a:cubicBezTo>
                  <a:lnTo>
                    <a:pt x="39006" y="6013"/>
                  </a:lnTo>
                  <a:cubicBezTo>
                    <a:pt x="40660" y="6013"/>
                    <a:pt x="42006" y="4667"/>
                    <a:pt x="42006" y="3001"/>
                  </a:cubicBezTo>
                  <a:cubicBezTo>
                    <a:pt x="42006" y="1346"/>
                    <a:pt x="40660" y="0"/>
                    <a:pt x="39006" y="0"/>
                  </a:cubicBezTo>
                  <a:close/>
                </a:path>
              </a:pathLst>
            </a:custGeom>
            <a:solidFill>
              <a:srgbClr val="FCBD24"/>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733"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92" name="Google Shape;92;p15"/>
            <p:cNvSpPr txBox="1"/>
            <p:nvPr/>
          </p:nvSpPr>
          <p:spPr>
            <a:xfrm>
              <a:off x="1081172" y="857225"/>
              <a:ext cx="1390200" cy="534900"/>
            </a:xfrm>
            <a:prstGeom prst="rect">
              <a:avLst/>
            </a:prstGeom>
            <a:no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Be familiar with the different PMM and PME tools</a:t>
              </a:r>
            </a:p>
          </p:txBody>
        </p:sp>
        <p:sp>
          <p:nvSpPr>
            <p:cNvPr id="93" name="Google Shape;93;p15"/>
            <p:cNvSpPr txBox="1"/>
            <p:nvPr/>
          </p:nvSpPr>
          <p:spPr>
            <a:xfrm>
              <a:off x="1071825" y="532900"/>
              <a:ext cx="1469700" cy="255900"/>
            </a:xfrm>
            <a:prstGeom prst="rect">
              <a:avLst/>
            </a:prstGeom>
            <a:no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400" b="0" i="0" u="none" strike="noStrike" kern="1200" cap="none" spc="0" normalizeH="0" baseline="0" noProof="0" dirty="0">
                  <a:ln>
                    <a:noFill/>
                  </a:ln>
                  <a:solidFill>
                    <a:srgbClr val="FFFFFF"/>
                  </a:solidFill>
                  <a:effectLst/>
                  <a:uLnTx/>
                  <a:uFillTx/>
                  <a:latin typeface="Fira Sans Extra Condensed Medium"/>
                  <a:ea typeface="Fira Sans Extra Condensed Medium"/>
                  <a:cs typeface="Fira Sans Extra Condensed Medium"/>
                  <a:sym typeface="Fira Sans Extra Condensed Medium"/>
                </a:rPr>
                <a:t>One</a:t>
              </a:r>
              <a:endParaRPr kumimoji="0" sz="2400" b="0" i="0" u="none" strike="noStrike" kern="1200" cap="none" spc="0" normalizeH="0" baseline="0" noProof="0" dirty="0">
                <a:ln>
                  <a:noFill/>
                </a:ln>
                <a:solidFill>
                  <a:srgbClr val="FFFFFF"/>
                </a:solidFill>
                <a:effectLst/>
                <a:uLnTx/>
                <a:uFillTx/>
                <a:latin typeface="Fira Sans Extra Condensed Medium"/>
                <a:ea typeface="Fira Sans Extra Condensed Medium"/>
                <a:cs typeface="Fira Sans Extra Condensed Medium"/>
                <a:sym typeface="Fira Sans Extra Condensed Medium"/>
              </a:endParaRPr>
            </a:p>
          </p:txBody>
        </p:sp>
      </p:grpSp>
      <p:grpSp>
        <p:nvGrpSpPr>
          <p:cNvPr id="94" name="Google Shape;94;p15"/>
          <p:cNvGrpSpPr/>
          <p:nvPr/>
        </p:nvGrpSpPr>
        <p:grpSpPr>
          <a:xfrm>
            <a:off x="1003238" y="3778773"/>
            <a:ext cx="5407794" cy="1557732"/>
            <a:chOff x="933838" y="1769089"/>
            <a:chExt cx="2079971" cy="979076"/>
          </a:xfrm>
        </p:grpSpPr>
        <p:sp>
          <p:nvSpPr>
            <p:cNvPr id="95" name="Google Shape;95;p15"/>
            <p:cNvSpPr/>
            <p:nvPr/>
          </p:nvSpPr>
          <p:spPr>
            <a:xfrm>
              <a:off x="1033115" y="1787667"/>
              <a:ext cx="1980694" cy="960499"/>
            </a:xfrm>
            <a:custGeom>
              <a:avLst/>
              <a:gdLst/>
              <a:ahLst/>
              <a:cxnLst/>
              <a:rect l="l" t="t" r="r" b="b"/>
              <a:pathLst>
                <a:path w="51793" h="25116" extrusionOk="0">
                  <a:moveTo>
                    <a:pt x="33566" y="0"/>
                  </a:moveTo>
                  <a:cubicBezTo>
                    <a:pt x="33522" y="0"/>
                    <a:pt x="33478" y="1"/>
                    <a:pt x="33433" y="3"/>
                  </a:cubicBezTo>
                  <a:lnTo>
                    <a:pt x="3537" y="979"/>
                  </a:lnTo>
                  <a:cubicBezTo>
                    <a:pt x="1548" y="1050"/>
                    <a:pt x="0" y="2693"/>
                    <a:pt x="60" y="4646"/>
                  </a:cubicBezTo>
                  <a:lnTo>
                    <a:pt x="620" y="21684"/>
                  </a:lnTo>
                  <a:cubicBezTo>
                    <a:pt x="689" y="23604"/>
                    <a:pt x="2273" y="25115"/>
                    <a:pt x="4190" y="25115"/>
                  </a:cubicBezTo>
                  <a:cubicBezTo>
                    <a:pt x="4234" y="25115"/>
                    <a:pt x="4278" y="25114"/>
                    <a:pt x="4322" y="25113"/>
                  </a:cubicBezTo>
                  <a:lnTo>
                    <a:pt x="34231" y="24136"/>
                  </a:lnTo>
                  <a:cubicBezTo>
                    <a:pt x="36207" y="24065"/>
                    <a:pt x="37767" y="22422"/>
                    <a:pt x="37696" y="20469"/>
                  </a:cubicBezTo>
                  <a:lnTo>
                    <a:pt x="37636" y="18541"/>
                  </a:lnTo>
                  <a:cubicBezTo>
                    <a:pt x="37600" y="17409"/>
                    <a:pt x="38493" y="16469"/>
                    <a:pt x="39636" y="16433"/>
                  </a:cubicBezTo>
                  <a:lnTo>
                    <a:pt x="42982" y="16314"/>
                  </a:lnTo>
                  <a:cubicBezTo>
                    <a:pt x="43004" y="16313"/>
                    <a:pt x="43026" y="16313"/>
                    <a:pt x="43048" y="16313"/>
                  </a:cubicBezTo>
                  <a:cubicBezTo>
                    <a:pt x="43772" y="16313"/>
                    <a:pt x="44422" y="16689"/>
                    <a:pt x="44792" y="17267"/>
                  </a:cubicBezTo>
                  <a:cubicBezTo>
                    <a:pt x="45460" y="18280"/>
                    <a:pt x="46628" y="18948"/>
                    <a:pt x="47943" y="18948"/>
                  </a:cubicBezTo>
                  <a:cubicBezTo>
                    <a:pt x="47988" y="18948"/>
                    <a:pt x="48033" y="18947"/>
                    <a:pt x="48078" y="18945"/>
                  </a:cubicBezTo>
                  <a:cubicBezTo>
                    <a:pt x="50162" y="18886"/>
                    <a:pt x="51793" y="17159"/>
                    <a:pt x="51721" y="15100"/>
                  </a:cubicBezTo>
                  <a:cubicBezTo>
                    <a:pt x="51663" y="13084"/>
                    <a:pt x="49985" y="11490"/>
                    <a:pt x="47961" y="11490"/>
                  </a:cubicBezTo>
                  <a:cubicBezTo>
                    <a:pt x="47916" y="11490"/>
                    <a:pt x="47872" y="11491"/>
                    <a:pt x="47828" y="11492"/>
                  </a:cubicBezTo>
                  <a:cubicBezTo>
                    <a:pt x="46459" y="11540"/>
                    <a:pt x="45292" y="12290"/>
                    <a:pt x="44661" y="13397"/>
                  </a:cubicBezTo>
                  <a:cubicBezTo>
                    <a:pt x="44327" y="14004"/>
                    <a:pt x="43673" y="14433"/>
                    <a:pt x="42911" y="14457"/>
                  </a:cubicBezTo>
                  <a:lnTo>
                    <a:pt x="39577" y="14564"/>
                  </a:lnTo>
                  <a:cubicBezTo>
                    <a:pt x="39554" y="14565"/>
                    <a:pt x="39532" y="14565"/>
                    <a:pt x="39510" y="14565"/>
                  </a:cubicBezTo>
                  <a:cubicBezTo>
                    <a:pt x="38397" y="14565"/>
                    <a:pt x="37480" y="13696"/>
                    <a:pt x="37434" y="12587"/>
                  </a:cubicBezTo>
                  <a:lnTo>
                    <a:pt x="37136" y="3432"/>
                  </a:lnTo>
                  <a:cubicBezTo>
                    <a:pt x="37078" y="1511"/>
                    <a:pt x="35484" y="0"/>
                    <a:pt x="33566" y="0"/>
                  </a:cubicBezTo>
                  <a:close/>
                </a:path>
              </a:pathLst>
            </a:custGeom>
            <a:solidFill>
              <a:srgbClr val="B7B7B7">
                <a:alpha val="55310"/>
              </a:srgbClr>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96" name="Google Shape;96;p15"/>
            <p:cNvSpPr/>
            <p:nvPr/>
          </p:nvSpPr>
          <p:spPr>
            <a:xfrm>
              <a:off x="933838" y="2025120"/>
              <a:ext cx="177598" cy="256034"/>
            </a:xfrm>
            <a:custGeom>
              <a:avLst/>
              <a:gdLst/>
              <a:ahLst/>
              <a:cxnLst/>
              <a:rect l="l" t="t" r="r" b="b"/>
              <a:pathLst>
                <a:path w="4644" h="6013" extrusionOk="0">
                  <a:moveTo>
                    <a:pt x="3001" y="0"/>
                  </a:moveTo>
                  <a:cubicBezTo>
                    <a:pt x="2168" y="0"/>
                    <a:pt x="1417" y="346"/>
                    <a:pt x="882" y="881"/>
                  </a:cubicBezTo>
                  <a:cubicBezTo>
                    <a:pt x="334" y="1429"/>
                    <a:pt x="1" y="2179"/>
                    <a:pt x="1" y="3013"/>
                  </a:cubicBezTo>
                  <a:cubicBezTo>
                    <a:pt x="1" y="4668"/>
                    <a:pt x="1346" y="6013"/>
                    <a:pt x="3001" y="6013"/>
                  </a:cubicBezTo>
                  <a:lnTo>
                    <a:pt x="4644" y="6013"/>
                  </a:lnTo>
                  <a:lnTo>
                    <a:pt x="4644" y="0"/>
                  </a:lnTo>
                  <a:close/>
                </a:path>
              </a:pathLst>
            </a:custGeom>
            <a:solidFill>
              <a:srgbClr val="2689E0"/>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97" name="Google Shape;97;p15"/>
            <p:cNvSpPr/>
            <p:nvPr/>
          </p:nvSpPr>
          <p:spPr>
            <a:xfrm>
              <a:off x="1071816" y="1769540"/>
              <a:ext cx="1939277" cy="923442"/>
            </a:xfrm>
            <a:custGeom>
              <a:avLst/>
              <a:gdLst/>
              <a:ahLst/>
              <a:cxnLst/>
              <a:rect l="l" t="t" r="r" b="b"/>
              <a:pathLst>
                <a:path w="50710" h="24147" extrusionOk="0">
                  <a:moveTo>
                    <a:pt x="3549" y="0"/>
                  </a:moveTo>
                  <a:cubicBezTo>
                    <a:pt x="1584" y="0"/>
                    <a:pt x="1" y="1596"/>
                    <a:pt x="1" y="3548"/>
                  </a:cubicBezTo>
                  <a:lnTo>
                    <a:pt x="1" y="20598"/>
                  </a:lnTo>
                  <a:cubicBezTo>
                    <a:pt x="1" y="22563"/>
                    <a:pt x="1584" y="24146"/>
                    <a:pt x="3549" y="24146"/>
                  </a:cubicBezTo>
                  <a:lnTo>
                    <a:pt x="33124" y="24146"/>
                  </a:lnTo>
                  <a:cubicBezTo>
                    <a:pt x="35088" y="24146"/>
                    <a:pt x="36684" y="22563"/>
                    <a:pt x="36684" y="20598"/>
                  </a:cubicBezTo>
                  <a:lnTo>
                    <a:pt x="36684" y="18669"/>
                  </a:lnTo>
                  <a:cubicBezTo>
                    <a:pt x="36684" y="17538"/>
                    <a:pt x="37600" y="16621"/>
                    <a:pt x="38720" y="16621"/>
                  </a:cubicBezTo>
                  <a:lnTo>
                    <a:pt x="42030" y="16621"/>
                  </a:lnTo>
                  <a:cubicBezTo>
                    <a:pt x="42780" y="16621"/>
                    <a:pt x="43435" y="17026"/>
                    <a:pt x="43792" y="17633"/>
                  </a:cubicBezTo>
                  <a:cubicBezTo>
                    <a:pt x="44447" y="18705"/>
                    <a:pt x="45625" y="19419"/>
                    <a:pt x="46983" y="19419"/>
                  </a:cubicBezTo>
                  <a:cubicBezTo>
                    <a:pt x="49042" y="19419"/>
                    <a:pt x="50709" y="17753"/>
                    <a:pt x="50709" y="15693"/>
                  </a:cubicBezTo>
                  <a:cubicBezTo>
                    <a:pt x="50709" y="13633"/>
                    <a:pt x="49042" y="11954"/>
                    <a:pt x="46983" y="11954"/>
                  </a:cubicBezTo>
                  <a:cubicBezTo>
                    <a:pt x="45625" y="11954"/>
                    <a:pt x="44447" y="12680"/>
                    <a:pt x="43792" y="13752"/>
                  </a:cubicBezTo>
                  <a:cubicBezTo>
                    <a:pt x="43435" y="14359"/>
                    <a:pt x="42780" y="14764"/>
                    <a:pt x="42030" y="14764"/>
                  </a:cubicBezTo>
                  <a:lnTo>
                    <a:pt x="38720" y="14764"/>
                  </a:lnTo>
                  <a:cubicBezTo>
                    <a:pt x="37600" y="14764"/>
                    <a:pt x="36684" y="13847"/>
                    <a:pt x="36684" y="12716"/>
                  </a:cubicBezTo>
                  <a:lnTo>
                    <a:pt x="36684" y="3548"/>
                  </a:lnTo>
                  <a:cubicBezTo>
                    <a:pt x="36684" y="1596"/>
                    <a:pt x="35088" y="0"/>
                    <a:pt x="33124" y="0"/>
                  </a:cubicBezTo>
                  <a:close/>
                </a:path>
              </a:pathLst>
            </a:custGeom>
            <a:solidFill>
              <a:srgbClr val="FDFDFD"/>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98" name="Google Shape;98;p15"/>
            <p:cNvSpPr/>
            <p:nvPr/>
          </p:nvSpPr>
          <p:spPr>
            <a:xfrm>
              <a:off x="2752419" y="2253534"/>
              <a:ext cx="232247" cy="232247"/>
            </a:xfrm>
            <a:custGeom>
              <a:avLst/>
              <a:gdLst/>
              <a:ahLst/>
              <a:cxnLst/>
              <a:rect l="l" t="t" r="r" b="b"/>
              <a:pathLst>
                <a:path w="6073" h="6073" extrusionOk="0">
                  <a:moveTo>
                    <a:pt x="3037" y="1"/>
                  </a:moveTo>
                  <a:cubicBezTo>
                    <a:pt x="1358" y="1"/>
                    <a:pt x="0" y="1358"/>
                    <a:pt x="0" y="3037"/>
                  </a:cubicBezTo>
                  <a:cubicBezTo>
                    <a:pt x="0" y="4716"/>
                    <a:pt x="1358" y="6073"/>
                    <a:pt x="3037" y="6073"/>
                  </a:cubicBezTo>
                  <a:cubicBezTo>
                    <a:pt x="4715" y="6073"/>
                    <a:pt x="6073" y="4716"/>
                    <a:pt x="6073" y="3037"/>
                  </a:cubicBezTo>
                  <a:cubicBezTo>
                    <a:pt x="6073" y="1358"/>
                    <a:pt x="4715" y="1"/>
                    <a:pt x="3037" y="1"/>
                  </a:cubicBezTo>
                  <a:close/>
                </a:path>
              </a:pathLst>
            </a:custGeom>
            <a:solidFill>
              <a:srgbClr val="5EB2FC"/>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99" name="Google Shape;99;p15"/>
            <p:cNvSpPr/>
            <p:nvPr/>
          </p:nvSpPr>
          <p:spPr>
            <a:xfrm>
              <a:off x="935214" y="1799534"/>
              <a:ext cx="1606414" cy="368572"/>
            </a:xfrm>
            <a:custGeom>
              <a:avLst/>
              <a:gdLst/>
              <a:ahLst/>
              <a:cxnLst/>
              <a:rect l="l" t="t" r="r" b="b"/>
              <a:pathLst>
                <a:path w="42006" h="8656" extrusionOk="0">
                  <a:moveTo>
                    <a:pt x="3001" y="0"/>
                  </a:moveTo>
                  <a:cubicBezTo>
                    <a:pt x="2168" y="0"/>
                    <a:pt x="1417" y="333"/>
                    <a:pt x="882" y="881"/>
                  </a:cubicBezTo>
                  <a:cubicBezTo>
                    <a:pt x="334" y="1429"/>
                    <a:pt x="1" y="2179"/>
                    <a:pt x="1" y="3012"/>
                  </a:cubicBezTo>
                  <a:lnTo>
                    <a:pt x="1" y="8311"/>
                  </a:lnTo>
                  <a:lnTo>
                    <a:pt x="24" y="8656"/>
                  </a:lnTo>
                  <a:cubicBezTo>
                    <a:pt x="108" y="7977"/>
                    <a:pt x="417" y="7358"/>
                    <a:pt x="882" y="6894"/>
                  </a:cubicBezTo>
                  <a:cubicBezTo>
                    <a:pt x="1417" y="6346"/>
                    <a:pt x="2168" y="6013"/>
                    <a:pt x="3001" y="6013"/>
                  </a:cubicBezTo>
                  <a:lnTo>
                    <a:pt x="39006" y="6013"/>
                  </a:lnTo>
                  <a:cubicBezTo>
                    <a:pt x="40660" y="6013"/>
                    <a:pt x="42006" y="4667"/>
                    <a:pt x="42006" y="3012"/>
                  </a:cubicBezTo>
                  <a:cubicBezTo>
                    <a:pt x="42006" y="2881"/>
                    <a:pt x="42006" y="2774"/>
                    <a:pt x="41982" y="2655"/>
                  </a:cubicBezTo>
                  <a:cubicBezTo>
                    <a:pt x="41815" y="1155"/>
                    <a:pt x="40541" y="0"/>
                    <a:pt x="39006" y="0"/>
                  </a:cubicBezTo>
                  <a:close/>
                </a:path>
              </a:pathLst>
            </a:custGeom>
            <a:solidFill>
              <a:srgbClr val="B7B7B7">
                <a:alpha val="55310"/>
              </a:srgbClr>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100" name="Google Shape;100;p15"/>
            <p:cNvSpPr/>
            <p:nvPr/>
          </p:nvSpPr>
          <p:spPr>
            <a:xfrm>
              <a:off x="935214" y="1769089"/>
              <a:ext cx="1606414" cy="384327"/>
            </a:xfrm>
            <a:custGeom>
              <a:avLst/>
              <a:gdLst/>
              <a:ahLst/>
              <a:cxnLst/>
              <a:rect l="l" t="t" r="r" b="b"/>
              <a:pathLst>
                <a:path w="42006" h="9026" extrusionOk="0">
                  <a:moveTo>
                    <a:pt x="3001" y="1"/>
                  </a:moveTo>
                  <a:cubicBezTo>
                    <a:pt x="2168" y="1"/>
                    <a:pt x="1417" y="334"/>
                    <a:pt x="882" y="882"/>
                  </a:cubicBezTo>
                  <a:cubicBezTo>
                    <a:pt x="334" y="1429"/>
                    <a:pt x="1" y="2179"/>
                    <a:pt x="1" y="3013"/>
                  </a:cubicBezTo>
                  <a:lnTo>
                    <a:pt x="1" y="9026"/>
                  </a:lnTo>
                  <a:cubicBezTo>
                    <a:pt x="1" y="8192"/>
                    <a:pt x="334" y="7442"/>
                    <a:pt x="882" y="6894"/>
                  </a:cubicBezTo>
                  <a:cubicBezTo>
                    <a:pt x="1417" y="6359"/>
                    <a:pt x="2168" y="6013"/>
                    <a:pt x="3001" y="6013"/>
                  </a:cubicBezTo>
                  <a:lnTo>
                    <a:pt x="39006" y="6013"/>
                  </a:lnTo>
                  <a:cubicBezTo>
                    <a:pt x="40660" y="6013"/>
                    <a:pt x="42006" y="4668"/>
                    <a:pt x="42006" y="3013"/>
                  </a:cubicBezTo>
                  <a:cubicBezTo>
                    <a:pt x="42006" y="1346"/>
                    <a:pt x="40660" y="1"/>
                    <a:pt x="39006" y="1"/>
                  </a:cubicBezTo>
                  <a:close/>
                </a:path>
              </a:pathLst>
            </a:custGeom>
            <a:solidFill>
              <a:srgbClr val="5EB2FC"/>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101" name="Google Shape;101;p15"/>
            <p:cNvSpPr txBox="1"/>
            <p:nvPr/>
          </p:nvSpPr>
          <p:spPr>
            <a:xfrm>
              <a:off x="1081172" y="2097663"/>
              <a:ext cx="1390200" cy="534900"/>
            </a:xfrm>
            <a:prstGeom prst="rect">
              <a:avLst/>
            </a:prstGeom>
            <a:no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Understand the importance of updating patient information on the register</a:t>
              </a:r>
            </a:p>
          </p:txBody>
        </p:sp>
        <p:sp>
          <p:nvSpPr>
            <p:cNvPr id="102" name="Google Shape;102;p15"/>
            <p:cNvSpPr txBox="1"/>
            <p:nvPr/>
          </p:nvSpPr>
          <p:spPr>
            <a:xfrm>
              <a:off x="1071825" y="1769313"/>
              <a:ext cx="1469700" cy="255900"/>
            </a:xfrm>
            <a:prstGeom prst="rect">
              <a:avLst/>
            </a:prstGeom>
            <a:no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400" b="0" i="0" u="none" strike="noStrike" kern="1200" cap="none" spc="0" normalizeH="0" baseline="0" noProof="0" dirty="0">
                  <a:ln>
                    <a:noFill/>
                  </a:ln>
                  <a:solidFill>
                    <a:srgbClr val="FFFFFF"/>
                  </a:solidFill>
                  <a:effectLst/>
                  <a:uLnTx/>
                  <a:uFillTx/>
                  <a:latin typeface="Fira Sans Extra Condensed Medium"/>
                  <a:ea typeface="Fira Sans Extra Condensed Medium"/>
                  <a:cs typeface="Fira Sans Extra Condensed Medium"/>
                  <a:sym typeface="Fira Sans Extra Condensed Medium"/>
                </a:rPr>
                <a:t>Three</a:t>
              </a:r>
              <a:endParaRPr kumimoji="0" sz="2400" b="0" i="0" u="none" strike="noStrike" kern="1200" cap="none" spc="0" normalizeH="0" baseline="0" noProof="0" dirty="0">
                <a:ln>
                  <a:noFill/>
                </a:ln>
                <a:solidFill>
                  <a:srgbClr val="FFFFFF"/>
                </a:solidFill>
                <a:effectLst/>
                <a:uLnTx/>
                <a:uFillTx/>
                <a:latin typeface="Fira Sans Extra Condensed Medium"/>
                <a:ea typeface="Fira Sans Extra Condensed Medium"/>
                <a:cs typeface="Fira Sans Extra Condensed Medium"/>
                <a:sym typeface="Fira Sans Extra Condensed Medium"/>
              </a:endParaRPr>
            </a:p>
          </p:txBody>
        </p:sp>
      </p:grpSp>
      <p:sp>
        <p:nvSpPr>
          <p:cNvPr id="3" name="TextBox 2">
            <a:extLst>
              <a:ext uri="{FF2B5EF4-FFF2-40B4-BE49-F238E27FC236}">
                <a16:creationId xmlns:a16="http://schemas.microsoft.com/office/drawing/2014/main" id="{87887632-EBD0-9994-6469-256B1445D8BC}"/>
              </a:ext>
            </a:extLst>
          </p:cNvPr>
          <p:cNvSpPr txBox="1"/>
          <p:nvPr/>
        </p:nvSpPr>
        <p:spPr>
          <a:xfrm>
            <a:off x="3021367" y="188334"/>
            <a:ext cx="6096000"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a:ea typeface="+mn-ea"/>
                <a:cs typeface="+mn-cs"/>
              </a:rPr>
              <a:t>Training Objectives</a:t>
            </a:r>
            <a:endParaRPr kumimoji="0" lang="en-NG" sz="3200" b="1" i="0" u="none" strike="noStrike" kern="1200" cap="none" spc="0" normalizeH="0" baseline="0" noProof="0" dirty="0">
              <a:ln>
                <a:noFill/>
              </a:ln>
              <a:solidFill>
                <a:prstClr val="black"/>
              </a:solidFill>
              <a:effectLst/>
              <a:uLnTx/>
              <a:uFillTx/>
              <a:latin typeface="Calibri"/>
              <a:ea typeface="+mn-ea"/>
              <a:cs typeface="+mn-cs"/>
            </a:endParaRPr>
          </a:p>
        </p:txBody>
      </p:sp>
      <p:sp>
        <p:nvSpPr>
          <p:cNvPr id="5" name="TextBox 4">
            <a:extLst>
              <a:ext uri="{FF2B5EF4-FFF2-40B4-BE49-F238E27FC236}">
                <a16:creationId xmlns:a16="http://schemas.microsoft.com/office/drawing/2014/main" id="{E3E0A1F0-1112-EBD0-4878-E7D49C060FEB}"/>
              </a:ext>
            </a:extLst>
          </p:cNvPr>
          <p:cNvSpPr txBox="1"/>
          <p:nvPr/>
        </p:nvSpPr>
        <p:spPr>
          <a:xfrm>
            <a:off x="82248" y="1141495"/>
            <a:ext cx="583891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000000"/>
                </a:solidFill>
                <a:effectLst/>
                <a:uLnTx/>
                <a:uFillTx/>
                <a:latin typeface="Arial" panose="020B0604020202020204" pitchFamily="34" charset="0"/>
                <a:ea typeface="+mn-ea"/>
                <a:cs typeface="+mn-cs"/>
              </a:rPr>
              <a:t>At the end of this training session, participants will</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38"/>
        <p:cNvGrpSpPr/>
        <p:nvPr/>
      </p:nvGrpSpPr>
      <p:grpSpPr>
        <a:xfrm>
          <a:off x="0" y="0"/>
          <a:ext cx="0" cy="0"/>
          <a:chOff x="0" y="0"/>
          <a:chExt cx="0" cy="0"/>
        </a:xfrm>
      </p:grpSpPr>
      <p:sp>
        <p:nvSpPr>
          <p:cNvPr id="139" name="Google Shape;139;p22"/>
          <p:cNvSpPr txBox="1">
            <a:spLocks noGrp="1"/>
          </p:cNvSpPr>
          <p:nvPr>
            <p:ph type="title"/>
          </p:nvPr>
        </p:nvSpPr>
        <p:spPr>
          <a:xfrm>
            <a:off x="611030" y="274640"/>
            <a:ext cx="10969943" cy="711081"/>
          </a:xfrm>
          <a:prstGeom prst="rect">
            <a:avLst/>
          </a:prstGeom>
          <a:noFill/>
          <a:ln>
            <a:noFill/>
          </a:ln>
        </p:spPr>
        <p:txBody>
          <a:bodyPr spcFirstLastPara="1" vert="horz" wrap="square" lIns="0" tIns="60925" rIns="0" bIns="60925" rtlCol="0" anchor="ctr" anchorCtr="0">
            <a:noAutofit/>
          </a:bodyPr>
          <a:lstStyle/>
          <a:p>
            <a:pPr>
              <a:spcBef>
                <a:spcPts val="0"/>
              </a:spcBef>
              <a:buClr>
                <a:srgbClr val="3F3F3F"/>
              </a:buClr>
            </a:pPr>
            <a:r>
              <a:rPr lang="en-US" sz="3200" b="1"/>
              <a:t>Version of DCTs</a:t>
            </a:r>
            <a:endParaRPr sz="4000" b="1"/>
          </a:p>
        </p:txBody>
      </p:sp>
      <p:sp>
        <p:nvSpPr>
          <p:cNvPr id="140" name="Google Shape;140;p22"/>
          <p:cNvSpPr/>
          <p:nvPr/>
        </p:nvSpPr>
        <p:spPr>
          <a:xfrm>
            <a:off x="4291014" y="4164014"/>
            <a:ext cx="4532313" cy="2411413"/>
          </a:xfrm>
          <a:custGeom>
            <a:avLst/>
            <a:gdLst/>
            <a:ahLst/>
            <a:cxnLst/>
            <a:rect l="l" t="t" r="r" b="b"/>
            <a:pathLst>
              <a:path w="2855" h="1519" extrusionOk="0">
                <a:moveTo>
                  <a:pt x="2855" y="0"/>
                </a:moveTo>
                <a:lnTo>
                  <a:pt x="2841" y="100"/>
                </a:lnTo>
                <a:lnTo>
                  <a:pt x="2821" y="200"/>
                </a:lnTo>
                <a:lnTo>
                  <a:pt x="2795" y="297"/>
                </a:lnTo>
                <a:lnTo>
                  <a:pt x="2763" y="393"/>
                </a:lnTo>
                <a:lnTo>
                  <a:pt x="2726" y="485"/>
                </a:lnTo>
                <a:lnTo>
                  <a:pt x="2684" y="575"/>
                </a:lnTo>
                <a:lnTo>
                  <a:pt x="2636" y="662"/>
                </a:lnTo>
                <a:lnTo>
                  <a:pt x="2583" y="746"/>
                </a:lnTo>
                <a:lnTo>
                  <a:pt x="2526" y="825"/>
                </a:lnTo>
                <a:lnTo>
                  <a:pt x="2463" y="903"/>
                </a:lnTo>
                <a:lnTo>
                  <a:pt x="2397" y="976"/>
                </a:lnTo>
                <a:lnTo>
                  <a:pt x="2325" y="1045"/>
                </a:lnTo>
                <a:lnTo>
                  <a:pt x="2250" y="1111"/>
                </a:lnTo>
                <a:lnTo>
                  <a:pt x="2171" y="1173"/>
                </a:lnTo>
                <a:lnTo>
                  <a:pt x="2090" y="1230"/>
                </a:lnTo>
                <a:lnTo>
                  <a:pt x="2004" y="1282"/>
                </a:lnTo>
                <a:lnTo>
                  <a:pt x="1915" y="1330"/>
                </a:lnTo>
                <a:lnTo>
                  <a:pt x="1821" y="1372"/>
                </a:lnTo>
                <a:lnTo>
                  <a:pt x="1727" y="1410"/>
                </a:lnTo>
                <a:lnTo>
                  <a:pt x="1628" y="1443"/>
                </a:lnTo>
                <a:lnTo>
                  <a:pt x="1528" y="1470"/>
                </a:lnTo>
                <a:lnTo>
                  <a:pt x="1425" y="1491"/>
                </a:lnTo>
                <a:lnTo>
                  <a:pt x="1320" y="1506"/>
                </a:lnTo>
                <a:lnTo>
                  <a:pt x="1214" y="1516"/>
                </a:lnTo>
                <a:lnTo>
                  <a:pt x="1106" y="1519"/>
                </a:lnTo>
                <a:lnTo>
                  <a:pt x="996" y="1516"/>
                </a:lnTo>
                <a:lnTo>
                  <a:pt x="887" y="1506"/>
                </a:lnTo>
                <a:lnTo>
                  <a:pt x="781" y="1490"/>
                </a:lnTo>
                <a:lnTo>
                  <a:pt x="676" y="1468"/>
                </a:lnTo>
                <a:lnTo>
                  <a:pt x="574" y="1440"/>
                </a:lnTo>
                <a:lnTo>
                  <a:pt x="475" y="1407"/>
                </a:lnTo>
                <a:lnTo>
                  <a:pt x="378" y="1368"/>
                </a:lnTo>
                <a:lnTo>
                  <a:pt x="312" y="1316"/>
                </a:lnTo>
                <a:lnTo>
                  <a:pt x="253" y="1263"/>
                </a:lnTo>
                <a:lnTo>
                  <a:pt x="201" y="1211"/>
                </a:lnTo>
                <a:lnTo>
                  <a:pt x="157" y="1159"/>
                </a:lnTo>
                <a:lnTo>
                  <a:pt x="118" y="1106"/>
                </a:lnTo>
                <a:lnTo>
                  <a:pt x="87" y="1056"/>
                </a:lnTo>
                <a:lnTo>
                  <a:pt x="61" y="1006"/>
                </a:lnTo>
                <a:lnTo>
                  <a:pt x="40" y="955"/>
                </a:lnTo>
                <a:lnTo>
                  <a:pt x="24" y="907"/>
                </a:lnTo>
                <a:lnTo>
                  <a:pt x="11" y="860"/>
                </a:lnTo>
                <a:lnTo>
                  <a:pt x="4" y="814"/>
                </a:lnTo>
                <a:lnTo>
                  <a:pt x="1" y="770"/>
                </a:lnTo>
                <a:lnTo>
                  <a:pt x="0" y="727"/>
                </a:lnTo>
                <a:lnTo>
                  <a:pt x="2" y="686"/>
                </a:lnTo>
                <a:lnTo>
                  <a:pt x="7" y="647"/>
                </a:lnTo>
                <a:lnTo>
                  <a:pt x="1984" y="652"/>
                </a:lnTo>
                <a:lnTo>
                  <a:pt x="1987" y="652"/>
                </a:lnTo>
                <a:lnTo>
                  <a:pt x="1993" y="652"/>
                </a:lnTo>
                <a:lnTo>
                  <a:pt x="2005" y="652"/>
                </a:lnTo>
                <a:lnTo>
                  <a:pt x="2019" y="651"/>
                </a:lnTo>
                <a:lnTo>
                  <a:pt x="2038" y="650"/>
                </a:lnTo>
                <a:lnTo>
                  <a:pt x="2060" y="648"/>
                </a:lnTo>
                <a:lnTo>
                  <a:pt x="2085" y="646"/>
                </a:lnTo>
                <a:lnTo>
                  <a:pt x="2114" y="642"/>
                </a:lnTo>
                <a:lnTo>
                  <a:pt x="2144" y="637"/>
                </a:lnTo>
                <a:lnTo>
                  <a:pt x="2178" y="630"/>
                </a:lnTo>
                <a:lnTo>
                  <a:pt x="2212" y="623"/>
                </a:lnTo>
                <a:lnTo>
                  <a:pt x="2248" y="614"/>
                </a:lnTo>
                <a:lnTo>
                  <a:pt x="2286" y="603"/>
                </a:lnTo>
                <a:lnTo>
                  <a:pt x="2324" y="590"/>
                </a:lnTo>
                <a:lnTo>
                  <a:pt x="2364" y="575"/>
                </a:lnTo>
                <a:lnTo>
                  <a:pt x="2404" y="558"/>
                </a:lnTo>
                <a:lnTo>
                  <a:pt x="2445" y="538"/>
                </a:lnTo>
                <a:lnTo>
                  <a:pt x="2485" y="516"/>
                </a:lnTo>
                <a:lnTo>
                  <a:pt x="2525" y="491"/>
                </a:lnTo>
                <a:lnTo>
                  <a:pt x="2563" y="464"/>
                </a:lnTo>
                <a:lnTo>
                  <a:pt x="2602" y="433"/>
                </a:lnTo>
                <a:lnTo>
                  <a:pt x="2639" y="400"/>
                </a:lnTo>
                <a:lnTo>
                  <a:pt x="2674" y="362"/>
                </a:lnTo>
                <a:lnTo>
                  <a:pt x="2708" y="322"/>
                </a:lnTo>
                <a:lnTo>
                  <a:pt x="2739" y="278"/>
                </a:lnTo>
                <a:lnTo>
                  <a:pt x="2768" y="230"/>
                </a:lnTo>
                <a:lnTo>
                  <a:pt x="2795" y="179"/>
                </a:lnTo>
                <a:lnTo>
                  <a:pt x="2818" y="123"/>
                </a:lnTo>
                <a:lnTo>
                  <a:pt x="2838" y="63"/>
                </a:lnTo>
                <a:lnTo>
                  <a:pt x="2855" y="0"/>
                </a:lnTo>
                <a:close/>
              </a:path>
            </a:pathLst>
          </a:custGeom>
          <a:gradFill>
            <a:gsLst>
              <a:gs pos="0">
                <a:srgbClr val="0C0C0C"/>
              </a:gs>
              <a:gs pos="100000">
                <a:srgbClr val="595959"/>
              </a:gs>
            </a:gsLst>
            <a:lin ang="0" scaled="0"/>
          </a:gra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Arial"/>
              <a:ea typeface="Arial"/>
              <a:cs typeface="Arial"/>
              <a:sym typeface="Arial"/>
            </a:endParaRPr>
          </a:p>
        </p:txBody>
      </p:sp>
      <p:sp>
        <p:nvSpPr>
          <p:cNvPr id="141" name="Google Shape;141;p22"/>
          <p:cNvSpPr/>
          <p:nvPr/>
        </p:nvSpPr>
        <p:spPr>
          <a:xfrm>
            <a:off x="4302125" y="3611563"/>
            <a:ext cx="4533900" cy="1587500"/>
          </a:xfrm>
          <a:custGeom>
            <a:avLst/>
            <a:gdLst/>
            <a:ahLst/>
            <a:cxnLst/>
            <a:rect l="l" t="t" r="r" b="b"/>
            <a:pathLst>
              <a:path w="2856" h="1000" extrusionOk="0">
                <a:moveTo>
                  <a:pt x="2847" y="0"/>
                </a:moveTo>
                <a:lnTo>
                  <a:pt x="2854" y="88"/>
                </a:lnTo>
                <a:lnTo>
                  <a:pt x="2856" y="177"/>
                </a:lnTo>
                <a:lnTo>
                  <a:pt x="2854" y="263"/>
                </a:lnTo>
                <a:lnTo>
                  <a:pt x="2848" y="348"/>
                </a:lnTo>
                <a:lnTo>
                  <a:pt x="2831" y="411"/>
                </a:lnTo>
                <a:lnTo>
                  <a:pt x="2811" y="471"/>
                </a:lnTo>
                <a:lnTo>
                  <a:pt x="2788" y="527"/>
                </a:lnTo>
                <a:lnTo>
                  <a:pt x="2761" y="578"/>
                </a:lnTo>
                <a:lnTo>
                  <a:pt x="2732" y="626"/>
                </a:lnTo>
                <a:lnTo>
                  <a:pt x="2701" y="670"/>
                </a:lnTo>
                <a:lnTo>
                  <a:pt x="2667" y="710"/>
                </a:lnTo>
                <a:lnTo>
                  <a:pt x="2632" y="748"/>
                </a:lnTo>
                <a:lnTo>
                  <a:pt x="2595" y="781"/>
                </a:lnTo>
                <a:lnTo>
                  <a:pt x="2556" y="812"/>
                </a:lnTo>
                <a:lnTo>
                  <a:pt x="2518" y="839"/>
                </a:lnTo>
                <a:lnTo>
                  <a:pt x="2478" y="864"/>
                </a:lnTo>
                <a:lnTo>
                  <a:pt x="2438" y="886"/>
                </a:lnTo>
                <a:lnTo>
                  <a:pt x="2397" y="906"/>
                </a:lnTo>
                <a:lnTo>
                  <a:pt x="2357" y="923"/>
                </a:lnTo>
                <a:lnTo>
                  <a:pt x="2317" y="938"/>
                </a:lnTo>
                <a:lnTo>
                  <a:pt x="2279" y="951"/>
                </a:lnTo>
                <a:lnTo>
                  <a:pt x="2241" y="962"/>
                </a:lnTo>
                <a:lnTo>
                  <a:pt x="2205" y="971"/>
                </a:lnTo>
                <a:lnTo>
                  <a:pt x="2171" y="978"/>
                </a:lnTo>
                <a:lnTo>
                  <a:pt x="2137" y="985"/>
                </a:lnTo>
                <a:lnTo>
                  <a:pt x="2107" y="990"/>
                </a:lnTo>
                <a:lnTo>
                  <a:pt x="2078" y="994"/>
                </a:lnTo>
                <a:lnTo>
                  <a:pt x="2053" y="996"/>
                </a:lnTo>
                <a:lnTo>
                  <a:pt x="2031" y="998"/>
                </a:lnTo>
                <a:lnTo>
                  <a:pt x="2012" y="999"/>
                </a:lnTo>
                <a:lnTo>
                  <a:pt x="1998" y="1000"/>
                </a:lnTo>
                <a:lnTo>
                  <a:pt x="1986" y="1000"/>
                </a:lnTo>
                <a:lnTo>
                  <a:pt x="1980" y="1000"/>
                </a:lnTo>
                <a:lnTo>
                  <a:pt x="1977" y="1000"/>
                </a:lnTo>
                <a:lnTo>
                  <a:pt x="0" y="995"/>
                </a:lnTo>
                <a:lnTo>
                  <a:pt x="7" y="958"/>
                </a:lnTo>
                <a:lnTo>
                  <a:pt x="15" y="923"/>
                </a:lnTo>
                <a:lnTo>
                  <a:pt x="25" y="890"/>
                </a:lnTo>
                <a:lnTo>
                  <a:pt x="36" y="861"/>
                </a:lnTo>
                <a:lnTo>
                  <a:pt x="46" y="834"/>
                </a:lnTo>
                <a:lnTo>
                  <a:pt x="58" y="811"/>
                </a:lnTo>
                <a:lnTo>
                  <a:pt x="67" y="790"/>
                </a:lnTo>
                <a:lnTo>
                  <a:pt x="77" y="773"/>
                </a:lnTo>
                <a:lnTo>
                  <a:pt x="85" y="759"/>
                </a:lnTo>
                <a:lnTo>
                  <a:pt x="91" y="749"/>
                </a:lnTo>
                <a:lnTo>
                  <a:pt x="96" y="743"/>
                </a:lnTo>
                <a:lnTo>
                  <a:pt x="98" y="741"/>
                </a:lnTo>
                <a:lnTo>
                  <a:pt x="352" y="741"/>
                </a:lnTo>
                <a:lnTo>
                  <a:pt x="440" y="583"/>
                </a:lnTo>
                <a:lnTo>
                  <a:pt x="532" y="741"/>
                </a:lnTo>
                <a:lnTo>
                  <a:pt x="1948" y="745"/>
                </a:lnTo>
                <a:lnTo>
                  <a:pt x="1951" y="745"/>
                </a:lnTo>
                <a:lnTo>
                  <a:pt x="1956" y="745"/>
                </a:lnTo>
                <a:lnTo>
                  <a:pt x="1966" y="745"/>
                </a:lnTo>
                <a:lnTo>
                  <a:pt x="1979" y="745"/>
                </a:lnTo>
                <a:lnTo>
                  <a:pt x="1996" y="745"/>
                </a:lnTo>
                <a:lnTo>
                  <a:pt x="2016" y="744"/>
                </a:lnTo>
                <a:lnTo>
                  <a:pt x="2038" y="743"/>
                </a:lnTo>
                <a:lnTo>
                  <a:pt x="2063" y="741"/>
                </a:lnTo>
                <a:lnTo>
                  <a:pt x="2089" y="738"/>
                </a:lnTo>
                <a:lnTo>
                  <a:pt x="2118" y="735"/>
                </a:lnTo>
                <a:lnTo>
                  <a:pt x="2150" y="730"/>
                </a:lnTo>
                <a:lnTo>
                  <a:pt x="2182" y="725"/>
                </a:lnTo>
                <a:lnTo>
                  <a:pt x="2217" y="717"/>
                </a:lnTo>
                <a:lnTo>
                  <a:pt x="2251" y="709"/>
                </a:lnTo>
                <a:lnTo>
                  <a:pt x="2288" y="700"/>
                </a:lnTo>
                <a:lnTo>
                  <a:pt x="2325" y="688"/>
                </a:lnTo>
                <a:lnTo>
                  <a:pt x="2362" y="676"/>
                </a:lnTo>
                <a:lnTo>
                  <a:pt x="2400" y="660"/>
                </a:lnTo>
                <a:lnTo>
                  <a:pt x="2437" y="643"/>
                </a:lnTo>
                <a:lnTo>
                  <a:pt x="2475" y="624"/>
                </a:lnTo>
                <a:lnTo>
                  <a:pt x="2511" y="602"/>
                </a:lnTo>
                <a:lnTo>
                  <a:pt x="2547" y="579"/>
                </a:lnTo>
                <a:lnTo>
                  <a:pt x="2582" y="553"/>
                </a:lnTo>
                <a:lnTo>
                  <a:pt x="2616" y="524"/>
                </a:lnTo>
                <a:lnTo>
                  <a:pt x="2650" y="492"/>
                </a:lnTo>
                <a:lnTo>
                  <a:pt x="2680" y="458"/>
                </a:lnTo>
                <a:lnTo>
                  <a:pt x="2709" y="420"/>
                </a:lnTo>
                <a:lnTo>
                  <a:pt x="2737" y="380"/>
                </a:lnTo>
                <a:lnTo>
                  <a:pt x="2761" y="336"/>
                </a:lnTo>
                <a:lnTo>
                  <a:pt x="2783" y="289"/>
                </a:lnTo>
                <a:lnTo>
                  <a:pt x="2803" y="239"/>
                </a:lnTo>
                <a:lnTo>
                  <a:pt x="2818" y="184"/>
                </a:lnTo>
                <a:lnTo>
                  <a:pt x="2831" y="126"/>
                </a:lnTo>
                <a:lnTo>
                  <a:pt x="2840" y="65"/>
                </a:lnTo>
                <a:lnTo>
                  <a:pt x="2847" y="0"/>
                </a:lnTo>
                <a:close/>
              </a:path>
            </a:pathLst>
          </a:custGeom>
          <a:solidFill>
            <a:srgbClr val="7F7F7F"/>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Arial"/>
              <a:ea typeface="Arial"/>
              <a:cs typeface="Arial"/>
              <a:sym typeface="Arial"/>
            </a:endParaRPr>
          </a:p>
        </p:txBody>
      </p:sp>
      <p:sp>
        <p:nvSpPr>
          <p:cNvPr id="142" name="Google Shape;142;p22"/>
          <p:cNvSpPr/>
          <p:nvPr/>
        </p:nvSpPr>
        <p:spPr>
          <a:xfrm>
            <a:off x="5114925" y="1085851"/>
            <a:ext cx="3695700" cy="3578225"/>
          </a:xfrm>
          <a:custGeom>
            <a:avLst/>
            <a:gdLst/>
            <a:ahLst/>
            <a:cxnLst/>
            <a:rect l="l" t="t" r="r" b="b"/>
            <a:pathLst>
              <a:path w="2328" h="2254" extrusionOk="0">
                <a:moveTo>
                  <a:pt x="634" y="0"/>
                </a:moveTo>
                <a:lnTo>
                  <a:pt x="725" y="3"/>
                </a:lnTo>
                <a:lnTo>
                  <a:pt x="815" y="10"/>
                </a:lnTo>
                <a:lnTo>
                  <a:pt x="905" y="23"/>
                </a:lnTo>
                <a:lnTo>
                  <a:pt x="993" y="40"/>
                </a:lnTo>
                <a:lnTo>
                  <a:pt x="1081" y="62"/>
                </a:lnTo>
                <a:lnTo>
                  <a:pt x="1168" y="88"/>
                </a:lnTo>
                <a:lnTo>
                  <a:pt x="1253" y="118"/>
                </a:lnTo>
                <a:lnTo>
                  <a:pt x="1336" y="154"/>
                </a:lnTo>
                <a:lnTo>
                  <a:pt x="1418" y="194"/>
                </a:lnTo>
                <a:lnTo>
                  <a:pt x="1497" y="238"/>
                </a:lnTo>
                <a:lnTo>
                  <a:pt x="1574" y="287"/>
                </a:lnTo>
                <a:lnTo>
                  <a:pt x="1649" y="340"/>
                </a:lnTo>
                <a:lnTo>
                  <a:pt x="1720" y="397"/>
                </a:lnTo>
                <a:lnTo>
                  <a:pt x="1790" y="458"/>
                </a:lnTo>
                <a:lnTo>
                  <a:pt x="1856" y="523"/>
                </a:lnTo>
                <a:lnTo>
                  <a:pt x="1919" y="592"/>
                </a:lnTo>
                <a:lnTo>
                  <a:pt x="1978" y="665"/>
                </a:lnTo>
                <a:lnTo>
                  <a:pt x="2034" y="743"/>
                </a:lnTo>
                <a:lnTo>
                  <a:pt x="2085" y="824"/>
                </a:lnTo>
                <a:lnTo>
                  <a:pt x="2133" y="909"/>
                </a:lnTo>
                <a:lnTo>
                  <a:pt x="2181" y="1004"/>
                </a:lnTo>
                <a:lnTo>
                  <a:pt x="2220" y="1101"/>
                </a:lnTo>
                <a:lnTo>
                  <a:pt x="2255" y="1200"/>
                </a:lnTo>
                <a:lnTo>
                  <a:pt x="2282" y="1298"/>
                </a:lnTo>
                <a:lnTo>
                  <a:pt x="2303" y="1399"/>
                </a:lnTo>
                <a:lnTo>
                  <a:pt x="2319" y="1500"/>
                </a:lnTo>
                <a:lnTo>
                  <a:pt x="2328" y="1600"/>
                </a:lnTo>
                <a:lnTo>
                  <a:pt x="2314" y="1672"/>
                </a:lnTo>
                <a:lnTo>
                  <a:pt x="2297" y="1739"/>
                </a:lnTo>
                <a:lnTo>
                  <a:pt x="2277" y="1801"/>
                </a:lnTo>
                <a:lnTo>
                  <a:pt x="2255" y="1858"/>
                </a:lnTo>
                <a:lnTo>
                  <a:pt x="2231" y="1911"/>
                </a:lnTo>
                <a:lnTo>
                  <a:pt x="2205" y="1960"/>
                </a:lnTo>
                <a:lnTo>
                  <a:pt x="2177" y="2004"/>
                </a:lnTo>
                <a:lnTo>
                  <a:pt x="2148" y="2043"/>
                </a:lnTo>
                <a:lnTo>
                  <a:pt x="2118" y="2080"/>
                </a:lnTo>
                <a:lnTo>
                  <a:pt x="2087" y="2113"/>
                </a:lnTo>
                <a:lnTo>
                  <a:pt x="2055" y="2141"/>
                </a:lnTo>
                <a:lnTo>
                  <a:pt x="2022" y="2167"/>
                </a:lnTo>
                <a:lnTo>
                  <a:pt x="1989" y="2190"/>
                </a:lnTo>
                <a:lnTo>
                  <a:pt x="1956" y="2210"/>
                </a:lnTo>
                <a:lnTo>
                  <a:pt x="1923" y="2227"/>
                </a:lnTo>
                <a:lnTo>
                  <a:pt x="1890" y="2241"/>
                </a:lnTo>
                <a:lnTo>
                  <a:pt x="1859" y="2254"/>
                </a:lnTo>
                <a:lnTo>
                  <a:pt x="971" y="562"/>
                </a:lnTo>
                <a:lnTo>
                  <a:pt x="970" y="560"/>
                </a:lnTo>
                <a:lnTo>
                  <a:pt x="966" y="553"/>
                </a:lnTo>
                <a:lnTo>
                  <a:pt x="961" y="544"/>
                </a:lnTo>
                <a:lnTo>
                  <a:pt x="952" y="530"/>
                </a:lnTo>
                <a:lnTo>
                  <a:pt x="943" y="513"/>
                </a:lnTo>
                <a:lnTo>
                  <a:pt x="930" y="495"/>
                </a:lnTo>
                <a:lnTo>
                  <a:pt x="915" y="473"/>
                </a:lnTo>
                <a:lnTo>
                  <a:pt x="898" y="450"/>
                </a:lnTo>
                <a:lnTo>
                  <a:pt x="879" y="424"/>
                </a:lnTo>
                <a:lnTo>
                  <a:pt x="857" y="398"/>
                </a:lnTo>
                <a:lnTo>
                  <a:pt x="833" y="371"/>
                </a:lnTo>
                <a:lnTo>
                  <a:pt x="807" y="343"/>
                </a:lnTo>
                <a:lnTo>
                  <a:pt x="777" y="315"/>
                </a:lnTo>
                <a:lnTo>
                  <a:pt x="747" y="287"/>
                </a:lnTo>
                <a:lnTo>
                  <a:pt x="713" y="260"/>
                </a:lnTo>
                <a:lnTo>
                  <a:pt x="678" y="233"/>
                </a:lnTo>
                <a:lnTo>
                  <a:pt x="640" y="207"/>
                </a:lnTo>
                <a:lnTo>
                  <a:pt x="599" y="183"/>
                </a:lnTo>
                <a:lnTo>
                  <a:pt x="557" y="161"/>
                </a:lnTo>
                <a:lnTo>
                  <a:pt x="512" y="143"/>
                </a:lnTo>
                <a:lnTo>
                  <a:pt x="464" y="125"/>
                </a:lnTo>
                <a:lnTo>
                  <a:pt x="415" y="111"/>
                </a:lnTo>
                <a:lnTo>
                  <a:pt x="362" y="100"/>
                </a:lnTo>
                <a:lnTo>
                  <a:pt x="308" y="92"/>
                </a:lnTo>
                <a:lnTo>
                  <a:pt x="251" y="89"/>
                </a:lnTo>
                <a:lnTo>
                  <a:pt x="193" y="90"/>
                </a:lnTo>
                <a:lnTo>
                  <a:pt x="131" y="96"/>
                </a:lnTo>
                <a:lnTo>
                  <a:pt x="67" y="107"/>
                </a:lnTo>
                <a:lnTo>
                  <a:pt x="0" y="124"/>
                </a:lnTo>
                <a:lnTo>
                  <a:pt x="89" y="90"/>
                </a:lnTo>
                <a:lnTo>
                  <a:pt x="179" y="62"/>
                </a:lnTo>
                <a:lnTo>
                  <a:pt x="269" y="40"/>
                </a:lnTo>
                <a:lnTo>
                  <a:pt x="360" y="22"/>
                </a:lnTo>
                <a:lnTo>
                  <a:pt x="451" y="9"/>
                </a:lnTo>
                <a:lnTo>
                  <a:pt x="543" y="2"/>
                </a:lnTo>
                <a:lnTo>
                  <a:pt x="634" y="0"/>
                </a:lnTo>
                <a:close/>
              </a:path>
            </a:pathLst>
          </a:custGeom>
          <a:gradFill>
            <a:gsLst>
              <a:gs pos="0">
                <a:srgbClr val="893407"/>
              </a:gs>
              <a:gs pos="100000">
                <a:schemeClr val="accent3"/>
              </a:gs>
            </a:gsLst>
            <a:lin ang="13500000" scaled="0"/>
          </a:gra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Arial"/>
              <a:ea typeface="Arial"/>
              <a:cs typeface="Arial"/>
              <a:sym typeface="Arial"/>
            </a:endParaRPr>
          </a:p>
        </p:txBody>
      </p:sp>
      <p:sp>
        <p:nvSpPr>
          <p:cNvPr id="143" name="Google Shape;143;p22"/>
          <p:cNvSpPr/>
          <p:nvPr/>
        </p:nvSpPr>
        <p:spPr>
          <a:xfrm>
            <a:off x="4627564" y="1227139"/>
            <a:ext cx="3438525" cy="3497263"/>
          </a:xfrm>
          <a:custGeom>
            <a:avLst/>
            <a:gdLst/>
            <a:ahLst/>
            <a:cxnLst/>
            <a:rect l="l" t="t" r="r" b="b"/>
            <a:pathLst>
              <a:path w="2166" h="2203" extrusionOk="0">
                <a:moveTo>
                  <a:pt x="558" y="0"/>
                </a:moveTo>
                <a:lnTo>
                  <a:pt x="615" y="3"/>
                </a:lnTo>
                <a:lnTo>
                  <a:pt x="669" y="11"/>
                </a:lnTo>
                <a:lnTo>
                  <a:pt x="722" y="22"/>
                </a:lnTo>
                <a:lnTo>
                  <a:pt x="771" y="36"/>
                </a:lnTo>
                <a:lnTo>
                  <a:pt x="819" y="54"/>
                </a:lnTo>
                <a:lnTo>
                  <a:pt x="864" y="72"/>
                </a:lnTo>
                <a:lnTo>
                  <a:pt x="906" y="94"/>
                </a:lnTo>
                <a:lnTo>
                  <a:pt x="947" y="118"/>
                </a:lnTo>
                <a:lnTo>
                  <a:pt x="985" y="144"/>
                </a:lnTo>
                <a:lnTo>
                  <a:pt x="1020" y="171"/>
                </a:lnTo>
                <a:lnTo>
                  <a:pt x="1054" y="198"/>
                </a:lnTo>
                <a:lnTo>
                  <a:pt x="1084" y="226"/>
                </a:lnTo>
                <a:lnTo>
                  <a:pt x="1114" y="254"/>
                </a:lnTo>
                <a:lnTo>
                  <a:pt x="1140" y="282"/>
                </a:lnTo>
                <a:lnTo>
                  <a:pt x="1164" y="309"/>
                </a:lnTo>
                <a:lnTo>
                  <a:pt x="1186" y="335"/>
                </a:lnTo>
                <a:lnTo>
                  <a:pt x="1205" y="361"/>
                </a:lnTo>
                <a:lnTo>
                  <a:pt x="1222" y="384"/>
                </a:lnTo>
                <a:lnTo>
                  <a:pt x="1237" y="406"/>
                </a:lnTo>
                <a:lnTo>
                  <a:pt x="1250" y="424"/>
                </a:lnTo>
                <a:lnTo>
                  <a:pt x="1259" y="441"/>
                </a:lnTo>
                <a:lnTo>
                  <a:pt x="1268" y="455"/>
                </a:lnTo>
                <a:lnTo>
                  <a:pt x="1273" y="464"/>
                </a:lnTo>
                <a:lnTo>
                  <a:pt x="1277" y="471"/>
                </a:lnTo>
                <a:lnTo>
                  <a:pt x="1278" y="473"/>
                </a:lnTo>
                <a:lnTo>
                  <a:pt x="2166" y="2165"/>
                </a:lnTo>
                <a:lnTo>
                  <a:pt x="2122" y="2179"/>
                </a:lnTo>
                <a:lnTo>
                  <a:pt x="2081" y="2188"/>
                </a:lnTo>
                <a:lnTo>
                  <a:pt x="2042" y="2195"/>
                </a:lnTo>
                <a:lnTo>
                  <a:pt x="2008" y="2200"/>
                </a:lnTo>
                <a:lnTo>
                  <a:pt x="1976" y="2202"/>
                </a:lnTo>
                <a:lnTo>
                  <a:pt x="1949" y="2203"/>
                </a:lnTo>
                <a:lnTo>
                  <a:pt x="1927" y="2203"/>
                </a:lnTo>
                <a:lnTo>
                  <a:pt x="1910" y="2202"/>
                </a:lnTo>
                <a:lnTo>
                  <a:pt x="1900" y="2201"/>
                </a:lnTo>
                <a:lnTo>
                  <a:pt x="1896" y="2201"/>
                </a:lnTo>
                <a:lnTo>
                  <a:pt x="1781" y="1982"/>
                </a:lnTo>
                <a:lnTo>
                  <a:pt x="1602" y="1981"/>
                </a:lnTo>
                <a:lnTo>
                  <a:pt x="1700" y="1830"/>
                </a:lnTo>
                <a:lnTo>
                  <a:pt x="1064" y="617"/>
                </a:lnTo>
                <a:lnTo>
                  <a:pt x="1063" y="615"/>
                </a:lnTo>
                <a:lnTo>
                  <a:pt x="1060" y="609"/>
                </a:lnTo>
                <a:lnTo>
                  <a:pt x="1056" y="599"/>
                </a:lnTo>
                <a:lnTo>
                  <a:pt x="1049" y="587"/>
                </a:lnTo>
                <a:lnTo>
                  <a:pt x="1040" y="572"/>
                </a:lnTo>
                <a:lnTo>
                  <a:pt x="1030" y="553"/>
                </a:lnTo>
                <a:lnTo>
                  <a:pt x="1017" y="533"/>
                </a:lnTo>
                <a:lnTo>
                  <a:pt x="1003" y="511"/>
                </a:lnTo>
                <a:lnTo>
                  <a:pt x="987" y="487"/>
                </a:lnTo>
                <a:lnTo>
                  <a:pt x="968" y="461"/>
                </a:lnTo>
                <a:lnTo>
                  <a:pt x="948" y="435"/>
                </a:lnTo>
                <a:lnTo>
                  <a:pt x="926" y="408"/>
                </a:lnTo>
                <a:lnTo>
                  <a:pt x="901" y="379"/>
                </a:lnTo>
                <a:lnTo>
                  <a:pt x="876" y="352"/>
                </a:lnTo>
                <a:lnTo>
                  <a:pt x="847" y="324"/>
                </a:lnTo>
                <a:lnTo>
                  <a:pt x="817" y="297"/>
                </a:lnTo>
                <a:lnTo>
                  <a:pt x="785" y="270"/>
                </a:lnTo>
                <a:lnTo>
                  <a:pt x="751" y="244"/>
                </a:lnTo>
                <a:lnTo>
                  <a:pt x="715" y="220"/>
                </a:lnTo>
                <a:lnTo>
                  <a:pt x="677" y="198"/>
                </a:lnTo>
                <a:lnTo>
                  <a:pt x="637" y="177"/>
                </a:lnTo>
                <a:lnTo>
                  <a:pt x="595" y="159"/>
                </a:lnTo>
                <a:lnTo>
                  <a:pt x="551" y="144"/>
                </a:lnTo>
                <a:lnTo>
                  <a:pt x="505" y="131"/>
                </a:lnTo>
                <a:lnTo>
                  <a:pt x="457" y="122"/>
                </a:lnTo>
                <a:lnTo>
                  <a:pt x="407" y="115"/>
                </a:lnTo>
                <a:lnTo>
                  <a:pt x="355" y="113"/>
                </a:lnTo>
                <a:lnTo>
                  <a:pt x="300" y="115"/>
                </a:lnTo>
                <a:lnTo>
                  <a:pt x="245" y="122"/>
                </a:lnTo>
                <a:lnTo>
                  <a:pt x="186" y="133"/>
                </a:lnTo>
                <a:lnTo>
                  <a:pt x="126" y="149"/>
                </a:lnTo>
                <a:lnTo>
                  <a:pt x="65" y="171"/>
                </a:lnTo>
                <a:lnTo>
                  <a:pt x="0" y="197"/>
                </a:lnTo>
                <a:lnTo>
                  <a:pt x="75" y="150"/>
                </a:lnTo>
                <a:lnTo>
                  <a:pt x="153" y="106"/>
                </a:lnTo>
                <a:lnTo>
                  <a:pt x="229" y="68"/>
                </a:lnTo>
                <a:lnTo>
                  <a:pt x="307" y="35"/>
                </a:lnTo>
                <a:lnTo>
                  <a:pt x="374" y="18"/>
                </a:lnTo>
                <a:lnTo>
                  <a:pt x="438" y="7"/>
                </a:lnTo>
                <a:lnTo>
                  <a:pt x="500" y="1"/>
                </a:lnTo>
                <a:lnTo>
                  <a:pt x="558" y="0"/>
                </a:lnTo>
                <a:close/>
              </a:path>
            </a:pathLst>
          </a:custGeom>
          <a:solidFill>
            <a:srgbClr val="F8AA80"/>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Arial"/>
              <a:ea typeface="Arial"/>
              <a:cs typeface="Arial"/>
              <a:sym typeface="Arial"/>
            </a:endParaRPr>
          </a:p>
        </p:txBody>
      </p:sp>
      <p:sp>
        <p:nvSpPr>
          <p:cNvPr id="144" name="Google Shape;144;p22"/>
          <p:cNvSpPr/>
          <p:nvPr/>
        </p:nvSpPr>
        <p:spPr>
          <a:xfrm>
            <a:off x="3355975" y="1447801"/>
            <a:ext cx="2554288" cy="4487863"/>
          </a:xfrm>
          <a:custGeom>
            <a:avLst/>
            <a:gdLst/>
            <a:ahLst/>
            <a:cxnLst/>
            <a:rect l="l" t="t" r="r" b="b"/>
            <a:pathLst>
              <a:path w="1609" h="2827" extrusionOk="0">
                <a:moveTo>
                  <a:pt x="1166" y="0"/>
                </a:moveTo>
                <a:lnTo>
                  <a:pt x="1217" y="3"/>
                </a:lnTo>
                <a:lnTo>
                  <a:pt x="1264" y="7"/>
                </a:lnTo>
                <a:lnTo>
                  <a:pt x="1309" y="14"/>
                </a:lnTo>
                <a:lnTo>
                  <a:pt x="1352" y="25"/>
                </a:lnTo>
                <a:lnTo>
                  <a:pt x="1392" y="37"/>
                </a:lnTo>
                <a:lnTo>
                  <a:pt x="1429" y="51"/>
                </a:lnTo>
                <a:lnTo>
                  <a:pt x="1465" y="68"/>
                </a:lnTo>
                <a:lnTo>
                  <a:pt x="1498" y="84"/>
                </a:lnTo>
                <a:lnTo>
                  <a:pt x="1529" y="103"/>
                </a:lnTo>
                <a:lnTo>
                  <a:pt x="1557" y="123"/>
                </a:lnTo>
                <a:lnTo>
                  <a:pt x="1585" y="144"/>
                </a:lnTo>
                <a:lnTo>
                  <a:pt x="1609" y="165"/>
                </a:lnTo>
                <a:lnTo>
                  <a:pt x="537" y="1760"/>
                </a:lnTo>
                <a:lnTo>
                  <a:pt x="534" y="1762"/>
                </a:lnTo>
                <a:lnTo>
                  <a:pt x="530" y="1769"/>
                </a:lnTo>
                <a:lnTo>
                  <a:pt x="523" y="1780"/>
                </a:lnTo>
                <a:lnTo>
                  <a:pt x="514" y="1795"/>
                </a:lnTo>
                <a:lnTo>
                  <a:pt x="503" y="1815"/>
                </a:lnTo>
                <a:lnTo>
                  <a:pt x="490" y="1838"/>
                </a:lnTo>
                <a:lnTo>
                  <a:pt x="478" y="1865"/>
                </a:lnTo>
                <a:lnTo>
                  <a:pt x="464" y="1895"/>
                </a:lnTo>
                <a:lnTo>
                  <a:pt x="450" y="1927"/>
                </a:lnTo>
                <a:lnTo>
                  <a:pt x="436" y="1964"/>
                </a:lnTo>
                <a:lnTo>
                  <a:pt x="423" y="2003"/>
                </a:lnTo>
                <a:lnTo>
                  <a:pt x="411" y="2044"/>
                </a:lnTo>
                <a:lnTo>
                  <a:pt x="400" y="2088"/>
                </a:lnTo>
                <a:lnTo>
                  <a:pt x="391" y="2133"/>
                </a:lnTo>
                <a:lnTo>
                  <a:pt x="384" y="2181"/>
                </a:lnTo>
                <a:lnTo>
                  <a:pt x="379" y="2230"/>
                </a:lnTo>
                <a:lnTo>
                  <a:pt x="378" y="2281"/>
                </a:lnTo>
                <a:lnTo>
                  <a:pt x="380" y="2333"/>
                </a:lnTo>
                <a:lnTo>
                  <a:pt x="386" y="2386"/>
                </a:lnTo>
                <a:lnTo>
                  <a:pt x="395" y="2440"/>
                </a:lnTo>
                <a:lnTo>
                  <a:pt x="409" y="2495"/>
                </a:lnTo>
                <a:lnTo>
                  <a:pt x="428" y="2550"/>
                </a:lnTo>
                <a:lnTo>
                  <a:pt x="453" y="2605"/>
                </a:lnTo>
                <a:lnTo>
                  <a:pt x="482" y="2661"/>
                </a:lnTo>
                <a:lnTo>
                  <a:pt x="518" y="2717"/>
                </a:lnTo>
                <a:lnTo>
                  <a:pt x="560" y="2772"/>
                </a:lnTo>
                <a:lnTo>
                  <a:pt x="609" y="2827"/>
                </a:lnTo>
                <a:lnTo>
                  <a:pt x="536" y="2762"/>
                </a:lnTo>
                <a:lnTo>
                  <a:pt x="465" y="2692"/>
                </a:lnTo>
                <a:lnTo>
                  <a:pt x="400" y="2621"/>
                </a:lnTo>
                <a:lnTo>
                  <a:pt x="341" y="2546"/>
                </a:lnTo>
                <a:lnTo>
                  <a:pt x="285" y="2468"/>
                </a:lnTo>
                <a:lnTo>
                  <a:pt x="235" y="2388"/>
                </a:lnTo>
                <a:lnTo>
                  <a:pt x="189" y="2305"/>
                </a:lnTo>
                <a:lnTo>
                  <a:pt x="148" y="2220"/>
                </a:lnTo>
                <a:lnTo>
                  <a:pt x="111" y="2133"/>
                </a:lnTo>
                <a:lnTo>
                  <a:pt x="81" y="2044"/>
                </a:lnTo>
                <a:lnTo>
                  <a:pt x="54" y="1953"/>
                </a:lnTo>
                <a:lnTo>
                  <a:pt x="34" y="1861"/>
                </a:lnTo>
                <a:lnTo>
                  <a:pt x="17" y="1768"/>
                </a:lnTo>
                <a:lnTo>
                  <a:pt x="6" y="1675"/>
                </a:lnTo>
                <a:lnTo>
                  <a:pt x="0" y="1581"/>
                </a:lnTo>
                <a:lnTo>
                  <a:pt x="0" y="1486"/>
                </a:lnTo>
                <a:lnTo>
                  <a:pt x="4" y="1391"/>
                </a:lnTo>
                <a:lnTo>
                  <a:pt x="15" y="1297"/>
                </a:lnTo>
                <a:lnTo>
                  <a:pt x="30" y="1202"/>
                </a:lnTo>
                <a:lnTo>
                  <a:pt x="50" y="1108"/>
                </a:lnTo>
                <a:lnTo>
                  <a:pt x="77" y="1015"/>
                </a:lnTo>
                <a:lnTo>
                  <a:pt x="109" y="923"/>
                </a:lnTo>
                <a:lnTo>
                  <a:pt x="146" y="831"/>
                </a:lnTo>
                <a:lnTo>
                  <a:pt x="189" y="742"/>
                </a:lnTo>
                <a:lnTo>
                  <a:pt x="237" y="654"/>
                </a:lnTo>
                <a:lnTo>
                  <a:pt x="290" y="568"/>
                </a:lnTo>
                <a:lnTo>
                  <a:pt x="345" y="492"/>
                </a:lnTo>
                <a:lnTo>
                  <a:pt x="402" y="419"/>
                </a:lnTo>
                <a:lnTo>
                  <a:pt x="463" y="349"/>
                </a:lnTo>
                <a:lnTo>
                  <a:pt x="527" y="284"/>
                </a:lnTo>
                <a:lnTo>
                  <a:pt x="594" y="224"/>
                </a:lnTo>
                <a:lnTo>
                  <a:pt x="663" y="167"/>
                </a:lnTo>
                <a:lnTo>
                  <a:pt x="735" y="114"/>
                </a:lnTo>
                <a:lnTo>
                  <a:pt x="809" y="64"/>
                </a:lnTo>
                <a:lnTo>
                  <a:pt x="876" y="43"/>
                </a:lnTo>
                <a:lnTo>
                  <a:pt x="939" y="28"/>
                </a:lnTo>
                <a:lnTo>
                  <a:pt x="1001" y="15"/>
                </a:lnTo>
                <a:lnTo>
                  <a:pt x="1058" y="7"/>
                </a:lnTo>
                <a:lnTo>
                  <a:pt x="1114" y="1"/>
                </a:lnTo>
                <a:lnTo>
                  <a:pt x="1166" y="0"/>
                </a:lnTo>
                <a:close/>
              </a:path>
            </a:pathLst>
          </a:custGeom>
          <a:gradFill>
            <a:gsLst>
              <a:gs pos="0">
                <a:srgbClr val="1C496D"/>
              </a:gs>
              <a:gs pos="100000">
                <a:schemeClr val="accent2"/>
              </a:gs>
            </a:gsLst>
            <a:lin ang="8100000" scaled="0"/>
          </a:gra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Arial"/>
              <a:ea typeface="Arial"/>
              <a:cs typeface="Arial"/>
              <a:sym typeface="Arial"/>
            </a:endParaRPr>
          </a:p>
        </p:txBody>
      </p:sp>
      <p:sp>
        <p:nvSpPr>
          <p:cNvPr id="145" name="Google Shape;145;p22"/>
          <p:cNvSpPr/>
          <p:nvPr/>
        </p:nvSpPr>
        <p:spPr>
          <a:xfrm>
            <a:off x="3956051" y="1709739"/>
            <a:ext cx="2206625" cy="4530725"/>
          </a:xfrm>
          <a:custGeom>
            <a:avLst/>
            <a:gdLst/>
            <a:ahLst/>
            <a:cxnLst/>
            <a:rect l="l" t="t" r="r" b="b"/>
            <a:pathLst>
              <a:path w="1390" h="2854" extrusionOk="0">
                <a:moveTo>
                  <a:pt x="1231" y="0"/>
                </a:moveTo>
                <a:lnTo>
                  <a:pt x="1260" y="28"/>
                </a:lnTo>
                <a:lnTo>
                  <a:pt x="1287" y="58"/>
                </a:lnTo>
                <a:lnTo>
                  <a:pt x="1309" y="86"/>
                </a:lnTo>
                <a:lnTo>
                  <a:pt x="1329" y="112"/>
                </a:lnTo>
                <a:lnTo>
                  <a:pt x="1346" y="137"/>
                </a:lnTo>
                <a:lnTo>
                  <a:pt x="1360" y="160"/>
                </a:lnTo>
                <a:lnTo>
                  <a:pt x="1371" y="180"/>
                </a:lnTo>
                <a:lnTo>
                  <a:pt x="1379" y="197"/>
                </a:lnTo>
                <a:lnTo>
                  <a:pt x="1386" y="210"/>
                </a:lnTo>
                <a:lnTo>
                  <a:pt x="1389" y="218"/>
                </a:lnTo>
                <a:lnTo>
                  <a:pt x="1390" y="220"/>
                </a:lnTo>
                <a:lnTo>
                  <a:pt x="1252" y="426"/>
                </a:lnTo>
                <a:lnTo>
                  <a:pt x="1335" y="586"/>
                </a:lnTo>
                <a:lnTo>
                  <a:pt x="1155" y="571"/>
                </a:lnTo>
                <a:lnTo>
                  <a:pt x="387" y="1714"/>
                </a:lnTo>
                <a:lnTo>
                  <a:pt x="385" y="1716"/>
                </a:lnTo>
                <a:lnTo>
                  <a:pt x="381" y="1722"/>
                </a:lnTo>
                <a:lnTo>
                  <a:pt x="374" y="1732"/>
                </a:lnTo>
                <a:lnTo>
                  <a:pt x="365" y="1746"/>
                </a:lnTo>
                <a:lnTo>
                  <a:pt x="355" y="1762"/>
                </a:lnTo>
                <a:lnTo>
                  <a:pt x="342" y="1782"/>
                </a:lnTo>
                <a:lnTo>
                  <a:pt x="329" y="1805"/>
                </a:lnTo>
                <a:lnTo>
                  <a:pt x="315" y="1832"/>
                </a:lnTo>
                <a:lnTo>
                  <a:pt x="300" y="1861"/>
                </a:lnTo>
                <a:lnTo>
                  <a:pt x="285" y="1892"/>
                </a:lnTo>
                <a:lnTo>
                  <a:pt x="271" y="1927"/>
                </a:lnTo>
                <a:lnTo>
                  <a:pt x="257" y="1964"/>
                </a:lnTo>
                <a:lnTo>
                  <a:pt x="243" y="2001"/>
                </a:lnTo>
                <a:lnTo>
                  <a:pt x="232" y="2042"/>
                </a:lnTo>
                <a:lnTo>
                  <a:pt x="221" y="2084"/>
                </a:lnTo>
                <a:lnTo>
                  <a:pt x="212" y="2128"/>
                </a:lnTo>
                <a:lnTo>
                  <a:pt x="206" y="2173"/>
                </a:lnTo>
                <a:lnTo>
                  <a:pt x="202" y="2219"/>
                </a:lnTo>
                <a:lnTo>
                  <a:pt x="200" y="2267"/>
                </a:lnTo>
                <a:lnTo>
                  <a:pt x="202" y="2315"/>
                </a:lnTo>
                <a:lnTo>
                  <a:pt x="207" y="2364"/>
                </a:lnTo>
                <a:lnTo>
                  <a:pt x="216" y="2413"/>
                </a:lnTo>
                <a:lnTo>
                  <a:pt x="229" y="2464"/>
                </a:lnTo>
                <a:lnTo>
                  <a:pt x="247" y="2513"/>
                </a:lnTo>
                <a:lnTo>
                  <a:pt x="269" y="2563"/>
                </a:lnTo>
                <a:lnTo>
                  <a:pt x="296" y="2613"/>
                </a:lnTo>
                <a:lnTo>
                  <a:pt x="329" y="2663"/>
                </a:lnTo>
                <a:lnTo>
                  <a:pt x="367" y="2712"/>
                </a:lnTo>
                <a:lnTo>
                  <a:pt x="412" y="2760"/>
                </a:lnTo>
                <a:lnTo>
                  <a:pt x="464" y="2807"/>
                </a:lnTo>
                <a:lnTo>
                  <a:pt x="521" y="2854"/>
                </a:lnTo>
                <a:lnTo>
                  <a:pt x="444" y="2810"/>
                </a:lnTo>
                <a:lnTo>
                  <a:pt x="367" y="2763"/>
                </a:lnTo>
                <a:lnTo>
                  <a:pt x="298" y="2713"/>
                </a:lnTo>
                <a:lnTo>
                  <a:pt x="231" y="2662"/>
                </a:lnTo>
                <a:lnTo>
                  <a:pt x="182" y="2607"/>
                </a:lnTo>
                <a:lnTo>
                  <a:pt x="140" y="2552"/>
                </a:lnTo>
                <a:lnTo>
                  <a:pt x="104" y="2496"/>
                </a:lnTo>
                <a:lnTo>
                  <a:pt x="75" y="2440"/>
                </a:lnTo>
                <a:lnTo>
                  <a:pt x="50" y="2385"/>
                </a:lnTo>
                <a:lnTo>
                  <a:pt x="31" y="2330"/>
                </a:lnTo>
                <a:lnTo>
                  <a:pt x="17" y="2275"/>
                </a:lnTo>
                <a:lnTo>
                  <a:pt x="8" y="2221"/>
                </a:lnTo>
                <a:lnTo>
                  <a:pt x="2" y="2168"/>
                </a:lnTo>
                <a:lnTo>
                  <a:pt x="0" y="2116"/>
                </a:lnTo>
                <a:lnTo>
                  <a:pt x="1" y="2065"/>
                </a:lnTo>
                <a:lnTo>
                  <a:pt x="6" y="2016"/>
                </a:lnTo>
                <a:lnTo>
                  <a:pt x="13" y="1968"/>
                </a:lnTo>
                <a:lnTo>
                  <a:pt x="22" y="1923"/>
                </a:lnTo>
                <a:lnTo>
                  <a:pt x="33" y="1879"/>
                </a:lnTo>
                <a:lnTo>
                  <a:pt x="45" y="1838"/>
                </a:lnTo>
                <a:lnTo>
                  <a:pt x="58" y="1799"/>
                </a:lnTo>
                <a:lnTo>
                  <a:pt x="72" y="1762"/>
                </a:lnTo>
                <a:lnTo>
                  <a:pt x="86" y="1730"/>
                </a:lnTo>
                <a:lnTo>
                  <a:pt x="100" y="1700"/>
                </a:lnTo>
                <a:lnTo>
                  <a:pt x="112" y="1673"/>
                </a:lnTo>
                <a:lnTo>
                  <a:pt x="125" y="1650"/>
                </a:lnTo>
                <a:lnTo>
                  <a:pt x="136" y="1630"/>
                </a:lnTo>
                <a:lnTo>
                  <a:pt x="145" y="1615"/>
                </a:lnTo>
                <a:lnTo>
                  <a:pt x="152" y="1604"/>
                </a:lnTo>
                <a:lnTo>
                  <a:pt x="156" y="1597"/>
                </a:lnTo>
                <a:lnTo>
                  <a:pt x="159" y="1595"/>
                </a:lnTo>
                <a:lnTo>
                  <a:pt x="1231" y="0"/>
                </a:lnTo>
                <a:close/>
              </a:path>
            </a:pathLst>
          </a:custGeom>
          <a:solidFill>
            <a:srgbClr val="8EBDE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Arial"/>
              <a:ea typeface="Arial"/>
              <a:cs typeface="Arial"/>
              <a:sym typeface="Arial"/>
            </a:endParaRPr>
          </a:p>
        </p:txBody>
      </p:sp>
      <p:grpSp>
        <p:nvGrpSpPr>
          <p:cNvPr id="146" name="Google Shape;146;p22"/>
          <p:cNvGrpSpPr/>
          <p:nvPr/>
        </p:nvGrpSpPr>
        <p:grpSpPr>
          <a:xfrm>
            <a:off x="3524978" y="3405258"/>
            <a:ext cx="690695" cy="758756"/>
            <a:chOff x="9223375" y="4413251"/>
            <a:chExt cx="434976" cy="477838"/>
          </a:xfrm>
        </p:grpSpPr>
        <p:sp>
          <p:nvSpPr>
            <p:cNvPr id="147" name="Google Shape;147;p22"/>
            <p:cNvSpPr/>
            <p:nvPr/>
          </p:nvSpPr>
          <p:spPr>
            <a:xfrm>
              <a:off x="9294813" y="4486276"/>
              <a:ext cx="292100" cy="404813"/>
            </a:xfrm>
            <a:custGeom>
              <a:avLst/>
              <a:gdLst/>
              <a:ahLst/>
              <a:cxnLst/>
              <a:rect l="l" t="t" r="r" b="b"/>
              <a:pathLst>
                <a:path w="2029" h="2800" extrusionOk="0">
                  <a:moveTo>
                    <a:pt x="1014" y="255"/>
                  </a:moveTo>
                  <a:lnTo>
                    <a:pt x="945" y="258"/>
                  </a:lnTo>
                  <a:lnTo>
                    <a:pt x="878" y="266"/>
                  </a:lnTo>
                  <a:lnTo>
                    <a:pt x="813" y="281"/>
                  </a:lnTo>
                  <a:lnTo>
                    <a:pt x="750" y="299"/>
                  </a:lnTo>
                  <a:lnTo>
                    <a:pt x="690" y="324"/>
                  </a:lnTo>
                  <a:lnTo>
                    <a:pt x="632" y="354"/>
                  </a:lnTo>
                  <a:lnTo>
                    <a:pt x="578" y="387"/>
                  </a:lnTo>
                  <a:lnTo>
                    <a:pt x="527" y="424"/>
                  </a:lnTo>
                  <a:lnTo>
                    <a:pt x="479" y="466"/>
                  </a:lnTo>
                  <a:lnTo>
                    <a:pt x="435" y="511"/>
                  </a:lnTo>
                  <a:lnTo>
                    <a:pt x="396" y="559"/>
                  </a:lnTo>
                  <a:lnTo>
                    <a:pt x="361" y="611"/>
                  </a:lnTo>
                  <a:lnTo>
                    <a:pt x="330" y="666"/>
                  </a:lnTo>
                  <a:lnTo>
                    <a:pt x="304" y="723"/>
                  </a:lnTo>
                  <a:lnTo>
                    <a:pt x="284" y="783"/>
                  </a:lnTo>
                  <a:lnTo>
                    <a:pt x="270" y="844"/>
                  </a:lnTo>
                  <a:lnTo>
                    <a:pt x="260" y="908"/>
                  </a:lnTo>
                  <a:lnTo>
                    <a:pt x="257" y="973"/>
                  </a:lnTo>
                  <a:lnTo>
                    <a:pt x="259" y="1034"/>
                  </a:lnTo>
                  <a:lnTo>
                    <a:pt x="264" y="1090"/>
                  </a:lnTo>
                  <a:lnTo>
                    <a:pt x="273" y="1143"/>
                  </a:lnTo>
                  <a:lnTo>
                    <a:pt x="284" y="1193"/>
                  </a:lnTo>
                  <a:lnTo>
                    <a:pt x="298" y="1240"/>
                  </a:lnTo>
                  <a:lnTo>
                    <a:pt x="314" y="1283"/>
                  </a:lnTo>
                  <a:lnTo>
                    <a:pt x="331" y="1325"/>
                  </a:lnTo>
                  <a:lnTo>
                    <a:pt x="351" y="1364"/>
                  </a:lnTo>
                  <a:lnTo>
                    <a:pt x="371" y="1402"/>
                  </a:lnTo>
                  <a:lnTo>
                    <a:pt x="393" y="1437"/>
                  </a:lnTo>
                  <a:lnTo>
                    <a:pt x="414" y="1472"/>
                  </a:lnTo>
                  <a:lnTo>
                    <a:pt x="437" y="1505"/>
                  </a:lnTo>
                  <a:lnTo>
                    <a:pt x="458" y="1537"/>
                  </a:lnTo>
                  <a:lnTo>
                    <a:pt x="483" y="1573"/>
                  </a:lnTo>
                  <a:lnTo>
                    <a:pt x="507" y="1610"/>
                  </a:lnTo>
                  <a:lnTo>
                    <a:pt x="530" y="1646"/>
                  </a:lnTo>
                  <a:lnTo>
                    <a:pt x="551" y="1683"/>
                  </a:lnTo>
                  <a:lnTo>
                    <a:pt x="569" y="1721"/>
                  </a:lnTo>
                  <a:lnTo>
                    <a:pt x="584" y="1760"/>
                  </a:lnTo>
                  <a:lnTo>
                    <a:pt x="595" y="1800"/>
                  </a:lnTo>
                  <a:lnTo>
                    <a:pt x="603" y="1843"/>
                  </a:lnTo>
                  <a:lnTo>
                    <a:pt x="605" y="1888"/>
                  </a:lnTo>
                  <a:lnTo>
                    <a:pt x="608" y="1912"/>
                  </a:lnTo>
                  <a:lnTo>
                    <a:pt x="617" y="1936"/>
                  </a:lnTo>
                  <a:lnTo>
                    <a:pt x="630" y="1958"/>
                  </a:lnTo>
                  <a:lnTo>
                    <a:pt x="647" y="1978"/>
                  </a:lnTo>
                  <a:lnTo>
                    <a:pt x="665" y="1996"/>
                  </a:lnTo>
                  <a:lnTo>
                    <a:pt x="683" y="2011"/>
                  </a:lnTo>
                  <a:lnTo>
                    <a:pt x="701" y="2025"/>
                  </a:lnTo>
                  <a:lnTo>
                    <a:pt x="1328" y="2025"/>
                  </a:lnTo>
                  <a:lnTo>
                    <a:pt x="1346" y="2011"/>
                  </a:lnTo>
                  <a:lnTo>
                    <a:pt x="1364" y="1996"/>
                  </a:lnTo>
                  <a:lnTo>
                    <a:pt x="1383" y="1978"/>
                  </a:lnTo>
                  <a:lnTo>
                    <a:pt x="1399" y="1958"/>
                  </a:lnTo>
                  <a:lnTo>
                    <a:pt x="1412" y="1936"/>
                  </a:lnTo>
                  <a:lnTo>
                    <a:pt x="1421" y="1912"/>
                  </a:lnTo>
                  <a:lnTo>
                    <a:pt x="1424" y="1888"/>
                  </a:lnTo>
                  <a:lnTo>
                    <a:pt x="1426" y="1843"/>
                  </a:lnTo>
                  <a:lnTo>
                    <a:pt x="1434" y="1800"/>
                  </a:lnTo>
                  <a:lnTo>
                    <a:pt x="1445" y="1760"/>
                  </a:lnTo>
                  <a:lnTo>
                    <a:pt x="1460" y="1721"/>
                  </a:lnTo>
                  <a:lnTo>
                    <a:pt x="1478" y="1684"/>
                  </a:lnTo>
                  <a:lnTo>
                    <a:pt x="1498" y="1646"/>
                  </a:lnTo>
                  <a:lnTo>
                    <a:pt x="1520" y="1610"/>
                  </a:lnTo>
                  <a:lnTo>
                    <a:pt x="1545" y="1574"/>
                  </a:lnTo>
                  <a:lnTo>
                    <a:pt x="1570" y="1538"/>
                  </a:lnTo>
                  <a:lnTo>
                    <a:pt x="1592" y="1506"/>
                  </a:lnTo>
                  <a:lnTo>
                    <a:pt x="1614" y="1473"/>
                  </a:lnTo>
                  <a:lnTo>
                    <a:pt x="1636" y="1438"/>
                  </a:lnTo>
                  <a:lnTo>
                    <a:pt x="1658" y="1402"/>
                  </a:lnTo>
                  <a:lnTo>
                    <a:pt x="1678" y="1364"/>
                  </a:lnTo>
                  <a:lnTo>
                    <a:pt x="1698" y="1325"/>
                  </a:lnTo>
                  <a:lnTo>
                    <a:pt x="1715" y="1283"/>
                  </a:lnTo>
                  <a:lnTo>
                    <a:pt x="1731" y="1240"/>
                  </a:lnTo>
                  <a:lnTo>
                    <a:pt x="1745" y="1193"/>
                  </a:lnTo>
                  <a:lnTo>
                    <a:pt x="1756" y="1143"/>
                  </a:lnTo>
                  <a:lnTo>
                    <a:pt x="1765" y="1090"/>
                  </a:lnTo>
                  <a:lnTo>
                    <a:pt x="1770" y="1034"/>
                  </a:lnTo>
                  <a:lnTo>
                    <a:pt x="1772" y="973"/>
                  </a:lnTo>
                  <a:lnTo>
                    <a:pt x="1769" y="908"/>
                  </a:lnTo>
                  <a:lnTo>
                    <a:pt x="1760" y="844"/>
                  </a:lnTo>
                  <a:lnTo>
                    <a:pt x="1745" y="782"/>
                  </a:lnTo>
                  <a:lnTo>
                    <a:pt x="1725" y="723"/>
                  </a:lnTo>
                  <a:lnTo>
                    <a:pt x="1700" y="666"/>
                  </a:lnTo>
                  <a:lnTo>
                    <a:pt x="1668" y="610"/>
                  </a:lnTo>
                  <a:lnTo>
                    <a:pt x="1634" y="559"/>
                  </a:lnTo>
                  <a:lnTo>
                    <a:pt x="1594" y="511"/>
                  </a:lnTo>
                  <a:lnTo>
                    <a:pt x="1550" y="466"/>
                  </a:lnTo>
                  <a:lnTo>
                    <a:pt x="1503" y="424"/>
                  </a:lnTo>
                  <a:lnTo>
                    <a:pt x="1451" y="386"/>
                  </a:lnTo>
                  <a:lnTo>
                    <a:pt x="1397" y="352"/>
                  </a:lnTo>
                  <a:lnTo>
                    <a:pt x="1339" y="324"/>
                  </a:lnTo>
                  <a:lnTo>
                    <a:pt x="1278" y="299"/>
                  </a:lnTo>
                  <a:lnTo>
                    <a:pt x="1216" y="281"/>
                  </a:lnTo>
                  <a:lnTo>
                    <a:pt x="1151" y="266"/>
                  </a:lnTo>
                  <a:lnTo>
                    <a:pt x="1084" y="258"/>
                  </a:lnTo>
                  <a:lnTo>
                    <a:pt x="1014" y="255"/>
                  </a:lnTo>
                  <a:close/>
                  <a:moveTo>
                    <a:pt x="1014" y="0"/>
                  </a:moveTo>
                  <a:lnTo>
                    <a:pt x="1097" y="3"/>
                  </a:lnTo>
                  <a:lnTo>
                    <a:pt x="1179" y="13"/>
                  </a:lnTo>
                  <a:lnTo>
                    <a:pt x="1258" y="29"/>
                  </a:lnTo>
                  <a:lnTo>
                    <a:pt x="1335" y="50"/>
                  </a:lnTo>
                  <a:lnTo>
                    <a:pt x="1408" y="77"/>
                  </a:lnTo>
                  <a:lnTo>
                    <a:pt x="1480" y="109"/>
                  </a:lnTo>
                  <a:lnTo>
                    <a:pt x="1548" y="147"/>
                  </a:lnTo>
                  <a:lnTo>
                    <a:pt x="1613" y="188"/>
                  </a:lnTo>
                  <a:lnTo>
                    <a:pt x="1673" y="235"/>
                  </a:lnTo>
                  <a:lnTo>
                    <a:pt x="1731" y="286"/>
                  </a:lnTo>
                  <a:lnTo>
                    <a:pt x="1783" y="340"/>
                  </a:lnTo>
                  <a:lnTo>
                    <a:pt x="1833" y="399"/>
                  </a:lnTo>
                  <a:lnTo>
                    <a:pt x="1877" y="461"/>
                  </a:lnTo>
                  <a:lnTo>
                    <a:pt x="1915" y="526"/>
                  </a:lnTo>
                  <a:lnTo>
                    <a:pt x="1949" y="595"/>
                  </a:lnTo>
                  <a:lnTo>
                    <a:pt x="1976" y="667"/>
                  </a:lnTo>
                  <a:lnTo>
                    <a:pt x="1999" y="739"/>
                  </a:lnTo>
                  <a:lnTo>
                    <a:pt x="2015" y="815"/>
                  </a:lnTo>
                  <a:lnTo>
                    <a:pt x="2025" y="893"/>
                  </a:lnTo>
                  <a:lnTo>
                    <a:pt x="2029" y="973"/>
                  </a:lnTo>
                  <a:lnTo>
                    <a:pt x="2026" y="1041"/>
                  </a:lnTo>
                  <a:lnTo>
                    <a:pt x="2021" y="1105"/>
                  </a:lnTo>
                  <a:lnTo>
                    <a:pt x="2013" y="1166"/>
                  </a:lnTo>
                  <a:lnTo>
                    <a:pt x="2001" y="1224"/>
                  </a:lnTo>
                  <a:lnTo>
                    <a:pt x="1988" y="1278"/>
                  </a:lnTo>
                  <a:lnTo>
                    <a:pt x="1972" y="1329"/>
                  </a:lnTo>
                  <a:lnTo>
                    <a:pt x="1953" y="1378"/>
                  </a:lnTo>
                  <a:lnTo>
                    <a:pt x="1934" y="1424"/>
                  </a:lnTo>
                  <a:lnTo>
                    <a:pt x="1913" y="1466"/>
                  </a:lnTo>
                  <a:lnTo>
                    <a:pt x="1892" y="1507"/>
                  </a:lnTo>
                  <a:lnTo>
                    <a:pt x="1869" y="1546"/>
                  </a:lnTo>
                  <a:lnTo>
                    <a:pt x="1847" y="1583"/>
                  </a:lnTo>
                  <a:lnTo>
                    <a:pt x="1825" y="1617"/>
                  </a:lnTo>
                  <a:lnTo>
                    <a:pt x="1803" y="1649"/>
                  </a:lnTo>
                  <a:lnTo>
                    <a:pt x="1781" y="1681"/>
                  </a:lnTo>
                  <a:lnTo>
                    <a:pt x="1756" y="1719"/>
                  </a:lnTo>
                  <a:lnTo>
                    <a:pt x="1733" y="1753"/>
                  </a:lnTo>
                  <a:lnTo>
                    <a:pt x="1714" y="1785"/>
                  </a:lnTo>
                  <a:lnTo>
                    <a:pt x="1700" y="1813"/>
                  </a:lnTo>
                  <a:lnTo>
                    <a:pt x="1689" y="1839"/>
                  </a:lnTo>
                  <a:lnTo>
                    <a:pt x="1682" y="1864"/>
                  </a:lnTo>
                  <a:lnTo>
                    <a:pt x="1680" y="1888"/>
                  </a:lnTo>
                  <a:lnTo>
                    <a:pt x="1677" y="1934"/>
                  </a:lnTo>
                  <a:lnTo>
                    <a:pt x="1667" y="1980"/>
                  </a:lnTo>
                  <a:lnTo>
                    <a:pt x="1652" y="2025"/>
                  </a:lnTo>
                  <a:lnTo>
                    <a:pt x="1630" y="2068"/>
                  </a:lnTo>
                  <a:lnTo>
                    <a:pt x="1604" y="2110"/>
                  </a:lnTo>
                  <a:lnTo>
                    <a:pt x="1572" y="2150"/>
                  </a:lnTo>
                  <a:lnTo>
                    <a:pt x="1534" y="2187"/>
                  </a:lnTo>
                  <a:lnTo>
                    <a:pt x="1491" y="2221"/>
                  </a:lnTo>
                  <a:lnTo>
                    <a:pt x="1490" y="2242"/>
                  </a:lnTo>
                  <a:lnTo>
                    <a:pt x="1489" y="2267"/>
                  </a:lnTo>
                  <a:lnTo>
                    <a:pt x="1487" y="2294"/>
                  </a:lnTo>
                  <a:lnTo>
                    <a:pt x="1486" y="2322"/>
                  </a:lnTo>
                  <a:lnTo>
                    <a:pt x="1484" y="2350"/>
                  </a:lnTo>
                  <a:lnTo>
                    <a:pt x="1483" y="2378"/>
                  </a:lnTo>
                  <a:lnTo>
                    <a:pt x="1481" y="2405"/>
                  </a:lnTo>
                  <a:lnTo>
                    <a:pt x="1480" y="2429"/>
                  </a:lnTo>
                  <a:lnTo>
                    <a:pt x="1479" y="2449"/>
                  </a:lnTo>
                  <a:lnTo>
                    <a:pt x="1478" y="2466"/>
                  </a:lnTo>
                  <a:lnTo>
                    <a:pt x="1478" y="2476"/>
                  </a:lnTo>
                  <a:lnTo>
                    <a:pt x="1476" y="2479"/>
                  </a:lnTo>
                  <a:lnTo>
                    <a:pt x="1476" y="2492"/>
                  </a:lnTo>
                  <a:lnTo>
                    <a:pt x="1474" y="2506"/>
                  </a:lnTo>
                  <a:lnTo>
                    <a:pt x="1470" y="2522"/>
                  </a:lnTo>
                  <a:lnTo>
                    <a:pt x="1465" y="2539"/>
                  </a:lnTo>
                  <a:lnTo>
                    <a:pt x="1457" y="2557"/>
                  </a:lnTo>
                  <a:lnTo>
                    <a:pt x="1446" y="2575"/>
                  </a:lnTo>
                  <a:lnTo>
                    <a:pt x="1432" y="2594"/>
                  </a:lnTo>
                  <a:lnTo>
                    <a:pt x="1416" y="2613"/>
                  </a:lnTo>
                  <a:lnTo>
                    <a:pt x="1395" y="2631"/>
                  </a:lnTo>
                  <a:lnTo>
                    <a:pt x="1370" y="2650"/>
                  </a:lnTo>
                  <a:lnTo>
                    <a:pt x="1340" y="2666"/>
                  </a:lnTo>
                  <a:lnTo>
                    <a:pt x="1307" y="2683"/>
                  </a:lnTo>
                  <a:lnTo>
                    <a:pt x="1267" y="2698"/>
                  </a:lnTo>
                  <a:lnTo>
                    <a:pt x="1244" y="2727"/>
                  </a:lnTo>
                  <a:lnTo>
                    <a:pt x="1216" y="2754"/>
                  </a:lnTo>
                  <a:lnTo>
                    <a:pt x="1184" y="2779"/>
                  </a:lnTo>
                  <a:lnTo>
                    <a:pt x="1162" y="2790"/>
                  </a:lnTo>
                  <a:lnTo>
                    <a:pt x="1138" y="2798"/>
                  </a:lnTo>
                  <a:lnTo>
                    <a:pt x="1113" y="2800"/>
                  </a:lnTo>
                  <a:lnTo>
                    <a:pt x="916" y="2800"/>
                  </a:lnTo>
                  <a:lnTo>
                    <a:pt x="891" y="2798"/>
                  </a:lnTo>
                  <a:lnTo>
                    <a:pt x="867" y="2790"/>
                  </a:lnTo>
                  <a:lnTo>
                    <a:pt x="845" y="2779"/>
                  </a:lnTo>
                  <a:lnTo>
                    <a:pt x="813" y="2754"/>
                  </a:lnTo>
                  <a:lnTo>
                    <a:pt x="785" y="2727"/>
                  </a:lnTo>
                  <a:lnTo>
                    <a:pt x="762" y="2698"/>
                  </a:lnTo>
                  <a:lnTo>
                    <a:pt x="720" y="2681"/>
                  </a:lnTo>
                  <a:lnTo>
                    <a:pt x="684" y="2664"/>
                  </a:lnTo>
                  <a:lnTo>
                    <a:pt x="653" y="2646"/>
                  </a:lnTo>
                  <a:lnTo>
                    <a:pt x="628" y="2626"/>
                  </a:lnTo>
                  <a:lnTo>
                    <a:pt x="607" y="2606"/>
                  </a:lnTo>
                  <a:lnTo>
                    <a:pt x="590" y="2585"/>
                  </a:lnTo>
                  <a:lnTo>
                    <a:pt x="578" y="2566"/>
                  </a:lnTo>
                  <a:lnTo>
                    <a:pt x="567" y="2546"/>
                  </a:lnTo>
                  <a:lnTo>
                    <a:pt x="561" y="2527"/>
                  </a:lnTo>
                  <a:lnTo>
                    <a:pt x="556" y="2509"/>
                  </a:lnTo>
                  <a:lnTo>
                    <a:pt x="554" y="2494"/>
                  </a:lnTo>
                  <a:lnTo>
                    <a:pt x="552" y="2479"/>
                  </a:lnTo>
                  <a:lnTo>
                    <a:pt x="552" y="2479"/>
                  </a:lnTo>
                  <a:lnTo>
                    <a:pt x="552" y="2476"/>
                  </a:lnTo>
                  <a:lnTo>
                    <a:pt x="551" y="2466"/>
                  </a:lnTo>
                  <a:lnTo>
                    <a:pt x="550" y="2449"/>
                  </a:lnTo>
                  <a:lnTo>
                    <a:pt x="549" y="2429"/>
                  </a:lnTo>
                  <a:lnTo>
                    <a:pt x="548" y="2405"/>
                  </a:lnTo>
                  <a:lnTo>
                    <a:pt x="546" y="2378"/>
                  </a:lnTo>
                  <a:lnTo>
                    <a:pt x="545" y="2350"/>
                  </a:lnTo>
                  <a:lnTo>
                    <a:pt x="543" y="2322"/>
                  </a:lnTo>
                  <a:lnTo>
                    <a:pt x="542" y="2294"/>
                  </a:lnTo>
                  <a:lnTo>
                    <a:pt x="540" y="2267"/>
                  </a:lnTo>
                  <a:lnTo>
                    <a:pt x="539" y="2242"/>
                  </a:lnTo>
                  <a:lnTo>
                    <a:pt x="538" y="2221"/>
                  </a:lnTo>
                  <a:lnTo>
                    <a:pt x="495" y="2187"/>
                  </a:lnTo>
                  <a:lnTo>
                    <a:pt x="457" y="2150"/>
                  </a:lnTo>
                  <a:lnTo>
                    <a:pt x="425" y="2110"/>
                  </a:lnTo>
                  <a:lnTo>
                    <a:pt x="398" y="2068"/>
                  </a:lnTo>
                  <a:lnTo>
                    <a:pt x="376" y="2025"/>
                  </a:lnTo>
                  <a:lnTo>
                    <a:pt x="362" y="1980"/>
                  </a:lnTo>
                  <a:lnTo>
                    <a:pt x="352" y="1934"/>
                  </a:lnTo>
                  <a:lnTo>
                    <a:pt x="349" y="1888"/>
                  </a:lnTo>
                  <a:lnTo>
                    <a:pt x="347" y="1864"/>
                  </a:lnTo>
                  <a:lnTo>
                    <a:pt x="340" y="1839"/>
                  </a:lnTo>
                  <a:lnTo>
                    <a:pt x="329" y="1813"/>
                  </a:lnTo>
                  <a:lnTo>
                    <a:pt x="315" y="1785"/>
                  </a:lnTo>
                  <a:lnTo>
                    <a:pt x="296" y="1753"/>
                  </a:lnTo>
                  <a:lnTo>
                    <a:pt x="274" y="1719"/>
                  </a:lnTo>
                  <a:lnTo>
                    <a:pt x="248" y="1682"/>
                  </a:lnTo>
                  <a:lnTo>
                    <a:pt x="227" y="1650"/>
                  </a:lnTo>
                  <a:lnTo>
                    <a:pt x="205" y="1617"/>
                  </a:lnTo>
                  <a:lnTo>
                    <a:pt x="182" y="1583"/>
                  </a:lnTo>
                  <a:lnTo>
                    <a:pt x="160" y="1546"/>
                  </a:lnTo>
                  <a:lnTo>
                    <a:pt x="138" y="1508"/>
                  </a:lnTo>
                  <a:lnTo>
                    <a:pt x="116" y="1466"/>
                  </a:lnTo>
                  <a:lnTo>
                    <a:pt x="95" y="1424"/>
                  </a:lnTo>
                  <a:lnTo>
                    <a:pt x="76" y="1378"/>
                  </a:lnTo>
                  <a:lnTo>
                    <a:pt x="57" y="1329"/>
                  </a:lnTo>
                  <a:lnTo>
                    <a:pt x="41" y="1278"/>
                  </a:lnTo>
                  <a:lnTo>
                    <a:pt x="28" y="1224"/>
                  </a:lnTo>
                  <a:lnTo>
                    <a:pt x="16" y="1166"/>
                  </a:lnTo>
                  <a:lnTo>
                    <a:pt x="8" y="1105"/>
                  </a:lnTo>
                  <a:lnTo>
                    <a:pt x="2" y="1041"/>
                  </a:lnTo>
                  <a:lnTo>
                    <a:pt x="0" y="973"/>
                  </a:lnTo>
                  <a:lnTo>
                    <a:pt x="4" y="893"/>
                  </a:lnTo>
                  <a:lnTo>
                    <a:pt x="14" y="815"/>
                  </a:lnTo>
                  <a:lnTo>
                    <a:pt x="30" y="739"/>
                  </a:lnTo>
                  <a:lnTo>
                    <a:pt x="53" y="667"/>
                  </a:lnTo>
                  <a:lnTo>
                    <a:pt x="80" y="595"/>
                  </a:lnTo>
                  <a:lnTo>
                    <a:pt x="114" y="526"/>
                  </a:lnTo>
                  <a:lnTo>
                    <a:pt x="152" y="461"/>
                  </a:lnTo>
                  <a:lnTo>
                    <a:pt x="196" y="399"/>
                  </a:lnTo>
                  <a:lnTo>
                    <a:pt x="246" y="340"/>
                  </a:lnTo>
                  <a:lnTo>
                    <a:pt x="298" y="286"/>
                  </a:lnTo>
                  <a:lnTo>
                    <a:pt x="356" y="235"/>
                  </a:lnTo>
                  <a:lnTo>
                    <a:pt x="416" y="188"/>
                  </a:lnTo>
                  <a:lnTo>
                    <a:pt x="481" y="147"/>
                  </a:lnTo>
                  <a:lnTo>
                    <a:pt x="549" y="109"/>
                  </a:lnTo>
                  <a:lnTo>
                    <a:pt x="621" y="77"/>
                  </a:lnTo>
                  <a:lnTo>
                    <a:pt x="695" y="50"/>
                  </a:lnTo>
                  <a:lnTo>
                    <a:pt x="771" y="29"/>
                  </a:lnTo>
                  <a:lnTo>
                    <a:pt x="850" y="13"/>
                  </a:lnTo>
                  <a:lnTo>
                    <a:pt x="932" y="3"/>
                  </a:lnTo>
                  <a:lnTo>
                    <a:pt x="1014" y="0"/>
                  </a:lnTo>
                  <a:close/>
                </a:path>
              </a:pathLst>
            </a:custGeom>
            <a:solidFill>
              <a:schemeClr val="lt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prstClr val="black"/>
                </a:solidFill>
                <a:effectLst/>
                <a:uLnTx/>
                <a:uFillTx/>
                <a:latin typeface="Arial"/>
                <a:ea typeface="Arial"/>
                <a:cs typeface="Arial"/>
                <a:sym typeface="Arial"/>
              </a:endParaRPr>
            </a:p>
          </p:txBody>
        </p:sp>
        <p:sp>
          <p:nvSpPr>
            <p:cNvPr id="148" name="Google Shape;148;p22"/>
            <p:cNvSpPr/>
            <p:nvPr/>
          </p:nvSpPr>
          <p:spPr>
            <a:xfrm>
              <a:off x="9431338" y="4413251"/>
              <a:ext cx="19050" cy="46038"/>
            </a:xfrm>
            <a:custGeom>
              <a:avLst/>
              <a:gdLst/>
              <a:ahLst/>
              <a:cxnLst/>
              <a:rect l="l" t="t" r="r" b="b"/>
              <a:pathLst>
                <a:path w="127" h="318" extrusionOk="0">
                  <a:moveTo>
                    <a:pt x="63" y="0"/>
                  </a:moveTo>
                  <a:lnTo>
                    <a:pt x="63" y="0"/>
                  </a:lnTo>
                  <a:lnTo>
                    <a:pt x="80" y="2"/>
                  </a:lnTo>
                  <a:lnTo>
                    <a:pt x="96" y="9"/>
                  </a:lnTo>
                  <a:lnTo>
                    <a:pt x="109" y="19"/>
                  </a:lnTo>
                  <a:lnTo>
                    <a:pt x="119" y="32"/>
                  </a:lnTo>
                  <a:lnTo>
                    <a:pt x="125" y="47"/>
                  </a:lnTo>
                  <a:lnTo>
                    <a:pt x="127" y="64"/>
                  </a:lnTo>
                  <a:lnTo>
                    <a:pt x="127" y="254"/>
                  </a:lnTo>
                  <a:lnTo>
                    <a:pt x="125" y="272"/>
                  </a:lnTo>
                  <a:lnTo>
                    <a:pt x="119" y="286"/>
                  </a:lnTo>
                  <a:lnTo>
                    <a:pt x="109" y="300"/>
                  </a:lnTo>
                  <a:lnTo>
                    <a:pt x="96" y="309"/>
                  </a:lnTo>
                  <a:lnTo>
                    <a:pt x="80" y="315"/>
                  </a:lnTo>
                  <a:lnTo>
                    <a:pt x="63" y="318"/>
                  </a:lnTo>
                  <a:lnTo>
                    <a:pt x="47" y="315"/>
                  </a:lnTo>
                  <a:lnTo>
                    <a:pt x="31" y="309"/>
                  </a:lnTo>
                  <a:lnTo>
                    <a:pt x="18" y="300"/>
                  </a:lnTo>
                  <a:lnTo>
                    <a:pt x="8" y="286"/>
                  </a:lnTo>
                  <a:lnTo>
                    <a:pt x="2" y="272"/>
                  </a:lnTo>
                  <a:lnTo>
                    <a:pt x="0" y="254"/>
                  </a:lnTo>
                  <a:lnTo>
                    <a:pt x="0" y="64"/>
                  </a:lnTo>
                  <a:lnTo>
                    <a:pt x="2" y="47"/>
                  </a:lnTo>
                  <a:lnTo>
                    <a:pt x="8" y="32"/>
                  </a:lnTo>
                  <a:lnTo>
                    <a:pt x="18" y="19"/>
                  </a:lnTo>
                  <a:lnTo>
                    <a:pt x="31" y="9"/>
                  </a:lnTo>
                  <a:lnTo>
                    <a:pt x="47" y="2"/>
                  </a:lnTo>
                  <a:lnTo>
                    <a:pt x="63" y="0"/>
                  </a:lnTo>
                  <a:close/>
                </a:path>
              </a:pathLst>
            </a:custGeom>
            <a:solidFill>
              <a:schemeClr val="lt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prstClr val="black"/>
                </a:solidFill>
                <a:effectLst/>
                <a:uLnTx/>
                <a:uFillTx/>
                <a:latin typeface="Arial"/>
                <a:ea typeface="Arial"/>
                <a:cs typeface="Arial"/>
                <a:sym typeface="Arial"/>
              </a:endParaRPr>
            </a:p>
          </p:txBody>
        </p:sp>
        <p:sp>
          <p:nvSpPr>
            <p:cNvPr id="149" name="Google Shape;149;p22"/>
            <p:cNvSpPr/>
            <p:nvPr/>
          </p:nvSpPr>
          <p:spPr>
            <a:xfrm>
              <a:off x="9328150" y="4441826"/>
              <a:ext cx="31750" cy="41275"/>
            </a:xfrm>
            <a:custGeom>
              <a:avLst/>
              <a:gdLst/>
              <a:ahLst/>
              <a:cxnLst/>
              <a:rect l="l" t="t" r="r" b="b"/>
              <a:pathLst>
                <a:path w="224" h="293" extrusionOk="0">
                  <a:moveTo>
                    <a:pt x="64" y="0"/>
                  </a:moveTo>
                  <a:lnTo>
                    <a:pt x="80" y="2"/>
                  </a:lnTo>
                  <a:lnTo>
                    <a:pt x="95" y="8"/>
                  </a:lnTo>
                  <a:lnTo>
                    <a:pt x="109" y="18"/>
                  </a:lnTo>
                  <a:lnTo>
                    <a:pt x="119" y="32"/>
                  </a:lnTo>
                  <a:lnTo>
                    <a:pt x="216" y="197"/>
                  </a:lnTo>
                  <a:lnTo>
                    <a:pt x="222" y="213"/>
                  </a:lnTo>
                  <a:lnTo>
                    <a:pt x="224" y="230"/>
                  </a:lnTo>
                  <a:lnTo>
                    <a:pt x="222" y="245"/>
                  </a:lnTo>
                  <a:lnTo>
                    <a:pt x="216" y="261"/>
                  </a:lnTo>
                  <a:lnTo>
                    <a:pt x="206" y="274"/>
                  </a:lnTo>
                  <a:lnTo>
                    <a:pt x="193" y="285"/>
                  </a:lnTo>
                  <a:lnTo>
                    <a:pt x="177" y="291"/>
                  </a:lnTo>
                  <a:lnTo>
                    <a:pt x="160" y="293"/>
                  </a:lnTo>
                  <a:lnTo>
                    <a:pt x="143" y="291"/>
                  </a:lnTo>
                  <a:lnTo>
                    <a:pt x="129" y="285"/>
                  </a:lnTo>
                  <a:lnTo>
                    <a:pt x="115" y="274"/>
                  </a:lnTo>
                  <a:lnTo>
                    <a:pt x="105" y="261"/>
                  </a:lnTo>
                  <a:lnTo>
                    <a:pt x="8" y="95"/>
                  </a:lnTo>
                  <a:lnTo>
                    <a:pt x="2" y="80"/>
                  </a:lnTo>
                  <a:lnTo>
                    <a:pt x="0" y="63"/>
                  </a:lnTo>
                  <a:lnTo>
                    <a:pt x="2" y="48"/>
                  </a:lnTo>
                  <a:lnTo>
                    <a:pt x="8" y="32"/>
                  </a:lnTo>
                  <a:lnTo>
                    <a:pt x="19" y="19"/>
                  </a:lnTo>
                  <a:lnTo>
                    <a:pt x="31" y="9"/>
                  </a:lnTo>
                  <a:lnTo>
                    <a:pt x="48" y="2"/>
                  </a:lnTo>
                  <a:lnTo>
                    <a:pt x="64" y="0"/>
                  </a:lnTo>
                  <a:close/>
                </a:path>
              </a:pathLst>
            </a:custGeom>
            <a:solidFill>
              <a:schemeClr val="lt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prstClr val="black"/>
                </a:solidFill>
                <a:effectLst/>
                <a:uLnTx/>
                <a:uFillTx/>
                <a:latin typeface="Arial"/>
                <a:ea typeface="Arial"/>
                <a:cs typeface="Arial"/>
                <a:sym typeface="Arial"/>
              </a:endParaRPr>
            </a:p>
          </p:txBody>
        </p:sp>
        <p:sp>
          <p:nvSpPr>
            <p:cNvPr id="150" name="Google Shape;150;p22"/>
            <p:cNvSpPr/>
            <p:nvPr/>
          </p:nvSpPr>
          <p:spPr>
            <a:xfrm>
              <a:off x="9251950" y="4516438"/>
              <a:ext cx="41275" cy="33338"/>
            </a:xfrm>
            <a:custGeom>
              <a:avLst/>
              <a:gdLst/>
              <a:ahLst/>
              <a:cxnLst/>
              <a:rect l="l" t="t" r="r" b="b"/>
              <a:pathLst>
                <a:path w="294" h="222" extrusionOk="0">
                  <a:moveTo>
                    <a:pt x="64" y="0"/>
                  </a:moveTo>
                  <a:lnTo>
                    <a:pt x="79" y="2"/>
                  </a:lnTo>
                  <a:lnTo>
                    <a:pt x="96" y="8"/>
                  </a:lnTo>
                  <a:lnTo>
                    <a:pt x="263" y="103"/>
                  </a:lnTo>
                  <a:lnTo>
                    <a:pt x="276" y="114"/>
                  </a:lnTo>
                  <a:lnTo>
                    <a:pt x="286" y="127"/>
                  </a:lnTo>
                  <a:lnTo>
                    <a:pt x="292" y="142"/>
                  </a:lnTo>
                  <a:lnTo>
                    <a:pt x="294" y="158"/>
                  </a:lnTo>
                  <a:lnTo>
                    <a:pt x="292" y="175"/>
                  </a:lnTo>
                  <a:lnTo>
                    <a:pt x="286" y="190"/>
                  </a:lnTo>
                  <a:lnTo>
                    <a:pt x="275" y="204"/>
                  </a:lnTo>
                  <a:lnTo>
                    <a:pt x="262" y="214"/>
                  </a:lnTo>
                  <a:lnTo>
                    <a:pt x="246" y="220"/>
                  </a:lnTo>
                  <a:lnTo>
                    <a:pt x="230" y="222"/>
                  </a:lnTo>
                  <a:lnTo>
                    <a:pt x="213" y="220"/>
                  </a:lnTo>
                  <a:lnTo>
                    <a:pt x="198" y="213"/>
                  </a:lnTo>
                  <a:lnTo>
                    <a:pt x="31" y="118"/>
                  </a:lnTo>
                  <a:lnTo>
                    <a:pt x="18" y="108"/>
                  </a:lnTo>
                  <a:lnTo>
                    <a:pt x="8" y="95"/>
                  </a:lnTo>
                  <a:lnTo>
                    <a:pt x="2" y="80"/>
                  </a:lnTo>
                  <a:lnTo>
                    <a:pt x="0" y="63"/>
                  </a:lnTo>
                  <a:lnTo>
                    <a:pt x="2" y="47"/>
                  </a:lnTo>
                  <a:lnTo>
                    <a:pt x="8" y="31"/>
                  </a:lnTo>
                  <a:lnTo>
                    <a:pt x="19" y="18"/>
                  </a:lnTo>
                  <a:lnTo>
                    <a:pt x="32" y="8"/>
                  </a:lnTo>
                  <a:lnTo>
                    <a:pt x="47" y="2"/>
                  </a:lnTo>
                  <a:lnTo>
                    <a:pt x="64" y="0"/>
                  </a:lnTo>
                  <a:close/>
                </a:path>
              </a:pathLst>
            </a:custGeom>
            <a:solidFill>
              <a:schemeClr val="lt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prstClr val="black"/>
                </a:solidFill>
                <a:effectLst/>
                <a:uLnTx/>
                <a:uFillTx/>
                <a:latin typeface="Arial"/>
                <a:ea typeface="Arial"/>
                <a:cs typeface="Arial"/>
                <a:sym typeface="Arial"/>
              </a:endParaRPr>
            </a:p>
          </p:txBody>
        </p:sp>
        <p:sp>
          <p:nvSpPr>
            <p:cNvPr id="151" name="Google Shape;151;p22"/>
            <p:cNvSpPr/>
            <p:nvPr/>
          </p:nvSpPr>
          <p:spPr>
            <a:xfrm>
              <a:off x="9223375" y="4619626"/>
              <a:ext cx="46038" cy="19050"/>
            </a:xfrm>
            <a:custGeom>
              <a:avLst/>
              <a:gdLst/>
              <a:ahLst/>
              <a:cxnLst/>
              <a:rect l="l" t="t" r="r" b="b"/>
              <a:pathLst>
                <a:path w="321" h="128" extrusionOk="0">
                  <a:moveTo>
                    <a:pt x="64" y="0"/>
                  </a:moveTo>
                  <a:lnTo>
                    <a:pt x="257" y="0"/>
                  </a:lnTo>
                  <a:lnTo>
                    <a:pt x="273" y="4"/>
                  </a:lnTo>
                  <a:lnTo>
                    <a:pt x="289" y="10"/>
                  </a:lnTo>
                  <a:lnTo>
                    <a:pt x="302" y="19"/>
                  </a:lnTo>
                  <a:lnTo>
                    <a:pt x="312" y="33"/>
                  </a:lnTo>
                  <a:lnTo>
                    <a:pt x="318" y="47"/>
                  </a:lnTo>
                  <a:lnTo>
                    <a:pt x="321" y="65"/>
                  </a:lnTo>
                  <a:lnTo>
                    <a:pt x="318" y="82"/>
                  </a:lnTo>
                  <a:lnTo>
                    <a:pt x="312" y="96"/>
                  </a:lnTo>
                  <a:lnTo>
                    <a:pt x="302" y="110"/>
                  </a:lnTo>
                  <a:lnTo>
                    <a:pt x="289" y="119"/>
                  </a:lnTo>
                  <a:lnTo>
                    <a:pt x="273" y="126"/>
                  </a:lnTo>
                  <a:lnTo>
                    <a:pt x="257" y="128"/>
                  </a:lnTo>
                  <a:lnTo>
                    <a:pt x="64" y="128"/>
                  </a:lnTo>
                  <a:lnTo>
                    <a:pt x="47" y="126"/>
                  </a:lnTo>
                  <a:lnTo>
                    <a:pt x="32" y="119"/>
                  </a:lnTo>
                  <a:lnTo>
                    <a:pt x="19" y="110"/>
                  </a:lnTo>
                  <a:lnTo>
                    <a:pt x="9" y="96"/>
                  </a:lnTo>
                  <a:lnTo>
                    <a:pt x="2" y="82"/>
                  </a:lnTo>
                  <a:lnTo>
                    <a:pt x="0" y="65"/>
                  </a:lnTo>
                  <a:lnTo>
                    <a:pt x="2" y="47"/>
                  </a:lnTo>
                  <a:lnTo>
                    <a:pt x="9" y="33"/>
                  </a:lnTo>
                  <a:lnTo>
                    <a:pt x="19" y="19"/>
                  </a:lnTo>
                  <a:lnTo>
                    <a:pt x="32" y="10"/>
                  </a:lnTo>
                  <a:lnTo>
                    <a:pt x="47" y="4"/>
                  </a:lnTo>
                  <a:lnTo>
                    <a:pt x="64" y="0"/>
                  </a:lnTo>
                  <a:close/>
                </a:path>
              </a:pathLst>
            </a:custGeom>
            <a:solidFill>
              <a:schemeClr val="lt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prstClr val="black"/>
                </a:solidFill>
                <a:effectLst/>
                <a:uLnTx/>
                <a:uFillTx/>
                <a:latin typeface="Arial"/>
                <a:ea typeface="Arial"/>
                <a:cs typeface="Arial"/>
                <a:sym typeface="Arial"/>
              </a:endParaRPr>
            </a:p>
          </p:txBody>
        </p:sp>
        <p:sp>
          <p:nvSpPr>
            <p:cNvPr id="152" name="Google Shape;152;p22"/>
            <p:cNvSpPr/>
            <p:nvPr/>
          </p:nvSpPr>
          <p:spPr>
            <a:xfrm>
              <a:off x="9251950" y="4710113"/>
              <a:ext cx="41275" cy="31750"/>
            </a:xfrm>
            <a:custGeom>
              <a:avLst/>
              <a:gdLst/>
              <a:ahLst/>
              <a:cxnLst/>
              <a:rect l="l" t="t" r="r" b="b"/>
              <a:pathLst>
                <a:path w="294" h="224" extrusionOk="0">
                  <a:moveTo>
                    <a:pt x="230" y="0"/>
                  </a:moveTo>
                  <a:lnTo>
                    <a:pt x="247" y="3"/>
                  </a:lnTo>
                  <a:lnTo>
                    <a:pt x="262" y="9"/>
                  </a:lnTo>
                  <a:lnTo>
                    <a:pt x="275" y="19"/>
                  </a:lnTo>
                  <a:lnTo>
                    <a:pt x="286" y="33"/>
                  </a:lnTo>
                  <a:lnTo>
                    <a:pt x="292" y="48"/>
                  </a:lnTo>
                  <a:lnTo>
                    <a:pt x="294" y="65"/>
                  </a:lnTo>
                  <a:lnTo>
                    <a:pt x="292" y="80"/>
                  </a:lnTo>
                  <a:lnTo>
                    <a:pt x="286" y="96"/>
                  </a:lnTo>
                  <a:lnTo>
                    <a:pt x="275" y="110"/>
                  </a:lnTo>
                  <a:lnTo>
                    <a:pt x="263" y="120"/>
                  </a:lnTo>
                  <a:lnTo>
                    <a:pt x="96" y="215"/>
                  </a:lnTo>
                  <a:lnTo>
                    <a:pt x="80" y="221"/>
                  </a:lnTo>
                  <a:lnTo>
                    <a:pt x="64" y="224"/>
                  </a:lnTo>
                  <a:lnTo>
                    <a:pt x="47" y="221"/>
                  </a:lnTo>
                  <a:lnTo>
                    <a:pt x="32" y="216"/>
                  </a:lnTo>
                  <a:lnTo>
                    <a:pt x="19" y="205"/>
                  </a:lnTo>
                  <a:lnTo>
                    <a:pt x="8" y="192"/>
                  </a:lnTo>
                  <a:lnTo>
                    <a:pt x="2" y="176"/>
                  </a:lnTo>
                  <a:lnTo>
                    <a:pt x="0" y="159"/>
                  </a:lnTo>
                  <a:lnTo>
                    <a:pt x="2" y="144"/>
                  </a:lnTo>
                  <a:lnTo>
                    <a:pt x="8" y="128"/>
                  </a:lnTo>
                  <a:lnTo>
                    <a:pt x="18" y="116"/>
                  </a:lnTo>
                  <a:lnTo>
                    <a:pt x="31" y="105"/>
                  </a:lnTo>
                  <a:lnTo>
                    <a:pt x="198" y="10"/>
                  </a:lnTo>
                  <a:lnTo>
                    <a:pt x="215" y="2"/>
                  </a:lnTo>
                  <a:lnTo>
                    <a:pt x="230" y="0"/>
                  </a:lnTo>
                  <a:close/>
                </a:path>
              </a:pathLst>
            </a:custGeom>
            <a:solidFill>
              <a:schemeClr val="lt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prstClr val="black"/>
                </a:solidFill>
                <a:effectLst/>
                <a:uLnTx/>
                <a:uFillTx/>
                <a:latin typeface="Arial"/>
                <a:ea typeface="Arial"/>
                <a:cs typeface="Arial"/>
                <a:sym typeface="Arial"/>
              </a:endParaRPr>
            </a:p>
          </p:txBody>
        </p:sp>
        <p:sp>
          <p:nvSpPr>
            <p:cNvPr id="153" name="Google Shape;153;p22"/>
            <p:cNvSpPr/>
            <p:nvPr/>
          </p:nvSpPr>
          <p:spPr>
            <a:xfrm>
              <a:off x="9588500" y="4710113"/>
              <a:ext cx="41275" cy="31750"/>
            </a:xfrm>
            <a:custGeom>
              <a:avLst/>
              <a:gdLst/>
              <a:ahLst/>
              <a:cxnLst/>
              <a:rect l="l" t="t" r="r" b="b"/>
              <a:pathLst>
                <a:path w="294" h="224" extrusionOk="0">
                  <a:moveTo>
                    <a:pt x="64" y="0"/>
                  </a:moveTo>
                  <a:lnTo>
                    <a:pt x="80" y="2"/>
                  </a:lnTo>
                  <a:lnTo>
                    <a:pt x="96" y="10"/>
                  </a:lnTo>
                  <a:lnTo>
                    <a:pt x="263" y="105"/>
                  </a:lnTo>
                  <a:lnTo>
                    <a:pt x="276" y="116"/>
                  </a:lnTo>
                  <a:lnTo>
                    <a:pt x="286" y="128"/>
                  </a:lnTo>
                  <a:lnTo>
                    <a:pt x="292" y="144"/>
                  </a:lnTo>
                  <a:lnTo>
                    <a:pt x="294" y="159"/>
                  </a:lnTo>
                  <a:lnTo>
                    <a:pt x="292" y="176"/>
                  </a:lnTo>
                  <a:lnTo>
                    <a:pt x="286" y="192"/>
                  </a:lnTo>
                  <a:lnTo>
                    <a:pt x="275" y="205"/>
                  </a:lnTo>
                  <a:lnTo>
                    <a:pt x="262" y="216"/>
                  </a:lnTo>
                  <a:lnTo>
                    <a:pt x="247" y="221"/>
                  </a:lnTo>
                  <a:lnTo>
                    <a:pt x="230" y="224"/>
                  </a:lnTo>
                  <a:lnTo>
                    <a:pt x="214" y="221"/>
                  </a:lnTo>
                  <a:lnTo>
                    <a:pt x="198" y="215"/>
                  </a:lnTo>
                  <a:lnTo>
                    <a:pt x="31" y="120"/>
                  </a:lnTo>
                  <a:lnTo>
                    <a:pt x="19" y="110"/>
                  </a:lnTo>
                  <a:lnTo>
                    <a:pt x="8" y="96"/>
                  </a:lnTo>
                  <a:lnTo>
                    <a:pt x="2" y="80"/>
                  </a:lnTo>
                  <a:lnTo>
                    <a:pt x="0" y="65"/>
                  </a:lnTo>
                  <a:lnTo>
                    <a:pt x="2" y="48"/>
                  </a:lnTo>
                  <a:lnTo>
                    <a:pt x="8" y="33"/>
                  </a:lnTo>
                  <a:lnTo>
                    <a:pt x="19" y="19"/>
                  </a:lnTo>
                  <a:lnTo>
                    <a:pt x="32" y="9"/>
                  </a:lnTo>
                  <a:lnTo>
                    <a:pt x="47" y="3"/>
                  </a:lnTo>
                  <a:lnTo>
                    <a:pt x="64" y="0"/>
                  </a:lnTo>
                  <a:close/>
                </a:path>
              </a:pathLst>
            </a:custGeom>
            <a:solidFill>
              <a:schemeClr val="lt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prstClr val="black"/>
                </a:solidFill>
                <a:effectLst/>
                <a:uLnTx/>
                <a:uFillTx/>
                <a:latin typeface="Arial"/>
                <a:ea typeface="Arial"/>
                <a:cs typeface="Arial"/>
                <a:sym typeface="Arial"/>
              </a:endParaRPr>
            </a:p>
          </p:txBody>
        </p:sp>
        <p:sp>
          <p:nvSpPr>
            <p:cNvPr id="154" name="Google Shape;154;p22"/>
            <p:cNvSpPr/>
            <p:nvPr/>
          </p:nvSpPr>
          <p:spPr>
            <a:xfrm>
              <a:off x="9612313" y="4619626"/>
              <a:ext cx="46038" cy="19050"/>
            </a:xfrm>
            <a:custGeom>
              <a:avLst/>
              <a:gdLst/>
              <a:ahLst/>
              <a:cxnLst/>
              <a:rect l="l" t="t" r="r" b="b"/>
              <a:pathLst>
                <a:path w="321" h="128" extrusionOk="0">
                  <a:moveTo>
                    <a:pt x="64" y="0"/>
                  </a:moveTo>
                  <a:lnTo>
                    <a:pt x="257" y="0"/>
                  </a:lnTo>
                  <a:lnTo>
                    <a:pt x="274" y="4"/>
                  </a:lnTo>
                  <a:lnTo>
                    <a:pt x="290" y="10"/>
                  </a:lnTo>
                  <a:lnTo>
                    <a:pt x="302" y="19"/>
                  </a:lnTo>
                  <a:lnTo>
                    <a:pt x="312" y="33"/>
                  </a:lnTo>
                  <a:lnTo>
                    <a:pt x="319" y="47"/>
                  </a:lnTo>
                  <a:lnTo>
                    <a:pt x="321" y="65"/>
                  </a:lnTo>
                  <a:lnTo>
                    <a:pt x="319" y="82"/>
                  </a:lnTo>
                  <a:lnTo>
                    <a:pt x="312" y="96"/>
                  </a:lnTo>
                  <a:lnTo>
                    <a:pt x="302" y="110"/>
                  </a:lnTo>
                  <a:lnTo>
                    <a:pt x="290" y="119"/>
                  </a:lnTo>
                  <a:lnTo>
                    <a:pt x="274" y="126"/>
                  </a:lnTo>
                  <a:lnTo>
                    <a:pt x="257" y="128"/>
                  </a:lnTo>
                  <a:lnTo>
                    <a:pt x="64" y="128"/>
                  </a:lnTo>
                  <a:lnTo>
                    <a:pt x="48" y="126"/>
                  </a:lnTo>
                  <a:lnTo>
                    <a:pt x="32" y="119"/>
                  </a:lnTo>
                  <a:lnTo>
                    <a:pt x="19" y="110"/>
                  </a:lnTo>
                  <a:lnTo>
                    <a:pt x="9" y="96"/>
                  </a:lnTo>
                  <a:lnTo>
                    <a:pt x="3" y="82"/>
                  </a:lnTo>
                  <a:lnTo>
                    <a:pt x="0" y="65"/>
                  </a:lnTo>
                  <a:lnTo>
                    <a:pt x="3" y="47"/>
                  </a:lnTo>
                  <a:lnTo>
                    <a:pt x="9" y="33"/>
                  </a:lnTo>
                  <a:lnTo>
                    <a:pt x="19" y="19"/>
                  </a:lnTo>
                  <a:lnTo>
                    <a:pt x="32" y="10"/>
                  </a:lnTo>
                  <a:lnTo>
                    <a:pt x="48" y="4"/>
                  </a:lnTo>
                  <a:lnTo>
                    <a:pt x="64" y="0"/>
                  </a:lnTo>
                  <a:close/>
                </a:path>
              </a:pathLst>
            </a:custGeom>
            <a:solidFill>
              <a:schemeClr val="lt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prstClr val="black"/>
                </a:solidFill>
                <a:effectLst/>
                <a:uLnTx/>
                <a:uFillTx/>
                <a:latin typeface="Arial"/>
                <a:ea typeface="Arial"/>
                <a:cs typeface="Arial"/>
                <a:sym typeface="Arial"/>
              </a:endParaRPr>
            </a:p>
          </p:txBody>
        </p:sp>
        <p:sp>
          <p:nvSpPr>
            <p:cNvPr id="155" name="Google Shape;155;p22"/>
            <p:cNvSpPr/>
            <p:nvPr/>
          </p:nvSpPr>
          <p:spPr>
            <a:xfrm>
              <a:off x="9588500" y="4516438"/>
              <a:ext cx="41275" cy="33338"/>
            </a:xfrm>
            <a:custGeom>
              <a:avLst/>
              <a:gdLst/>
              <a:ahLst/>
              <a:cxnLst/>
              <a:rect l="l" t="t" r="r" b="b"/>
              <a:pathLst>
                <a:path w="294" h="222" extrusionOk="0">
                  <a:moveTo>
                    <a:pt x="230" y="0"/>
                  </a:moveTo>
                  <a:lnTo>
                    <a:pt x="247" y="2"/>
                  </a:lnTo>
                  <a:lnTo>
                    <a:pt x="262" y="8"/>
                  </a:lnTo>
                  <a:lnTo>
                    <a:pt x="275" y="18"/>
                  </a:lnTo>
                  <a:lnTo>
                    <a:pt x="286" y="31"/>
                  </a:lnTo>
                  <a:lnTo>
                    <a:pt x="292" y="47"/>
                  </a:lnTo>
                  <a:lnTo>
                    <a:pt x="294" y="63"/>
                  </a:lnTo>
                  <a:lnTo>
                    <a:pt x="292" y="80"/>
                  </a:lnTo>
                  <a:lnTo>
                    <a:pt x="286" y="95"/>
                  </a:lnTo>
                  <a:lnTo>
                    <a:pt x="276" y="108"/>
                  </a:lnTo>
                  <a:lnTo>
                    <a:pt x="263" y="118"/>
                  </a:lnTo>
                  <a:lnTo>
                    <a:pt x="96" y="213"/>
                  </a:lnTo>
                  <a:lnTo>
                    <a:pt x="80" y="220"/>
                  </a:lnTo>
                  <a:lnTo>
                    <a:pt x="64" y="222"/>
                  </a:lnTo>
                  <a:lnTo>
                    <a:pt x="48" y="220"/>
                  </a:lnTo>
                  <a:lnTo>
                    <a:pt x="32" y="214"/>
                  </a:lnTo>
                  <a:lnTo>
                    <a:pt x="19" y="204"/>
                  </a:lnTo>
                  <a:lnTo>
                    <a:pt x="8" y="190"/>
                  </a:lnTo>
                  <a:lnTo>
                    <a:pt x="2" y="175"/>
                  </a:lnTo>
                  <a:lnTo>
                    <a:pt x="0" y="158"/>
                  </a:lnTo>
                  <a:lnTo>
                    <a:pt x="2" y="142"/>
                  </a:lnTo>
                  <a:lnTo>
                    <a:pt x="8" y="127"/>
                  </a:lnTo>
                  <a:lnTo>
                    <a:pt x="19" y="114"/>
                  </a:lnTo>
                  <a:lnTo>
                    <a:pt x="31" y="103"/>
                  </a:lnTo>
                  <a:lnTo>
                    <a:pt x="198" y="8"/>
                  </a:lnTo>
                  <a:lnTo>
                    <a:pt x="215" y="2"/>
                  </a:lnTo>
                  <a:lnTo>
                    <a:pt x="230" y="0"/>
                  </a:lnTo>
                  <a:close/>
                </a:path>
              </a:pathLst>
            </a:custGeom>
            <a:solidFill>
              <a:schemeClr val="lt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prstClr val="black"/>
                </a:solidFill>
                <a:effectLst/>
                <a:uLnTx/>
                <a:uFillTx/>
                <a:latin typeface="Arial"/>
                <a:ea typeface="Arial"/>
                <a:cs typeface="Arial"/>
                <a:sym typeface="Arial"/>
              </a:endParaRPr>
            </a:p>
          </p:txBody>
        </p:sp>
        <p:sp>
          <p:nvSpPr>
            <p:cNvPr id="156" name="Google Shape;156;p22"/>
            <p:cNvSpPr/>
            <p:nvPr/>
          </p:nvSpPr>
          <p:spPr>
            <a:xfrm>
              <a:off x="9521825" y="4441826"/>
              <a:ext cx="31750" cy="41275"/>
            </a:xfrm>
            <a:custGeom>
              <a:avLst/>
              <a:gdLst/>
              <a:ahLst/>
              <a:cxnLst/>
              <a:rect l="l" t="t" r="r" b="b"/>
              <a:pathLst>
                <a:path w="224" h="292" extrusionOk="0">
                  <a:moveTo>
                    <a:pt x="159" y="0"/>
                  </a:moveTo>
                  <a:lnTo>
                    <a:pt x="176" y="2"/>
                  </a:lnTo>
                  <a:lnTo>
                    <a:pt x="192" y="9"/>
                  </a:lnTo>
                  <a:lnTo>
                    <a:pt x="205" y="19"/>
                  </a:lnTo>
                  <a:lnTo>
                    <a:pt x="216" y="32"/>
                  </a:lnTo>
                  <a:lnTo>
                    <a:pt x="222" y="48"/>
                  </a:lnTo>
                  <a:lnTo>
                    <a:pt x="224" y="63"/>
                  </a:lnTo>
                  <a:lnTo>
                    <a:pt x="222" y="80"/>
                  </a:lnTo>
                  <a:lnTo>
                    <a:pt x="216" y="95"/>
                  </a:lnTo>
                  <a:lnTo>
                    <a:pt x="119" y="261"/>
                  </a:lnTo>
                  <a:lnTo>
                    <a:pt x="109" y="274"/>
                  </a:lnTo>
                  <a:lnTo>
                    <a:pt x="95" y="285"/>
                  </a:lnTo>
                  <a:lnTo>
                    <a:pt x="81" y="290"/>
                  </a:lnTo>
                  <a:lnTo>
                    <a:pt x="64" y="292"/>
                  </a:lnTo>
                  <a:lnTo>
                    <a:pt x="48" y="290"/>
                  </a:lnTo>
                  <a:lnTo>
                    <a:pt x="32" y="284"/>
                  </a:lnTo>
                  <a:lnTo>
                    <a:pt x="18" y="273"/>
                  </a:lnTo>
                  <a:lnTo>
                    <a:pt x="8" y="261"/>
                  </a:lnTo>
                  <a:lnTo>
                    <a:pt x="2" y="245"/>
                  </a:lnTo>
                  <a:lnTo>
                    <a:pt x="0" y="230"/>
                  </a:lnTo>
                  <a:lnTo>
                    <a:pt x="2" y="213"/>
                  </a:lnTo>
                  <a:lnTo>
                    <a:pt x="8" y="197"/>
                  </a:lnTo>
                  <a:lnTo>
                    <a:pt x="105" y="32"/>
                  </a:lnTo>
                  <a:lnTo>
                    <a:pt x="115" y="18"/>
                  </a:lnTo>
                  <a:lnTo>
                    <a:pt x="129" y="8"/>
                  </a:lnTo>
                  <a:lnTo>
                    <a:pt x="144" y="2"/>
                  </a:lnTo>
                  <a:lnTo>
                    <a:pt x="159" y="0"/>
                  </a:lnTo>
                  <a:close/>
                </a:path>
              </a:pathLst>
            </a:custGeom>
            <a:solidFill>
              <a:schemeClr val="lt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prstClr val="black"/>
                </a:solidFill>
                <a:effectLst/>
                <a:uLnTx/>
                <a:uFillTx/>
                <a:latin typeface="Arial"/>
                <a:ea typeface="Arial"/>
                <a:cs typeface="Arial"/>
                <a:sym typeface="Arial"/>
              </a:endParaRPr>
            </a:p>
          </p:txBody>
        </p:sp>
        <p:sp>
          <p:nvSpPr>
            <p:cNvPr id="157" name="Google Shape;157;p22"/>
            <p:cNvSpPr/>
            <p:nvPr/>
          </p:nvSpPr>
          <p:spPr>
            <a:xfrm>
              <a:off x="9418638" y="4552951"/>
              <a:ext cx="44450" cy="142875"/>
            </a:xfrm>
            <a:custGeom>
              <a:avLst/>
              <a:gdLst/>
              <a:ahLst/>
              <a:cxnLst/>
              <a:rect l="l" t="t" r="r" b="b"/>
              <a:pathLst>
                <a:path w="308" h="991" extrusionOk="0">
                  <a:moveTo>
                    <a:pt x="154" y="0"/>
                  </a:moveTo>
                  <a:lnTo>
                    <a:pt x="186" y="2"/>
                  </a:lnTo>
                  <a:lnTo>
                    <a:pt x="213" y="8"/>
                  </a:lnTo>
                  <a:lnTo>
                    <a:pt x="238" y="17"/>
                  </a:lnTo>
                  <a:lnTo>
                    <a:pt x="259" y="30"/>
                  </a:lnTo>
                  <a:lnTo>
                    <a:pt x="277" y="47"/>
                  </a:lnTo>
                  <a:lnTo>
                    <a:pt x="291" y="67"/>
                  </a:lnTo>
                  <a:lnTo>
                    <a:pt x="301" y="91"/>
                  </a:lnTo>
                  <a:lnTo>
                    <a:pt x="306" y="119"/>
                  </a:lnTo>
                  <a:lnTo>
                    <a:pt x="308" y="150"/>
                  </a:lnTo>
                  <a:lnTo>
                    <a:pt x="308" y="375"/>
                  </a:lnTo>
                  <a:lnTo>
                    <a:pt x="307" y="405"/>
                  </a:lnTo>
                  <a:lnTo>
                    <a:pt x="304" y="435"/>
                  </a:lnTo>
                  <a:lnTo>
                    <a:pt x="301" y="466"/>
                  </a:lnTo>
                  <a:lnTo>
                    <a:pt x="240" y="920"/>
                  </a:lnTo>
                  <a:lnTo>
                    <a:pt x="236" y="942"/>
                  </a:lnTo>
                  <a:lnTo>
                    <a:pt x="229" y="959"/>
                  </a:lnTo>
                  <a:lnTo>
                    <a:pt x="219" y="972"/>
                  </a:lnTo>
                  <a:lnTo>
                    <a:pt x="207" y="981"/>
                  </a:lnTo>
                  <a:lnTo>
                    <a:pt x="192" y="987"/>
                  </a:lnTo>
                  <a:lnTo>
                    <a:pt x="174" y="990"/>
                  </a:lnTo>
                  <a:lnTo>
                    <a:pt x="154" y="991"/>
                  </a:lnTo>
                  <a:lnTo>
                    <a:pt x="135" y="990"/>
                  </a:lnTo>
                  <a:lnTo>
                    <a:pt x="117" y="987"/>
                  </a:lnTo>
                  <a:lnTo>
                    <a:pt x="102" y="981"/>
                  </a:lnTo>
                  <a:lnTo>
                    <a:pt x="90" y="972"/>
                  </a:lnTo>
                  <a:lnTo>
                    <a:pt x="80" y="959"/>
                  </a:lnTo>
                  <a:lnTo>
                    <a:pt x="73" y="942"/>
                  </a:lnTo>
                  <a:lnTo>
                    <a:pt x="69" y="920"/>
                  </a:lnTo>
                  <a:lnTo>
                    <a:pt x="8" y="466"/>
                  </a:lnTo>
                  <a:lnTo>
                    <a:pt x="5" y="435"/>
                  </a:lnTo>
                  <a:lnTo>
                    <a:pt x="2" y="405"/>
                  </a:lnTo>
                  <a:lnTo>
                    <a:pt x="0" y="375"/>
                  </a:lnTo>
                  <a:lnTo>
                    <a:pt x="0" y="150"/>
                  </a:lnTo>
                  <a:lnTo>
                    <a:pt x="3" y="119"/>
                  </a:lnTo>
                  <a:lnTo>
                    <a:pt x="8" y="91"/>
                  </a:lnTo>
                  <a:lnTo>
                    <a:pt x="18" y="67"/>
                  </a:lnTo>
                  <a:lnTo>
                    <a:pt x="32" y="47"/>
                  </a:lnTo>
                  <a:lnTo>
                    <a:pt x="50" y="30"/>
                  </a:lnTo>
                  <a:lnTo>
                    <a:pt x="71" y="17"/>
                  </a:lnTo>
                  <a:lnTo>
                    <a:pt x="96" y="8"/>
                  </a:lnTo>
                  <a:lnTo>
                    <a:pt x="123" y="2"/>
                  </a:lnTo>
                  <a:lnTo>
                    <a:pt x="154" y="0"/>
                  </a:lnTo>
                  <a:close/>
                </a:path>
              </a:pathLst>
            </a:custGeom>
            <a:solidFill>
              <a:schemeClr val="lt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prstClr val="black"/>
                </a:solidFill>
                <a:effectLst/>
                <a:uLnTx/>
                <a:uFillTx/>
                <a:latin typeface="Arial"/>
                <a:ea typeface="Arial"/>
                <a:cs typeface="Arial"/>
                <a:sym typeface="Arial"/>
              </a:endParaRPr>
            </a:p>
          </p:txBody>
        </p:sp>
        <p:sp>
          <p:nvSpPr>
            <p:cNvPr id="158" name="Google Shape;158;p22"/>
            <p:cNvSpPr/>
            <p:nvPr/>
          </p:nvSpPr>
          <p:spPr>
            <a:xfrm>
              <a:off x="9417050" y="4713288"/>
              <a:ext cx="47625" cy="46038"/>
            </a:xfrm>
            <a:custGeom>
              <a:avLst/>
              <a:gdLst/>
              <a:ahLst/>
              <a:cxnLst/>
              <a:rect l="l" t="t" r="r" b="b"/>
              <a:pathLst>
                <a:path w="321" h="319" extrusionOk="0">
                  <a:moveTo>
                    <a:pt x="160" y="0"/>
                  </a:moveTo>
                  <a:lnTo>
                    <a:pt x="193" y="4"/>
                  </a:lnTo>
                  <a:lnTo>
                    <a:pt x="222" y="14"/>
                  </a:lnTo>
                  <a:lnTo>
                    <a:pt x="250" y="28"/>
                  </a:lnTo>
                  <a:lnTo>
                    <a:pt x="274" y="47"/>
                  </a:lnTo>
                  <a:lnTo>
                    <a:pt x="294" y="71"/>
                  </a:lnTo>
                  <a:lnTo>
                    <a:pt x="308" y="98"/>
                  </a:lnTo>
                  <a:lnTo>
                    <a:pt x="318" y="128"/>
                  </a:lnTo>
                  <a:lnTo>
                    <a:pt x="321" y="159"/>
                  </a:lnTo>
                  <a:lnTo>
                    <a:pt x="318" y="192"/>
                  </a:lnTo>
                  <a:lnTo>
                    <a:pt x="308" y="222"/>
                  </a:lnTo>
                  <a:lnTo>
                    <a:pt x="294" y="249"/>
                  </a:lnTo>
                  <a:lnTo>
                    <a:pt x="274" y="272"/>
                  </a:lnTo>
                  <a:lnTo>
                    <a:pt x="250" y="291"/>
                  </a:lnTo>
                  <a:lnTo>
                    <a:pt x="222" y="306"/>
                  </a:lnTo>
                  <a:lnTo>
                    <a:pt x="193" y="315"/>
                  </a:lnTo>
                  <a:lnTo>
                    <a:pt x="160" y="319"/>
                  </a:lnTo>
                  <a:lnTo>
                    <a:pt x="128" y="315"/>
                  </a:lnTo>
                  <a:lnTo>
                    <a:pt x="99" y="306"/>
                  </a:lnTo>
                  <a:lnTo>
                    <a:pt x="71" y="291"/>
                  </a:lnTo>
                  <a:lnTo>
                    <a:pt x="47" y="272"/>
                  </a:lnTo>
                  <a:lnTo>
                    <a:pt x="27" y="249"/>
                  </a:lnTo>
                  <a:lnTo>
                    <a:pt x="13" y="222"/>
                  </a:lnTo>
                  <a:lnTo>
                    <a:pt x="3" y="192"/>
                  </a:lnTo>
                  <a:lnTo>
                    <a:pt x="0" y="159"/>
                  </a:lnTo>
                  <a:lnTo>
                    <a:pt x="3" y="128"/>
                  </a:lnTo>
                  <a:lnTo>
                    <a:pt x="13" y="98"/>
                  </a:lnTo>
                  <a:lnTo>
                    <a:pt x="27" y="71"/>
                  </a:lnTo>
                  <a:lnTo>
                    <a:pt x="47" y="47"/>
                  </a:lnTo>
                  <a:lnTo>
                    <a:pt x="71" y="28"/>
                  </a:lnTo>
                  <a:lnTo>
                    <a:pt x="99" y="14"/>
                  </a:lnTo>
                  <a:lnTo>
                    <a:pt x="128" y="4"/>
                  </a:lnTo>
                  <a:lnTo>
                    <a:pt x="160" y="0"/>
                  </a:lnTo>
                  <a:close/>
                </a:path>
              </a:pathLst>
            </a:custGeom>
            <a:solidFill>
              <a:schemeClr val="lt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prstClr val="black"/>
                </a:solidFill>
                <a:effectLst/>
                <a:uLnTx/>
                <a:uFillTx/>
                <a:latin typeface="Arial"/>
                <a:ea typeface="Arial"/>
                <a:cs typeface="Arial"/>
                <a:sym typeface="Arial"/>
              </a:endParaRPr>
            </a:p>
          </p:txBody>
        </p:sp>
      </p:grpSp>
      <p:grpSp>
        <p:nvGrpSpPr>
          <p:cNvPr id="159" name="Google Shape;159;p22"/>
          <p:cNvGrpSpPr/>
          <p:nvPr/>
        </p:nvGrpSpPr>
        <p:grpSpPr>
          <a:xfrm>
            <a:off x="6962775" y="1695233"/>
            <a:ext cx="716700" cy="689193"/>
            <a:chOff x="9002713" y="4295775"/>
            <a:chExt cx="744538" cy="715963"/>
          </a:xfrm>
        </p:grpSpPr>
        <p:sp>
          <p:nvSpPr>
            <p:cNvPr id="160" name="Google Shape;160;p22"/>
            <p:cNvSpPr/>
            <p:nvPr/>
          </p:nvSpPr>
          <p:spPr>
            <a:xfrm>
              <a:off x="9110663" y="4392613"/>
              <a:ext cx="169863" cy="166688"/>
            </a:xfrm>
            <a:custGeom>
              <a:avLst/>
              <a:gdLst/>
              <a:ahLst/>
              <a:cxnLst/>
              <a:rect l="l" t="t" r="r" b="b"/>
              <a:pathLst>
                <a:path w="755" h="735" extrusionOk="0">
                  <a:moveTo>
                    <a:pt x="296" y="0"/>
                  </a:moveTo>
                  <a:lnTo>
                    <a:pt x="336" y="3"/>
                  </a:lnTo>
                  <a:lnTo>
                    <a:pt x="375" y="11"/>
                  </a:lnTo>
                  <a:lnTo>
                    <a:pt x="411" y="23"/>
                  </a:lnTo>
                  <a:lnTo>
                    <a:pt x="445" y="40"/>
                  </a:lnTo>
                  <a:lnTo>
                    <a:pt x="477" y="61"/>
                  </a:lnTo>
                  <a:lnTo>
                    <a:pt x="505" y="86"/>
                  </a:lnTo>
                  <a:lnTo>
                    <a:pt x="530" y="115"/>
                  </a:lnTo>
                  <a:lnTo>
                    <a:pt x="552" y="146"/>
                  </a:lnTo>
                  <a:lnTo>
                    <a:pt x="569" y="181"/>
                  </a:lnTo>
                  <a:lnTo>
                    <a:pt x="582" y="217"/>
                  </a:lnTo>
                  <a:lnTo>
                    <a:pt x="590" y="256"/>
                  </a:lnTo>
                  <a:lnTo>
                    <a:pt x="592" y="296"/>
                  </a:lnTo>
                  <a:lnTo>
                    <a:pt x="590" y="335"/>
                  </a:lnTo>
                  <a:lnTo>
                    <a:pt x="582" y="371"/>
                  </a:lnTo>
                  <a:lnTo>
                    <a:pt x="570" y="405"/>
                  </a:lnTo>
                  <a:lnTo>
                    <a:pt x="555" y="438"/>
                  </a:lnTo>
                  <a:lnTo>
                    <a:pt x="755" y="627"/>
                  </a:lnTo>
                  <a:lnTo>
                    <a:pt x="717" y="660"/>
                  </a:lnTo>
                  <a:lnTo>
                    <a:pt x="683" y="696"/>
                  </a:lnTo>
                  <a:lnTo>
                    <a:pt x="652" y="735"/>
                  </a:lnTo>
                  <a:lnTo>
                    <a:pt x="452" y="547"/>
                  </a:lnTo>
                  <a:lnTo>
                    <a:pt x="417" y="566"/>
                  </a:lnTo>
                  <a:lnTo>
                    <a:pt x="379" y="580"/>
                  </a:lnTo>
                  <a:lnTo>
                    <a:pt x="338" y="589"/>
                  </a:lnTo>
                  <a:lnTo>
                    <a:pt x="296" y="592"/>
                  </a:lnTo>
                  <a:lnTo>
                    <a:pt x="256" y="590"/>
                  </a:lnTo>
                  <a:lnTo>
                    <a:pt x="217" y="582"/>
                  </a:lnTo>
                  <a:lnTo>
                    <a:pt x="181" y="569"/>
                  </a:lnTo>
                  <a:lnTo>
                    <a:pt x="146" y="552"/>
                  </a:lnTo>
                  <a:lnTo>
                    <a:pt x="114" y="531"/>
                  </a:lnTo>
                  <a:lnTo>
                    <a:pt x="86" y="505"/>
                  </a:lnTo>
                  <a:lnTo>
                    <a:pt x="61" y="477"/>
                  </a:lnTo>
                  <a:lnTo>
                    <a:pt x="40" y="445"/>
                  </a:lnTo>
                  <a:lnTo>
                    <a:pt x="23" y="411"/>
                  </a:lnTo>
                  <a:lnTo>
                    <a:pt x="10" y="375"/>
                  </a:lnTo>
                  <a:lnTo>
                    <a:pt x="3" y="337"/>
                  </a:lnTo>
                  <a:lnTo>
                    <a:pt x="0" y="296"/>
                  </a:lnTo>
                  <a:lnTo>
                    <a:pt x="3" y="256"/>
                  </a:lnTo>
                  <a:lnTo>
                    <a:pt x="10" y="217"/>
                  </a:lnTo>
                  <a:lnTo>
                    <a:pt x="23" y="181"/>
                  </a:lnTo>
                  <a:lnTo>
                    <a:pt x="40" y="146"/>
                  </a:lnTo>
                  <a:lnTo>
                    <a:pt x="61" y="115"/>
                  </a:lnTo>
                  <a:lnTo>
                    <a:pt x="86" y="86"/>
                  </a:lnTo>
                  <a:lnTo>
                    <a:pt x="114" y="61"/>
                  </a:lnTo>
                  <a:lnTo>
                    <a:pt x="146" y="40"/>
                  </a:lnTo>
                  <a:lnTo>
                    <a:pt x="181" y="23"/>
                  </a:lnTo>
                  <a:lnTo>
                    <a:pt x="217" y="11"/>
                  </a:lnTo>
                  <a:lnTo>
                    <a:pt x="256" y="3"/>
                  </a:lnTo>
                  <a:lnTo>
                    <a:pt x="296" y="0"/>
                  </a:lnTo>
                  <a:close/>
                </a:path>
              </a:pathLst>
            </a:custGeom>
            <a:solidFill>
              <a:schemeClr val="lt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prstClr val="black"/>
                </a:solidFill>
                <a:effectLst/>
                <a:uLnTx/>
                <a:uFillTx/>
                <a:latin typeface="Arial"/>
                <a:ea typeface="Arial"/>
                <a:cs typeface="Arial"/>
                <a:sym typeface="Arial"/>
              </a:endParaRPr>
            </a:p>
          </p:txBody>
        </p:sp>
        <p:sp>
          <p:nvSpPr>
            <p:cNvPr id="161" name="Google Shape;161;p22"/>
            <p:cNvSpPr/>
            <p:nvPr/>
          </p:nvSpPr>
          <p:spPr>
            <a:xfrm>
              <a:off x="9444038" y="4295775"/>
              <a:ext cx="174625" cy="233363"/>
            </a:xfrm>
            <a:custGeom>
              <a:avLst/>
              <a:gdLst/>
              <a:ahLst/>
              <a:cxnLst/>
              <a:rect l="l" t="t" r="r" b="b"/>
              <a:pathLst>
                <a:path w="772" h="1027" extrusionOk="0">
                  <a:moveTo>
                    <a:pt x="475" y="0"/>
                  </a:moveTo>
                  <a:lnTo>
                    <a:pt x="475" y="0"/>
                  </a:lnTo>
                  <a:lnTo>
                    <a:pt x="515" y="3"/>
                  </a:lnTo>
                  <a:lnTo>
                    <a:pt x="554" y="11"/>
                  </a:lnTo>
                  <a:lnTo>
                    <a:pt x="591" y="25"/>
                  </a:lnTo>
                  <a:lnTo>
                    <a:pt x="625" y="42"/>
                  </a:lnTo>
                  <a:lnTo>
                    <a:pt x="656" y="63"/>
                  </a:lnTo>
                  <a:lnTo>
                    <a:pt x="684" y="88"/>
                  </a:lnTo>
                  <a:lnTo>
                    <a:pt x="709" y="116"/>
                  </a:lnTo>
                  <a:lnTo>
                    <a:pt x="731" y="147"/>
                  </a:lnTo>
                  <a:lnTo>
                    <a:pt x="748" y="181"/>
                  </a:lnTo>
                  <a:lnTo>
                    <a:pt x="761" y="219"/>
                  </a:lnTo>
                  <a:lnTo>
                    <a:pt x="769" y="257"/>
                  </a:lnTo>
                  <a:lnTo>
                    <a:pt x="772" y="297"/>
                  </a:lnTo>
                  <a:lnTo>
                    <a:pt x="769" y="337"/>
                  </a:lnTo>
                  <a:lnTo>
                    <a:pt x="761" y="375"/>
                  </a:lnTo>
                  <a:lnTo>
                    <a:pt x="748" y="413"/>
                  </a:lnTo>
                  <a:lnTo>
                    <a:pt x="731" y="447"/>
                  </a:lnTo>
                  <a:lnTo>
                    <a:pt x="709" y="478"/>
                  </a:lnTo>
                  <a:lnTo>
                    <a:pt x="684" y="506"/>
                  </a:lnTo>
                  <a:lnTo>
                    <a:pt x="656" y="531"/>
                  </a:lnTo>
                  <a:lnTo>
                    <a:pt x="625" y="552"/>
                  </a:lnTo>
                  <a:lnTo>
                    <a:pt x="591" y="569"/>
                  </a:lnTo>
                  <a:lnTo>
                    <a:pt x="554" y="583"/>
                  </a:lnTo>
                  <a:lnTo>
                    <a:pt x="515" y="591"/>
                  </a:lnTo>
                  <a:lnTo>
                    <a:pt x="475" y="594"/>
                  </a:lnTo>
                  <a:lnTo>
                    <a:pt x="447" y="592"/>
                  </a:lnTo>
                  <a:lnTo>
                    <a:pt x="420" y="587"/>
                  </a:lnTo>
                  <a:lnTo>
                    <a:pt x="393" y="581"/>
                  </a:lnTo>
                  <a:lnTo>
                    <a:pt x="128" y="1027"/>
                  </a:lnTo>
                  <a:lnTo>
                    <a:pt x="87" y="998"/>
                  </a:lnTo>
                  <a:lnTo>
                    <a:pt x="45" y="973"/>
                  </a:lnTo>
                  <a:lnTo>
                    <a:pt x="0" y="951"/>
                  </a:lnTo>
                  <a:lnTo>
                    <a:pt x="264" y="505"/>
                  </a:lnTo>
                  <a:lnTo>
                    <a:pt x="240" y="477"/>
                  </a:lnTo>
                  <a:lnTo>
                    <a:pt x="219" y="446"/>
                  </a:lnTo>
                  <a:lnTo>
                    <a:pt x="202" y="412"/>
                  </a:lnTo>
                  <a:lnTo>
                    <a:pt x="190" y="375"/>
                  </a:lnTo>
                  <a:lnTo>
                    <a:pt x="182" y="337"/>
                  </a:lnTo>
                  <a:lnTo>
                    <a:pt x="179" y="297"/>
                  </a:lnTo>
                  <a:lnTo>
                    <a:pt x="182" y="257"/>
                  </a:lnTo>
                  <a:lnTo>
                    <a:pt x="190" y="218"/>
                  </a:lnTo>
                  <a:lnTo>
                    <a:pt x="202" y="181"/>
                  </a:lnTo>
                  <a:lnTo>
                    <a:pt x="219" y="147"/>
                  </a:lnTo>
                  <a:lnTo>
                    <a:pt x="241" y="116"/>
                  </a:lnTo>
                  <a:lnTo>
                    <a:pt x="265" y="88"/>
                  </a:lnTo>
                  <a:lnTo>
                    <a:pt x="294" y="63"/>
                  </a:lnTo>
                  <a:lnTo>
                    <a:pt x="325" y="42"/>
                  </a:lnTo>
                  <a:lnTo>
                    <a:pt x="359" y="25"/>
                  </a:lnTo>
                  <a:lnTo>
                    <a:pt x="396" y="11"/>
                  </a:lnTo>
                  <a:lnTo>
                    <a:pt x="435" y="3"/>
                  </a:lnTo>
                  <a:lnTo>
                    <a:pt x="475" y="0"/>
                  </a:lnTo>
                  <a:close/>
                </a:path>
              </a:pathLst>
            </a:custGeom>
            <a:solidFill>
              <a:schemeClr val="lt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prstClr val="black"/>
                </a:solidFill>
                <a:effectLst/>
                <a:uLnTx/>
                <a:uFillTx/>
                <a:latin typeface="Arial"/>
                <a:ea typeface="Arial"/>
                <a:cs typeface="Arial"/>
                <a:sym typeface="Arial"/>
              </a:endParaRPr>
            </a:p>
          </p:txBody>
        </p:sp>
        <p:sp>
          <p:nvSpPr>
            <p:cNvPr id="162" name="Google Shape;162;p22"/>
            <p:cNvSpPr/>
            <p:nvPr/>
          </p:nvSpPr>
          <p:spPr>
            <a:xfrm>
              <a:off x="9529763" y="4614863"/>
              <a:ext cx="217488" cy="133350"/>
            </a:xfrm>
            <a:custGeom>
              <a:avLst/>
              <a:gdLst/>
              <a:ahLst/>
              <a:cxnLst/>
              <a:rect l="l" t="t" r="r" b="b"/>
              <a:pathLst>
                <a:path w="956" h="592" extrusionOk="0">
                  <a:moveTo>
                    <a:pt x="660" y="0"/>
                  </a:moveTo>
                  <a:lnTo>
                    <a:pt x="700" y="2"/>
                  </a:lnTo>
                  <a:lnTo>
                    <a:pt x="739" y="10"/>
                  </a:lnTo>
                  <a:lnTo>
                    <a:pt x="775" y="23"/>
                  </a:lnTo>
                  <a:lnTo>
                    <a:pt x="809" y="40"/>
                  </a:lnTo>
                  <a:lnTo>
                    <a:pt x="841" y="61"/>
                  </a:lnTo>
                  <a:lnTo>
                    <a:pt x="869" y="86"/>
                  </a:lnTo>
                  <a:lnTo>
                    <a:pt x="894" y="115"/>
                  </a:lnTo>
                  <a:lnTo>
                    <a:pt x="916" y="147"/>
                  </a:lnTo>
                  <a:lnTo>
                    <a:pt x="933" y="181"/>
                  </a:lnTo>
                  <a:lnTo>
                    <a:pt x="946" y="217"/>
                  </a:lnTo>
                  <a:lnTo>
                    <a:pt x="954" y="255"/>
                  </a:lnTo>
                  <a:lnTo>
                    <a:pt x="956" y="296"/>
                  </a:lnTo>
                  <a:lnTo>
                    <a:pt x="954" y="336"/>
                  </a:lnTo>
                  <a:lnTo>
                    <a:pt x="946" y="375"/>
                  </a:lnTo>
                  <a:lnTo>
                    <a:pt x="933" y="411"/>
                  </a:lnTo>
                  <a:lnTo>
                    <a:pt x="916" y="445"/>
                  </a:lnTo>
                  <a:lnTo>
                    <a:pt x="894" y="477"/>
                  </a:lnTo>
                  <a:lnTo>
                    <a:pt x="869" y="506"/>
                  </a:lnTo>
                  <a:lnTo>
                    <a:pt x="841" y="530"/>
                  </a:lnTo>
                  <a:lnTo>
                    <a:pt x="809" y="552"/>
                  </a:lnTo>
                  <a:lnTo>
                    <a:pt x="775" y="569"/>
                  </a:lnTo>
                  <a:lnTo>
                    <a:pt x="739" y="581"/>
                  </a:lnTo>
                  <a:lnTo>
                    <a:pt x="700" y="589"/>
                  </a:lnTo>
                  <a:lnTo>
                    <a:pt x="660" y="592"/>
                  </a:lnTo>
                  <a:lnTo>
                    <a:pt x="620" y="589"/>
                  </a:lnTo>
                  <a:lnTo>
                    <a:pt x="583" y="582"/>
                  </a:lnTo>
                  <a:lnTo>
                    <a:pt x="547" y="569"/>
                  </a:lnTo>
                  <a:lnTo>
                    <a:pt x="512" y="553"/>
                  </a:lnTo>
                  <a:lnTo>
                    <a:pt x="481" y="532"/>
                  </a:lnTo>
                  <a:lnTo>
                    <a:pt x="453" y="508"/>
                  </a:lnTo>
                  <a:lnTo>
                    <a:pt x="429" y="480"/>
                  </a:lnTo>
                  <a:lnTo>
                    <a:pt x="407" y="448"/>
                  </a:lnTo>
                  <a:lnTo>
                    <a:pt x="390" y="415"/>
                  </a:lnTo>
                  <a:lnTo>
                    <a:pt x="377" y="380"/>
                  </a:lnTo>
                  <a:lnTo>
                    <a:pt x="369" y="342"/>
                  </a:lnTo>
                  <a:lnTo>
                    <a:pt x="0" y="306"/>
                  </a:lnTo>
                  <a:lnTo>
                    <a:pt x="8" y="260"/>
                  </a:lnTo>
                  <a:lnTo>
                    <a:pt x="13" y="213"/>
                  </a:lnTo>
                  <a:lnTo>
                    <a:pt x="15" y="165"/>
                  </a:lnTo>
                  <a:lnTo>
                    <a:pt x="14" y="157"/>
                  </a:lnTo>
                  <a:lnTo>
                    <a:pt x="383" y="194"/>
                  </a:lnTo>
                  <a:lnTo>
                    <a:pt x="399" y="157"/>
                  </a:lnTo>
                  <a:lnTo>
                    <a:pt x="420" y="124"/>
                  </a:lnTo>
                  <a:lnTo>
                    <a:pt x="445" y="94"/>
                  </a:lnTo>
                  <a:lnTo>
                    <a:pt x="474" y="66"/>
                  </a:lnTo>
                  <a:lnTo>
                    <a:pt x="505" y="43"/>
                  </a:lnTo>
                  <a:lnTo>
                    <a:pt x="541" y="25"/>
                  </a:lnTo>
                  <a:lnTo>
                    <a:pt x="579" y="11"/>
                  </a:lnTo>
                  <a:lnTo>
                    <a:pt x="618" y="3"/>
                  </a:lnTo>
                  <a:lnTo>
                    <a:pt x="660" y="0"/>
                  </a:lnTo>
                  <a:close/>
                </a:path>
              </a:pathLst>
            </a:custGeom>
            <a:solidFill>
              <a:schemeClr val="lt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prstClr val="black"/>
                </a:solidFill>
                <a:effectLst/>
                <a:uLnTx/>
                <a:uFillTx/>
                <a:latin typeface="Arial"/>
                <a:ea typeface="Arial"/>
                <a:cs typeface="Arial"/>
                <a:sym typeface="Arial"/>
              </a:endParaRPr>
            </a:p>
          </p:txBody>
        </p:sp>
        <p:sp>
          <p:nvSpPr>
            <p:cNvPr id="163" name="Google Shape;163;p22"/>
            <p:cNvSpPr/>
            <p:nvPr/>
          </p:nvSpPr>
          <p:spPr>
            <a:xfrm>
              <a:off x="9380538" y="4795838"/>
              <a:ext cx="133350" cy="215900"/>
            </a:xfrm>
            <a:custGeom>
              <a:avLst/>
              <a:gdLst/>
              <a:ahLst/>
              <a:cxnLst/>
              <a:rect l="l" t="t" r="r" b="b"/>
              <a:pathLst>
                <a:path w="593" h="952" extrusionOk="0">
                  <a:moveTo>
                    <a:pt x="223" y="0"/>
                  </a:moveTo>
                  <a:lnTo>
                    <a:pt x="306" y="360"/>
                  </a:lnTo>
                  <a:lnTo>
                    <a:pt x="348" y="364"/>
                  </a:lnTo>
                  <a:lnTo>
                    <a:pt x="389" y="374"/>
                  </a:lnTo>
                  <a:lnTo>
                    <a:pt x="427" y="390"/>
                  </a:lnTo>
                  <a:lnTo>
                    <a:pt x="463" y="411"/>
                  </a:lnTo>
                  <a:lnTo>
                    <a:pt x="495" y="436"/>
                  </a:lnTo>
                  <a:lnTo>
                    <a:pt x="523" y="465"/>
                  </a:lnTo>
                  <a:lnTo>
                    <a:pt x="547" y="497"/>
                  </a:lnTo>
                  <a:lnTo>
                    <a:pt x="566" y="533"/>
                  </a:lnTo>
                  <a:lnTo>
                    <a:pt x="581" y="571"/>
                  </a:lnTo>
                  <a:lnTo>
                    <a:pt x="590" y="613"/>
                  </a:lnTo>
                  <a:lnTo>
                    <a:pt x="593" y="656"/>
                  </a:lnTo>
                  <a:lnTo>
                    <a:pt x="590" y="696"/>
                  </a:lnTo>
                  <a:lnTo>
                    <a:pt x="582" y="734"/>
                  </a:lnTo>
                  <a:lnTo>
                    <a:pt x="570" y="771"/>
                  </a:lnTo>
                  <a:lnTo>
                    <a:pt x="552" y="805"/>
                  </a:lnTo>
                  <a:lnTo>
                    <a:pt x="531" y="837"/>
                  </a:lnTo>
                  <a:lnTo>
                    <a:pt x="506" y="865"/>
                  </a:lnTo>
                  <a:lnTo>
                    <a:pt x="478" y="890"/>
                  </a:lnTo>
                  <a:lnTo>
                    <a:pt x="446" y="911"/>
                  </a:lnTo>
                  <a:lnTo>
                    <a:pt x="412" y="928"/>
                  </a:lnTo>
                  <a:lnTo>
                    <a:pt x="375" y="941"/>
                  </a:lnTo>
                  <a:lnTo>
                    <a:pt x="337" y="950"/>
                  </a:lnTo>
                  <a:lnTo>
                    <a:pt x="297" y="952"/>
                  </a:lnTo>
                  <a:lnTo>
                    <a:pt x="256" y="950"/>
                  </a:lnTo>
                  <a:lnTo>
                    <a:pt x="218" y="941"/>
                  </a:lnTo>
                  <a:lnTo>
                    <a:pt x="181" y="928"/>
                  </a:lnTo>
                  <a:lnTo>
                    <a:pt x="147" y="911"/>
                  </a:lnTo>
                  <a:lnTo>
                    <a:pt x="116" y="890"/>
                  </a:lnTo>
                  <a:lnTo>
                    <a:pt x="88" y="865"/>
                  </a:lnTo>
                  <a:lnTo>
                    <a:pt x="62" y="837"/>
                  </a:lnTo>
                  <a:lnTo>
                    <a:pt x="41" y="805"/>
                  </a:lnTo>
                  <a:lnTo>
                    <a:pt x="24" y="771"/>
                  </a:lnTo>
                  <a:lnTo>
                    <a:pt x="11" y="734"/>
                  </a:lnTo>
                  <a:lnTo>
                    <a:pt x="3" y="696"/>
                  </a:lnTo>
                  <a:lnTo>
                    <a:pt x="0" y="656"/>
                  </a:lnTo>
                  <a:lnTo>
                    <a:pt x="3" y="614"/>
                  </a:lnTo>
                  <a:lnTo>
                    <a:pt x="12" y="573"/>
                  </a:lnTo>
                  <a:lnTo>
                    <a:pt x="26" y="536"/>
                  </a:lnTo>
                  <a:lnTo>
                    <a:pt x="45" y="501"/>
                  </a:lnTo>
                  <a:lnTo>
                    <a:pt x="68" y="469"/>
                  </a:lnTo>
                  <a:lnTo>
                    <a:pt x="96" y="440"/>
                  </a:lnTo>
                  <a:lnTo>
                    <a:pt x="127" y="415"/>
                  </a:lnTo>
                  <a:lnTo>
                    <a:pt x="161" y="394"/>
                  </a:lnTo>
                  <a:lnTo>
                    <a:pt x="77" y="34"/>
                  </a:lnTo>
                  <a:lnTo>
                    <a:pt x="128" y="25"/>
                  </a:lnTo>
                  <a:lnTo>
                    <a:pt x="176" y="14"/>
                  </a:lnTo>
                  <a:lnTo>
                    <a:pt x="223" y="0"/>
                  </a:lnTo>
                  <a:close/>
                </a:path>
              </a:pathLst>
            </a:custGeom>
            <a:solidFill>
              <a:schemeClr val="lt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prstClr val="black"/>
                </a:solidFill>
                <a:effectLst/>
                <a:uLnTx/>
                <a:uFillTx/>
                <a:latin typeface="Arial"/>
                <a:ea typeface="Arial"/>
                <a:cs typeface="Arial"/>
                <a:sym typeface="Arial"/>
              </a:endParaRPr>
            </a:p>
          </p:txBody>
        </p:sp>
        <p:sp>
          <p:nvSpPr>
            <p:cNvPr id="164" name="Google Shape;164;p22"/>
            <p:cNvSpPr/>
            <p:nvPr/>
          </p:nvSpPr>
          <p:spPr>
            <a:xfrm>
              <a:off x="9002713" y="4684713"/>
              <a:ext cx="238125" cy="138113"/>
            </a:xfrm>
            <a:custGeom>
              <a:avLst/>
              <a:gdLst/>
              <a:ahLst/>
              <a:cxnLst/>
              <a:rect l="l" t="t" r="r" b="b"/>
              <a:pathLst>
                <a:path w="1051" h="611" extrusionOk="0">
                  <a:moveTo>
                    <a:pt x="1002" y="0"/>
                  </a:moveTo>
                  <a:lnTo>
                    <a:pt x="1016" y="48"/>
                  </a:lnTo>
                  <a:lnTo>
                    <a:pt x="1032" y="95"/>
                  </a:lnTo>
                  <a:lnTo>
                    <a:pt x="1051" y="140"/>
                  </a:lnTo>
                  <a:lnTo>
                    <a:pt x="590" y="295"/>
                  </a:lnTo>
                  <a:lnTo>
                    <a:pt x="591" y="304"/>
                  </a:lnTo>
                  <a:lnTo>
                    <a:pt x="592" y="314"/>
                  </a:lnTo>
                  <a:lnTo>
                    <a:pt x="590" y="355"/>
                  </a:lnTo>
                  <a:lnTo>
                    <a:pt x="582" y="394"/>
                  </a:lnTo>
                  <a:lnTo>
                    <a:pt x="569" y="430"/>
                  </a:lnTo>
                  <a:lnTo>
                    <a:pt x="552" y="464"/>
                  </a:lnTo>
                  <a:lnTo>
                    <a:pt x="531" y="495"/>
                  </a:lnTo>
                  <a:lnTo>
                    <a:pt x="506" y="525"/>
                  </a:lnTo>
                  <a:lnTo>
                    <a:pt x="478" y="550"/>
                  </a:lnTo>
                  <a:lnTo>
                    <a:pt x="445" y="571"/>
                  </a:lnTo>
                  <a:lnTo>
                    <a:pt x="411" y="588"/>
                  </a:lnTo>
                  <a:lnTo>
                    <a:pt x="375" y="601"/>
                  </a:lnTo>
                  <a:lnTo>
                    <a:pt x="336" y="608"/>
                  </a:lnTo>
                  <a:lnTo>
                    <a:pt x="296" y="611"/>
                  </a:lnTo>
                  <a:lnTo>
                    <a:pt x="255" y="608"/>
                  </a:lnTo>
                  <a:lnTo>
                    <a:pt x="217" y="601"/>
                  </a:lnTo>
                  <a:lnTo>
                    <a:pt x="181" y="588"/>
                  </a:lnTo>
                  <a:lnTo>
                    <a:pt x="147" y="571"/>
                  </a:lnTo>
                  <a:lnTo>
                    <a:pt x="115" y="550"/>
                  </a:lnTo>
                  <a:lnTo>
                    <a:pt x="86" y="525"/>
                  </a:lnTo>
                  <a:lnTo>
                    <a:pt x="61" y="495"/>
                  </a:lnTo>
                  <a:lnTo>
                    <a:pt x="40" y="464"/>
                  </a:lnTo>
                  <a:lnTo>
                    <a:pt x="23" y="430"/>
                  </a:lnTo>
                  <a:lnTo>
                    <a:pt x="11" y="394"/>
                  </a:lnTo>
                  <a:lnTo>
                    <a:pt x="3" y="355"/>
                  </a:lnTo>
                  <a:lnTo>
                    <a:pt x="0" y="314"/>
                  </a:lnTo>
                  <a:lnTo>
                    <a:pt x="3" y="274"/>
                  </a:lnTo>
                  <a:lnTo>
                    <a:pt x="11" y="236"/>
                  </a:lnTo>
                  <a:lnTo>
                    <a:pt x="23" y="200"/>
                  </a:lnTo>
                  <a:lnTo>
                    <a:pt x="40" y="166"/>
                  </a:lnTo>
                  <a:lnTo>
                    <a:pt x="61" y="133"/>
                  </a:lnTo>
                  <a:lnTo>
                    <a:pt x="86" y="105"/>
                  </a:lnTo>
                  <a:lnTo>
                    <a:pt x="115" y="80"/>
                  </a:lnTo>
                  <a:lnTo>
                    <a:pt x="147" y="59"/>
                  </a:lnTo>
                  <a:lnTo>
                    <a:pt x="181" y="42"/>
                  </a:lnTo>
                  <a:lnTo>
                    <a:pt x="217" y="29"/>
                  </a:lnTo>
                  <a:lnTo>
                    <a:pt x="255" y="22"/>
                  </a:lnTo>
                  <a:lnTo>
                    <a:pt x="296" y="19"/>
                  </a:lnTo>
                  <a:lnTo>
                    <a:pt x="335" y="21"/>
                  </a:lnTo>
                  <a:lnTo>
                    <a:pt x="371" y="29"/>
                  </a:lnTo>
                  <a:lnTo>
                    <a:pt x="406" y="40"/>
                  </a:lnTo>
                  <a:lnTo>
                    <a:pt x="439" y="56"/>
                  </a:lnTo>
                  <a:lnTo>
                    <a:pt x="470" y="75"/>
                  </a:lnTo>
                  <a:lnTo>
                    <a:pt x="498" y="98"/>
                  </a:lnTo>
                  <a:lnTo>
                    <a:pt x="523" y="124"/>
                  </a:lnTo>
                  <a:lnTo>
                    <a:pt x="544" y="154"/>
                  </a:lnTo>
                  <a:lnTo>
                    <a:pt x="1002" y="0"/>
                  </a:lnTo>
                  <a:close/>
                </a:path>
              </a:pathLst>
            </a:custGeom>
            <a:solidFill>
              <a:schemeClr val="lt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prstClr val="black"/>
                </a:solidFill>
                <a:effectLst/>
                <a:uLnTx/>
                <a:uFillTx/>
                <a:latin typeface="Arial"/>
                <a:ea typeface="Arial"/>
                <a:cs typeface="Arial"/>
                <a:sym typeface="Arial"/>
              </a:endParaRPr>
            </a:p>
          </p:txBody>
        </p:sp>
        <p:sp>
          <p:nvSpPr>
            <p:cNvPr id="165" name="Google Shape;165;p22"/>
            <p:cNvSpPr/>
            <p:nvPr/>
          </p:nvSpPr>
          <p:spPr>
            <a:xfrm>
              <a:off x="9264651" y="4537075"/>
              <a:ext cx="230188" cy="230188"/>
            </a:xfrm>
            <a:custGeom>
              <a:avLst/>
              <a:gdLst/>
              <a:ahLst/>
              <a:cxnLst/>
              <a:rect l="l" t="t" r="r" b="b"/>
              <a:pathLst>
                <a:path w="1017" h="1017" extrusionOk="0">
                  <a:moveTo>
                    <a:pt x="508" y="0"/>
                  </a:moveTo>
                  <a:lnTo>
                    <a:pt x="563" y="3"/>
                  </a:lnTo>
                  <a:lnTo>
                    <a:pt x="618" y="12"/>
                  </a:lnTo>
                  <a:lnTo>
                    <a:pt x="669" y="26"/>
                  </a:lnTo>
                  <a:lnTo>
                    <a:pt x="718" y="45"/>
                  </a:lnTo>
                  <a:lnTo>
                    <a:pt x="764" y="70"/>
                  </a:lnTo>
                  <a:lnTo>
                    <a:pt x="809" y="99"/>
                  </a:lnTo>
                  <a:lnTo>
                    <a:pt x="849" y="132"/>
                  </a:lnTo>
                  <a:lnTo>
                    <a:pt x="885" y="168"/>
                  </a:lnTo>
                  <a:lnTo>
                    <a:pt x="918" y="208"/>
                  </a:lnTo>
                  <a:lnTo>
                    <a:pt x="947" y="253"/>
                  </a:lnTo>
                  <a:lnTo>
                    <a:pt x="972" y="299"/>
                  </a:lnTo>
                  <a:lnTo>
                    <a:pt x="991" y="348"/>
                  </a:lnTo>
                  <a:lnTo>
                    <a:pt x="1005" y="399"/>
                  </a:lnTo>
                  <a:lnTo>
                    <a:pt x="1014" y="453"/>
                  </a:lnTo>
                  <a:lnTo>
                    <a:pt x="1017" y="508"/>
                  </a:lnTo>
                  <a:lnTo>
                    <a:pt x="1014" y="563"/>
                  </a:lnTo>
                  <a:lnTo>
                    <a:pt x="1005" y="617"/>
                  </a:lnTo>
                  <a:lnTo>
                    <a:pt x="991" y="669"/>
                  </a:lnTo>
                  <a:lnTo>
                    <a:pt x="972" y="718"/>
                  </a:lnTo>
                  <a:lnTo>
                    <a:pt x="947" y="764"/>
                  </a:lnTo>
                  <a:lnTo>
                    <a:pt x="918" y="809"/>
                  </a:lnTo>
                  <a:lnTo>
                    <a:pt x="885" y="849"/>
                  </a:lnTo>
                  <a:lnTo>
                    <a:pt x="849" y="886"/>
                  </a:lnTo>
                  <a:lnTo>
                    <a:pt x="809" y="918"/>
                  </a:lnTo>
                  <a:lnTo>
                    <a:pt x="764" y="947"/>
                  </a:lnTo>
                  <a:lnTo>
                    <a:pt x="718" y="971"/>
                  </a:lnTo>
                  <a:lnTo>
                    <a:pt x="669" y="991"/>
                  </a:lnTo>
                  <a:lnTo>
                    <a:pt x="618" y="1005"/>
                  </a:lnTo>
                  <a:lnTo>
                    <a:pt x="563" y="1014"/>
                  </a:lnTo>
                  <a:lnTo>
                    <a:pt x="508" y="1017"/>
                  </a:lnTo>
                  <a:lnTo>
                    <a:pt x="453" y="1014"/>
                  </a:lnTo>
                  <a:lnTo>
                    <a:pt x="399" y="1005"/>
                  </a:lnTo>
                  <a:lnTo>
                    <a:pt x="348" y="991"/>
                  </a:lnTo>
                  <a:lnTo>
                    <a:pt x="299" y="971"/>
                  </a:lnTo>
                  <a:lnTo>
                    <a:pt x="253" y="947"/>
                  </a:lnTo>
                  <a:lnTo>
                    <a:pt x="208" y="918"/>
                  </a:lnTo>
                  <a:lnTo>
                    <a:pt x="168" y="886"/>
                  </a:lnTo>
                  <a:lnTo>
                    <a:pt x="131" y="849"/>
                  </a:lnTo>
                  <a:lnTo>
                    <a:pt x="99" y="809"/>
                  </a:lnTo>
                  <a:lnTo>
                    <a:pt x="70" y="764"/>
                  </a:lnTo>
                  <a:lnTo>
                    <a:pt x="46" y="718"/>
                  </a:lnTo>
                  <a:lnTo>
                    <a:pt x="26" y="669"/>
                  </a:lnTo>
                  <a:lnTo>
                    <a:pt x="12" y="617"/>
                  </a:lnTo>
                  <a:lnTo>
                    <a:pt x="3" y="563"/>
                  </a:lnTo>
                  <a:lnTo>
                    <a:pt x="0" y="508"/>
                  </a:lnTo>
                  <a:lnTo>
                    <a:pt x="3" y="453"/>
                  </a:lnTo>
                  <a:lnTo>
                    <a:pt x="12" y="399"/>
                  </a:lnTo>
                  <a:lnTo>
                    <a:pt x="26" y="348"/>
                  </a:lnTo>
                  <a:lnTo>
                    <a:pt x="46" y="299"/>
                  </a:lnTo>
                  <a:lnTo>
                    <a:pt x="70" y="253"/>
                  </a:lnTo>
                  <a:lnTo>
                    <a:pt x="99" y="208"/>
                  </a:lnTo>
                  <a:lnTo>
                    <a:pt x="131" y="168"/>
                  </a:lnTo>
                  <a:lnTo>
                    <a:pt x="168" y="132"/>
                  </a:lnTo>
                  <a:lnTo>
                    <a:pt x="208" y="99"/>
                  </a:lnTo>
                  <a:lnTo>
                    <a:pt x="253" y="70"/>
                  </a:lnTo>
                  <a:lnTo>
                    <a:pt x="299" y="45"/>
                  </a:lnTo>
                  <a:lnTo>
                    <a:pt x="348" y="26"/>
                  </a:lnTo>
                  <a:lnTo>
                    <a:pt x="399" y="12"/>
                  </a:lnTo>
                  <a:lnTo>
                    <a:pt x="453" y="3"/>
                  </a:lnTo>
                  <a:lnTo>
                    <a:pt x="508" y="0"/>
                  </a:lnTo>
                  <a:close/>
                </a:path>
              </a:pathLst>
            </a:custGeom>
            <a:solidFill>
              <a:schemeClr val="lt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prstClr val="black"/>
                </a:solidFill>
                <a:effectLst/>
                <a:uLnTx/>
                <a:uFillTx/>
                <a:latin typeface="Arial"/>
                <a:ea typeface="Arial"/>
                <a:cs typeface="Arial"/>
                <a:sym typeface="Arial"/>
              </a:endParaRPr>
            </a:p>
          </p:txBody>
        </p:sp>
      </p:grpSp>
      <p:grpSp>
        <p:nvGrpSpPr>
          <p:cNvPr id="166" name="Google Shape;166;p22"/>
          <p:cNvGrpSpPr/>
          <p:nvPr/>
        </p:nvGrpSpPr>
        <p:grpSpPr>
          <a:xfrm>
            <a:off x="6792549" y="5403007"/>
            <a:ext cx="711792" cy="621141"/>
            <a:chOff x="8575675" y="4164013"/>
            <a:chExt cx="2106613" cy="1838324"/>
          </a:xfrm>
        </p:grpSpPr>
        <p:sp>
          <p:nvSpPr>
            <p:cNvPr id="167" name="Google Shape;167;p22"/>
            <p:cNvSpPr/>
            <p:nvPr/>
          </p:nvSpPr>
          <p:spPr>
            <a:xfrm>
              <a:off x="9980613" y="4425950"/>
              <a:ext cx="288925" cy="590550"/>
            </a:xfrm>
            <a:custGeom>
              <a:avLst/>
              <a:gdLst/>
              <a:ahLst/>
              <a:cxnLst/>
              <a:rect l="l" t="t" r="r" b="b"/>
              <a:pathLst>
                <a:path w="546" h="1115" extrusionOk="0">
                  <a:moveTo>
                    <a:pt x="257" y="0"/>
                  </a:moveTo>
                  <a:lnTo>
                    <a:pt x="296" y="0"/>
                  </a:lnTo>
                  <a:lnTo>
                    <a:pt x="314" y="3"/>
                  </a:lnTo>
                  <a:lnTo>
                    <a:pt x="328" y="12"/>
                  </a:lnTo>
                  <a:lnTo>
                    <a:pt x="338" y="26"/>
                  </a:lnTo>
                  <a:lnTo>
                    <a:pt x="340" y="43"/>
                  </a:lnTo>
                  <a:lnTo>
                    <a:pt x="342" y="123"/>
                  </a:lnTo>
                  <a:lnTo>
                    <a:pt x="342" y="126"/>
                  </a:lnTo>
                  <a:lnTo>
                    <a:pt x="343" y="128"/>
                  </a:lnTo>
                  <a:lnTo>
                    <a:pt x="344" y="129"/>
                  </a:lnTo>
                  <a:lnTo>
                    <a:pt x="345" y="130"/>
                  </a:lnTo>
                  <a:lnTo>
                    <a:pt x="346" y="131"/>
                  </a:lnTo>
                  <a:lnTo>
                    <a:pt x="348" y="131"/>
                  </a:lnTo>
                  <a:lnTo>
                    <a:pt x="351" y="131"/>
                  </a:lnTo>
                  <a:lnTo>
                    <a:pt x="361" y="134"/>
                  </a:lnTo>
                  <a:lnTo>
                    <a:pt x="375" y="136"/>
                  </a:lnTo>
                  <a:lnTo>
                    <a:pt x="392" y="140"/>
                  </a:lnTo>
                  <a:lnTo>
                    <a:pt x="413" y="144"/>
                  </a:lnTo>
                  <a:lnTo>
                    <a:pt x="433" y="149"/>
                  </a:lnTo>
                  <a:lnTo>
                    <a:pt x="455" y="155"/>
                  </a:lnTo>
                  <a:lnTo>
                    <a:pt x="474" y="161"/>
                  </a:lnTo>
                  <a:lnTo>
                    <a:pt x="493" y="169"/>
                  </a:lnTo>
                  <a:lnTo>
                    <a:pt x="502" y="175"/>
                  </a:lnTo>
                  <a:lnTo>
                    <a:pt x="509" y="185"/>
                  </a:lnTo>
                  <a:lnTo>
                    <a:pt x="513" y="197"/>
                  </a:lnTo>
                  <a:lnTo>
                    <a:pt x="511" y="212"/>
                  </a:lnTo>
                  <a:lnTo>
                    <a:pt x="489" y="267"/>
                  </a:lnTo>
                  <a:lnTo>
                    <a:pt x="483" y="278"/>
                  </a:lnTo>
                  <a:lnTo>
                    <a:pt x="473" y="287"/>
                  </a:lnTo>
                  <a:lnTo>
                    <a:pt x="462" y="293"/>
                  </a:lnTo>
                  <a:lnTo>
                    <a:pt x="450" y="294"/>
                  </a:lnTo>
                  <a:lnTo>
                    <a:pt x="439" y="293"/>
                  </a:lnTo>
                  <a:lnTo>
                    <a:pt x="430" y="289"/>
                  </a:lnTo>
                  <a:lnTo>
                    <a:pt x="427" y="288"/>
                  </a:lnTo>
                  <a:lnTo>
                    <a:pt x="419" y="284"/>
                  </a:lnTo>
                  <a:lnTo>
                    <a:pt x="406" y="278"/>
                  </a:lnTo>
                  <a:lnTo>
                    <a:pt x="389" y="273"/>
                  </a:lnTo>
                  <a:lnTo>
                    <a:pt x="368" y="267"/>
                  </a:lnTo>
                  <a:lnTo>
                    <a:pt x="345" y="263"/>
                  </a:lnTo>
                  <a:lnTo>
                    <a:pt x="319" y="259"/>
                  </a:lnTo>
                  <a:lnTo>
                    <a:pt x="290" y="258"/>
                  </a:lnTo>
                  <a:lnTo>
                    <a:pt x="262" y="259"/>
                  </a:lnTo>
                  <a:lnTo>
                    <a:pt x="239" y="264"/>
                  </a:lnTo>
                  <a:lnTo>
                    <a:pt x="220" y="272"/>
                  </a:lnTo>
                  <a:lnTo>
                    <a:pt x="203" y="282"/>
                  </a:lnTo>
                  <a:lnTo>
                    <a:pt x="191" y="293"/>
                  </a:lnTo>
                  <a:lnTo>
                    <a:pt x="181" y="306"/>
                  </a:lnTo>
                  <a:lnTo>
                    <a:pt x="175" y="319"/>
                  </a:lnTo>
                  <a:lnTo>
                    <a:pt x="170" y="334"/>
                  </a:lnTo>
                  <a:lnTo>
                    <a:pt x="169" y="348"/>
                  </a:lnTo>
                  <a:lnTo>
                    <a:pt x="171" y="364"/>
                  </a:lnTo>
                  <a:lnTo>
                    <a:pt x="175" y="380"/>
                  </a:lnTo>
                  <a:lnTo>
                    <a:pt x="182" y="394"/>
                  </a:lnTo>
                  <a:lnTo>
                    <a:pt x="194" y="407"/>
                  </a:lnTo>
                  <a:lnTo>
                    <a:pt x="210" y="421"/>
                  </a:lnTo>
                  <a:lnTo>
                    <a:pt x="231" y="434"/>
                  </a:lnTo>
                  <a:lnTo>
                    <a:pt x="256" y="447"/>
                  </a:lnTo>
                  <a:lnTo>
                    <a:pt x="286" y="462"/>
                  </a:lnTo>
                  <a:lnTo>
                    <a:pt x="324" y="476"/>
                  </a:lnTo>
                  <a:lnTo>
                    <a:pt x="372" y="498"/>
                  </a:lnTo>
                  <a:lnTo>
                    <a:pt x="414" y="521"/>
                  </a:lnTo>
                  <a:lnTo>
                    <a:pt x="450" y="545"/>
                  </a:lnTo>
                  <a:lnTo>
                    <a:pt x="480" y="570"/>
                  </a:lnTo>
                  <a:lnTo>
                    <a:pt x="505" y="599"/>
                  </a:lnTo>
                  <a:lnTo>
                    <a:pt x="523" y="629"/>
                  </a:lnTo>
                  <a:lnTo>
                    <a:pt x="536" y="662"/>
                  </a:lnTo>
                  <a:lnTo>
                    <a:pt x="543" y="697"/>
                  </a:lnTo>
                  <a:lnTo>
                    <a:pt x="546" y="735"/>
                  </a:lnTo>
                  <a:lnTo>
                    <a:pt x="543" y="774"/>
                  </a:lnTo>
                  <a:lnTo>
                    <a:pt x="535" y="810"/>
                  </a:lnTo>
                  <a:lnTo>
                    <a:pt x="522" y="843"/>
                  </a:lnTo>
                  <a:lnTo>
                    <a:pt x="502" y="874"/>
                  </a:lnTo>
                  <a:lnTo>
                    <a:pt x="478" y="902"/>
                  </a:lnTo>
                  <a:lnTo>
                    <a:pt x="450" y="926"/>
                  </a:lnTo>
                  <a:lnTo>
                    <a:pt x="418" y="946"/>
                  </a:lnTo>
                  <a:lnTo>
                    <a:pt x="380" y="962"/>
                  </a:lnTo>
                  <a:lnTo>
                    <a:pt x="340" y="974"/>
                  </a:lnTo>
                  <a:lnTo>
                    <a:pt x="339" y="974"/>
                  </a:lnTo>
                  <a:lnTo>
                    <a:pt x="338" y="975"/>
                  </a:lnTo>
                  <a:lnTo>
                    <a:pt x="336" y="977"/>
                  </a:lnTo>
                  <a:lnTo>
                    <a:pt x="334" y="978"/>
                  </a:lnTo>
                  <a:lnTo>
                    <a:pt x="333" y="980"/>
                  </a:lnTo>
                  <a:lnTo>
                    <a:pt x="333" y="984"/>
                  </a:lnTo>
                  <a:lnTo>
                    <a:pt x="333" y="1072"/>
                  </a:lnTo>
                  <a:lnTo>
                    <a:pt x="330" y="1089"/>
                  </a:lnTo>
                  <a:lnTo>
                    <a:pt x="320" y="1103"/>
                  </a:lnTo>
                  <a:lnTo>
                    <a:pt x="305" y="1113"/>
                  </a:lnTo>
                  <a:lnTo>
                    <a:pt x="289" y="1115"/>
                  </a:lnTo>
                  <a:lnTo>
                    <a:pt x="247" y="1115"/>
                  </a:lnTo>
                  <a:lnTo>
                    <a:pt x="231" y="1113"/>
                  </a:lnTo>
                  <a:lnTo>
                    <a:pt x="216" y="1103"/>
                  </a:lnTo>
                  <a:lnTo>
                    <a:pt x="206" y="1089"/>
                  </a:lnTo>
                  <a:lnTo>
                    <a:pt x="203" y="1072"/>
                  </a:lnTo>
                  <a:lnTo>
                    <a:pt x="203" y="989"/>
                  </a:lnTo>
                  <a:lnTo>
                    <a:pt x="203" y="985"/>
                  </a:lnTo>
                  <a:lnTo>
                    <a:pt x="202" y="983"/>
                  </a:lnTo>
                  <a:lnTo>
                    <a:pt x="199" y="981"/>
                  </a:lnTo>
                  <a:lnTo>
                    <a:pt x="198" y="980"/>
                  </a:lnTo>
                  <a:lnTo>
                    <a:pt x="196" y="979"/>
                  </a:lnTo>
                  <a:lnTo>
                    <a:pt x="194" y="979"/>
                  </a:lnTo>
                  <a:lnTo>
                    <a:pt x="190" y="979"/>
                  </a:lnTo>
                  <a:lnTo>
                    <a:pt x="177" y="977"/>
                  </a:lnTo>
                  <a:lnTo>
                    <a:pt x="161" y="973"/>
                  </a:lnTo>
                  <a:lnTo>
                    <a:pt x="139" y="968"/>
                  </a:lnTo>
                  <a:lnTo>
                    <a:pt x="115" y="963"/>
                  </a:lnTo>
                  <a:lnTo>
                    <a:pt x="91" y="956"/>
                  </a:lnTo>
                  <a:lnTo>
                    <a:pt x="65" y="949"/>
                  </a:lnTo>
                  <a:lnTo>
                    <a:pt x="41" y="940"/>
                  </a:lnTo>
                  <a:lnTo>
                    <a:pt x="21" y="931"/>
                  </a:lnTo>
                  <a:lnTo>
                    <a:pt x="11" y="923"/>
                  </a:lnTo>
                  <a:lnTo>
                    <a:pt x="2" y="913"/>
                  </a:lnTo>
                  <a:lnTo>
                    <a:pt x="0" y="901"/>
                  </a:lnTo>
                  <a:lnTo>
                    <a:pt x="2" y="886"/>
                  </a:lnTo>
                  <a:lnTo>
                    <a:pt x="23" y="829"/>
                  </a:lnTo>
                  <a:lnTo>
                    <a:pt x="29" y="819"/>
                  </a:lnTo>
                  <a:lnTo>
                    <a:pt x="39" y="810"/>
                  </a:lnTo>
                  <a:lnTo>
                    <a:pt x="49" y="804"/>
                  </a:lnTo>
                  <a:lnTo>
                    <a:pt x="63" y="802"/>
                  </a:lnTo>
                  <a:lnTo>
                    <a:pt x="69" y="803"/>
                  </a:lnTo>
                  <a:lnTo>
                    <a:pt x="75" y="804"/>
                  </a:lnTo>
                  <a:lnTo>
                    <a:pt x="81" y="806"/>
                  </a:lnTo>
                  <a:lnTo>
                    <a:pt x="85" y="808"/>
                  </a:lnTo>
                  <a:lnTo>
                    <a:pt x="92" y="811"/>
                  </a:lnTo>
                  <a:lnTo>
                    <a:pt x="104" y="816"/>
                  </a:lnTo>
                  <a:lnTo>
                    <a:pt x="120" y="822"/>
                  </a:lnTo>
                  <a:lnTo>
                    <a:pt x="138" y="828"/>
                  </a:lnTo>
                  <a:lnTo>
                    <a:pt x="158" y="835"/>
                  </a:lnTo>
                  <a:lnTo>
                    <a:pt x="180" y="841"/>
                  </a:lnTo>
                  <a:lnTo>
                    <a:pt x="202" y="846"/>
                  </a:lnTo>
                  <a:lnTo>
                    <a:pt x="225" y="850"/>
                  </a:lnTo>
                  <a:lnTo>
                    <a:pt x="245" y="851"/>
                  </a:lnTo>
                  <a:lnTo>
                    <a:pt x="279" y="849"/>
                  </a:lnTo>
                  <a:lnTo>
                    <a:pt x="309" y="840"/>
                  </a:lnTo>
                  <a:lnTo>
                    <a:pt x="334" y="828"/>
                  </a:lnTo>
                  <a:lnTo>
                    <a:pt x="355" y="813"/>
                  </a:lnTo>
                  <a:lnTo>
                    <a:pt x="371" y="793"/>
                  </a:lnTo>
                  <a:lnTo>
                    <a:pt x="380" y="770"/>
                  </a:lnTo>
                  <a:lnTo>
                    <a:pt x="384" y="745"/>
                  </a:lnTo>
                  <a:lnTo>
                    <a:pt x="381" y="721"/>
                  </a:lnTo>
                  <a:lnTo>
                    <a:pt x="373" y="700"/>
                  </a:lnTo>
                  <a:lnTo>
                    <a:pt x="360" y="680"/>
                  </a:lnTo>
                  <a:lnTo>
                    <a:pt x="342" y="662"/>
                  </a:lnTo>
                  <a:lnTo>
                    <a:pt x="316" y="644"/>
                  </a:lnTo>
                  <a:lnTo>
                    <a:pt x="284" y="627"/>
                  </a:lnTo>
                  <a:lnTo>
                    <a:pt x="245" y="610"/>
                  </a:lnTo>
                  <a:lnTo>
                    <a:pt x="212" y="597"/>
                  </a:lnTo>
                  <a:lnTo>
                    <a:pt x="180" y="582"/>
                  </a:lnTo>
                  <a:lnTo>
                    <a:pt x="148" y="566"/>
                  </a:lnTo>
                  <a:lnTo>
                    <a:pt x="120" y="550"/>
                  </a:lnTo>
                  <a:lnTo>
                    <a:pt x="93" y="532"/>
                  </a:lnTo>
                  <a:lnTo>
                    <a:pt x="69" y="510"/>
                  </a:lnTo>
                  <a:lnTo>
                    <a:pt x="48" y="487"/>
                  </a:lnTo>
                  <a:lnTo>
                    <a:pt x="31" y="460"/>
                  </a:lnTo>
                  <a:lnTo>
                    <a:pt x="19" y="431"/>
                  </a:lnTo>
                  <a:lnTo>
                    <a:pt x="11" y="399"/>
                  </a:lnTo>
                  <a:lnTo>
                    <a:pt x="8" y="364"/>
                  </a:lnTo>
                  <a:lnTo>
                    <a:pt x="11" y="328"/>
                  </a:lnTo>
                  <a:lnTo>
                    <a:pt x="19" y="294"/>
                  </a:lnTo>
                  <a:lnTo>
                    <a:pt x="33" y="263"/>
                  </a:lnTo>
                  <a:lnTo>
                    <a:pt x="51" y="234"/>
                  </a:lnTo>
                  <a:lnTo>
                    <a:pt x="72" y="207"/>
                  </a:lnTo>
                  <a:lnTo>
                    <a:pt x="99" y="184"/>
                  </a:lnTo>
                  <a:lnTo>
                    <a:pt x="130" y="165"/>
                  </a:lnTo>
                  <a:lnTo>
                    <a:pt x="164" y="149"/>
                  </a:lnTo>
                  <a:lnTo>
                    <a:pt x="203" y="137"/>
                  </a:lnTo>
                  <a:lnTo>
                    <a:pt x="204" y="137"/>
                  </a:lnTo>
                  <a:lnTo>
                    <a:pt x="206" y="136"/>
                  </a:lnTo>
                  <a:lnTo>
                    <a:pt x="209" y="135"/>
                  </a:lnTo>
                  <a:lnTo>
                    <a:pt x="210" y="132"/>
                  </a:lnTo>
                  <a:lnTo>
                    <a:pt x="212" y="130"/>
                  </a:lnTo>
                  <a:lnTo>
                    <a:pt x="212" y="128"/>
                  </a:lnTo>
                  <a:lnTo>
                    <a:pt x="212" y="43"/>
                  </a:lnTo>
                  <a:lnTo>
                    <a:pt x="216" y="26"/>
                  </a:lnTo>
                  <a:lnTo>
                    <a:pt x="226" y="12"/>
                  </a:lnTo>
                  <a:lnTo>
                    <a:pt x="240" y="3"/>
                  </a:lnTo>
                  <a:lnTo>
                    <a:pt x="257" y="0"/>
                  </a:lnTo>
                  <a:close/>
                </a:path>
              </a:pathLst>
            </a:custGeom>
            <a:solidFill>
              <a:schemeClr val="lt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prstClr val="black"/>
                </a:solidFill>
                <a:effectLst/>
                <a:uLnTx/>
                <a:uFillTx/>
                <a:latin typeface="Arial"/>
                <a:ea typeface="Arial"/>
                <a:cs typeface="Arial"/>
                <a:sym typeface="Arial"/>
              </a:endParaRPr>
            </a:p>
          </p:txBody>
        </p:sp>
        <p:sp>
          <p:nvSpPr>
            <p:cNvPr id="168" name="Google Shape;168;p22"/>
            <p:cNvSpPr/>
            <p:nvPr/>
          </p:nvSpPr>
          <p:spPr>
            <a:xfrm>
              <a:off x="9567863" y="4164013"/>
              <a:ext cx="1114425" cy="1114425"/>
            </a:xfrm>
            <a:custGeom>
              <a:avLst/>
              <a:gdLst/>
              <a:ahLst/>
              <a:cxnLst/>
              <a:rect l="l" t="t" r="r" b="b"/>
              <a:pathLst>
                <a:path w="2106" h="2105" extrusionOk="0">
                  <a:moveTo>
                    <a:pt x="1053" y="245"/>
                  </a:moveTo>
                  <a:lnTo>
                    <a:pt x="974" y="249"/>
                  </a:lnTo>
                  <a:lnTo>
                    <a:pt x="900" y="259"/>
                  </a:lnTo>
                  <a:lnTo>
                    <a:pt x="826" y="276"/>
                  </a:lnTo>
                  <a:lnTo>
                    <a:pt x="755" y="301"/>
                  </a:lnTo>
                  <a:lnTo>
                    <a:pt x="688" y="332"/>
                  </a:lnTo>
                  <a:lnTo>
                    <a:pt x="623" y="368"/>
                  </a:lnTo>
                  <a:lnTo>
                    <a:pt x="564" y="409"/>
                  </a:lnTo>
                  <a:lnTo>
                    <a:pt x="507" y="456"/>
                  </a:lnTo>
                  <a:lnTo>
                    <a:pt x="455" y="508"/>
                  </a:lnTo>
                  <a:lnTo>
                    <a:pt x="409" y="563"/>
                  </a:lnTo>
                  <a:lnTo>
                    <a:pt x="367" y="624"/>
                  </a:lnTo>
                  <a:lnTo>
                    <a:pt x="331" y="688"/>
                  </a:lnTo>
                  <a:lnTo>
                    <a:pt x="301" y="755"/>
                  </a:lnTo>
                  <a:lnTo>
                    <a:pt x="277" y="825"/>
                  </a:lnTo>
                  <a:lnTo>
                    <a:pt x="258" y="899"/>
                  </a:lnTo>
                  <a:lnTo>
                    <a:pt x="248" y="975"/>
                  </a:lnTo>
                  <a:lnTo>
                    <a:pt x="244" y="1053"/>
                  </a:lnTo>
                  <a:lnTo>
                    <a:pt x="248" y="1130"/>
                  </a:lnTo>
                  <a:lnTo>
                    <a:pt x="258" y="1206"/>
                  </a:lnTo>
                  <a:lnTo>
                    <a:pt x="277" y="1280"/>
                  </a:lnTo>
                  <a:lnTo>
                    <a:pt x="301" y="1350"/>
                  </a:lnTo>
                  <a:lnTo>
                    <a:pt x="331" y="1417"/>
                  </a:lnTo>
                  <a:lnTo>
                    <a:pt x="367" y="1481"/>
                  </a:lnTo>
                  <a:lnTo>
                    <a:pt x="409" y="1541"/>
                  </a:lnTo>
                  <a:lnTo>
                    <a:pt x="455" y="1597"/>
                  </a:lnTo>
                  <a:lnTo>
                    <a:pt x="507" y="1649"/>
                  </a:lnTo>
                  <a:lnTo>
                    <a:pt x="564" y="1696"/>
                  </a:lnTo>
                  <a:lnTo>
                    <a:pt x="623" y="1738"/>
                  </a:lnTo>
                  <a:lnTo>
                    <a:pt x="688" y="1774"/>
                  </a:lnTo>
                  <a:lnTo>
                    <a:pt x="755" y="1804"/>
                  </a:lnTo>
                  <a:lnTo>
                    <a:pt x="826" y="1829"/>
                  </a:lnTo>
                  <a:lnTo>
                    <a:pt x="900" y="1845"/>
                  </a:lnTo>
                  <a:lnTo>
                    <a:pt x="974" y="1856"/>
                  </a:lnTo>
                  <a:lnTo>
                    <a:pt x="1053" y="1861"/>
                  </a:lnTo>
                  <a:lnTo>
                    <a:pt x="1131" y="1856"/>
                  </a:lnTo>
                  <a:lnTo>
                    <a:pt x="1206" y="1845"/>
                  </a:lnTo>
                  <a:lnTo>
                    <a:pt x="1280" y="1829"/>
                  </a:lnTo>
                  <a:lnTo>
                    <a:pt x="1351" y="1804"/>
                  </a:lnTo>
                  <a:lnTo>
                    <a:pt x="1417" y="1774"/>
                  </a:lnTo>
                  <a:lnTo>
                    <a:pt x="1483" y="1738"/>
                  </a:lnTo>
                  <a:lnTo>
                    <a:pt x="1542" y="1696"/>
                  </a:lnTo>
                  <a:lnTo>
                    <a:pt x="1599" y="1649"/>
                  </a:lnTo>
                  <a:lnTo>
                    <a:pt x="1650" y="1597"/>
                  </a:lnTo>
                  <a:lnTo>
                    <a:pt x="1696" y="1541"/>
                  </a:lnTo>
                  <a:lnTo>
                    <a:pt x="1739" y="1481"/>
                  </a:lnTo>
                  <a:lnTo>
                    <a:pt x="1775" y="1417"/>
                  </a:lnTo>
                  <a:lnTo>
                    <a:pt x="1805" y="1350"/>
                  </a:lnTo>
                  <a:lnTo>
                    <a:pt x="1829" y="1280"/>
                  </a:lnTo>
                  <a:lnTo>
                    <a:pt x="1847" y="1206"/>
                  </a:lnTo>
                  <a:lnTo>
                    <a:pt x="1858" y="1130"/>
                  </a:lnTo>
                  <a:lnTo>
                    <a:pt x="1862" y="1053"/>
                  </a:lnTo>
                  <a:lnTo>
                    <a:pt x="1858" y="975"/>
                  </a:lnTo>
                  <a:lnTo>
                    <a:pt x="1847" y="899"/>
                  </a:lnTo>
                  <a:lnTo>
                    <a:pt x="1829" y="825"/>
                  </a:lnTo>
                  <a:lnTo>
                    <a:pt x="1805" y="755"/>
                  </a:lnTo>
                  <a:lnTo>
                    <a:pt x="1775" y="688"/>
                  </a:lnTo>
                  <a:lnTo>
                    <a:pt x="1739" y="624"/>
                  </a:lnTo>
                  <a:lnTo>
                    <a:pt x="1696" y="563"/>
                  </a:lnTo>
                  <a:lnTo>
                    <a:pt x="1650" y="508"/>
                  </a:lnTo>
                  <a:lnTo>
                    <a:pt x="1599" y="456"/>
                  </a:lnTo>
                  <a:lnTo>
                    <a:pt x="1542" y="409"/>
                  </a:lnTo>
                  <a:lnTo>
                    <a:pt x="1483" y="368"/>
                  </a:lnTo>
                  <a:lnTo>
                    <a:pt x="1417" y="332"/>
                  </a:lnTo>
                  <a:lnTo>
                    <a:pt x="1351" y="301"/>
                  </a:lnTo>
                  <a:lnTo>
                    <a:pt x="1280" y="276"/>
                  </a:lnTo>
                  <a:lnTo>
                    <a:pt x="1206" y="259"/>
                  </a:lnTo>
                  <a:lnTo>
                    <a:pt x="1131" y="249"/>
                  </a:lnTo>
                  <a:lnTo>
                    <a:pt x="1053" y="245"/>
                  </a:lnTo>
                  <a:close/>
                  <a:moveTo>
                    <a:pt x="1053" y="0"/>
                  </a:moveTo>
                  <a:lnTo>
                    <a:pt x="1140" y="4"/>
                  </a:lnTo>
                  <a:lnTo>
                    <a:pt x="1223" y="15"/>
                  </a:lnTo>
                  <a:lnTo>
                    <a:pt x="1306" y="32"/>
                  </a:lnTo>
                  <a:lnTo>
                    <a:pt x="1386" y="54"/>
                  </a:lnTo>
                  <a:lnTo>
                    <a:pt x="1462" y="83"/>
                  </a:lnTo>
                  <a:lnTo>
                    <a:pt x="1537" y="118"/>
                  </a:lnTo>
                  <a:lnTo>
                    <a:pt x="1607" y="158"/>
                  </a:lnTo>
                  <a:lnTo>
                    <a:pt x="1675" y="204"/>
                  </a:lnTo>
                  <a:lnTo>
                    <a:pt x="1739" y="253"/>
                  </a:lnTo>
                  <a:lnTo>
                    <a:pt x="1798" y="309"/>
                  </a:lnTo>
                  <a:lnTo>
                    <a:pt x="1852" y="368"/>
                  </a:lnTo>
                  <a:lnTo>
                    <a:pt x="1903" y="431"/>
                  </a:lnTo>
                  <a:lnTo>
                    <a:pt x="1947" y="498"/>
                  </a:lnTo>
                  <a:lnTo>
                    <a:pt x="1988" y="569"/>
                  </a:lnTo>
                  <a:lnTo>
                    <a:pt x="2023" y="643"/>
                  </a:lnTo>
                  <a:lnTo>
                    <a:pt x="2052" y="720"/>
                  </a:lnTo>
                  <a:lnTo>
                    <a:pt x="2075" y="800"/>
                  </a:lnTo>
                  <a:lnTo>
                    <a:pt x="2092" y="882"/>
                  </a:lnTo>
                  <a:lnTo>
                    <a:pt x="2102" y="966"/>
                  </a:lnTo>
                  <a:lnTo>
                    <a:pt x="2106" y="1053"/>
                  </a:lnTo>
                  <a:lnTo>
                    <a:pt x="2102" y="1139"/>
                  </a:lnTo>
                  <a:lnTo>
                    <a:pt x="2092" y="1223"/>
                  </a:lnTo>
                  <a:lnTo>
                    <a:pt x="2075" y="1305"/>
                  </a:lnTo>
                  <a:lnTo>
                    <a:pt x="2052" y="1385"/>
                  </a:lnTo>
                  <a:lnTo>
                    <a:pt x="2023" y="1462"/>
                  </a:lnTo>
                  <a:lnTo>
                    <a:pt x="1988" y="1535"/>
                  </a:lnTo>
                  <a:lnTo>
                    <a:pt x="1947" y="1607"/>
                  </a:lnTo>
                  <a:lnTo>
                    <a:pt x="1903" y="1674"/>
                  </a:lnTo>
                  <a:lnTo>
                    <a:pt x="1852" y="1737"/>
                  </a:lnTo>
                  <a:lnTo>
                    <a:pt x="1798" y="1796"/>
                  </a:lnTo>
                  <a:lnTo>
                    <a:pt x="1739" y="1851"/>
                  </a:lnTo>
                  <a:lnTo>
                    <a:pt x="1675" y="1901"/>
                  </a:lnTo>
                  <a:lnTo>
                    <a:pt x="1607" y="1947"/>
                  </a:lnTo>
                  <a:lnTo>
                    <a:pt x="1537" y="1987"/>
                  </a:lnTo>
                  <a:lnTo>
                    <a:pt x="1462" y="2021"/>
                  </a:lnTo>
                  <a:lnTo>
                    <a:pt x="1386" y="2050"/>
                  </a:lnTo>
                  <a:lnTo>
                    <a:pt x="1306" y="2073"/>
                  </a:lnTo>
                  <a:lnTo>
                    <a:pt x="1223" y="2090"/>
                  </a:lnTo>
                  <a:lnTo>
                    <a:pt x="1140" y="2101"/>
                  </a:lnTo>
                  <a:lnTo>
                    <a:pt x="1053" y="2105"/>
                  </a:lnTo>
                  <a:lnTo>
                    <a:pt x="966" y="2101"/>
                  </a:lnTo>
                  <a:lnTo>
                    <a:pt x="883" y="2090"/>
                  </a:lnTo>
                  <a:lnTo>
                    <a:pt x="799" y="2073"/>
                  </a:lnTo>
                  <a:lnTo>
                    <a:pt x="720" y="2050"/>
                  </a:lnTo>
                  <a:lnTo>
                    <a:pt x="644" y="2021"/>
                  </a:lnTo>
                  <a:lnTo>
                    <a:pt x="569" y="1987"/>
                  </a:lnTo>
                  <a:lnTo>
                    <a:pt x="499" y="1947"/>
                  </a:lnTo>
                  <a:lnTo>
                    <a:pt x="431" y="1901"/>
                  </a:lnTo>
                  <a:lnTo>
                    <a:pt x="367" y="1851"/>
                  </a:lnTo>
                  <a:lnTo>
                    <a:pt x="308" y="1796"/>
                  </a:lnTo>
                  <a:lnTo>
                    <a:pt x="254" y="1737"/>
                  </a:lnTo>
                  <a:lnTo>
                    <a:pt x="203" y="1674"/>
                  </a:lnTo>
                  <a:lnTo>
                    <a:pt x="158" y="1607"/>
                  </a:lnTo>
                  <a:lnTo>
                    <a:pt x="117" y="1535"/>
                  </a:lnTo>
                  <a:lnTo>
                    <a:pt x="82" y="1462"/>
                  </a:lnTo>
                  <a:lnTo>
                    <a:pt x="53" y="1385"/>
                  </a:lnTo>
                  <a:lnTo>
                    <a:pt x="30" y="1305"/>
                  </a:lnTo>
                  <a:lnTo>
                    <a:pt x="13" y="1223"/>
                  </a:lnTo>
                  <a:lnTo>
                    <a:pt x="4" y="1139"/>
                  </a:lnTo>
                  <a:lnTo>
                    <a:pt x="0" y="1053"/>
                  </a:lnTo>
                  <a:lnTo>
                    <a:pt x="4" y="966"/>
                  </a:lnTo>
                  <a:lnTo>
                    <a:pt x="13" y="882"/>
                  </a:lnTo>
                  <a:lnTo>
                    <a:pt x="30" y="800"/>
                  </a:lnTo>
                  <a:lnTo>
                    <a:pt x="53" y="720"/>
                  </a:lnTo>
                  <a:lnTo>
                    <a:pt x="82" y="643"/>
                  </a:lnTo>
                  <a:lnTo>
                    <a:pt x="117" y="569"/>
                  </a:lnTo>
                  <a:lnTo>
                    <a:pt x="158" y="498"/>
                  </a:lnTo>
                  <a:lnTo>
                    <a:pt x="203" y="431"/>
                  </a:lnTo>
                  <a:lnTo>
                    <a:pt x="254" y="368"/>
                  </a:lnTo>
                  <a:lnTo>
                    <a:pt x="308" y="309"/>
                  </a:lnTo>
                  <a:lnTo>
                    <a:pt x="367" y="253"/>
                  </a:lnTo>
                  <a:lnTo>
                    <a:pt x="431" y="204"/>
                  </a:lnTo>
                  <a:lnTo>
                    <a:pt x="499" y="158"/>
                  </a:lnTo>
                  <a:lnTo>
                    <a:pt x="569" y="118"/>
                  </a:lnTo>
                  <a:lnTo>
                    <a:pt x="644" y="83"/>
                  </a:lnTo>
                  <a:lnTo>
                    <a:pt x="720" y="54"/>
                  </a:lnTo>
                  <a:lnTo>
                    <a:pt x="799" y="32"/>
                  </a:lnTo>
                  <a:lnTo>
                    <a:pt x="883" y="15"/>
                  </a:lnTo>
                  <a:lnTo>
                    <a:pt x="966" y="4"/>
                  </a:lnTo>
                  <a:lnTo>
                    <a:pt x="1053" y="0"/>
                  </a:lnTo>
                  <a:close/>
                </a:path>
              </a:pathLst>
            </a:custGeom>
            <a:solidFill>
              <a:schemeClr val="lt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prstClr val="black"/>
                </a:solidFill>
                <a:effectLst/>
                <a:uLnTx/>
                <a:uFillTx/>
                <a:latin typeface="Arial"/>
                <a:ea typeface="Arial"/>
                <a:cs typeface="Arial"/>
                <a:sym typeface="Arial"/>
              </a:endParaRPr>
            </a:p>
          </p:txBody>
        </p:sp>
        <p:sp>
          <p:nvSpPr>
            <p:cNvPr id="169" name="Google Shape;169;p22"/>
            <p:cNvSpPr/>
            <p:nvPr/>
          </p:nvSpPr>
          <p:spPr>
            <a:xfrm>
              <a:off x="9155113" y="5330825"/>
              <a:ext cx="1525588" cy="671512"/>
            </a:xfrm>
            <a:custGeom>
              <a:avLst/>
              <a:gdLst/>
              <a:ahLst/>
              <a:cxnLst/>
              <a:rect l="l" t="t" r="r" b="b"/>
              <a:pathLst>
                <a:path w="2885" h="1269" extrusionOk="0">
                  <a:moveTo>
                    <a:pt x="778" y="0"/>
                  </a:moveTo>
                  <a:lnTo>
                    <a:pt x="820" y="2"/>
                  </a:lnTo>
                  <a:lnTo>
                    <a:pt x="864" y="8"/>
                  </a:lnTo>
                  <a:lnTo>
                    <a:pt x="912" y="15"/>
                  </a:lnTo>
                  <a:lnTo>
                    <a:pt x="964" y="25"/>
                  </a:lnTo>
                  <a:lnTo>
                    <a:pt x="1019" y="37"/>
                  </a:lnTo>
                  <a:lnTo>
                    <a:pt x="1075" y="50"/>
                  </a:lnTo>
                  <a:lnTo>
                    <a:pt x="1133" y="65"/>
                  </a:lnTo>
                  <a:lnTo>
                    <a:pt x="1193" y="81"/>
                  </a:lnTo>
                  <a:lnTo>
                    <a:pt x="1253" y="97"/>
                  </a:lnTo>
                  <a:lnTo>
                    <a:pt x="1312" y="114"/>
                  </a:lnTo>
                  <a:lnTo>
                    <a:pt x="1371" y="131"/>
                  </a:lnTo>
                  <a:lnTo>
                    <a:pt x="1429" y="149"/>
                  </a:lnTo>
                  <a:lnTo>
                    <a:pt x="1486" y="167"/>
                  </a:lnTo>
                  <a:lnTo>
                    <a:pt x="1540" y="184"/>
                  </a:lnTo>
                  <a:lnTo>
                    <a:pt x="1592" y="201"/>
                  </a:lnTo>
                  <a:lnTo>
                    <a:pt x="1640" y="217"/>
                  </a:lnTo>
                  <a:lnTo>
                    <a:pt x="1685" y="231"/>
                  </a:lnTo>
                  <a:lnTo>
                    <a:pt x="1726" y="243"/>
                  </a:lnTo>
                  <a:lnTo>
                    <a:pt x="1762" y="255"/>
                  </a:lnTo>
                  <a:lnTo>
                    <a:pt x="1793" y="264"/>
                  </a:lnTo>
                  <a:lnTo>
                    <a:pt x="1818" y="271"/>
                  </a:lnTo>
                  <a:lnTo>
                    <a:pt x="1837" y="276"/>
                  </a:lnTo>
                  <a:lnTo>
                    <a:pt x="1857" y="283"/>
                  </a:lnTo>
                  <a:lnTo>
                    <a:pt x="1875" y="294"/>
                  </a:lnTo>
                  <a:lnTo>
                    <a:pt x="1890" y="307"/>
                  </a:lnTo>
                  <a:lnTo>
                    <a:pt x="1904" y="323"/>
                  </a:lnTo>
                  <a:lnTo>
                    <a:pt x="1915" y="341"/>
                  </a:lnTo>
                  <a:lnTo>
                    <a:pt x="1921" y="360"/>
                  </a:lnTo>
                  <a:lnTo>
                    <a:pt x="1925" y="382"/>
                  </a:lnTo>
                  <a:lnTo>
                    <a:pt x="1925" y="404"/>
                  </a:lnTo>
                  <a:lnTo>
                    <a:pt x="1922" y="426"/>
                  </a:lnTo>
                  <a:lnTo>
                    <a:pt x="1913" y="448"/>
                  </a:lnTo>
                  <a:lnTo>
                    <a:pt x="1902" y="470"/>
                  </a:lnTo>
                  <a:lnTo>
                    <a:pt x="1886" y="491"/>
                  </a:lnTo>
                  <a:lnTo>
                    <a:pt x="1865" y="510"/>
                  </a:lnTo>
                  <a:lnTo>
                    <a:pt x="1838" y="527"/>
                  </a:lnTo>
                  <a:lnTo>
                    <a:pt x="1807" y="541"/>
                  </a:lnTo>
                  <a:lnTo>
                    <a:pt x="1771" y="553"/>
                  </a:lnTo>
                  <a:lnTo>
                    <a:pt x="1731" y="562"/>
                  </a:lnTo>
                  <a:lnTo>
                    <a:pt x="1689" y="568"/>
                  </a:lnTo>
                  <a:lnTo>
                    <a:pt x="1645" y="571"/>
                  </a:lnTo>
                  <a:lnTo>
                    <a:pt x="1601" y="573"/>
                  </a:lnTo>
                  <a:lnTo>
                    <a:pt x="1555" y="571"/>
                  </a:lnTo>
                  <a:lnTo>
                    <a:pt x="1509" y="569"/>
                  </a:lnTo>
                  <a:lnTo>
                    <a:pt x="1462" y="565"/>
                  </a:lnTo>
                  <a:lnTo>
                    <a:pt x="1417" y="559"/>
                  </a:lnTo>
                  <a:lnTo>
                    <a:pt x="1372" y="553"/>
                  </a:lnTo>
                  <a:lnTo>
                    <a:pt x="1328" y="546"/>
                  </a:lnTo>
                  <a:lnTo>
                    <a:pt x="1287" y="539"/>
                  </a:lnTo>
                  <a:lnTo>
                    <a:pt x="1247" y="532"/>
                  </a:lnTo>
                  <a:lnTo>
                    <a:pt x="1209" y="526"/>
                  </a:lnTo>
                  <a:lnTo>
                    <a:pt x="1174" y="518"/>
                  </a:lnTo>
                  <a:lnTo>
                    <a:pt x="1143" y="514"/>
                  </a:lnTo>
                  <a:lnTo>
                    <a:pt x="1115" y="509"/>
                  </a:lnTo>
                  <a:lnTo>
                    <a:pt x="1092" y="505"/>
                  </a:lnTo>
                  <a:lnTo>
                    <a:pt x="1073" y="504"/>
                  </a:lnTo>
                  <a:lnTo>
                    <a:pt x="1060" y="504"/>
                  </a:lnTo>
                  <a:lnTo>
                    <a:pt x="1050" y="508"/>
                  </a:lnTo>
                  <a:lnTo>
                    <a:pt x="1048" y="512"/>
                  </a:lnTo>
                  <a:lnTo>
                    <a:pt x="1051" y="532"/>
                  </a:lnTo>
                  <a:lnTo>
                    <a:pt x="1063" y="550"/>
                  </a:lnTo>
                  <a:lnTo>
                    <a:pt x="1083" y="568"/>
                  </a:lnTo>
                  <a:lnTo>
                    <a:pt x="1109" y="586"/>
                  </a:lnTo>
                  <a:lnTo>
                    <a:pt x="1141" y="603"/>
                  </a:lnTo>
                  <a:lnTo>
                    <a:pt x="1178" y="618"/>
                  </a:lnTo>
                  <a:lnTo>
                    <a:pt x="1219" y="633"/>
                  </a:lnTo>
                  <a:lnTo>
                    <a:pt x="1265" y="647"/>
                  </a:lnTo>
                  <a:lnTo>
                    <a:pt x="1313" y="659"/>
                  </a:lnTo>
                  <a:lnTo>
                    <a:pt x="1365" y="670"/>
                  </a:lnTo>
                  <a:lnTo>
                    <a:pt x="1418" y="680"/>
                  </a:lnTo>
                  <a:lnTo>
                    <a:pt x="1473" y="688"/>
                  </a:lnTo>
                  <a:lnTo>
                    <a:pt x="1528" y="696"/>
                  </a:lnTo>
                  <a:lnTo>
                    <a:pt x="1583" y="700"/>
                  </a:lnTo>
                  <a:lnTo>
                    <a:pt x="1637" y="703"/>
                  </a:lnTo>
                  <a:lnTo>
                    <a:pt x="1690" y="704"/>
                  </a:lnTo>
                  <a:lnTo>
                    <a:pt x="1742" y="703"/>
                  </a:lnTo>
                  <a:lnTo>
                    <a:pt x="1790" y="700"/>
                  </a:lnTo>
                  <a:lnTo>
                    <a:pt x="1835" y="694"/>
                  </a:lnTo>
                  <a:lnTo>
                    <a:pt x="1950" y="674"/>
                  </a:lnTo>
                  <a:lnTo>
                    <a:pt x="2064" y="647"/>
                  </a:lnTo>
                  <a:lnTo>
                    <a:pt x="2177" y="616"/>
                  </a:lnTo>
                  <a:lnTo>
                    <a:pt x="2285" y="580"/>
                  </a:lnTo>
                  <a:lnTo>
                    <a:pt x="2391" y="541"/>
                  </a:lnTo>
                  <a:lnTo>
                    <a:pt x="2492" y="499"/>
                  </a:lnTo>
                  <a:lnTo>
                    <a:pt x="2586" y="454"/>
                  </a:lnTo>
                  <a:lnTo>
                    <a:pt x="2674" y="409"/>
                  </a:lnTo>
                  <a:lnTo>
                    <a:pt x="2706" y="394"/>
                  </a:lnTo>
                  <a:lnTo>
                    <a:pt x="2738" y="388"/>
                  </a:lnTo>
                  <a:lnTo>
                    <a:pt x="2767" y="387"/>
                  </a:lnTo>
                  <a:lnTo>
                    <a:pt x="2795" y="393"/>
                  </a:lnTo>
                  <a:lnTo>
                    <a:pt x="2820" y="404"/>
                  </a:lnTo>
                  <a:lnTo>
                    <a:pt x="2842" y="419"/>
                  </a:lnTo>
                  <a:lnTo>
                    <a:pt x="2860" y="440"/>
                  </a:lnTo>
                  <a:lnTo>
                    <a:pt x="2873" y="465"/>
                  </a:lnTo>
                  <a:lnTo>
                    <a:pt x="2882" y="493"/>
                  </a:lnTo>
                  <a:lnTo>
                    <a:pt x="2885" y="523"/>
                  </a:lnTo>
                  <a:lnTo>
                    <a:pt x="2882" y="557"/>
                  </a:lnTo>
                  <a:lnTo>
                    <a:pt x="2871" y="592"/>
                  </a:lnTo>
                  <a:lnTo>
                    <a:pt x="2854" y="628"/>
                  </a:lnTo>
                  <a:lnTo>
                    <a:pt x="2827" y="666"/>
                  </a:lnTo>
                  <a:lnTo>
                    <a:pt x="2793" y="703"/>
                  </a:lnTo>
                  <a:lnTo>
                    <a:pt x="2774" y="720"/>
                  </a:lnTo>
                  <a:lnTo>
                    <a:pt x="2749" y="740"/>
                  </a:lnTo>
                  <a:lnTo>
                    <a:pt x="2720" y="762"/>
                  </a:lnTo>
                  <a:lnTo>
                    <a:pt x="2685" y="786"/>
                  </a:lnTo>
                  <a:lnTo>
                    <a:pt x="2646" y="813"/>
                  </a:lnTo>
                  <a:lnTo>
                    <a:pt x="2604" y="840"/>
                  </a:lnTo>
                  <a:lnTo>
                    <a:pt x="2559" y="871"/>
                  </a:lnTo>
                  <a:lnTo>
                    <a:pt x="2511" y="899"/>
                  </a:lnTo>
                  <a:lnTo>
                    <a:pt x="2460" y="931"/>
                  </a:lnTo>
                  <a:lnTo>
                    <a:pt x="2408" y="962"/>
                  </a:lnTo>
                  <a:lnTo>
                    <a:pt x="2355" y="994"/>
                  </a:lnTo>
                  <a:lnTo>
                    <a:pt x="2301" y="1024"/>
                  </a:lnTo>
                  <a:lnTo>
                    <a:pt x="2245" y="1054"/>
                  </a:lnTo>
                  <a:lnTo>
                    <a:pt x="2191" y="1084"/>
                  </a:lnTo>
                  <a:lnTo>
                    <a:pt x="2137" y="1113"/>
                  </a:lnTo>
                  <a:lnTo>
                    <a:pt x="2085" y="1139"/>
                  </a:lnTo>
                  <a:lnTo>
                    <a:pt x="2033" y="1165"/>
                  </a:lnTo>
                  <a:lnTo>
                    <a:pt x="1983" y="1188"/>
                  </a:lnTo>
                  <a:lnTo>
                    <a:pt x="1936" y="1209"/>
                  </a:lnTo>
                  <a:lnTo>
                    <a:pt x="1893" y="1228"/>
                  </a:lnTo>
                  <a:lnTo>
                    <a:pt x="1852" y="1243"/>
                  </a:lnTo>
                  <a:lnTo>
                    <a:pt x="1816" y="1255"/>
                  </a:lnTo>
                  <a:lnTo>
                    <a:pt x="1783" y="1264"/>
                  </a:lnTo>
                  <a:lnTo>
                    <a:pt x="1761" y="1267"/>
                  </a:lnTo>
                  <a:lnTo>
                    <a:pt x="1733" y="1269"/>
                  </a:lnTo>
                  <a:lnTo>
                    <a:pt x="1698" y="1269"/>
                  </a:lnTo>
                  <a:lnTo>
                    <a:pt x="1657" y="1266"/>
                  </a:lnTo>
                  <a:lnTo>
                    <a:pt x="1611" y="1262"/>
                  </a:lnTo>
                  <a:lnTo>
                    <a:pt x="1560" y="1258"/>
                  </a:lnTo>
                  <a:lnTo>
                    <a:pt x="1504" y="1252"/>
                  </a:lnTo>
                  <a:lnTo>
                    <a:pt x="1445" y="1244"/>
                  </a:lnTo>
                  <a:lnTo>
                    <a:pt x="1382" y="1237"/>
                  </a:lnTo>
                  <a:lnTo>
                    <a:pt x="1317" y="1228"/>
                  </a:lnTo>
                  <a:lnTo>
                    <a:pt x="1249" y="1218"/>
                  </a:lnTo>
                  <a:lnTo>
                    <a:pt x="1179" y="1208"/>
                  </a:lnTo>
                  <a:lnTo>
                    <a:pt x="1109" y="1197"/>
                  </a:lnTo>
                  <a:lnTo>
                    <a:pt x="1039" y="1187"/>
                  </a:lnTo>
                  <a:lnTo>
                    <a:pt x="968" y="1174"/>
                  </a:lnTo>
                  <a:lnTo>
                    <a:pt x="898" y="1164"/>
                  </a:lnTo>
                  <a:lnTo>
                    <a:pt x="829" y="1152"/>
                  </a:lnTo>
                  <a:lnTo>
                    <a:pt x="763" y="1139"/>
                  </a:lnTo>
                  <a:lnTo>
                    <a:pt x="698" y="1129"/>
                  </a:lnTo>
                  <a:lnTo>
                    <a:pt x="636" y="1118"/>
                  </a:lnTo>
                  <a:lnTo>
                    <a:pt x="578" y="1107"/>
                  </a:lnTo>
                  <a:lnTo>
                    <a:pt x="524" y="1097"/>
                  </a:lnTo>
                  <a:lnTo>
                    <a:pt x="474" y="1088"/>
                  </a:lnTo>
                  <a:lnTo>
                    <a:pt x="430" y="1079"/>
                  </a:lnTo>
                  <a:lnTo>
                    <a:pt x="391" y="1072"/>
                  </a:lnTo>
                  <a:lnTo>
                    <a:pt x="358" y="1066"/>
                  </a:lnTo>
                  <a:lnTo>
                    <a:pt x="333" y="1061"/>
                  </a:lnTo>
                  <a:lnTo>
                    <a:pt x="315" y="1056"/>
                  </a:lnTo>
                  <a:lnTo>
                    <a:pt x="282" y="1053"/>
                  </a:lnTo>
                  <a:lnTo>
                    <a:pt x="248" y="1056"/>
                  </a:lnTo>
                  <a:lnTo>
                    <a:pt x="216" y="1065"/>
                  </a:lnTo>
                  <a:lnTo>
                    <a:pt x="185" y="1078"/>
                  </a:lnTo>
                  <a:lnTo>
                    <a:pt x="153" y="1095"/>
                  </a:lnTo>
                  <a:lnTo>
                    <a:pt x="123" y="1114"/>
                  </a:lnTo>
                  <a:lnTo>
                    <a:pt x="94" y="1135"/>
                  </a:lnTo>
                  <a:lnTo>
                    <a:pt x="69" y="1156"/>
                  </a:lnTo>
                  <a:lnTo>
                    <a:pt x="53" y="1167"/>
                  </a:lnTo>
                  <a:lnTo>
                    <a:pt x="40" y="1173"/>
                  </a:lnTo>
                  <a:lnTo>
                    <a:pt x="30" y="1174"/>
                  </a:lnTo>
                  <a:lnTo>
                    <a:pt x="22" y="1172"/>
                  </a:lnTo>
                  <a:lnTo>
                    <a:pt x="14" y="1167"/>
                  </a:lnTo>
                  <a:lnTo>
                    <a:pt x="9" y="1161"/>
                  </a:lnTo>
                  <a:lnTo>
                    <a:pt x="6" y="1153"/>
                  </a:lnTo>
                  <a:lnTo>
                    <a:pt x="2" y="1146"/>
                  </a:lnTo>
                  <a:lnTo>
                    <a:pt x="1" y="1138"/>
                  </a:lnTo>
                  <a:lnTo>
                    <a:pt x="1" y="1132"/>
                  </a:lnTo>
                  <a:lnTo>
                    <a:pt x="0" y="1130"/>
                  </a:lnTo>
                  <a:lnTo>
                    <a:pt x="5" y="1066"/>
                  </a:lnTo>
                  <a:lnTo>
                    <a:pt x="9" y="995"/>
                  </a:lnTo>
                  <a:lnTo>
                    <a:pt x="14" y="919"/>
                  </a:lnTo>
                  <a:lnTo>
                    <a:pt x="19" y="837"/>
                  </a:lnTo>
                  <a:lnTo>
                    <a:pt x="25" y="754"/>
                  </a:lnTo>
                  <a:lnTo>
                    <a:pt x="30" y="668"/>
                  </a:lnTo>
                  <a:lnTo>
                    <a:pt x="36" y="581"/>
                  </a:lnTo>
                  <a:lnTo>
                    <a:pt x="41" y="497"/>
                  </a:lnTo>
                  <a:lnTo>
                    <a:pt x="47" y="413"/>
                  </a:lnTo>
                  <a:lnTo>
                    <a:pt x="52" y="335"/>
                  </a:lnTo>
                  <a:lnTo>
                    <a:pt x="57" y="260"/>
                  </a:lnTo>
                  <a:lnTo>
                    <a:pt x="60" y="193"/>
                  </a:lnTo>
                  <a:lnTo>
                    <a:pt x="65" y="132"/>
                  </a:lnTo>
                  <a:lnTo>
                    <a:pt x="67" y="116"/>
                  </a:lnTo>
                  <a:lnTo>
                    <a:pt x="72" y="102"/>
                  </a:lnTo>
                  <a:lnTo>
                    <a:pt x="81" y="93"/>
                  </a:lnTo>
                  <a:lnTo>
                    <a:pt x="92" y="87"/>
                  </a:lnTo>
                  <a:lnTo>
                    <a:pt x="105" y="82"/>
                  </a:lnTo>
                  <a:lnTo>
                    <a:pt x="119" y="78"/>
                  </a:lnTo>
                  <a:lnTo>
                    <a:pt x="137" y="76"/>
                  </a:lnTo>
                  <a:lnTo>
                    <a:pt x="157" y="72"/>
                  </a:lnTo>
                  <a:lnTo>
                    <a:pt x="197" y="66"/>
                  </a:lnTo>
                  <a:lnTo>
                    <a:pt x="241" y="59"/>
                  </a:lnTo>
                  <a:lnTo>
                    <a:pt x="290" y="52"/>
                  </a:lnTo>
                  <a:lnTo>
                    <a:pt x="341" y="43"/>
                  </a:lnTo>
                  <a:lnTo>
                    <a:pt x="395" y="36"/>
                  </a:lnTo>
                  <a:lnTo>
                    <a:pt x="450" y="29"/>
                  </a:lnTo>
                  <a:lnTo>
                    <a:pt x="504" y="22"/>
                  </a:lnTo>
                  <a:lnTo>
                    <a:pt x="559" y="15"/>
                  </a:lnTo>
                  <a:lnTo>
                    <a:pt x="611" y="9"/>
                  </a:lnTo>
                  <a:lnTo>
                    <a:pt x="659" y="5"/>
                  </a:lnTo>
                  <a:lnTo>
                    <a:pt x="704" y="2"/>
                  </a:lnTo>
                  <a:lnTo>
                    <a:pt x="745" y="0"/>
                  </a:lnTo>
                  <a:lnTo>
                    <a:pt x="778" y="0"/>
                  </a:lnTo>
                  <a:close/>
                </a:path>
              </a:pathLst>
            </a:custGeom>
            <a:solidFill>
              <a:schemeClr val="lt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prstClr val="black"/>
                </a:solidFill>
                <a:effectLst/>
                <a:uLnTx/>
                <a:uFillTx/>
                <a:latin typeface="Arial"/>
                <a:ea typeface="Arial"/>
                <a:cs typeface="Arial"/>
                <a:sym typeface="Arial"/>
              </a:endParaRPr>
            </a:p>
          </p:txBody>
        </p:sp>
        <p:sp>
          <p:nvSpPr>
            <p:cNvPr id="170" name="Google Shape;170;p22"/>
            <p:cNvSpPr/>
            <p:nvPr/>
          </p:nvSpPr>
          <p:spPr>
            <a:xfrm>
              <a:off x="8575675" y="5348288"/>
              <a:ext cx="484188" cy="623887"/>
            </a:xfrm>
            <a:custGeom>
              <a:avLst/>
              <a:gdLst/>
              <a:ahLst/>
              <a:cxnLst/>
              <a:rect l="l" t="t" r="r" b="b"/>
              <a:pathLst>
                <a:path w="915" h="1179" extrusionOk="0">
                  <a:moveTo>
                    <a:pt x="474" y="706"/>
                  </a:moveTo>
                  <a:lnTo>
                    <a:pt x="439" y="709"/>
                  </a:lnTo>
                  <a:lnTo>
                    <a:pt x="408" y="719"/>
                  </a:lnTo>
                  <a:lnTo>
                    <a:pt x="379" y="735"/>
                  </a:lnTo>
                  <a:lnTo>
                    <a:pt x="354" y="755"/>
                  </a:lnTo>
                  <a:lnTo>
                    <a:pt x="333" y="781"/>
                  </a:lnTo>
                  <a:lnTo>
                    <a:pt x="318" y="808"/>
                  </a:lnTo>
                  <a:lnTo>
                    <a:pt x="308" y="841"/>
                  </a:lnTo>
                  <a:lnTo>
                    <a:pt x="304" y="875"/>
                  </a:lnTo>
                  <a:lnTo>
                    <a:pt x="308" y="908"/>
                  </a:lnTo>
                  <a:lnTo>
                    <a:pt x="318" y="941"/>
                  </a:lnTo>
                  <a:lnTo>
                    <a:pt x="333" y="970"/>
                  </a:lnTo>
                  <a:lnTo>
                    <a:pt x="354" y="995"/>
                  </a:lnTo>
                  <a:lnTo>
                    <a:pt x="379" y="1016"/>
                  </a:lnTo>
                  <a:lnTo>
                    <a:pt x="408" y="1032"/>
                  </a:lnTo>
                  <a:lnTo>
                    <a:pt x="439" y="1041"/>
                  </a:lnTo>
                  <a:lnTo>
                    <a:pt x="474" y="1045"/>
                  </a:lnTo>
                  <a:lnTo>
                    <a:pt x="508" y="1041"/>
                  </a:lnTo>
                  <a:lnTo>
                    <a:pt x="540" y="1032"/>
                  </a:lnTo>
                  <a:lnTo>
                    <a:pt x="569" y="1016"/>
                  </a:lnTo>
                  <a:lnTo>
                    <a:pt x="594" y="995"/>
                  </a:lnTo>
                  <a:lnTo>
                    <a:pt x="615" y="970"/>
                  </a:lnTo>
                  <a:lnTo>
                    <a:pt x="630" y="941"/>
                  </a:lnTo>
                  <a:lnTo>
                    <a:pt x="640" y="908"/>
                  </a:lnTo>
                  <a:lnTo>
                    <a:pt x="643" y="875"/>
                  </a:lnTo>
                  <a:lnTo>
                    <a:pt x="640" y="841"/>
                  </a:lnTo>
                  <a:lnTo>
                    <a:pt x="630" y="808"/>
                  </a:lnTo>
                  <a:lnTo>
                    <a:pt x="615" y="781"/>
                  </a:lnTo>
                  <a:lnTo>
                    <a:pt x="594" y="755"/>
                  </a:lnTo>
                  <a:lnTo>
                    <a:pt x="569" y="735"/>
                  </a:lnTo>
                  <a:lnTo>
                    <a:pt x="540" y="719"/>
                  </a:lnTo>
                  <a:lnTo>
                    <a:pt x="508" y="709"/>
                  </a:lnTo>
                  <a:lnTo>
                    <a:pt x="474" y="706"/>
                  </a:lnTo>
                  <a:close/>
                  <a:moveTo>
                    <a:pt x="222" y="0"/>
                  </a:moveTo>
                  <a:lnTo>
                    <a:pt x="835" y="31"/>
                  </a:lnTo>
                  <a:lnTo>
                    <a:pt x="858" y="35"/>
                  </a:lnTo>
                  <a:lnTo>
                    <a:pt x="878" y="45"/>
                  </a:lnTo>
                  <a:lnTo>
                    <a:pt x="895" y="59"/>
                  </a:lnTo>
                  <a:lnTo>
                    <a:pt x="907" y="78"/>
                  </a:lnTo>
                  <a:lnTo>
                    <a:pt x="914" y="98"/>
                  </a:lnTo>
                  <a:lnTo>
                    <a:pt x="915" y="121"/>
                  </a:lnTo>
                  <a:lnTo>
                    <a:pt x="840" y="1095"/>
                  </a:lnTo>
                  <a:lnTo>
                    <a:pt x="835" y="1118"/>
                  </a:lnTo>
                  <a:lnTo>
                    <a:pt x="825" y="1139"/>
                  </a:lnTo>
                  <a:lnTo>
                    <a:pt x="810" y="1156"/>
                  </a:lnTo>
                  <a:lnTo>
                    <a:pt x="792" y="1168"/>
                  </a:lnTo>
                  <a:lnTo>
                    <a:pt x="770" y="1176"/>
                  </a:lnTo>
                  <a:lnTo>
                    <a:pt x="747" y="1179"/>
                  </a:lnTo>
                  <a:lnTo>
                    <a:pt x="68" y="1179"/>
                  </a:lnTo>
                  <a:lnTo>
                    <a:pt x="46" y="1175"/>
                  </a:lnTo>
                  <a:lnTo>
                    <a:pt x="27" y="1165"/>
                  </a:lnTo>
                  <a:lnTo>
                    <a:pt x="13" y="1152"/>
                  </a:lnTo>
                  <a:lnTo>
                    <a:pt x="4" y="1134"/>
                  </a:lnTo>
                  <a:lnTo>
                    <a:pt x="0" y="1114"/>
                  </a:lnTo>
                  <a:lnTo>
                    <a:pt x="2" y="1092"/>
                  </a:lnTo>
                  <a:lnTo>
                    <a:pt x="115" y="80"/>
                  </a:lnTo>
                  <a:lnTo>
                    <a:pt x="123" y="58"/>
                  </a:lnTo>
                  <a:lnTo>
                    <a:pt x="136" y="39"/>
                  </a:lnTo>
                  <a:lnTo>
                    <a:pt x="155" y="22"/>
                  </a:lnTo>
                  <a:lnTo>
                    <a:pt x="175" y="10"/>
                  </a:lnTo>
                  <a:lnTo>
                    <a:pt x="198" y="3"/>
                  </a:lnTo>
                  <a:lnTo>
                    <a:pt x="222" y="0"/>
                  </a:lnTo>
                  <a:close/>
                </a:path>
              </a:pathLst>
            </a:custGeom>
            <a:solidFill>
              <a:schemeClr val="lt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prstClr val="black"/>
                </a:solidFill>
                <a:effectLst/>
                <a:uLnTx/>
                <a:uFillTx/>
                <a:latin typeface="Arial"/>
                <a:ea typeface="Arial"/>
                <a:cs typeface="Arial"/>
                <a:sym typeface="Arial"/>
              </a:endParaRPr>
            </a:p>
          </p:txBody>
        </p:sp>
      </p:grpSp>
      <p:grpSp>
        <p:nvGrpSpPr>
          <p:cNvPr id="171" name="Google Shape;171;p22"/>
          <p:cNvGrpSpPr/>
          <p:nvPr/>
        </p:nvGrpSpPr>
        <p:grpSpPr>
          <a:xfrm>
            <a:off x="4613462" y="4853614"/>
            <a:ext cx="2179087" cy="1341438"/>
            <a:chOff x="4227699" y="4986963"/>
            <a:chExt cx="2179087" cy="1341438"/>
          </a:xfrm>
        </p:grpSpPr>
        <p:sp>
          <p:nvSpPr>
            <p:cNvPr id="172" name="Google Shape;172;p22"/>
            <p:cNvSpPr txBox="1"/>
            <p:nvPr/>
          </p:nvSpPr>
          <p:spPr>
            <a:xfrm>
              <a:off x="4295034" y="5497404"/>
              <a:ext cx="2099054" cy="830997"/>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Arial"/>
                  <a:ea typeface="Arial"/>
                  <a:cs typeface="Arial"/>
                  <a:sym typeface="Arial"/>
                </a:rPr>
                <a:t>How often are the HIV program tools reviewed</a:t>
              </a:r>
              <a:endParaRPr kumimoji="0" sz="1600" b="0" i="0" u="none" strike="noStrike" kern="1200" cap="none" spc="0" normalizeH="0" baseline="0" noProof="0">
                <a:ln>
                  <a:noFill/>
                </a:ln>
                <a:solidFill>
                  <a:prstClr val="white"/>
                </a:solidFill>
                <a:effectLst/>
                <a:uLnTx/>
                <a:uFillTx/>
                <a:latin typeface="Arial"/>
                <a:ea typeface="Arial"/>
                <a:cs typeface="Arial"/>
                <a:sym typeface="Arial"/>
              </a:endParaRPr>
            </a:p>
          </p:txBody>
        </p:sp>
        <p:sp>
          <p:nvSpPr>
            <p:cNvPr id="173" name="Google Shape;173;p22"/>
            <p:cNvSpPr txBox="1"/>
            <p:nvPr/>
          </p:nvSpPr>
          <p:spPr>
            <a:xfrm>
              <a:off x="4227699" y="4986963"/>
              <a:ext cx="2179087" cy="40011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Arial"/>
                  <a:ea typeface="Arial"/>
                  <a:cs typeface="Arial"/>
                  <a:sym typeface="Arial"/>
                </a:rPr>
                <a:t>Every three years</a:t>
              </a:r>
              <a:endParaRPr kumimoji="0" sz="1600" b="0" i="0" u="none" strike="noStrike" kern="1200" cap="none" spc="0" normalizeH="0" baseline="0" noProof="0">
                <a:ln>
                  <a:noFill/>
                </a:ln>
                <a:solidFill>
                  <a:prstClr val="white"/>
                </a:solidFill>
                <a:effectLst/>
                <a:uLnTx/>
                <a:uFillTx/>
                <a:latin typeface="Arial"/>
                <a:ea typeface="Arial"/>
                <a:cs typeface="Arial"/>
                <a:sym typeface="Arial"/>
              </a:endParaRPr>
            </a:p>
          </p:txBody>
        </p:sp>
      </p:grpSp>
      <p:sp>
        <p:nvSpPr>
          <p:cNvPr id="174" name="Google Shape;174;p22"/>
          <p:cNvSpPr txBox="1"/>
          <p:nvPr/>
        </p:nvSpPr>
        <p:spPr>
          <a:xfrm rot="-3345364">
            <a:off x="3567531" y="2185629"/>
            <a:ext cx="2099054" cy="830997"/>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Arial"/>
                <a:ea typeface="Arial"/>
                <a:cs typeface="Arial"/>
                <a:sym typeface="Arial"/>
              </a:rPr>
              <a:t>Who lead HIV tools review</a:t>
            </a:r>
            <a:endParaRPr kumimoji="0" sz="1600" b="0" i="0" u="none" strike="noStrike" kern="1200" cap="none" spc="0" normalizeH="0" baseline="0" noProof="0">
              <a:ln>
                <a:noFill/>
              </a:ln>
              <a:solidFill>
                <a:prstClr val="white"/>
              </a:solidFill>
              <a:effectLst/>
              <a:uLnTx/>
              <a:uFillTx/>
              <a:latin typeface="Arial"/>
              <a:ea typeface="Arial"/>
              <a:cs typeface="Arial"/>
              <a:sym typeface="Arial"/>
            </a:endParaRPr>
          </a:p>
        </p:txBody>
      </p:sp>
      <p:sp>
        <p:nvSpPr>
          <p:cNvPr id="175" name="Google Shape;175;p22"/>
          <p:cNvSpPr txBox="1"/>
          <p:nvPr/>
        </p:nvSpPr>
        <p:spPr>
          <a:xfrm rot="-3345364">
            <a:off x="3901051" y="2943157"/>
            <a:ext cx="2558528" cy="40011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err="1">
                <a:ln>
                  <a:noFill/>
                </a:ln>
                <a:solidFill>
                  <a:prstClr val="white"/>
                </a:solidFill>
                <a:effectLst/>
                <a:uLnTx/>
                <a:uFillTx/>
                <a:latin typeface="Arial"/>
                <a:ea typeface="Arial"/>
                <a:cs typeface="Arial"/>
                <a:sym typeface="Arial"/>
              </a:rPr>
              <a:t>FMoH</a:t>
            </a:r>
            <a:r>
              <a:rPr kumimoji="0" lang="en-US" sz="1600" b="0" i="0" u="none" strike="noStrike" kern="1200" cap="none" spc="0" normalizeH="0" baseline="0" noProof="0">
                <a:ln>
                  <a:noFill/>
                </a:ln>
                <a:solidFill>
                  <a:prstClr val="white"/>
                </a:solidFill>
                <a:effectLst/>
                <a:uLnTx/>
                <a:uFillTx/>
                <a:latin typeface="Arial"/>
                <a:ea typeface="Arial"/>
                <a:cs typeface="Arial"/>
                <a:sym typeface="Arial"/>
              </a:rPr>
              <a:t>  through NASCP</a:t>
            </a:r>
            <a:endParaRPr kumimoji="0" sz="1600" b="0" i="0" u="none" strike="noStrike" kern="1200" cap="none" spc="0" normalizeH="0" baseline="0" noProof="0">
              <a:ln>
                <a:noFill/>
              </a:ln>
              <a:solidFill>
                <a:prstClr val="white"/>
              </a:solidFill>
              <a:effectLst/>
              <a:uLnTx/>
              <a:uFillTx/>
              <a:latin typeface="Arial"/>
              <a:ea typeface="Arial"/>
              <a:cs typeface="Arial"/>
              <a:sym typeface="Arial"/>
            </a:endParaRPr>
          </a:p>
        </p:txBody>
      </p:sp>
      <p:sp>
        <p:nvSpPr>
          <p:cNvPr id="176" name="Google Shape;176;p22"/>
          <p:cNvSpPr txBox="1"/>
          <p:nvPr/>
        </p:nvSpPr>
        <p:spPr>
          <a:xfrm rot="3758624">
            <a:off x="6863473" y="2883069"/>
            <a:ext cx="2099054" cy="830997"/>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Arial"/>
                <a:ea typeface="Arial"/>
                <a:cs typeface="Arial"/>
                <a:sym typeface="Arial"/>
              </a:rPr>
              <a:t>Who are the major stakeholders in the HIV/AIDS space</a:t>
            </a:r>
            <a:endParaRPr kumimoji="0" sz="1600" b="0" i="0" u="none" strike="noStrike" kern="1200" cap="none" spc="0" normalizeH="0" baseline="0" noProof="0">
              <a:ln>
                <a:noFill/>
              </a:ln>
              <a:solidFill>
                <a:prstClr val="white"/>
              </a:solidFill>
              <a:effectLst/>
              <a:uLnTx/>
              <a:uFillTx/>
              <a:latin typeface="Arial"/>
              <a:ea typeface="Arial"/>
              <a:cs typeface="Arial"/>
              <a:sym typeface="Arial"/>
            </a:endParaRPr>
          </a:p>
        </p:txBody>
      </p:sp>
      <p:sp>
        <p:nvSpPr>
          <p:cNvPr id="177" name="Google Shape;177;p22"/>
          <p:cNvSpPr txBox="1"/>
          <p:nvPr/>
        </p:nvSpPr>
        <p:spPr>
          <a:xfrm rot="3758624">
            <a:off x="5640681" y="2975748"/>
            <a:ext cx="2856198" cy="40011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err="1">
                <a:ln>
                  <a:noFill/>
                </a:ln>
                <a:solidFill>
                  <a:prstClr val="white"/>
                </a:solidFill>
                <a:effectLst/>
                <a:uLnTx/>
                <a:uFillTx/>
                <a:latin typeface="Arial"/>
                <a:ea typeface="Arial"/>
                <a:cs typeface="Arial"/>
                <a:sym typeface="Arial"/>
              </a:rPr>
              <a:t>FMoH</a:t>
            </a:r>
            <a:r>
              <a:rPr kumimoji="0" lang="en-US" sz="1600" b="0" i="0" u="none" strike="noStrike" kern="1200" cap="none" spc="0" normalizeH="0" baseline="0" noProof="0">
                <a:ln>
                  <a:noFill/>
                </a:ln>
                <a:solidFill>
                  <a:prstClr val="white"/>
                </a:solidFill>
                <a:effectLst/>
                <a:uLnTx/>
                <a:uFillTx/>
                <a:latin typeface="Arial"/>
                <a:ea typeface="Arial"/>
                <a:cs typeface="Arial"/>
                <a:sym typeface="Arial"/>
              </a:rPr>
              <a:t>, Funders, IPs, CBOs</a:t>
            </a:r>
            <a:endParaRPr kumimoji="0" sz="1600" b="0" i="0" u="none" strike="noStrike" kern="1200" cap="none" spc="0" normalizeH="0" baseline="0" noProof="0">
              <a:ln>
                <a:noFill/>
              </a:ln>
              <a:solidFill>
                <a:prstClr val="white"/>
              </a:solidFill>
              <a:effectLst/>
              <a:uLnTx/>
              <a:uFillTx/>
              <a:latin typeface="Arial"/>
              <a:ea typeface="Arial"/>
              <a:cs typeface="Arial"/>
              <a:sym typeface="Arial"/>
            </a:endParaRPr>
          </a:p>
        </p:txBody>
      </p:sp>
      <p:grpSp>
        <p:nvGrpSpPr>
          <p:cNvPr id="178" name="Google Shape;178;p22"/>
          <p:cNvGrpSpPr/>
          <p:nvPr/>
        </p:nvGrpSpPr>
        <p:grpSpPr>
          <a:xfrm>
            <a:off x="641279" y="1295401"/>
            <a:ext cx="11453960" cy="1126401"/>
            <a:chOff x="1130234" y="1295400"/>
            <a:chExt cx="10570941" cy="1126401"/>
          </a:xfrm>
        </p:grpSpPr>
        <p:grpSp>
          <p:nvGrpSpPr>
            <p:cNvPr id="179" name="Google Shape;179;p22"/>
            <p:cNvGrpSpPr/>
            <p:nvPr/>
          </p:nvGrpSpPr>
          <p:grpSpPr>
            <a:xfrm>
              <a:off x="1130234" y="1295400"/>
              <a:ext cx="2858475" cy="918477"/>
              <a:chOff x="1130234" y="1295400"/>
              <a:chExt cx="2858475" cy="918477"/>
            </a:xfrm>
          </p:grpSpPr>
          <p:sp>
            <p:nvSpPr>
              <p:cNvPr id="180" name="Google Shape;180;p22"/>
              <p:cNvSpPr txBox="1"/>
              <p:nvPr/>
            </p:nvSpPr>
            <p:spPr>
              <a:xfrm>
                <a:off x="1130234" y="1629102"/>
                <a:ext cx="2858475" cy="584775"/>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The DCTs in the HIV program is reviewed every  3 years</a:t>
                </a:r>
              </a:p>
            </p:txBody>
          </p:sp>
          <p:sp>
            <p:nvSpPr>
              <p:cNvPr id="181" name="Google Shape;181;p22"/>
              <p:cNvSpPr txBox="1"/>
              <p:nvPr/>
            </p:nvSpPr>
            <p:spPr>
              <a:xfrm>
                <a:off x="1130234" y="1295400"/>
                <a:ext cx="2849891" cy="40011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3F3F3F"/>
                    </a:solidFill>
                    <a:effectLst/>
                    <a:uLnTx/>
                    <a:uFillTx/>
                    <a:latin typeface="Arial"/>
                    <a:ea typeface="Arial"/>
                    <a:cs typeface="Arial"/>
                    <a:sym typeface="Arial"/>
                  </a:rPr>
                  <a:t>One</a:t>
                </a:r>
                <a:endParaRPr kumimoji="0" sz="2000" b="1" i="0" u="none" strike="noStrike" kern="1200" cap="none" spc="0" normalizeH="0" baseline="0" noProof="0">
                  <a:ln>
                    <a:noFill/>
                  </a:ln>
                  <a:solidFill>
                    <a:srgbClr val="3F3F3F"/>
                  </a:solidFill>
                  <a:effectLst/>
                  <a:uLnTx/>
                  <a:uFillTx/>
                  <a:latin typeface="Arial"/>
                  <a:ea typeface="Arial"/>
                  <a:cs typeface="Arial"/>
                  <a:sym typeface="Arial"/>
                </a:endParaRPr>
              </a:p>
            </p:txBody>
          </p:sp>
        </p:grpSp>
        <p:grpSp>
          <p:nvGrpSpPr>
            <p:cNvPr id="182" name="Google Shape;182;p22"/>
            <p:cNvGrpSpPr/>
            <p:nvPr/>
          </p:nvGrpSpPr>
          <p:grpSpPr>
            <a:xfrm>
              <a:off x="8453537" y="1295400"/>
              <a:ext cx="3247638" cy="1126401"/>
              <a:chOff x="1130234" y="1295400"/>
              <a:chExt cx="3247638" cy="1126401"/>
            </a:xfrm>
          </p:grpSpPr>
          <p:sp>
            <p:nvSpPr>
              <p:cNvPr id="183" name="Google Shape;183;p22"/>
              <p:cNvSpPr txBox="1"/>
              <p:nvPr/>
            </p:nvSpPr>
            <p:spPr>
              <a:xfrm>
                <a:off x="1130234" y="1629102"/>
                <a:ext cx="3247638" cy="792699"/>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a:ln>
                      <a:noFill/>
                    </a:ln>
                    <a:solidFill>
                      <a:prstClr val="black"/>
                    </a:solidFill>
                    <a:effectLst/>
                    <a:uLnTx/>
                    <a:uFillTx/>
                    <a:latin typeface="Calibri"/>
                    <a:ea typeface="+mn-ea"/>
                    <a:cs typeface="+mn-cs"/>
                  </a:rPr>
                  <a:t>This review is led by NASCP in collaboration with relevant stakeholders</a:t>
                </a:r>
              </a:p>
            </p:txBody>
          </p:sp>
          <p:sp>
            <p:nvSpPr>
              <p:cNvPr id="184" name="Google Shape;184;p22"/>
              <p:cNvSpPr txBox="1"/>
              <p:nvPr/>
            </p:nvSpPr>
            <p:spPr>
              <a:xfrm>
                <a:off x="1130234" y="1295400"/>
                <a:ext cx="2849891" cy="40011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3F3F3F"/>
                    </a:solidFill>
                    <a:effectLst/>
                    <a:uLnTx/>
                    <a:uFillTx/>
                    <a:latin typeface="Arial"/>
                    <a:ea typeface="Arial"/>
                    <a:cs typeface="Arial"/>
                    <a:sym typeface="Arial"/>
                  </a:rPr>
                  <a:t>Two</a:t>
                </a:r>
                <a:endParaRPr kumimoji="0" sz="2000" b="1" i="0" u="none" strike="noStrike" kern="1200" cap="none" spc="0" normalizeH="0" baseline="0" noProof="0">
                  <a:ln>
                    <a:noFill/>
                  </a:ln>
                  <a:solidFill>
                    <a:srgbClr val="3F3F3F"/>
                  </a:solidFill>
                  <a:effectLst/>
                  <a:uLnTx/>
                  <a:uFillTx/>
                  <a:latin typeface="Arial"/>
                  <a:ea typeface="Arial"/>
                  <a:cs typeface="Arial"/>
                  <a:sym typeface="Arial"/>
                </a:endParaRPr>
              </a:p>
            </p:txBody>
          </p:sp>
        </p:grpSp>
      </p:grpSp>
      <p:grpSp>
        <p:nvGrpSpPr>
          <p:cNvPr id="185" name="Google Shape;185;p22"/>
          <p:cNvGrpSpPr/>
          <p:nvPr/>
        </p:nvGrpSpPr>
        <p:grpSpPr>
          <a:xfrm>
            <a:off x="-251581" y="4324292"/>
            <a:ext cx="12603238" cy="1078715"/>
            <a:chOff x="-213544" y="1281104"/>
            <a:chExt cx="12603238" cy="1078715"/>
          </a:xfrm>
        </p:grpSpPr>
        <p:grpSp>
          <p:nvGrpSpPr>
            <p:cNvPr id="186" name="Google Shape;186;p22"/>
            <p:cNvGrpSpPr/>
            <p:nvPr/>
          </p:nvGrpSpPr>
          <p:grpSpPr>
            <a:xfrm>
              <a:off x="-213544" y="1281104"/>
              <a:ext cx="4202253" cy="1078715"/>
              <a:chOff x="-213544" y="1281104"/>
              <a:chExt cx="4202253" cy="1078715"/>
            </a:xfrm>
          </p:grpSpPr>
          <p:sp>
            <p:nvSpPr>
              <p:cNvPr id="187" name="Google Shape;187;p22"/>
              <p:cNvSpPr txBox="1"/>
              <p:nvPr/>
            </p:nvSpPr>
            <p:spPr>
              <a:xfrm>
                <a:off x="-213544" y="1629102"/>
                <a:ext cx="4202253" cy="730717"/>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a:ea typeface="+mn-ea"/>
                    <a:cs typeface="+mn-cs"/>
                  </a:rPr>
                  <a:t>Major stakeholders and funders are invited for the review when the versions of tools are agreed upon to capture all relevant indicators in the HIV space</a:t>
                </a:r>
                <a:endParaRPr kumimoji="0" sz="2000" b="0" i="0" u="none" strike="noStrike" kern="1200" cap="none" spc="0" normalizeH="0" baseline="0" noProof="0">
                  <a:ln>
                    <a:noFill/>
                  </a:ln>
                  <a:solidFill>
                    <a:srgbClr val="3F3F3F"/>
                  </a:solidFill>
                  <a:effectLst/>
                  <a:uLnTx/>
                  <a:uFillTx/>
                  <a:latin typeface="Arial"/>
                  <a:ea typeface="Arial"/>
                  <a:cs typeface="Arial"/>
                  <a:sym typeface="Arial"/>
                </a:endParaRPr>
              </a:p>
            </p:txBody>
          </p:sp>
          <p:sp>
            <p:nvSpPr>
              <p:cNvPr id="188" name="Google Shape;188;p22"/>
              <p:cNvSpPr txBox="1"/>
              <p:nvPr/>
            </p:nvSpPr>
            <p:spPr>
              <a:xfrm>
                <a:off x="485850" y="1281104"/>
                <a:ext cx="2849891" cy="40011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3F3F3F"/>
                    </a:solidFill>
                    <a:effectLst/>
                    <a:uLnTx/>
                    <a:uFillTx/>
                    <a:latin typeface="Arial"/>
                    <a:ea typeface="Arial"/>
                    <a:cs typeface="Arial"/>
                    <a:sym typeface="Arial"/>
                  </a:rPr>
                  <a:t>Three</a:t>
                </a:r>
                <a:endParaRPr kumimoji="0" sz="2000" b="1" i="0" u="none" strike="noStrike" kern="1200" cap="none" spc="0" normalizeH="0" baseline="0" noProof="0">
                  <a:ln>
                    <a:noFill/>
                  </a:ln>
                  <a:solidFill>
                    <a:srgbClr val="3F3F3F"/>
                  </a:solidFill>
                  <a:effectLst/>
                  <a:uLnTx/>
                  <a:uFillTx/>
                  <a:latin typeface="Arial"/>
                  <a:ea typeface="Arial"/>
                  <a:cs typeface="Arial"/>
                  <a:sym typeface="Arial"/>
                </a:endParaRPr>
              </a:p>
            </p:txBody>
          </p:sp>
        </p:grpSp>
        <p:grpSp>
          <p:nvGrpSpPr>
            <p:cNvPr id="189" name="Google Shape;189;p22"/>
            <p:cNvGrpSpPr/>
            <p:nvPr/>
          </p:nvGrpSpPr>
          <p:grpSpPr>
            <a:xfrm>
              <a:off x="8453537" y="1295400"/>
              <a:ext cx="3936157" cy="951577"/>
              <a:chOff x="1130234" y="1295400"/>
              <a:chExt cx="3936157" cy="951577"/>
            </a:xfrm>
          </p:grpSpPr>
          <p:sp>
            <p:nvSpPr>
              <p:cNvPr id="190" name="Google Shape;190;p22"/>
              <p:cNvSpPr txBox="1"/>
              <p:nvPr/>
            </p:nvSpPr>
            <p:spPr>
              <a:xfrm>
                <a:off x="1386653" y="1662202"/>
                <a:ext cx="3679738" cy="584775"/>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a:ea typeface="+mn-ea"/>
                    <a:cs typeface="+mn-cs"/>
                  </a:rPr>
                  <a:t>The last tool review was done in 2020/2021 and NASCP has started the process of tools review which will be finalized sometime in 2025</a:t>
                </a:r>
                <a:endParaRPr kumimoji="0" lang="en-NG" sz="2000" b="0" i="0" u="none" strike="noStrike" kern="1200" cap="none" spc="0" normalizeH="0" baseline="0" noProof="0">
                  <a:ln>
                    <a:noFill/>
                  </a:ln>
                  <a:solidFill>
                    <a:prstClr val="black"/>
                  </a:solidFill>
                  <a:effectLst/>
                  <a:uLnTx/>
                  <a:uFillTx/>
                  <a:latin typeface="Calibri"/>
                  <a:ea typeface="+mn-ea"/>
                  <a:cs typeface="+mn-cs"/>
                </a:endParaRPr>
              </a:p>
            </p:txBody>
          </p:sp>
          <p:sp>
            <p:nvSpPr>
              <p:cNvPr id="191" name="Google Shape;191;p22"/>
              <p:cNvSpPr txBox="1"/>
              <p:nvPr/>
            </p:nvSpPr>
            <p:spPr>
              <a:xfrm>
                <a:off x="1130234" y="1295400"/>
                <a:ext cx="2849891" cy="40011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3F3F3F"/>
                    </a:solidFill>
                    <a:effectLst/>
                    <a:uLnTx/>
                    <a:uFillTx/>
                    <a:latin typeface="Arial"/>
                    <a:ea typeface="Arial"/>
                    <a:cs typeface="Arial"/>
                    <a:sym typeface="Arial"/>
                  </a:rPr>
                  <a:t>Four</a:t>
                </a:r>
                <a:endParaRPr kumimoji="0" sz="2000" b="1" i="0" u="none" strike="noStrike" kern="1200" cap="none" spc="0" normalizeH="0" baseline="0" noProof="0">
                  <a:ln>
                    <a:noFill/>
                  </a:ln>
                  <a:solidFill>
                    <a:srgbClr val="3F3F3F"/>
                  </a:solidFill>
                  <a:effectLst/>
                  <a:uLnTx/>
                  <a:uFillTx/>
                  <a:latin typeface="Arial"/>
                  <a:ea typeface="Arial"/>
                  <a:cs typeface="Arial"/>
                  <a:sym typeface="Arial"/>
                </a:endParaRPr>
              </a:p>
            </p:txBody>
          </p:sp>
        </p:grpSp>
      </p:grpSp>
      <p:pic>
        <p:nvPicPr>
          <p:cNvPr id="4" name="Audio 3">
            <a:hlinkClick r:id="" action="ppaction://media"/>
            <a:extLst>
              <a:ext uri="{FF2B5EF4-FFF2-40B4-BE49-F238E27FC236}">
                <a16:creationId xmlns:a16="http://schemas.microsoft.com/office/drawing/2014/main" id="{1A9E15BE-C724-D638-23F5-2E381E18AFFD}"/>
              </a:ext>
            </a:extLst>
          </p:cNvPr>
          <p:cNvPicPr>
            <a:picLocks noChangeAspect="1"/>
          </p:cNvPicPr>
          <p:nvPr>
            <a:audioFile r:link="rId2"/>
            <p:extLst>
              <p:ext uri="{DAA4B4D4-6D71-4841-9C94-3DE7FCFB9230}">
                <p14:media xmlns:p14="http://schemas.microsoft.com/office/powerpoint/2010/main" r:embed="rId1"/>
              </p:ext>
            </p:extLst>
          </p:nvPr>
        </p:nvPicPr>
        <p:blipFill>
          <a:blip r:embed="rId5"/>
          <a:srcRect l="-161075" t="-161075" r="-161075" b="-161075"/>
          <a:stretch>
            <a:fillRect/>
          </a:stretch>
        </p:blipFill>
        <p:spPr>
          <a:xfrm>
            <a:off x="10052304" y="4718304"/>
            <a:ext cx="2057400" cy="2057400"/>
          </a:xfrm>
          <a:prstGeom prst="ellipse">
            <a:avLst/>
          </a:prstGeom>
        </p:spPr>
      </p:pic>
    </p:spTree>
  </p:cSld>
  <p:clrMapOvr>
    <a:masterClrMapping/>
  </p:clrMapOvr>
  <mc:AlternateContent xmlns:mc="http://schemas.openxmlformats.org/markup-compatibility/2006" xmlns:p14="http://schemas.microsoft.com/office/powerpoint/2010/main">
    <mc:Choice Requires="p14">
      <p:transition spd="slow" p14:dur="2000" advTm="1546"/>
    </mc:Choice>
    <mc:Fallback xmlns="">
      <p:transition spd="slow" advTm="154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BC2209-3DD7-2076-777D-FF26AC11E1E9}"/>
              </a:ext>
            </a:extLst>
          </p:cNvPr>
          <p:cNvPicPr>
            <a:picLocks noChangeAspect="1"/>
          </p:cNvPicPr>
          <p:nvPr/>
        </p:nvPicPr>
        <p:blipFill>
          <a:blip r:embed="rId2"/>
          <a:stretch>
            <a:fillRect/>
          </a:stretch>
        </p:blipFill>
        <p:spPr>
          <a:xfrm>
            <a:off x="0" y="-84277"/>
            <a:ext cx="12192000" cy="6841445"/>
          </a:xfrm>
          <a:prstGeom prst="rect">
            <a:avLst/>
          </a:prstGeom>
        </p:spPr>
      </p:pic>
    </p:spTree>
    <p:extLst>
      <p:ext uri="{BB962C8B-B14F-4D97-AF65-F5344CB8AC3E}">
        <p14:creationId xmlns:p14="http://schemas.microsoft.com/office/powerpoint/2010/main" val="113998651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screenshot of a phone&#10;&#10;Description automatically generated">
            <a:extLst>
              <a:ext uri="{FF2B5EF4-FFF2-40B4-BE49-F238E27FC236}">
                <a16:creationId xmlns:a16="http://schemas.microsoft.com/office/drawing/2014/main" id="{57BB43ED-F100-CCF9-8E12-D714467DE9B5}"/>
              </a:ext>
            </a:extLst>
          </p:cNvPr>
          <p:cNvPicPr>
            <a:picLocks noChangeAspect="1"/>
          </p:cNvPicPr>
          <p:nvPr/>
        </p:nvPicPr>
        <p:blipFill rotWithShape="1">
          <a:blip r:embed="rId2"/>
          <a:srcRect b="4727"/>
          <a:stretch/>
        </p:blipFill>
        <p:spPr>
          <a:xfrm>
            <a:off x="489527" y="203200"/>
            <a:ext cx="11198890" cy="6505713"/>
          </a:xfrm>
          <a:prstGeom prst="rect">
            <a:avLst/>
          </a:prstGeom>
        </p:spPr>
      </p:pic>
    </p:spTree>
    <p:extLst>
      <p:ext uri="{BB962C8B-B14F-4D97-AF65-F5344CB8AC3E}">
        <p14:creationId xmlns:p14="http://schemas.microsoft.com/office/powerpoint/2010/main" val="331339510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screenshot of a phone&#10;&#10;Description automatically generated">
            <a:extLst>
              <a:ext uri="{FF2B5EF4-FFF2-40B4-BE49-F238E27FC236}">
                <a16:creationId xmlns:a16="http://schemas.microsoft.com/office/drawing/2014/main" id="{7C2F075F-07EA-134C-492C-FD933DC2B1A1}"/>
              </a:ext>
            </a:extLst>
          </p:cNvPr>
          <p:cNvPicPr>
            <a:picLocks noChangeAspect="1"/>
          </p:cNvPicPr>
          <p:nvPr/>
        </p:nvPicPr>
        <p:blipFill rotWithShape="1">
          <a:blip r:embed="rId3"/>
          <a:srcRect b="24278"/>
          <a:stretch/>
        </p:blipFill>
        <p:spPr>
          <a:xfrm>
            <a:off x="103367" y="588928"/>
            <a:ext cx="11767930" cy="5975157"/>
          </a:xfrm>
          <a:prstGeom prst="rect">
            <a:avLst/>
          </a:prstGeom>
        </p:spPr>
      </p:pic>
    </p:spTree>
    <p:extLst>
      <p:ext uri="{BB962C8B-B14F-4D97-AF65-F5344CB8AC3E}">
        <p14:creationId xmlns:p14="http://schemas.microsoft.com/office/powerpoint/2010/main" val="56049998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diagram of a patient training&#10;&#10;Description automatically generated">
            <a:extLst>
              <a:ext uri="{FF2B5EF4-FFF2-40B4-BE49-F238E27FC236}">
                <a16:creationId xmlns:a16="http://schemas.microsoft.com/office/drawing/2014/main" id="{3624E5A0-C07C-BD0C-1246-6C4A18EBAB65}"/>
              </a:ext>
            </a:extLst>
          </p:cNvPr>
          <p:cNvPicPr>
            <a:picLocks noChangeAspect="1"/>
          </p:cNvPicPr>
          <p:nvPr/>
        </p:nvPicPr>
        <p:blipFill>
          <a:blip r:embed="rId2"/>
          <a:stretch>
            <a:fillRect/>
          </a:stretch>
        </p:blipFill>
        <p:spPr>
          <a:xfrm>
            <a:off x="270344" y="538539"/>
            <a:ext cx="11513489" cy="5780922"/>
          </a:xfrm>
          <a:prstGeom prst="rect">
            <a:avLst/>
          </a:prstGeom>
        </p:spPr>
      </p:pic>
    </p:spTree>
    <p:extLst>
      <p:ext uri="{BB962C8B-B14F-4D97-AF65-F5344CB8AC3E}">
        <p14:creationId xmlns:p14="http://schemas.microsoft.com/office/powerpoint/2010/main" val="36768578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screenshot of a medical form&#10;&#10;Description automatically generated">
            <a:extLst>
              <a:ext uri="{FF2B5EF4-FFF2-40B4-BE49-F238E27FC236}">
                <a16:creationId xmlns:a16="http://schemas.microsoft.com/office/drawing/2014/main" id="{4785AB5C-01E8-A4CC-485D-A90B053F5F1F}"/>
              </a:ext>
            </a:extLst>
          </p:cNvPr>
          <p:cNvPicPr>
            <a:picLocks noChangeAspect="1"/>
          </p:cNvPicPr>
          <p:nvPr/>
        </p:nvPicPr>
        <p:blipFill rotWithShape="1">
          <a:blip r:embed="rId4"/>
          <a:srcRect b="6395"/>
          <a:stretch/>
        </p:blipFill>
        <p:spPr>
          <a:xfrm>
            <a:off x="-174929" y="0"/>
            <a:ext cx="12125739" cy="6419461"/>
          </a:xfrm>
          <a:prstGeom prst="rect">
            <a:avLst/>
          </a:prstGeom>
        </p:spPr>
      </p:pic>
      <p:pic>
        <p:nvPicPr>
          <p:cNvPr id="9" name="Audio 8">
            <a:hlinkClick r:id="" action="ppaction://media"/>
            <a:extLst>
              <a:ext uri="{FF2B5EF4-FFF2-40B4-BE49-F238E27FC236}">
                <a16:creationId xmlns:a16="http://schemas.microsoft.com/office/drawing/2014/main" id="{7007FEFB-C9FF-ADB6-F11E-AB8445D7CB29}"/>
              </a:ext>
            </a:extLst>
          </p:cNvPr>
          <p:cNvPicPr>
            <a:picLocks noChangeAspect="1"/>
          </p:cNvPicPr>
          <p:nvPr>
            <a:audioFile r:link="rId2"/>
            <p:extLst>
              <p:ext uri="{DAA4B4D4-6D71-4841-9C94-3DE7FCFB9230}">
                <p14:media xmlns:p14="http://schemas.microsoft.com/office/powerpoint/2010/main" r:embed="rId1"/>
              </p:ext>
            </p:extLst>
          </p:nvPr>
        </p:nvPicPr>
        <p:blipFill>
          <a:blip r:embed="rId5"/>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2028657653"/>
      </p:ext>
    </p:extLst>
  </p:cSld>
  <p:clrMapOvr>
    <a:masterClrMapping/>
  </p:clrMapOvr>
  <mc:AlternateContent xmlns:mc="http://schemas.openxmlformats.org/markup-compatibility/2006" xmlns:p14="http://schemas.microsoft.com/office/powerpoint/2010/main">
    <mc:Choice Requires="p14">
      <p:transition spd="slow" p14:dur="2000" advTm="246"/>
    </mc:Choice>
    <mc:Fallback xmlns="">
      <p:transition spd="slow" advTm="24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9"/>
                </p:tgtEl>
              </p:cMediaNode>
            </p:audi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a:extLst>
              <a:ext uri="{FF2B5EF4-FFF2-40B4-BE49-F238E27FC236}">
                <a16:creationId xmlns:a16="http://schemas.microsoft.com/office/drawing/2014/main" id="{AE11BE38-5526-6B63-B915-511278AE038A}"/>
              </a:ext>
            </a:extLst>
          </p:cNvPr>
          <p:cNvSpPr>
            <a:spLocks noGrp="1"/>
          </p:cNvSpPr>
          <p:nvPr>
            <p:ph type="title"/>
          </p:nvPr>
        </p:nvSpPr>
        <p:spPr>
          <a:xfrm>
            <a:off x="1828800" y="33338"/>
            <a:ext cx="8229600" cy="1143000"/>
          </a:xfrm>
        </p:spPr>
        <p:txBody>
          <a:bodyPr/>
          <a:lstStyle/>
          <a:p>
            <a:pPr algn="ctr" eaLnBrk="1" hangingPunct="1"/>
            <a:r>
              <a:rPr lang="en-US" altLang="en-US" sz="3600" b="1" dirty="0">
                <a:solidFill>
                  <a:srgbClr val="002060"/>
                </a:solidFill>
                <a:latin typeface="Poppins" panose="00000500000000000000" pitchFamily="2" charset="0"/>
                <a:cs typeface="Poppins" panose="00000500000000000000" pitchFamily="2" charset="0"/>
              </a:rPr>
              <a:t>Program Planning Involves</a:t>
            </a:r>
            <a:endParaRPr lang="en-US" altLang="en-US" dirty="0">
              <a:solidFill>
                <a:srgbClr val="002060"/>
              </a:solidFill>
              <a:latin typeface="Poppins" panose="00000500000000000000" pitchFamily="2" charset="0"/>
              <a:cs typeface="Poppins" panose="00000500000000000000" pitchFamily="2" charset="0"/>
            </a:endParaRPr>
          </a:p>
        </p:txBody>
      </p:sp>
      <p:sp>
        <p:nvSpPr>
          <p:cNvPr id="4" name="Oval 3">
            <a:extLst>
              <a:ext uri="{FF2B5EF4-FFF2-40B4-BE49-F238E27FC236}">
                <a16:creationId xmlns:a16="http://schemas.microsoft.com/office/drawing/2014/main" id="{EC08EC51-E22F-3377-3922-23F4B7C4B90C}"/>
              </a:ext>
            </a:extLst>
          </p:cNvPr>
          <p:cNvSpPr/>
          <p:nvPr/>
        </p:nvSpPr>
        <p:spPr>
          <a:xfrm>
            <a:off x="3932238" y="1992313"/>
            <a:ext cx="1389062" cy="1416050"/>
          </a:xfrm>
          <a:prstGeom prst="ellipse">
            <a:avLst/>
          </a:prstGeom>
          <a:solidFill>
            <a:schemeClr val="accent5">
              <a:alpha val="7000"/>
            </a:schemeClr>
          </a:solidFill>
          <a:ln w="1270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00">
              <a:solidFill>
                <a:srgbClr val="FFFFFF"/>
              </a:solidFill>
            </a:endParaRPr>
          </a:p>
        </p:txBody>
      </p:sp>
      <p:sp>
        <p:nvSpPr>
          <p:cNvPr id="5" name="Oval 4">
            <a:extLst>
              <a:ext uri="{FF2B5EF4-FFF2-40B4-BE49-F238E27FC236}">
                <a16:creationId xmlns:a16="http://schemas.microsoft.com/office/drawing/2014/main" id="{81C4C4E6-237A-1D22-C95B-D9A7058486C5}"/>
              </a:ext>
            </a:extLst>
          </p:cNvPr>
          <p:cNvSpPr/>
          <p:nvPr/>
        </p:nvSpPr>
        <p:spPr>
          <a:xfrm>
            <a:off x="6477001" y="2060575"/>
            <a:ext cx="1389063" cy="1416050"/>
          </a:xfrm>
          <a:prstGeom prst="ellipse">
            <a:avLst/>
          </a:prstGeom>
          <a:solidFill>
            <a:schemeClr val="accent2">
              <a:alpha val="10000"/>
            </a:schemeClr>
          </a:solidFill>
          <a:ln w="1270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00">
              <a:solidFill>
                <a:srgbClr val="FFFFFF"/>
              </a:solidFill>
            </a:endParaRPr>
          </a:p>
        </p:txBody>
      </p:sp>
      <p:sp>
        <p:nvSpPr>
          <p:cNvPr id="6" name="Oval 5">
            <a:extLst>
              <a:ext uri="{FF2B5EF4-FFF2-40B4-BE49-F238E27FC236}">
                <a16:creationId xmlns:a16="http://schemas.microsoft.com/office/drawing/2014/main" id="{6311DD50-13A0-B1DB-26D2-C087EE300615}"/>
              </a:ext>
            </a:extLst>
          </p:cNvPr>
          <p:cNvSpPr/>
          <p:nvPr/>
        </p:nvSpPr>
        <p:spPr>
          <a:xfrm>
            <a:off x="8945564" y="2060575"/>
            <a:ext cx="1387475" cy="1416050"/>
          </a:xfrm>
          <a:prstGeom prst="ellipse">
            <a:avLst/>
          </a:prstGeom>
          <a:solidFill>
            <a:schemeClr val="accent4">
              <a:alpha val="10000"/>
            </a:schemeClr>
          </a:solidFill>
          <a:ln w="1270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00">
              <a:solidFill>
                <a:srgbClr val="FFFFFF"/>
              </a:solidFill>
            </a:endParaRPr>
          </a:p>
        </p:txBody>
      </p:sp>
      <p:sp>
        <p:nvSpPr>
          <p:cNvPr id="7" name="Oval 6">
            <a:extLst>
              <a:ext uri="{FF2B5EF4-FFF2-40B4-BE49-F238E27FC236}">
                <a16:creationId xmlns:a16="http://schemas.microsoft.com/office/drawing/2014/main" id="{CAF16E23-BEA9-8CCA-74D5-1CC37156B457}"/>
              </a:ext>
            </a:extLst>
          </p:cNvPr>
          <p:cNvSpPr/>
          <p:nvPr/>
        </p:nvSpPr>
        <p:spPr>
          <a:xfrm>
            <a:off x="1722438" y="1963738"/>
            <a:ext cx="1389062" cy="1416050"/>
          </a:xfrm>
          <a:prstGeom prst="ellipse">
            <a:avLst/>
          </a:prstGeom>
          <a:solidFill>
            <a:schemeClr val="accent1">
              <a:alpha val="10000"/>
            </a:schemeClr>
          </a:solidFill>
          <a:ln w="1270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00">
              <a:solidFill>
                <a:srgbClr val="FFFFFF"/>
              </a:solidFill>
            </a:endParaRPr>
          </a:p>
        </p:txBody>
      </p:sp>
      <p:sp>
        <p:nvSpPr>
          <p:cNvPr id="9223" name="TextBox 7">
            <a:extLst>
              <a:ext uri="{FF2B5EF4-FFF2-40B4-BE49-F238E27FC236}">
                <a16:creationId xmlns:a16="http://schemas.microsoft.com/office/drawing/2014/main" id="{0844B0FA-EEEC-845F-F402-3BE7A22E901D}"/>
              </a:ext>
            </a:extLst>
          </p:cNvPr>
          <p:cNvSpPr txBox="1">
            <a:spLocks noChangeArrowheads="1"/>
          </p:cNvSpPr>
          <p:nvPr/>
        </p:nvSpPr>
        <p:spPr bwMode="auto">
          <a:xfrm>
            <a:off x="1573213" y="3768726"/>
            <a:ext cx="16637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US" altLang="en-US"/>
              <a:t>Setting goals and objectives</a:t>
            </a:r>
            <a:endParaRPr lang="yo-NG" altLang="en-US"/>
          </a:p>
        </p:txBody>
      </p:sp>
      <p:sp>
        <p:nvSpPr>
          <p:cNvPr id="9224" name="TextBox 8">
            <a:extLst>
              <a:ext uri="{FF2B5EF4-FFF2-40B4-BE49-F238E27FC236}">
                <a16:creationId xmlns:a16="http://schemas.microsoft.com/office/drawing/2014/main" id="{103BD30F-ADAF-FB56-4C31-BD0E05DC3BA6}"/>
              </a:ext>
            </a:extLst>
          </p:cNvPr>
          <p:cNvSpPr txBox="1">
            <a:spLocks noChangeArrowheads="1"/>
          </p:cNvSpPr>
          <p:nvPr/>
        </p:nvSpPr>
        <p:spPr bwMode="auto">
          <a:xfrm>
            <a:off x="3738563" y="3768726"/>
            <a:ext cx="1828800"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US" altLang="en-US" sz="2000"/>
              <a:t>Identifying inputs </a:t>
            </a:r>
          </a:p>
        </p:txBody>
      </p:sp>
      <p:sp>
        <p:nvSpPr>
          <p:cNvPr id="9225" name="TextBox 9">
            <a:extLst>
              <a:ext uri="{FF2B5EF4-FFF2-40B4-BE49-F238E27FC236}">
                <a16:creationId xmlns:a16="http://schemas.microsoft.com/office/drawing/2014/main" id="{8C43255C-7B71-DC0D-733A-AF15BA9A91F0}"/>
              </a:ext>
            </a:extLst>
          </p:cNvPr>
          <p:cNvSpPr txBox="1">
            <a:spLocks noChangeArrowheads="1"/>
          </p:cNvSpPr>
          <p:nvPr/>
        </p:nvSpPr>
        <p:spPr bwMode="auto">
          <a:xfrm>
            <a:off x="6096000" y="3768726"/>
            <a:ext cx="2438400"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US" altLang="en-US" sz="2000"/>
              <a:t>Identifying a</a:t>
            </a:r>
            <a:r>
              <a:rPr lang="yo-NG" altLang="en-US" sz="2000"/>
              <a:t>ctivities</a:t>
            </a:r>
            <a:r>
              <a:rPr lang="en-US" altLang="en-US" sz="2000"/>
              <a:t> to be carried out</a:t>
            </a:r>
            <a:endParaRPr lang="yo-NG" altLang="en-US" sz="2000"/>
          </a:p>
        </p:txBody>
      </p:sp>
      <p:sp>
        <p:nvSpPr>
          <p:cNvPr id="9226" name="TextBox 10">
            <a:extLst>
              <a:ext uri="{FF2B5EF4-FFF2-40B4-BE49-F238E27FC236}">
                <a16:creationId xmlns:a16="http://schemas.microsoft.com/office/drawing/2014/main" id="{988D1C56-034F-8D77-A276-49514B484E35}"/>
              </a:ext>
            </a:extLst>
          </p:cNvPr>
          <p:cNvSpPr txBox="1">
            <a:spLocks noChangeArrowheads="1"/>
          </p:cNvSpPr>
          <p:nvPr/>
        </p:nvSpPr>
        <p:spPr bwMode="auto">
          <a:xfrm>
            <a:off x="8686800" y="3768725"/>
            <a:ext cx="1905000" cy="163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US" altLang="en-US" sz="2000"/>
              <a:t>Stating intended Outputs</a:t>
            </a:r>
          </a:p>
          <a:p>
            <a:pPr algn="ctr" eaLnBrk="1" hangingPunct="1">
              <a:buFont typeface="Arial" panose="020B0604020202020204" pitchFamily="34" charset="0"/>
              <a:buNone/>
            </a:pPr>
            <a:r>
              <a:rPr lang="en-US" altLang="en-US" sz="2000"/>
              <a:t> &amp; Intended Outcomes</a:t>
            </a:r>
          </a:p>
        </p:txBody>
      </p:sp>
      <p:grpSp>
        <p:nvGrpSpPr>
          <p:cNvPr id="16" name="Group 15">
            <a:extLst>
              <a:ext uri="{FF2B5EF4-FFF2-40B4-BE49-F238E27FC236}">
                <a16:creationId xmlns:a16="http://schemas.microsoft.com/office/drawing/2014/main" id="{3DD7D8C1-7F81-C9C0-7056-8E068B8E9FCC}"/>
              </a:ext>
            </a:extLst>
          </p:cNvPr>
          <p:cNvGrpSpPr/>
          <p:nvPr/>
        </p:nvGrpSpPr>
        <p:grpSpPr>
          <a:xfrm rot="2247443">
            <a:off x="9426188" y="2333456"/>
            <a:ext cx="426221" cy="942222"/>
            <a:chOff x="9490633" y="1499448"/>
            <a:chExt cx="1270458" cy="3028167"/>
          </a:xfrm>
          <a:solidFill>
            <a:schemeClr val="accent4"/>
          </a:solidFill>
        </p:grpSpPr>
        <p:sp>
          <p:nvSpPr>
            <p:cNvPr id="17" name="Freeform 5">
              <a:extLst>
                <a:ext uri="{FF2B5EF4-FFF2-40B4-BE49-F238E27FC236}">
                  <a16:creationId xmlns:a16="http://schemas.microsoft.com/office/drawing/2014/main" id="{4B6C31EB-2308-B691-B54E-15A31067B15C}"/>
                </a:ext>
              </a:extLst>
            </p:cNvPr>
            <p:cNvSpPr>
              <a:spLocks noEditPoints="1"/>
            </p:cNvSpPr>
            <p:nvPr/>
          </p:nvSpPr>
          <p:spPr bwMode="auto">
            <a:xfrm>
              <a:off x="9730649" y="1907294"/>
              <a:ext cx="822910" cy="1768535"/>
            </a:xfrm>
            <a:custGeom>
              <a:avLst/>
              <a:gdLst>
                <a:gd name="T0" fmla="*/ 39 w 233"/>
                <a:gd name="T1" fmla="*/ 495 h 500"/>
                <a:gd name="T2" fmla="*/ 32 w 233"/>
                <a:gd name="T3" fmla="*/ 475 h 500"/>
                <a:gd name="T4" fmla="*/ 10 w 233"/>
                <a:gd name="T5" fmla="*/ 385 h 500"/>
                <a:gd name="T6" fmla="*/ 1 w 233"/>
                <a:gd name="T7" fmla="*/ 262 h 500"/>
                <a:gd name="T8" fmla="*/ 14 w 233"/>
                <a:gd name="T9" fmla="*/ 133 h 500"/>
                <a:gd name="T10" fmla="*/ 43 w 233"/>
                <a:gd name="T11" fmla="*/ 30 h 500"/>
                <a:gd name="T12" fmla="*/ 53 w 233"/>
                <a:gd name="T13" fmla="*/ 4 h 500"/>
                <a:gd name="T14" fmla="*/ 59 w 233"/>
                <a:gd name="T15" fmla="*/ 0 h 500"/>
                <a:gd name="T16" fmla="*/ 157 w 233"/>
                <a:gd name="T17" fmla="*/ 3 h 500"/>
                <a:gd name="T18" fmla="*/ 183 w 233"/>
                <a:gd name="T19" fmla="*/ 3 h 500"/>
                <a:gd name="T20" fmla="*/ 190 w 233"/>
                <a:gd name="T21" fmla="*/ 8 h 500"/>
                <a:gd name="T22" fmla="*/ 226 w 233"/>
                <a:gd name="T23" fmla="*/ 170 h 500"/>
                <a:gd name="T24" fmla="*/ 215 w 233"/>
                <a:gd name="T25" fmla="*/ 378 h 500"/>
                <a:gd name="T26" fmla="*/ 179 w 233"/>
                <a:gd name="T27" fmla="*/ 497 h 500"/>
                <a:gd name="T28" fmla="*/ 174 w 233"/>
                <a:gd name="T29" fmla="*/ 500 h 500"/>
                <a:gd name="T30" fmla="*/ 90 w 233"/>
                <a:gd name="T31" fmla="*/ 497 h 500"/>
                <a:gd name="T32" fmla="*/ 44 w 233"/>
                <a:gd name="T33" fmla="*/ 496 h 500"/>
                <a:gd name="T34" fmla="*/ 39 w 233"/>
                <a:gd name="T35" fmla="*/ 495 h 500"/>
                <a:gd name="T36" fmla="*/ 148 w 233"/>
                <a:gd name="T37" fmla="*/ 145 h 500"/>
                <a:gd name="T38" fmla="*/ 154 w 233"/>
                <a:gd name="T39" fmla="*/ 80 h 500"/>
                <a:gd name="T40" fmla="*/ 90 w 233"/>
                <a:gd name="T41" fmla="*/ 74 h 500"/>
                <a:gd name="T42" fmla="*/ 83 w 233"/>
                <a:gd name="T43" fmla="*/ 139 h 500"/>
                <a:gd name="T44" fmla="*/ 148 w 233"/>
                <a:gd name="T45" fmla="*/ 145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3" h="500">
                  <a:moveTo>
                    <a:pt x="39" y="495"/>
                  </a:moveTo>
                  <a:cubicBezTo>
                    <a:pt x="36" y="488"/>
                    <a:pt x="34" y="481"/>
                    <a:pt x="32" y="475"/>
                  </a:cubicBezTo>
                  <a:cubicBezTo>
                    <a:pt x="22" y="445"/>
                    <a:pt x="15" y="415"/>
                    <a:pt x="10" y="385"/>
                  </a:cubicBezTo>
                  <a:cubicBezTo>
                    <a:pt x="3" y="344"/>
                    <a:pt x="0" y="303"/>
                    <a:pt x="1" y="262"/>
                  </a:cubicBezTo>
                  <a:cubicBezTo>
                    <a:pt x="1" y="219"/>
                    <a:pt x="5" y="176"/>
                    <a:pt x="14" y="133"/>
                  </a:cubicBezTo>
                  <a:cubicBezTo>
                    <a:pt x="20" y="98"/>
                    <a:pt x="30" y="63"/>
                    <a:pt x="43" y="30"/>
                  </a:cubicBezTo>
                  <a:cubicBezTo>
                    <a:pt x="46" y="21"/>
                    <a:pt x="49" y="13"/>
                    <a:pt x="53" y="4"/>
                  </a:cubicBezTo>
                  <a:cubicBezTo>
                    <a:pt x="54" y="1"/>
                    <a:pt x="55" y="0"/>
                    <a:pt x="59" y="0"/>
                  </a:cubicBezTo>
                  <a:cubicBezTo>
                    <a:pt x="91" y="1"/>
                    <a:pt x="124" y="2"/>
                    <a:pt x="157" y="3"/>
                  </a:cubicBezTo>
                  <a:cubicBezTo>
                    <a:pt x="165" y="3"/>
                    <a:pt x="174" y="3"/>
                    <a:pt x="183" y="3"/>
                  </a:cubicBezTo>
                  <a:cubicBezTo>
                    <a:pt x="186" y="3"/>
                    <a:pt x="188" y="4"/>
                    <a:pt x="190" y="8"/>
                  </a:cubicBezTo>
                  <a:cubicBezTo>
                    <a:pt x="210" y="60"/>
                    <a:pt x="221" y="115"/>
                    <a:pt x="226" y="170"/>
                  </a:cubicBezTo>
                  <a:cubicBezTo>
                    <a:pt x="233" y="240"/>
                    <a:pt x="229" y="309"/>
                    <a:pt x="215" y="378"/>
                  </a:cubicBezTo>
                  <a:cubicBezTo>
                    <a:pt x="207" y="419"/>
                    <a:pt x="195" y="459"/>
                    <a:pt x="179" y="497"/>
                  </a:cubicBezTo>
                  <a:cubicBezTo>
                    <a:pt x="178" y="498"/>
                    <a:pt x="176" y="500"/>
                    <a:pt x="174" y="500"/>
                  </a:cubicBezTo>
                  <a:cubicBezTo>
                    <a:pt x="146" y="499"/>
                    <a:pt x="118" y="498"/>
                    <a:pt x="90" y="497"/>
                  </a:cubicBezTo>
                  <a:cubicBezTo>
                    <a:pt x="75" y="497"/>
                    <a:pt x="59" y="497"/>
                    <a:pt x="44" y="496"/>
                  </a:cubicBezTo>
                  <a:cubicBezTo>
                    <a:pt x="42" y="496"/>
                    <a:pt x="40" y="496"/>
                    <a:pt x="39" y="495"/>
                  </a:cubicBezTo>
                  <a:close/>
                  <a:moveTo>
                    <a:pt x="148" y="145"/>
                  </a:moveTo>
                  <a:cubicBezTo>
                    <a:pt x="168" y="129"/>
                    <a:pt x="171" y="100"/>
                    <a:pt x="154" y="80"/>
                  </a:cubicBezTo>
                  <a:cubicBezTo>
                    <a:pt x="139" y="61"/>
                    <a:pt x="109" y="58"/>
                    <a:pt x="90" y="74"/>
                  </a:cubicBezTo>
                  <a:cubicBezTo>
                    <a:pt x="70" y="90"/>
                    <a:pt x="67" y="119"/>
                    <a:pt x="83" y="139"/>
                  </a:cubicBezTo>
                  <a:cubicBezTo>
                    <a:pt x="99" y="159"/>
                    <a:pt x="128" y="161"/>
                    <a:pt x="148" y="145"/>
                  </a:cubicBezTo>
                  <a:close/>
                </a:path>
              </a:pathLst>
            </a:custGeom>
            <a:grpFill/>
            <a:ln>
              <a:noFill/>
            </a:ln>
          </p:spPr>
          <p:txBody>
            <a:bodyPr/>
            <a:lstStyle/>
            <a:p>
              <a:pPr>
                <a:defRPr/>
              </a:pPr>
              <a:endParaRPr lang="en-GB" sz="1600" dirty="0">
                <a:solidFill>
                  <a:srgbClr val="282F39"/>
                </a:solidFill>
                <a:latin typeface="Calibri" panose="020F0502020204030204"/>
              </a:endParaRPr>
            </a:p>
          </p:txBody>
        </p:sp>
        <p:sp>
          <p:nvSpPr>
            <p:cNvPr id="18" name="Freeform 6">
              <a:extLst>
                <a:ext uri="{FF2B5EF4-FFF2-40B4-BE49-F238E27FC236}">
                  <a16:creationId xmlns:a16="http://schemas.microsoft.com/office/drawing/2014/main" id="{D3234E49-CDFB-7659-D4F8-7A365CA783D9}"/>
                </a:ext>
              </a:extLst>
            </p:cNvPr>
            <p:cNvSpPr>
              <a:spLocks/>
            </p:cNvSpPr>
            <p:nvPr/>
          </p:nvSpPr>
          <p:spPr bwMode="auto">
            <a:xfrm>
              <a:off x="10439867" y="3109176"/>
              <a:ext cx="321224" cy="927579"/>
            </a:xfrm>
            <a:custGeom>
              <a:avLst/>
              <a:gdLst>
                <a:gd name="T0" fmla="*/ 38 w 91"/>
                <a:gd name="T1" fmla="*/ 0 h 262"/>
                <a:gd name="T2" fmla="*/ 53 w 91"/>
                <a:gd name="T3" fmla="*/ 12 h 262"/>
                <a:gd name="T4" fmla="*/ 83 w 91"/>
                <a:gd name="T5" fmla="*/ 36 h 262"/>
                <a:gd name="T6" fmla="*/ 89 w 91"/>
                <a:gd name="T7" fmla="*/ 42 h 262"/>
                <a:gd name="T8" fmla="*/ 90 w 91"/>
                <a:gd name="T9" fmla="*/ 47 h 262"/>
                <a:gd name="T10" fmla="*/ 71 w 91"/>
                <a:gd name="T11" fmla="*/ 164 h 262"/>
                <a:gd name="T12" fmla="*/ 57 w 91"/>
                <a:gd name="T13" fmla="*/ 256 h 262"/>
                <a:gd name="T14" fmla="*/ 55 w 91"/>
                <a:gd name="T15" fmla="*/ 262 h 262"/>
                <a:gd name="T16" fmla="*/ 49 w 91"/>
                <a:gd name="T17" fmla="*/ 248 h 262"/>
                <a:gd name="T18" fmla="*/ 23 w 91"/>
                <a:gd name="T19" fmla="*/ 194 h 262"/>
                <a:gd name="T20" fmla="*/ 5 w 91"/>
                <a:gd name="T21" fmla="*/ 157 h 262"/>
                <a:gd name="T22" fmla="*/ 4 w 91"/>
                <a:gd name="T23" fmla="*/ 134 h 262"/>
                <a:gd name="T24" fmla="*/ 37 w 91"/>
                <a:gd name="T25" fmla="*/ 4 h 262"/>
                <a:gd name="T26" fmla="*/ 38 w 91"/>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262">
                  <a:moveTo>
                    <a:pt x="38" y="0"/>
                  </a:moveTo>
                  <a:cubicBezTo>
                    <a:pt x="43" y="4"/>
                    <a:pt x="48" y="8"/>
                    <a:pt x="53" y="12"/>
                  </a:cubicBezTo>
                  <a:cubicBezTo>
                    <a:pt x="63" y="20"/>
                    <a:pt x="73" y="28"/>
                    <a:pt x="83" y="36"/>
                  </a:cubicBezTo>
                  <a:cubicBezTo>
                    <a:pt x="85" y="38"/>
                    <a:pt x="88" y="40"/>
                    <a:pt x="89" y="42"/>
                  </a:cubicBezTo>
                  <a:cubicBezTo>
                    <a:pt x="90" y="43"/>
                    <a:pt x="91" y="46"/>
                    <a:pt x="90" y="47"/>
                  </a:cubicBezTo>
                  <a:cubicBezTo>
                    <a:pt x="84" y="86"/>
                    <a:pt x="78" y="125"/>
                    <a:pt x="71" y="164"/>
                  </a:cubicBezTo>
                  <a:cubicBezTo>
                    <a:pt x="66" y="195"/>
                    <a:pt x="61" y="225"/>
                    <a:pt x="57" y="256"/>
                  </a:cubicBezTo>
                  <a:cubicBezTo>
                    <a:pt x="56" y="258"/>
                    <a:pt x="56" y="259"/>
                    <a:pt x="55" y="262"/>
                  </a:cubicBezTo>
                  <a:cubicBezTo>
                    <a:pt x="53" y="257"/>
                    <a:pt x="51" y="252"/>
                    <a:pt x="49" y="248"/>
                  </a:cubicBezTo>
                  <a:cubicBezTo>
                    <a:pt x="40" y="230"/>
                    <a:pt x="32" y="212"/>
                    <a:pt x="23" y="194"/>
                  </a:cubicBezTo>
                  <a:cubicBezTo>
                    <a:pt x="17" y="182"/>
                    <a:pt x="12" y="169"/>
                    <a:pt x="5" y="157"/>
                  </a:cubicBezTo>
                  <a:cubicBezTo>
                    <a:pt x="0" y="149"/>
                    <a:pt x="1" y="142"/>
                    <a:pt x="4" y="134"/>
                  </a:cubicBezTo>
                  <a:cubicBezTo>
                    <a:pt x="20" y="92"/>
                    <a:pt x="30" y="48"/>
                    <a:pt x="37" y="4"/>
                  </a:cubicBezTo>
                  <a:cubicBezTo>
                    <a:pt x="37" y="3"/>
                    <a:pt x="37" y="2"/>
                    <a:pt x="38" y="0"/>
                  </a:cubicBezTo>
                  <a:close/>
                </a:path>
              </a:pathLst>
            </a:custGeom>
            <a:grpFill/>
            <a:ln>
              <a:noFill/>
            </a:ln>
          </p:spPr>
          <p:txBody>
            <a:bodyPr/>
            <a:lstStyle/>
            <a:p>
              <a:pPr>
                <a:defRPr/>
              </a:pPr>
              <a:endParaRPr lang="en-GB" sz="1600" dirty="0">
                <a:solidFill>
                  <a:srgbClr val="282F39"/>
                </a:solidFill>
                <a:latin typeface="Calibri" panose="020F0502020204030204"/>
              </a:endParaRPr>
            </a:p>
          </p:txBody>
        </p:sp>
        <p:sp>
          <p:nvSpPr>
            <p:cNvPr id="19" name="Freeform 7">
              <a:extLst>
                <a:ext uri="{FF2B5EF4-FFF2-40B4-BE49-F238E27FC236}">
                  <a16:creationId xmlns:a16="http://schemas.microsoft.com/office/drawing/2014/main" id="{18F6811B-54E9-684E-FFE7-277F4D3B8BA8}"/>
                </a:ext>
              </a:extLst>
            </p:cNvPr>
            <p:cNvSpPr>
              <a:spLocks/>
            </p:cNvSpPr>
            <p:nvPr/>
          </p:nvSpPr>
          <p:spPr bwMode="auto">
            <a:xfrm>
              <a:off x="9490633" y="3087521"/>
              <a:ext cx="295959" cy="913142"/>
            </a:xfrm>
            <a:custGeom>
              <a:avLst/>
              <a:gdLst>
                <a:gd name="T0" fmla="*/ 55 w 84"/>
                <a:gd name="T1" fmla="*/ 0 h 258"/>
                <a:gd name="T2" fmla="*/ 59 w 84"/>
                <a:gd name="T3" fmla="*/ 34 h 258"/>
                <a:gd name="T4" fmla="*/ 76 w 84"/>
                <a:gd name="T5" fmla="*/ 117 h 258"/>
                <a:gd name="T6" fmla="*/ 84 w 84"/>
                <a:gd name="T7" fmla="*/ 145 h 258"/>
                <a:gd name="T8" fmla="*/ 83 w 84"/>
                <a:gd name="T9" fmla="*/ 149 h 258"/>
                <a:gd name="T10" fmla="*/ 55 w 84"/>
                <a:gd name="T11" fmla="*/ 201 h 258"/>
                <a:gd name="T12" fmla="*/ 28 w 84"/>
                <a:gd name="T13" fmla="*/ 251 h 258"/>
                <a:gd name="T14" fmla="*/ 23 w 84"/>
                <a:gd name="T15" fmla="*/ 258 h 258"/>
                <a:gd name="T16" fmla="*/ 20 w 84"/>
                <a:gd name="T17" fmla="*/ 234 h 258"/>
                <a:gd name="T18" fmla="*/ 7 w 84"/>
                <a:gd name="T19" fmla="*/ 109 h 258"/>
                <a:gd name="T20" fmla="*/ 0 w 84"/>
                <a:gd name="T21" fmla="*/ 44 h 258"/>
                <a:gd name="T22" fmla="*/ 2 w 84"/>
                <a:gd name="T23" fmla="*/ 38 h 258"/>
                <a:gd name="T24" fmla="*/ 53 w 84"/>
                <a:gd name="T25" fmla="*/ 1 h 258"/>
                <a:gd name="T26" fmla="*/ 55 w 84"/>
                <a:gd name="T27"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258">
                  <a:moveTo>
                    <a:pt x="55" y="0"/>
                  </a:moveTo>
                  <a:cubicBezTo>
                    <a:pt x="56" y="12"/>
                    <a:pt x="57" y="23"/>
                    <a:pt x="59" y="34"/>
                  </a:cubicBezTo>
                  <a:cubicBezTo>
                    <a:pt x="63" y="62"/>
                    <a:pt x="68" y="90"/>
                    <a:pt x="76" y="117"/>
                  </a:cubicBezTo>
                  <a:cubicBezTo>
                    <a:pt x="79" y="127"/>
                    <a:pt x="81" y="136"/>
                    <a:pt x="84" y="145"/>
                  </a:cubicBezTo>
                  <a:cubicBezTo>
                    <a:pt x="84" y="146"/>
                    <a:pt x="84" y="148"/>
                    <a:pt x="83" y="149"/>
                  </a:cubicBezTo>
                  <a:cubicBezTo>
                    <a:pt x="74" y="167"/>
                    <a:pt x="65" y="184"/>
                    <a:pt x="55" y="201"/>
                  </a:cubicBezTo>
                  <a:cubicBezTo>
                    <a:pt x="46" y="218"/>
                    <a:pt x="37" y="234"/>
                    <a:pt x="28" y="251"/>
                  </a:cubicBezTo>
                  <a:cubicBezTo>
                    <a:pt x="27" y="253"/>
                    <a:pt x="25" y="256"/>
                    <a:pt x="23" y="258"/>
                  </a:cubicBezTo>
                  <a:cubicBezTo>
                    <a:pt x="22" y="250"/>
                    <a:pt x="21" y="242"/>
                    <a:pt x="20" y="234"/>
                  </a:cubicBezTo>
                  <a:cubicBezTo>
                    <a:pt x="16" y="193"/>
                    <a:pt x="11" y="151"/>
                    <a:pt x="7" y="109"/>
                  </a:cubicBezTo>
                  <a:cubicBezTo>
                    <a:pt x="5" y="88"/>
                    <a:pt x="2" y="66"/>
                    <a:pt x="0" y="44"/>
                  </a:cubicBezTo>
                  <a:cubicBezTo>
                    <a:pt x="0" y="42"/>
                    <a:pt x="1" y="39"/>
                    <a:pt x="2" y="38"/>
                  </a:cubicBezTo>
                  <a:cubicBezTo>
                    <a:pt x="19" y="26"/>
                    <a:pt x="36" y="13"/>
                    <a:pt x="53" y="1"/>
                  </a:cubicBezTo>
                  <a:cubicBezTo>
                    <a:pt x="54" y="0"/>
                    <a:pt x="54" y="0"/>
                    <a:pt x="55" y="0"/>
                  </a:cubicBezTo>
                  <a:close/>
                </a:path>
              </a:pathLst>
            </a:custGeom>
            <a:grpFill/>
            <a:ln>
              <a:noFill/>
            </a:ln>
          </p:spPr>
          <p:txBody>
            <a:bodyPr/>
            <a:lstStyle/>
            <a:p>
              <a:pPr>
                <a:defRPr/>
              </a:pPr>
              <a:endParaRPr lang="en-GB" sz="1600" dirty="0">
                <a:solidFill>
                  <a:srgbClr val="282F39"/>
                </a:solidFill>
                <a:latin typeface="Calibri" panose="020F0502020204030204"/>
              </a:endParaRPr>
            </a:p>
          </p:txBody>
        </p:sp>
        <p:sp>
          <p:nvSpPr>
            <p:cNvPr id="20" name="Freeform 8">
              <a:extLst>
                <a:ext uri="{FF2B5EF4-FFF2-40B4-BE49-F238E27FC236}">
                  <a16:creationId xmlns:a16="http://schemas.microsoft.com/office/drawing/2014/main" id="{2DBBC540-2BCA-0012-E3C9-CE9B7ABC6CDE}"/>
                </a:ext>
              </a:extLst>
            </p:cNvPr>
            <p:cNvSpPr>
              <a:spLocks/>
            </p:cNvSpPr>
            <p:nvPr/>
          </p:nvSpPr>
          <p:spPr bwMode="auto">
            <a:xfrm>
              <a:off x="9840731" y="3771475"/>
              <a:ext cx="517929" cy="756140"/>
            </a:xfrm>
            <a:custGeom>
              <a:avLst/>
              <a:gdLst>
                <a:gd name="T0" fmla="*/ 55 w 147"/>
                <a:gd name="T1" fmla="*/ 36 h 214"/>
                <a:gd name="T2" fmla="*/ 50 w 147"/>
                <a:gd name="T3" fmla="*/ 59 h 214"/>
                <a:gd name="T4" fmla="*/ 59 w 147"/>
                <a:gd name="T5" fmla="*/ 99 h 214"/>
                <a:gd name="T6" fmla="*/ 74 w 147"/>
                <a:gd name="T7" fmla="*/ 125 h 214"/>
                <a:gd name="T8" fmla="*/ 87 w 147"/>
                <a:gd name="T9" fmla="*/ 80 h 214"/>
                <a:gd name="T10" fmla="*/ 117 w 147"/>
                <a:gd name="T11" fmla="*/ 43 h 214"/>
                <a:gd name="T12" fmla="*/ 119 w 147"/>
                <a:gd name="T13" fmla="*/ 85 h 214"/>
                <a:gd name="T14" fmla="*/ 127 w 147"/>
                <a:gd name="T15" fmla="*/ 75 h 214"/>
                <a:gd name="T16" fmla="*/ 134 w 147"/>
                <a:gd name="T17" fmla="*/ 22 h 214"/>
                <a:gd name="T18" fmla="*/ 133 w 147"/>
                <a:gd name="T19" fmla="*/ 10 h 214"/>
                <a:gd name="T20" fmla="*/ 139 w 147"/>
                <a:gd name="T21" fmla="*/ 25 h 214"/>
                <a:gd name="T22" fmla="*/ 135 w 147"/>
                <a:gd name="T23" fmla="*/ 96 h 214"/>
                <a:gd name="T24" fmla="*/ 118 w 147"/>
                <a:gd name="T25" fmla="*/ 140 h 214"/>
                <a:gd name="T26" fmla="*/ 114 w 147"/>
                <a:gd name="T27" fmla="*/ 154 h 214"/>
                <a:gd name="T28" fmla="*/ 99 w 147"/>
                <a:gd name="T29" fmla="*/ 125 h 214"/>
                <a:gd name="T30" fmla="*/ 102 w 147"/>
                <a:gd name="T31" fmla="*/ 93 h 214"/>
                <a:gd name="T32" fmla="*/ 94 w 147"/>
                <a:gd name="T33" fmla="*/ 114 h 214"/>
                <a:gd name="T34" fmla="*/ 94 w 147"/>
                <a:gd name="T35" fmla="*/ 155 h 214"/>
                <a:gd name="T36" fmla="*/ 85 w 147"/>
                <a:gd name="T37" fmla="*/ 191 h 214"/>
                <a:gd name="T38" fmla="*/ 61 w 147"/>
                <a:gd name="T39" fmla="*/ 214 h 214"/>
                <a:gd name="T40" fmla="*/ 50 w 147"/>
                <a:gd name="T41" fmla="*/ 173 h 214"/>
                <a:gd name="T42" fmla="*/ 33 w 147"/>
                <a:gd name="T43" fmla="*/ 107 h 214"/>
                <a:gd name="T44" fmla="*/ 38 w 147"/>
                <a:gd name="T45" fmla="*/ 86 h 214"/>
                <a:gd name="T46" fmla="*/ 29 w 147"/>
                <a:gd name="T47" fmla="*/ 103 h 214"/>
                <a:gd name="T48" fmla="*/ 25 w 147"/>
                <a:gd name="T49" fmla="*/ 125 h 214"/>
                <a:gd name="T50" fmla="*/ 13 w 147"/>
                <a:gd name="T51" fmla="*/ 141 h 214"/>
                <a:gd name="T52" fmla="*/ 3 w 147"/>
                <a:gd name="T53" fmla="*/ 70 h 214"/>
                <a:gd name="T54" fmla="*/ 12 w 147"/>
                <a:gd name="T55" fmla="*/ 12 h 214"/>
                <a:gd name="T56" fmla="*/ 21 w 147"/>
                <a:gd name="T57" fmla="*/ 0 h 214"/>
                <a:gd name="T58" fmla="*/ 21 w 147"/>
                <a:gd name="T59" fmla="*/ 72 h 214"/>
                <a:gd name="T60" fmla="*/ 55 w 147"/>
                <a:gd name="T61" fmla="*/ 36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7" h="214">
                  <a:moveTo>
                    <a:pt x="55" y="36"/>
                  </a:moveTo>
                  <a:cubicBezTo>
                    <a:pt x="53" y="44"/>
                    <a:pt x="51" y="51"/>
                    <a:pt x="50" y="59"/>
                  </a:cubicBezTo>
                  <a:cubicBezTo>
                    <a:pt x="48" y="74"/>
                    <a:pt x="52" y="86"/>
                    <a:pt x="59" y="99"/>
                  </a:cubicBezTo>
                  <a:cubicBezTo>
                    <a:pt x="64" y="107"/>
                    <a:pt x="69" y="116"/>
                    <a:pt x="74" y="125"/>
                  </a:cubicBezTo>
                  <a:cubicBezTo>
                    <a:pt x="75" y="109"/>
                    <a:pt x="79" y="94"/>
                    <a:pt x="87" y="80"/>
                  </a:cubicBezTo>
                  <a:cubicBezTo>
                    <a:pt x="94" y="66"/>
                    <a:pt x="104" y="54"/>
                    <a:pt x="117" y="43"/>
                  </a:cubicBezTo>
                  <a:cubicBezTo>
                    <a:pt x="120" y="57"/>
                    <a:pt x="121" y="71"/>
                    <a:pt x="119" y="85"/>
                  </a:cubicBezTo>
                  <a:cubicBezTo>
                    <a:pt x="124" y="83"/>
                    <a:pt x="126" y="79"/>
                    <a:pt x="127" y="75"/>
                  </a:cubicBezTo>
                  <a:cubicBezTo>
                    <a:pt x="135" y="58"/>
                    <a:pt x="136" y="40"/>
                    <a:pt x="134" y="22"/>
                  </a:cubicBezTo>
                  <a:cubicBezTo>
                    <a:pt x="134" y="18"/>
                    <a:pt x="133" y="14"/>
                    <a:pt x="133" y="10"/>
                  </a:cubicBezTo>
                  <a:cubicBezTo>
                    <a:pt x="135" y="15"/>
                    <a:pt x="138" y="20"/>
                    <a:pt x="139" y="25"/>
                  </a:cubicBezTo>
                  <a:cubicBezTo>
                    <a:pt x="147" y="50"/>
                    <a:pt x="144" y="73"/>
                    <a:pt x="135" y="96"/>
                  </a:cubicBezTo>
                  <a:cubicBezTo>
                    <a:pt x="130" y="111"/>
                    <a:pt x="123" y="126"/>
                    <a:pt x="118" y="140"/>
                  </a:cubicBezTo>
                  <a:cubicBezTo>
                    <a:pt x="116" y="145"/>
                    <a:pt x="115" y="149"/>
                    <a:pt x="114" y="154"/>
                  </a:cubicBezTo>
                  <a:cubicBezTo>
                    <a:pt x="108" y="145"/>
                    <a:pt x="102" y="136"/>
                    <a:pt x="99" y="125"/>
                  </a:cubicBezTo>
                  <a:cubicBezTo>
                    <a:pt x="97" y="114"/>
                    <a:pt x="99" y="103"/>
                    <a:pt x="102" y="93"/>
                  </a:cubicBezTo>
                  <a:cubicBezTo>
                    <a:pt x="97" y="99"/>
                    <a:pt x="95" y="106"/>
                    <a:pt x="94" y="114"/>
                  </a:cubicBezTo>
                  <a:cubicBezTo>
                    <a:pt x="94" y="127"/>
                    <a:pt x="94" y="141"/>
                    <a:pt x="94" y="155"/>
                  </a:cubicBezTo>
                  <a:cubicBezTo>
                    <a:pt x="94" y="167"/>
                    <a:pt x="92" y="180"/>
                    <a:pt x="85" y="191"/>
                  </a:cubicBezTo>
                  <a:cubicBezTo>
                    <a:pt x="79" y="201"/>
                    <a:pt x="72" y="209"/>
                    <a:pt x="61" y="214"/>
                  </a:cubicBezTo>
                  <a:cubicBezTo>
                    <a:pt x="63" y="198"/>
                    <a:pt x="55" y="186"/>
                    <a:pt x="50" y="173"/>
                  </a:cubicBezTo>
                  <a:cubicBezTo>
                    <a:pt x="40" y="152"/>
                    <a:pt x="30" y="131"/>
                    <a:pt x="33" y="107"/>
                  </a:cubicBezTo>
                  <a:cubicBezTo>
                    <a:pt x="34" y="100"/>
                    <a:pt x="36" y="94"/>
                    <a:pt x="38" y="86"/>
                  </a:cubicBezTo>
                  <a:cubicBezTo>
                    <a:pt x="32" y="91"/>
                    <a:pt x="30" y="97"/>
                    <a:pt x="29" y="103"/>
                  </a:cubicBezTo>
                  <a:cubicBezTo>
                    <a:pt x="27" y="110"/>
                    <a:pt x="26" y="118"/>
                    <a:pt x="25" y="125"/>
                  </a:cubicBezTo>
                  <a:cubicBezTo>
                    <a:pt x="23" y="132"/>
                    <a:pt x="19" y="138"/>
                    <a:pt x="13" y="141"/>
                  </a:cubicBezTo>
                  <a:cubicBezTo>
                    <a:pt x="9" y="117"/>
                    <a:pt x="5" y="94"/>
                    <a:pt x="3" y="70"/>
                  </a:cubicBezTo>
                  <a:cubicBezTo>
                    <a:pt x="0" y="50"/>
                    <a:pt x="2" y="30"/>
                    <a:pt x="12" y="12"/>
                  </a:cubicBezTo>
                  <a:cubicBezTo>
                    <a:pt x="15" y="8"/>
                    <a:pt x="18" y="4"/>
                    <a:pt x="21" y="0"/>
                  </a:cubicBezTo>
                  <a:cubicBezTo>
                    <a:pt x="8" y="24"/>
                    <a:pt x="12" y="47"/>
                    <a:pt x="21" y="72"/>
                  </a:cubicBezTo>
                  <a:cubicBezTo>
                    <a:pt x="28" y="55"/>
                    <a:pt x="40" y="44"/>
                    <a:pt x="55" y="36"/>
                  </a:cubicBezTo>
                  <a:close/>
                </a:path>
              </a:pathLst>
            </a:custGeom>
            <a:grpFill/>
            <a:ln>
              <a:noFill/>
            </a:ln>
          </p:spPr>
          <p:txBody>
            <a:bodyPr/>
            <a:lstStyle/>
            <a:p>
              <a:pPr>
                <a:defRPr/>
              </a:pPr>
              <a:endParaRPr lang="en-GB" sz="1600">
                <a:solidFill>
                  <a:srgbClr val="282F39"/>
                </a:solidFill>
                <a:latin typeface="Calibri" panose="020F0502020204030204"/>
              </a:endParaRPr>
            </a:p>
          </p:txBody>
        </p:sp>
        <p:sp>
          <p:nvSpPr>
            <p:cNvPr id="21" name="Freeform 9">
              <a:extLst>
                <a:ext uri="{FF2B5EF4-FFF2-40B4-BE49-F238E27FC236}">
                  <a16:creationId xmlns:a16="http://schemas.microsoft.com/office/drawing/2014/main" id="{6E199467-9467-4325-158A-CC21FEED4283}"/>
                </a:ext>
              </a:extLst>
            </p:cNvPr>
            <p:cNvSpPr>
              <a:spLocks/>
            </p:cNvSpPr>
            <p:nvPr/>
          </p:nvSpPr>
          <p:spPr bwMode="auto">
            <a:xfrm>
              <a:off x="9952618" y="1499448"/>
              <a:ext cx="420479" cy="364535"/>
            </a:xfrm>
            <a:custGeom>
              <a:avLst/>
              <a:gdLst>
                <a:gd name="T0" fmla="*/ 119 w 119"/>
                <a:gd name="T1" fmla="*/ 103 h 103"/>
                <a:gd name="T2" fmla="*/ 0 w 119"/>
                <a:gd name="T3" fmla="*/ 100 h 103"/>
                <a:gd name="T4" fmla="*/ 62 w 119"/>
                <a:gd name="T5" fmla="*/ 0 h 103"/>
                <a:gd name="T6" fmla="*/ 119 w 119"/>
                <a:gd name="T7" fmla="*/ 103 h 103"/>
              </a:gdLst>
              <a:ahLst/>
              <a:cxnLst>
                <a:cxn ang="0">
                  <a:pos x="T0" y="T1"/>
                </a:cxn>
                <a:cxn ang="0">
                  <a:pos x="T2" y="T3"/>
                </a:cxn>
                <a:cxn ang="0">
                  <a:pos x="T4" y="T5"/>
                </a:cxn>
                <a:cxn ang="0">
                  <a:pos x="T6" y="T7"/>
                </a:cxn>
              </a:cxnLst>
              <a:rect l="0" t="0" r="r" b="b"/>
              <a:pathLst>
                <a:path w="119" h="103">
                  <a:moveTo>
                    <a:pt x="119" y="103"/>
                  </a:moveTo>
                  <a:cubicBezTo>
                    <a:pt x="79" y="102"/>
                    <a:pt x="39" y="101"/>
                    <a:pt x="0" y="100"/>
                  </a:cubicBezTo>
                  <a:cubicBezTo>
                    <a:pt x="3" y="84"/>
                    <a:pt x="47" y="12"/>
                    <a:pt x="62" y="0"/>
                  </a:cubicBezTo>
                  <a:cubicBezTo>
                    <a:pt x="76" y="12"/>
                    <a:pt x="118" y="90"/>
                    <a:pt x="119" y="103"/>
                  </a:cubicBezTo>
                  <a:close/>
                </a:path>
              </a:pathLst>
            </a:custGeom>
            <a:grpFill/>
            <a:ln>
              <a:noFill/>
            </a:ln>
          </p:spPr>
          <p:txBody>
            <a:bodyPr/>
            <a:lstStyle/>
            <a:p>
              <a:pPr>
                <a:defRPr/>
              </a:pPr>
              <a:endParaRPr lang="en-GB" sz="1600" dirty="0">
                <a:solidFill>
                  <a:srgbClr val="282F39"/>
                </a:solidFill>
                <a:latin typeface="Calibri" panose="020F0502020204030204"/>
              </a:endParaRPr>
            </a:p>
          </p:txBody>
        </p:sp>
      </p:grpSp>
      <p:grpSp>
        <p:nvGrpSpPr>
          <p:cNvPr id="22" name="Group 21">
            <a:extLst>
              <a:ext uri="{FF2B5EF4-FFF2-40B4-BE49-F238E27FC236}">
                <a16:creationId xmlns:a16="http://schemas.microsoft.com/office/drawing/2014/main" id="{C7F80A38-D747-73D1-11B1-80C618079090}"/>
              </a:ext>
            </a:extLst>
          </p:cNvPr>
          <p:cNvGrpSpPr/>
          <p:nvPr/>
        </p:nvGrpSpPr>
        <p:grpSpPr>
          <a:xfrm>
            <a:off x="6931331" y="2248435"/>
            <a:ext cx="678347" cy="844134"/>
            <a:chOff x="7931851" y="2464731"/>
            <a:chExt cx="1002842" cy="1223210"/>
          </a:xfrm>
          <a:solidFill>
            <a:schemeClr val="accent2"/>
          </a:solidFill>
        </p:grpSpPr>
        <p:sp>
          <p:nvSpPr>
            <p:cNvPr id="23" name="Freeform 5">
              <a:extLst>
                <a:ext uri="{FF2B5EF4-FFF2-40B4-BE49-F238E27FC236}">
                  <a16:creationId xmlns:a16="http://schemas.microsoft.com/office/drawing/2014/main" id="{C32EB73E-05B5-D526-AB1D-F400F3815FAD}"/>
                </a:ext>
              </a:extLst>
            </p:cNvPr>
            <p:cNvSpPr>
              <a:spLocks noEditPoints="1"/>
            </p:cNvSpPr>
            <p:nvPr/>
          </p:nvSpPr>
          <p:spPr bwMode="auto">
            <a:xfrm>
              <a:off x="8120806" y="2650831"/>
              <a:ext cx="623981" cy="1037110"/>
            </a:xfrm>
            <a:custGeom>
              <a:avLst/>
              <a:gdLst>
                <a:gd name="T0" fmla="*/ 674 w 750"/>
                <a:gd name="T1" fmla="*/ 602 h 1237"/>
                <a:gd name="T2" fmla="*/ 750 w 750"/>
                <a:gd name="T3" fmla="*/ 376 h 1237"/>
                <a:gd name="T4" fmla="*/ 638 w 750"/>
                <a:gd name="T5" fmla="*/ 110 h 1237"/>
                <a:gd name="T6" fmla="*/ 370 w 750"/>
                <a:gd name="T7" fmla="*/ 2 h 1237"/>
                <a:gd name="T8" fmla="*/ 110 w 750"/>
                <a:gd name="T9" fmla="*/ 112 h 1237"/>
                <a:gd name="T10" fmla="*/ 1 w 750"/>
                <a:gd name="T11" fmla="*/ 373 h 1237"/>
                <a:gd name="T12" fmla="*/ 77 w 750"/>
                <a:gd name="T13" fmla="*/ 603 h 1237"/>
                <a:gd name="T14" fmla="*/ 205 w 750"/>
                <a:gd name="T15" fmla="*/ 976 h 1237"/>
                <a:gd name="T16" fmla="*/ 205 w 750"/>
                <a:gd name="T17" fmla="*/ 1120 h 1237"/>
                <a:gd name="T18" fmla="*/ 321 w 750"/>
                <a:gd name="T19" fmla="*/ 1237 h 1237"/>
                <a:gd name="T20" fmla="*/ 430 w 750"/>
                <a:gd name="T21" fmla="*/ 1237 h 1237"/>
                <a:gd name="T22" fmla="*/ 546 w 750"/>
                <a:gd name="T23" fmla="*/ 1120 h 1237"/>
                <a:gd name="T24" fmla="*/ 546 w 750"/>
                <a:gd name="T25" fmla="*/ 976 h 1237"/>
                <a:gd name="T26" fmla="*/ 674 w 750"/>
                <a:gd name="T27" fmla="*/ 602 h 1237"/>
                <a:gd name="T28" fmla="*/ 116 w 750"/>
                <a:gd name="T29" fmla="*/ 574 h 1237"/>
                <a:gd name="T30" fmla="*/ 49 w 750"/>
                <a:gd name="T31" fmla="*/ 373 h 1237"/>
                <a:gd name="T32" fmla="*/ 371 w 750"/>
                <a:gd name="T33" fmla="*/ 50 h 1237"/>
                <a:gd name="T34" fmla="*/ 605 w 750"/>
                <a:gd name="T35" fmla="*/ 144 h 1237"/>
                <a:gd name="T36" fmla="*/ 702 w 750"/>
                <a:gd name="T37" fmla="*/ 376 h 1237"/>
                <a:gd name="T38" fmla="*/ 636 w 750"/>
                <a:gd name="T39" fmla="*/ 573 h 1237"/>
                <a:gd name="T40" fmla="*/ 498 w 750"/>
                <a:gd name="T41" fmla="*/ 967 h 1237"/>
                <a:gd name="T42" fmla="*/ 253 w 750"/>
                <a:gd name="T43" fmla="*/ 967 h 1237"/>
                <a:gd name="T44" fmla="*/ 116 w 750"/>
                <a:gd name="T45" fmla="*/ 574 h 1237"/>
                <a:gd name="T46" fmla="*/ 253 w 750"/>
                <a:gd name="T47" fmla="*/ 1104 h 1237"/>
                <a:gd name="T48" fmla="*/ 253 w 750"/>
                <a:gd name="T49" fmla="*/ 1085 h 1237"/>
                <a:gd name="T50" fmla="*/ 498 w 750"/>
                <a:gd name="T51" fmla="*/ 1113 h 1237"/>
                <a:gd name="T52" fmla="*/ 498 w 750"/>
                <a:gd name="T53" fmla="*/ 1120 h 1237"/>
                <a:gd name="T54" fmla="*/ 497 w 750"/>
                <a:gd name="T55" fmla="*/ 1132 h 1237"/>
                <a:gd name="T56" fmla="*/ 253 w 750"/>
                <a:gd name="T57" fmla="*/ 1104 h 1237"/>
                <a:gd name="T58" fmla="*/ 253 w 750"/>
                <a:gd name="T59" fmla="*/ 1036 h 1237"/>
                <a:gd name="T60" fmla="*/ 253 w 750"/>
                <a:gd name="T61" fmla="*/ 1015 h 1237"/>
                <a:gd name="T62" fmla="*/ 498 w 750"/>
                <a:gd name="T63" fmla="*/ 1015 h 1237"/>
                <a:gd name="T64" fmla="*/ 498 w 750"/>
                <a:gd name="T65" fmla="*/ 1064 h 1237"/>
                <a:gd name="T66" fmla="*/ 253 w 750"/>
                <a:gd name="T67" fmla="*/ 1036 h 1237"/>
                <a:gd name="T68" fmla="*/ 321 w 750"/>
                <a:gd name="T69" fmla="*/ 1189 h 1237"/>
                <a:gd name="T70" fmla="*/ 262 w 750"/>
                <a:gd name="T71" fmla="*/ 1153 h 1237"/>
                <a:gd name="T72" fmla="*/ 468 w 750"/>
                <a:gd name="T73" fmla="*/ 1177 h 1237"/>
                <a:gd name="T74" fmla="*/ 430 w 750"/>
                <a:gd name="T75" fmla="*/ 1189 h 1237"/>
                <a:gd name="T76" fmla="*/ 321 w 750"/>
                <a:gd name="T77" fmla="*/ 1189 h 1237"/>
                <a:gd name="T78" fmla="*/ 321 w 750"/>
                <a:gd name="T79" fmla="*/ 1189 h 1237"/>
                <a:gd name="T80" fmla="*/ 321 w 750"/>
                <a:gd name="T81" fmla="*/ 1189 h 1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50" h="1237">
                  <a:moveTo>
                    <a:pt x="674" y="602"/>
                  </a:moveTo>
                  <a:cubicBezTo>
                    <a:pt x="724" y="537"/>
                    <a:pt x="750" y="459"/>
                    <a:pt x="750" y="376"/>
                  </a:cubicBezTo>
                  <a:cubicBezTo>
                    <a:pt x="750" y="275"/>
                    <a:pt x="710" y="180"/>
                    <a:pt x="638" y="110"/>
                  </a:cubicBezTo>
                  <a:cubicBezTo>
                    <a:pt x="566" y="39"/>
                    <a:pt x="471" y="0"/>
                    <a:pt x="370" y="2"/>
                  </a:cubicBezTo>
                  <a:cubicBezTo>
                    <a:pt x="272" y="3"/>
                    <a:pt x="180" y="42"/>
                    <a:pt x="110" y="112"/>
                  </a:cubicBezTo>
                  <a:cubicBezTo>
                    <a:pt x="41" y="182"/>
                    <a:pt x="2" y="275"/>
                    <a:pt x="1" y="373"/>
                  </a:cubicBezTo>
                  <a:cubicBezTo>
                    <a:pt x="0" y="457"/>
                    <a:pt x="27" y="536"/>
                    <a:pt x="77" y="603"/>
                  </a:cubicBezTo>
                  <a:cubicBezTo>
                    <a:pt x="160" y="711"/>
                    <a:pt x="205" y="843"/>
                    <a:pt x="205" y="976"/>
                  </a:cubicBezTo>
                  <a:cubicBezTo>
                    <a:pt x="205" y="1120"/>
                    <a:pt x="205" y="1120"/>
                    <a:pt x="205" y="1120"/>
                  </a:cubicBezTo>
                  <a:cubicBezTo>
                    <a:pt x="205" y="1185"/>
                    <a:pt x="257" y="1237"/>
                    <a:pt x="321" y="1237"/>
                  </a:cubicBezTo>
                  <a:cubicBezTo>
                    <a:pt x="430" y="1237"/>
                    <a:pt x="430" y="1237"/>
                    <a:pt x="430" y="1237"/>
                  </a:cubicBezTo>
                  <a:cubicBezTo>
                    <a:pt x="494" y="1237"/>
                    <a:pt x="546" y="1185"/>
                    <a:pt x="546" y="1120"/>
                  </a:cubicBezTo>
                  <a:cubicBezTo>
                    <a:pt x="546" y="976"/>
                    <a:pt x="546" y="976"/>
                    <a:pt x="546" y="976"/>
                  </a:cubicBezTo>
                  <a:cubicBezTo>
                    <a:pt x="546" y="842"/>
                    <a:pt x="590" y="713"/>
                    <a:pt x="674" y="602"/>
                  </a:cubicBezTo>
                  <a:close/>
                  <a:moveTo>
                    <a:pt x="116" y="574"/>
                  </a:moveTo>
                  <a:cubicBezTo>
                    <a:pt x="71" y="516"/>
                    <a:pt x="48" y="446"/>
                    <a:pt x="49" y="373"/>
                  </a:cubicBezTo>
                  <a:cubicBezTo>
                    <a:pt x="51" y="197"/>
                    <a:pt x="195" y="52"/>
                    <a:pt x="371" y="50"/>
                  </a:cubicBezTo>
                  <a:cubicBezTo>
                    <a:pt x="459" y="49"/>
                    <a:pt x="542" y="82"/>
                    <a:pt x="605" y="144"/>
                  </a:cubicBezTo>
                  <a:cubicBezTo>
                    <a:pt x="667" y="206"/>
                    <a:pt x="702" y="288"/>
                    <a:pt x="702" y="376"/>
                  </a:cubicBezTo>
                  <a:cubicBezTo>
                    <a:pt x="702" y="448"/>
                    <a:pt x="679" y="516"/>
                    <a:pt x="636" y="573"/>
                  </a:cubicBezTo>
                  <a:cubicBezTo>
                    <a:pt x="547" y="690"/>
                    <a:pt x="500" y="825"/>
                    <a:pt x="498" y="967"/>
                  </a:cubicBezTo>
                  <a:cubicBezTo>
                    <a:pt x="253" y="967"/>
                    <a:pt x="253" y="967"/>
                    <a:pt x="253" y="967"/>
                  </a:cubicBezTo>
                  <a:cubicBezTo>
                    <a:pt x="251" y="827"/>
                    <a:pt x="202" y="688"/>
                    <a:pt x="116" y="574"/>
                  </a:cubicBezTo>
                  <a:close/>
                  <a:moveTo>
                    <a:pt x="253" y="1104"/>
                  </a:moveTo>
                  <a:cubicBezTo>
                    <a:pt x="253" y="1085"/>
                    <a:pt x="253" y="1085"/>
                    <a:pt x="253" y="1085"/>
                  </a:cubicBezTo>
                  <a:cubicBezTo>
                    <a:pt x="498" y="1113"/>
                    <a:pt x="498" y="1113"/>
                    <a:pt x="498" y="1113"/>
                  </a:cubicBezTo>
                  <a:cubicBezTo>
                    <a:pt x="498" y="1120"/>
                    <a:pt x="498" y="1120"/>
                    <a:pt x="498" y="1120"/>
                  </a:cubicBezTo>
                  <a:cubicBezTo>
                    <a:pt x="498" y="1124"/>
                    <a:pt x="498" y="1128"/>
                    <a:pt x="497" y="1132"/>
                  </a:cubicBezTo>
                  <a:lnTo>
                    <a:pt x="253" y="1104"/>
                  </a:lnTo>
                  <a:close/>
                  <a:moveTo>
                    <a:pt x="253" y="1036"/>
                  </a:moveTo>
                  <a:cubicBezTo>
                    <a:pt x="253" y="1015"/>
                    <a:pt x="253" y="1015"/>
                    <a:pt x="253" y="1015"/>
                  </a:cubicBezTo>
                  <a:cubicBezTo>
                    <a:pt x="498" y="1015"/>
                    <a:pt x="498" y="1015"/>
                    <a:pt x="498" y="1015"/>
                  </a:cubicBezTo>
                  <a:cubicBezTo>
                    <a:pt x="498" y="1064"/>
                    <a:pt x="498" y="1064"/>
                    <a:pt x="498" y="1064"/>
                  </a:cubicBezTo>
                  <a:lnTo>
                    <a:pt x="253" y="1036"/>
                  </a:lnTo>
                  <a:close/>
                  <a:moveTo>
                    <a:pt x="321" y="1189"/>
                  </a:moveTo>
                  <a:cubicBezTo>
                    <a:pt x="296" y="1189"/>
                    <a:pt x="273" y="1174"/>
                    <a:pt x="262" y="1153"/>
                  </a:cubicBezTo>
                  <a:cubicBezTo>
                    <a:pt x="468" y="1177"/>
                    <a:pt x="468" y="1177"/>
                    <a:pt x="468" y="1177"/>
                  </a:cubicBezTo>
                  <a:cubicBezTo>
                    <a:pt x="457" y="1184"/>
                    <a:pt x="444" y="1189"/>
                    <a:pt x="430" y="1189"/>
                  </a:cubicBezTo>
                  <a:lnTo>
                    <a:pt x="321" y="1189"/>
                  </a:lnTo>
                  <a:close/>
                  <a:moveTo>
                    <a:pt x="321" y="1189"/>
                  </a:moveTo>
                  <a:cubicBezTo>
                    <a:pt x="321" y="1189"/>
                    <a:pt x="321" y="1189"/>
                    <a:pt x="321" y="1189"/>
                  </a:cubicBezTo>
                </a:path>
              </a:pathLst>
            </a:custGeom>
            <a:grpFill/>
            <a:ln>
              <a:noFill/>
            </a:ln>
          </p:spPr>
          <p:txBody>
            <a:bodyPr/>
            <a:lstStyle/>
            <a:p>
              <a:pPr>
                <a:defRPr/>
              </a:pPr>
              <a:endParaRPr lang="en-GB" sz="1600" dirty="0">
                <a:solidFill>
                  <a:srgbClr val="007A7D">
                    <a:lumMod val="60000"/>
                    <a:lumOff val="40000"/>
                  </a:srgbClr>
                </a:solidFill>
                <a:latin typeface="Calibri" panose="020F0502020204030204"/>
              </a:endParaRPr>
            </a:p>
          </p:txBody>
        </p:sp>
        <p:sp>
          <p:nvSpPr>
            <p:cNvPr id="24" name="Freeform 6">
              <a:extLst>
                <a:ext uri="{FF2B5EF4-FFF2-40B4-BE49-F238E27FC236}">
                  <a16:creationId xmlns:a16="http://schemas.microsoft.com/office/drawing/2014/main" id="{92BF2A00-C278-1CD0-B12B-AD12A1333051}"/>
                </a:ext>
              </a:extLst>
            </p:cNvPr>
            <p:cNvSpPr>
              <a:spLocks noEditPoints="1"/>
            </p:cNvSpPr>
            <p:nvPr/>
          </p:nvSpPr>
          <p:spPr bwMode="auto">
            <a:xfrm>
              <a:off x="8193151" y="2944496"/>
              <a:ext cx="44264" cy="75201"/>
            </a:xfrm>
            <a:custGeom>
              <a:avLst/>
              <a:gdLst>
                <a:gd name="T0" fmla="*/ 51 w 53"/>
                <a:gd name="T1" fmla="*/ 62 h 90"/>
                <a:gd name="T2" fmla="*/ 48 w 53"/>
                <a:gd name="T3" fmla="*/ 24 h 90"/>
                <a:gd name="T4" fmla="*/ 25 w 53"/>
                <a:gd name="T5" fmla="*/ 0 h 90"/>
                <a:gd name="T6" fmla="*/ 0 w 53"/>
                <a:gd name="T7" fmla="*/ 23 h 90"/>
                <a:gd name="T8" fmla="*/ 4 w 53"/>
                <a:gd name="T9" fmla="*/ 69 h 90"/>
                <a:gd name="T10" fmla="*/ 27 w 53"/>
                <a:gd name="T11" fmla="*/ 90 h 90"/>
                <a:gd name="T12" fmla="*/ 31 w 53"/>
                <a:gd name="T13" fmla="*/ 90 h 90"/>
                <a:gd name="T14" fmla="*/ 51 w 53"/>
                <a:gd name="T15" fmla="*/ 62 h 90"/>
                <a:gd name="T16" fmla="*/ 51 w 53"/>
                <a:gd name="T17" fmla="*/ 62 h 90"/>
                <a:gd name="T18" fmla="*/ 51 w 53"/>
                <a:gd name="T19" fmla="*/ 6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0">
                  <a:moveTo>
                    <a:pt x="51" y="62"/>
                  </a:moveTo>
                  <a:cubicBezTo>
                    <a:pt x="49" y="50"/>
                    <a:pt x="48" y="37"/>
                    <a:pt x="48" y="24"/>
                  </a:cubicBezTo>
                  <a:cubicBezTo>
                    <a:pt x="49" y="11"/>
                    <a:pt x="38" y="0"/>
                    <a:pt x="25" y="0"/>
                  </a:cubicBezTo>
                  <a:cubicBezTo>
                    <a:pt x="11" y="0"/>
                    <a:pt x="1" y="10"/>
                    <a:pt x="0" y="23"/>
                  </a:cubicBezTo>
                  <a:cubicBezTo>
                    <a:pt x="0" y="39"/>
                    <a:pt x="1" y="54"/>
                    <a:pt x="4" y="69"/>
                  </a:cubicBezTo>
                  <a:cubicBezTo>
                    <a:pt x="5" y="81"/>
                    <a:pt x="16" y="90"/>
                    <a:pt x="27" y="90"/>
                  </a:cubicBezTo>
                  <a:cubicBezTo>
                    <a:pt x="28" y="90"/>
                    <a:pt x="30" y="90"/>
                    <a:pt x="31" y="90"/>
                  </a:cubicBezTo>
                  <a:cubicBezTo>
                    <a:pt x="44" y="88"/>
                    <a:pt x="53" y="75"/>
                    <a:pt x="51" y="62"/>
                  </a:cubicBezTo>
                  <a:close/>
                  <a:moveTo>
                    <a:pt x="51" y="62"/>
                  </a:moveTo>
                  <a:cubicBezTo>
                    <a:pt x="51" y="62"/>
                    <a:pt x="51" y="62"/>
                    <a:pt x="51" y="62"/>
                  </a:cubicBezTo>
                </a:path>
              </a:pathLst>
            </a:custGeom>
            <a:grpFill/>
            <a:ln>
              <a:noFill/>
            </a:ln>
          </p:spPr>
          <p:txBody>
            <a:bodyPr/>
            <a:lstStyle/>
            <a:p>
              <a:pPr>
                <a:defRPr/>
              </a:pPr>
              <a:endParaRPr lang="en-GB" sz="1600">
                <a:solidFill>
                  <a:srgbClr val="282F39"/>
                </a:solidFill>
                <a:latin typeface="Calibri" panose="020F0502020204030204"/>
              </a:endParaRPr>
            </a:p>
          </p:txBody>
        </p:sp>
        <p:sp>
          <p:nvSpPr>
            <p:cNvPr id="25" name="Freeform 7">
              <a:extLst>
                <a:ext uri="{FF2B5EF4-FFF2-40B4-BE49-F238E27FC236}">
                  <a16:creationId xmlns:a16="http://schemas.microsoft.com/office/drawing/2014/main" id="{A82749D0-ED4D-9175-CDAA-595F5512E957}"/>
                </a:ext>
              </a:extLst>
            </p:cNvPr>
            <p:cNvSpPr>
              <a:spLocks noEditPoints="1"/>
            </p:cNvSpPr>
            <p:nvPr/>
          </p:nvSpPr>
          <p:spPr bwMode="auto">
            <a:xfrm>
              <a:off x="8215045" y="3044923"/>
              <a:ext cx="160397" cy="257493"/>
            </a:xfrm>
            <a:custGeom>
              <a:avLst/>
              <a:gdLst>
                <a:gd name="T0" fmla="*/ 166 w 193"/>
                <a:gd name="T1" fmla="*/ 307 h 307"/>
                <a:gd name="T2" fmla="*/ 174 w 193"/>
                <a:gd name="T3" fmla="*/ 306 h 307"/>
                <a:gd name="T4" fmla="*/ 189 w 193"/>
                <a:gd name="T5" fmla="*/ 275 h 307"/>
                <a:gd name="T6" fmla="*/ 71 w 193"/>
                <a:gd name="T7" fmla="*/ 51 h 307"/>
                <a:gd name="T8" fmla="*/ 49 w 193"/>
                <a:gd name="T9" fmla="*/ 16 h 307"/>
                <a:gd name="T10" fmla="*/ 16 w 193"/>
                <a:gd name="T11" fmla="*/ 6 h 307"/>
                <a:gd name="T12" fmla="*/ 6 w 193"/>
                <a:gd name="T13" fmla="*/ 38 h 307"/>
                <a:gd name="T14" fmla="*/ 33 w 193"/>
                <a:gd name="T15" fmla="*/ 80 h 307"/>
                <a:gd name="T16" fmla="*/ 143 w 193"/>
                <a:gd name="T17" fmla="*/ 290 h 307"/>
                <a:gd name="T18" fmla="*/ 166 w 193"/>
                <a:gd name="T19" fmla="*/ 307 h 307"/>
                <a:gd name="T20" fmla="*/ 166 w 193"/>
                <a:gd name="T21" fmla="*/ 307 h 307"/>
                <a:gd name="T22" fmla="*/ 166 w 193"/>
                <a:gd name="T23" fmla="*/ 30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3" h="307">
                  <a:moveTo>
                    <a:pt x="166" y="307"/>
                  </a:moveTo>
                  <a:cubicBezTo>
                    <a:pt x="169" y="307"/>
                    <a:pt x="171" y="306"/>
                    <a:pt x="174" y="306"/>
                  </a:cubicBezTo>
                  <a:cubicBezTo>
                    <a:pt x="186" y="301"/>
                    <a:pt x="193" y="288"/>
                    <a:pt x="189" y="275"/>
                  </a:cubicBezTo>
                  <a:cubicBezTo>
                    <a:pt x="162" y="194"/>
                    <a:pt x="123" y="119"/>
                    <a:pt x="71" y="51"/>
                  </a:cubicBezTo>
                  <a:cubicBezTo>
                    <a:pt x="63" y="40"/>
                    <a:pt x="55" y="28"/>
                    <a:pt x="49" y="16"/>
                  </a:cubicBezTo>
                  <a:cubicBezTo>
                    <a:pt x="43" y="4"/>
                    <a:pt x="28" y="0"/>
                    <a:pt x="16" y="6"/>
                  </a:cubicBezTo>
                  <a:cubicBezTo>
                    <a:pt x="5" y="12"/>
                    <a:pt x="0" y="26"/>
                    <a:pt x="6" y="38"/>
                  </a:cubicBezTo>
                  <a:cubicBezTo>
                    <a:pt x="14" y="53"/>
                    <a:pt x="23" y="67"/>
                    <a:pt x="33" y="80"/>
                  </a:cubicBezTo>
                  <a:cubicBezTo>
                    <a:pt x="81" y="144"/>
                    <a:pt x="119" y="215"/>
                    <a:pt x="143" y="290"/>
                  </a:cubicBezTo>
                  <a:cubicBezTo>
                    <a:pt x="147" y="300"/>
                    <a:pt x="156" y="307"/>
                    <a:pt x="166" y="307"/>
                  </a:cubicBezTo>
                  <a:close/>
                  <a:moveTo>
                    <a:pt x="166" y="307"/>
                  </a:moveTo>
                  <a:cubicBezTo>
                    <a:pt x="166" y="307"/>
                    <a:pt x="166" y="307"/>
                    <a:pt x="166" y="307"/>
                  </a:cubicBezTo>
                </a:path>
              </a:pathLst>
            </a:custGeom>
            <a:grpFill/>
            <a:ln>
              <a:noFill/>
            </a:ln>
          </p:spPr>
          <p:txBody>
            <a:bodyPr/>
            <a:lstStyle/>
            <a:p>
              <a:pPr>
                <a:defRPr/>
              </a:pPr>
              <a:endParaRPr lang="en-GB" sz="1600">
                <a:solidFill>
                  <a:srgbClr val="282F39"/>
                </a:solidFill>
                <a:latin typeface="Calibri" panose="020F0502020204030204"/>
              </a:endParaRPr>
            </a:p>
          </p:txBody>
        </p:sp>
        <p:sp>
          <p:nvSpPr>
            <p:cNvPr id="26" name="Freeform 8">
              <a:extLst>
                <a:ext uri="{FF2B5EF4-FFF2-40B4-BE49-F238E27FC236}">
                  <a16:creationId xmlns:a16="http://schemas.microsoft.com/office/drawing/2014/main" id="{4B68B67C-0F14-98C9-A1F5-DF28D7C33B15}"/>
                </a:ext>
              </a:extLst>
            </p:cNvPr>
            <p:cNvSpPr>
              <a:spLocks noEditPoints="1"/>
            </p:cNvSpPr>
            <p:nvPr/>
          </p:nvSpPr>
          <p:spPr bwMode="auto">
            <a:xfrm>
              <a:off x="8585816" y="3030644"/>
              <a:ext cx="71870" cy="89004"/>
            </a:xfrm>
            <a:custGeom>
              <a:avLst/>
              <a:gdLst>
                <a:gd name="T0" fmla="*/ 69 w 86"/>
                <a:gd name="T1" fmla="*/ 5 h 106"/>
                <a:gd name="T2" fmla="*/ 37 w 86"/>
                <a:gd name="T3" fmla="*/ 18 h 106"/>
                <a:gd name="T4" fmla="*/ 8 w 86"/>
                <a:gd name="T5" fmla="*/ 68 h 106"/>
                <a:gd name="T6" fmla="*/ 12 w 86"/>
                <a:gd name="T7" fmla="*/ 102 h 106"/>
                <a:gd name="T8" fmla="*/ 27 w 86"/>
                <a:gd name="T9" fmla="*/ 106 h 106"/>
                <a:gd name="T10" fmla="*/ 46 w 86"/>
                <a:gd name="T11" fmla="*/ 97 h 106"/>
                <a:gd name="T12" fmla="*/ 81 w 86"/>
                <a:gd name="T13" fmla="*/ 37 h 106"/>
                <a:gd name="T14" fmla="*/ 69 w 86"/>
                <a:gd name="T15" fmla="*/ 5 h 106"/>
                <a:gd name="T16" fmla="*/ 69 w 86"/>
                <a:gd name="T17" fmla="*/ 5 h 106"/>
                <a:gd name="T18" fmla="*/ 69 w 86"/>
                <a:gd name="T19" fmla="*/ 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106">
                  <a:moveTo>
                    <a:pt x="69" y="5"/>
                  </a:moveTo>
                  <a:cubicBezTo>
                    <a:pt x="56" y="0"/>
                    <a:pt x="42" y="6"/>
                    <a:pt x="37" y="18"/>
                  </a:cubicBezTo>
                  <a:cubicBezTo>
                    <a:pt x="29" y="36"/>
                    <a:pt x="20" y="52"/>
                    <a:pt x="8" y="68"/>
                  </a:cubicBezTo>
                  <a:cubicBezTo>
                    <a:pt x="0" y="79"/>
                    <a:pt x="2" y="94"/>
                    <a:pt x="12" y="102"/>
                  </a:cubicBezTo>
                  <a:cubicBezTo>
                    <a:pt x="17" y="105"/>
                    <a:pt x="22" y="106"/>
                    <a:pt x="27" y="106"/>
                  </a:cubicBezTo>
                  <a:cubicBezTo>
                    <a:pt x="34" y="106"/>
                    <a:pt x="41" y="103"/>
                    <a:pt x="46" y="97"/>
                  </a:cubicBezTo>
                  <a:cubicBezTo>
                    <a:pt x="60" y="78"/>
                    <a:pt x="72" y="58"/>
                    <a:pt x="81" y="37"/>
                  </a:cubicBezTo>
                  <a:cubicBezTo>
                    <a:pt x="86" y="25"/>
                    <a:pt x="81" y="11"/>
                    <a:pt x="69" y="5"/>
                  </a:cubicBezTo>
                  <a:close/>
                  <a:moveTo>
                    <a:pt x="69" y="5"/>
                  </a:moveTo>
                  <a:cubicBezTo>
                    <a:pt x="69" y="5"/>
                    <a:pt x="69" y="5"/>
                    <a:pt x="69" y="5"/>
                  </a:cubicBezTo>
                </a:path>
              </a:pathLst>
            </a:custGeom>
            <a:grpFill/>
            <a:ln>
              <a:noFill/>
            </a:ln>
          </p:spPr>
          <p:txBody>
            <a:bodyPr/>
            <a:lstStyle/>
            <a:p>
              <a:pPr>
                <a:defRPr/>
              </a:pPr>
              <a:endParaRPr lang="en-GB" sz="1600">
                <a:solidFill>
                  <a:srgbClr val="282F39"/>
                </a:solidFill>
                <a:latin typeface="Calibri" panose="020F0502020204030204"/>
              </a:endParaRPr>
            </a:p>
          </p:txBody>
        </p:sp>
        <p:sp>
          <p:nvSpPr>
            <p:cNvPr id="27" name="Freeform 9">
              <a:extLst>
                <a:ext uri="{FF2B5EF4-FFF2-40B4-BE49-F238E27FC236}">
                  <a16:creationId xmlns:a16="http://schemas.microsoft.com/office/drawing/2014/main" id="{3CCA7FBE-51C0-DA66-7753-6FDDD20B2AE8}"/>
                </a:ext>
              </a:extLst>
            </p:cNvPr>
            <p:cNvSpPr>
              <a:spLocks noEditPoints="1"/>
            </p:cNvSpPr>
            <p:nvPr/>
          </p:nvSpPr>
          <p:spPr bwMode="auto">
            <a:xfrm>
              <a:off x="8413044" y="2724603"/>
              <a:ext cx="259397" cy="282719"/>
            </a:xfrm>
            <a:custGeom>
              <a:avLst/>
              <a:gdLst>
                <a:gd name="T0" fmla="*/ 24 w 312"/>
                <a:gd name="T1" fmla="*/ 48 h 337"/>
                <a:gd name="T2" fmla="*/ 264 w 312"/>
                <a:gd name="T3" fmla="*/ 288 h 337"/>
                <a:gd name="T4" fmla="*/ 263 w 312"/>
                <a:gd name="T5" fmla="*/ 311 h 337"/>
                <a:gd name="T6" fmla="*/ 285 w 312"/>
                <a:gd name="T7" fmla="*/ 337 h 337"/>
                <a:gd name="T8" fmla="*/ 287 w 312"/>
                <a:gd name="T9" fmla="*/ 337 h 337"/>
                <a:gd name="T10" fmla="*/ 311 w 312"/>
                <a:gd name="T11" fmla="*/ 315 h 337"/>
                <a:gd name="T12" fmla="*/ 312 w 312"/>
                <a:gd name="T13" fmla="*/ 288 h 337"/>
                <a:gd name="T14" fmla="*/ 24 w 312"/>
                <a:gd name="T15" fmla="*/ 0 h 337"/>
                <a:gd name="T16" fmla="*/ 0 w 312"/>
                <a:gd name="T17" fmla="*/ 24 h 337"/>
                <a:gd name="T18" fmla="*/ 24 w 312"/>
                <a:gd name="T19" fmla="*/ 48 h 337"/>
                <a:gd name="T20" fmla="*/ 24 w 312"/>
                <a:gd name="T21" fmla="*/ 48 h 337"/>
                <a:gd name="T22" fmla="*/ 24 w 312"/>
                <a:gd name="T23" fmla="*/ 48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2" h="337">
                  <a:moveTo>
                    <a:pt x="24" y="48"/>
                  </a:moveTo>
                  <a:cubicBezTo>
                    <a:pt x="157" y="48"/>
                    <a:pt x="264" y="156"/>
                    <a:pt x="264" y="288"/>
                  </a:cubicBezTo>
                  <a:cubicBezTo>
                    <a:pt x="264" y="296"/>
                    <a:pt x="264" y="303"/>
                    <a:pt x="263" y="311"/>
                  </a:cubicBezTo>
                  <a:cubicBezTo>
                    <a:pt x="262" y="324"/>
                    <a:pt x="272" y="336"/>
                    <a:pt x="285" y="337"/>
                  </a:cubicBezTo>
                  <a:cubicBezTo>
                    <a:pt x="286" y="337"/>
                    <a:pt x="287" y="337"/>
                    <a:pt x="287" y="337"/>
                  </a:cubicBezTo>
                  <a:cubicBezTo>
                    <a:pt x="300" y="337"/>
                    <a:pt x="310" y="328"/>
                    <a:pt x="311" y="315"/>
                  </a:cubicBezTo>
                  <a:cubicBezTo>
                    <a:pt x="312" y="306"/>
                    <a:pt x="312" y="297"/>
                    <a:pt x="312" y="288"/>
                  </a:cubicBezTo>
                  <a:cubicBezTo>
                    <a:pt x="312" y="129"/>
                    <a:pt x="183" y="0"/>
                    <a:pt x="24" y="0"/>
                  </a:cubicBezTo>
                  <a:cubicBezTo>
                    <a:pt x="11" y="0"/>
                    <a:pt x="0" y="11"/>
                    <a:pt x="0" y="24"/>
                  </a:cubicBezTo>
                  <a:cubicBezTo>
                    <a:pt x="0" y="37"/>
                    <a:pt x="11" y="48"/>
                    <a:pt x="24" y="48"/>
                  </a:cubicBezTo>
                  <a:close/>
                  <a:moveTo>
                    <a:pt x="24" y="48"/>
                  </a:moveTo>
                  <a:cubicBezTo>
                    <a:pt x="24" y="48"/>
                    <a:pt x="24" y="48"/>
                    <a:pt x="24" y="48"/>
                  </a:cubicBezTo>
                </a:path>
              </a:pathLst>
            </a:custGeom>
            <a:grpFill/>
            <a:ln>
              <a:noFill/>
            </a:ln>
          </p:spPr>
          <p:txBody>
            <a:bodyPr/>
            <a:lstStyle/>
            <a:p>
              <a:pPr>
                <a:defRPr/>
              </a:pPr>
              <a:endParaRPr lang="en-GB" sz="1600">
                <a:solidFill>
                  <a:srgbClr val="282F39"/>
                </a:solidFill>
                <a:latin typeface="Calibri" panose="020F0502020204030204"/>
              </a:endParaRPr>
            </a:p>
          </p:txBody>
        </p:sp>
        <p:sp>
          <p:nvSpPr>
            <p:cNvPr id="28" name="Freeform 10">
              <a:extLst>
                <a:ext uri="{FF2B5EF4-FFF2-40B4-BE49-F238E27FC236}">
                  <a16:creationId xmlns:a16="http://schemas.microsoft.com/office/drawing/2014/main" id="{54ED6F89-FF4E-7B7A-B4D6-6BA5E9053D68}"/>
                </a:ext>
              </a:extLst>
            </p:cNvPr>
            <p:cNvSpPr>
              <a:spLocks noEditPoints="1"/>
            </p:cNvSpPr>
            <p:nvPr/>
          </p:nvSpPr>
          <p:spPr bwMode="auto">
            <a:xfrm>
              <a:off x="8413044" y="2464731"/>
              <a:ext cx="39980" cy="152306"/>
            </a:xfrm>
            <a:custGeom>
              <a:avLst/>
              <a:gdLst>
                <a:gd name="T0" fmla="*/ 24 w 48"/>
                <a:gd name="T1" fmla="*/ 182 h 182"/>
                <a:gd name="T2" fmla="*/ 48 w 48"/>
                <a:gd name="T3" fmla="*/ 158 h 182"/>
                <a:gd name="T4" fmla="*/ 48 w 48"/>
                <a:gd name="T5" fmla="*/ 24 h 182"/>
                <a:gd name="T6" fmla="*/ 24 w 48"/>
                <a:gd name="T7" fmla="*/ 0 h 182"/>
                <a:gd name="T8" fmla="*/ 0 w 48"/>
                <a:gd name="T9" fmla="*/ 24 h 182"/>
                <a:gd name="T10" fmla="*/ 0 w 48"/>
                <a:gd name="T11" fmla="*/ 158 h 182"/>
                <a:gd name="T12" fmla="*/ 24 w 48"/>
                <a:gd name="T13" fmla="*/ 182 h 182"/>
                <a:gd name="T14" fmla="*/ 24 w 48"/>
                <a:gd name="T15" fmla="*/ 182 h 182"/>
                <a:gd name="T16" fmla="*/ 24 w 48"/>
                <a:gd name="T17"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82">
                  <a:moveTo>
                    <a:pt x="24" y="182"/>
                  </a:moveTo>
                  <a:cubicBezTo>
                    <a:pt x="38" y="182"/>
                    <a:pt x="48" y="172"/>
                    <a:pt x="48" y="158"/>
                  </a:cubicBezTo>
                  <a:cubicBezTo>
                    <a:pt x="48" y="24"/>
                    <a:pt x="48" y="24"/>
                    <a:pt x="48" y="24"/>
                  </a:cubicBezTo>
                  <a:cubicBezTo>
                    <a:pt x="48" y="11"/>
                    <a:pt x="38" y="0"/>
                    <a:pt x="24" y="0"/>
                  </a:cubicBezTo>
                  <a:cubicBezTo>
                    <a:pt x="11" y="0"/>
                    <a:pt x="0" y="11"/>
                    <a:pt x="0" y="24"/>
                  </a:cubicBezTo>
                  <a:cubicBezTo>
                    <a:pt x="0" y="158"/>
                    <a:pt x="0" y="158"/>
                    <a:pt x="0" y="158"/>
                  </a:cubicBezTo>
                  <a:cubicBezTo>
                    <a:pt x="0" y="172"/>
                    <a:pt x="11" y="182"/>
                    <a:pt x="24" y="182"/>
                  </a:cubicBezTo>
                  <a:close/>
                  <a:moveTo>
                    <a:pt x="24" y="182"/>
                  </a:moveTo>
                  <a:cubicBezTo>
                    <a:pt x="24" y="182"/>
                    <a:pt x="24" y="182"/>
                    <a:pt x="24" y="182"/>
                  </a:cubicBezTo>
                </a:path>
              </a:pathLst>
            </a:custGeom>
            <a:grpFill/>
            <a:ln>
              <a:noFill/>
            </a:ln>
          </p:spPr>
          <p:txBody>
            <a:bodyPr/>
            <a:lstStyle/>
            <a:p>
              <a:pPr>
                <a:defRPr/>
              </a:pPr>
              <a:endParaRPr lang="en-GB" sz="1600">
                <a:solidFill>
                  <a:srgbClr val="282F39"/>
                </a:solidFill>
                <a:latin typeface="Calibri" panose="020F0502020204030204"/>
              </a:endParaRPr>
            </a:p>
          </p:txBody>
        </p:sp>
        <p:sp>
          <p:nvSpPr>
            <p:cNvPr id="29" name="Freeform 11">
              <a:extLst>
                <a:ext uri="{FF2B5EF4-FFF2-40B4-BE49-F238E27FC236}">
                  <a16:creationId xmlns:a16="http://schemas.microsoft.com/office/drawing/2014/main" id="{5C465025-4136-D93A-1758-D4DBD98BFC7F}"/>
                </a:ext>
              </a:extLst>
            </p:cNvPr>
            <p:cNvSpPr>
              <a:spLocks noEditPoints="1"/>
            </p:cNvSpPr>
            <p:nvPr/>
          </p:nvSpPr>
          <p:spPr bwMode="auto">
            <a:xfrm>
              <a:off x="8169830" y="2526606"/>
              <a:ext cx="101379" cy="140883"/>
            </a:xfrm>
            <a:custGeom>
              <a:avLst/>
              <a:gdLst>
                <a:gd name="T0" fmla="*/ 74 w 122"/>
                <a:gd name="T1" fmla="*/ 156 h 168"/>
                <a:gd name="T2" fmla="*/ 94 w 122"/>
                <a:gd name="T3" fmla="*/ 168 h 168"/>
                <a:gd name="T4" fmla="*/ 106 w 122"/>
                <a:gd name="T5" fmla="*/ 165 h 168"/>
                <a:gd name="T6" fmla="*/ 115 w 122"/>
                <a:gd name="T7" fmla="*/ 132 h 168"/>
                <a:gd name="T8" fmla="*/ 48 w 122"/>
                <a:gd name="T9" fmla="*/ 15 h 168"/>
                <a:gd name="T10" fmla="*/ 15 w 122"/>
                <a:gd name="T11" fmla="*/ 7 h 168"/>
                <a:gd name="T12" fmla="*/ 6 w 122"/>
                <a:gd name="T13" fmla="*/ 39 h 168"/>
                <a:gd name="T14" fmla="*/ 74 w 122"/>
                <a:gd name="T15" fmla="*/ 156 h 168"/>
                <a:gd name="T16" fmla="*/ 74 w 122"/>
                <a:gd name="T17" fmla="*/ 156 h 168"/>
                <a:gd name="T18" fmla="*/ 74 w 122"/>
                <a:gd name="T19" fmla="*/ 15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2" h="168">
                  <a:moveTo>
                    <a:pt x="74" y="156"/>
                  </a:moveTo>
                  <a:cubicBezTo>
                    <a:pt x="78" y="164"/>
                    <a:pt x="86" y="168"/>
                    <a:pt x="94" y="168"/>
                  </a:cubicBezTo>
                  <a:cubicBezTo>
                    <a:pt x="98" y="168"/>
                    <a:pt x="103" y="167"/>
                    <a:pt x="106" y="165"/>
                  </a:cubicBezTo>
                  <a:cubicBezTo>
                    <a:pt x="118" y="158"/>
                    <a:pt x="122" y="143"/>
                    <a:pt x="115" y="132"/>
                  </a:cubicBezTo>
                  <a:cubicBezTo>
                    <a:pt x="48" y="15"/>
                    <a:pt x="48" y="15"/>
                    <a:pt x="48" y="15"/>
                  </a:cubicBezTo>
                  <a:cubicBezTo>
                    <a:pt x="41" y="4"/>
                    <a:pt x="27" y="0"/>
                    <a:pt x="15" y="7"/>
                  </a:cubicBezTo>
                  <a:cubicBezTo>
                    <a:pt x="4" y="13"/>
                    <a:pt x="0" y="28"/>
                    <a:pt x="6" y="39"/>
                  </a:cubicBezTo>
                  <a:lnTo>
                    <a:pt x="74" y="156"/>
                  </a:lnTo>
                  <a:close/>
                  <a:moveTo>
                    <a:pt x="74" y="156"/>
                  </a:moveTo>
                  <a:cubicBezTo>
                    <a:pt x="74" y="156"/>
                    <a:pt x="74" y="156"/>
                    <a:pt x="74" y="156"/>
                  </a:cubicBezTo>
                </a:path>
              </a:pathLst>
            </a:custGeom>
            <a:grpFill/>
            <a:ln>
              <a:noFill/>
            </a:ln>
          </p:spPr>
          <p:txBody>
            <a:bodyPr/>
            <a:lstStyle/>
            <a:p>
              <a:pPr>
                <a:defRPr/>
              </a:pPr>
              <a:endParaRPr lang="en-GB" sz="1600">
                <a:solidFill>
                  <a:srgbClr val="282F39"/>
                </a:solidFill>
                <a:latin typeface="Calibri" panose="020F0502020204030204"/>
              </a:endParaRPr>
            </a:p>
          </p:txBody>
        </p:sp>
        <p:sp>
          <p:nvSpPr>
            <p:cNvPr id="30" name="Freeform 12">
              <a:extLst>
                <a:ext uri="{FF2B5EF4-FFF2-40B4-BE49-F238E27FC236}">
                  <a16:creationId xmlns:a16="http://schemas.microsoft.com/office/drawing/2014/main" id="{9F73F6E6-9B41-B849-7970-C5D4DB33D6D0}"/>
                </a:ext>
              </a:extLst>
            </p:cNvPr>
            <p:cNvSpPr>
              <a:spLocks noEditPoints="1"/>
            </p:cNvSpPr>
            <p:nvPr/>
          </p:nvSpPr>
          <p:spPr bwMode="auto">
            <a:xfrm>
              <a:off x="8730507" y="3132975"/>
              <a:ext cx="142311" cy="99951"/>
            </a:xfrm>
            <a:custGeom>
              <a:avLst/>
              <a:gdLst>
                <a:gd name="T0" fmla="*/ 155 w 171"/>
                <a:gd name="T1" fmla="*/ 74 h 119"/>
                <a:gd name="T2" fmla="*/ 39 w 171"/>
                <a:gd name="T3" fmla="*/ 7 h 119"/>
                <a:gd name="T4" fmla="*/ 6 w 171"/>
                <a:gd name="T5" fmla="*/ 15 h 119"/>
                <a:gd name="T6" fmla="*/ 15 w 171"/>
                <a:gd name="T7" fmla="*/ 48 h 119"/>
                <a:gd name="T8" fmla="*/ 131 w 171"/>
                <a:gd name="T9" fmla="*/ 115 h 119"/>
                <a:gd name="T10" fmla="*/ 143 w 171"/>
                <a:gd name="T11" fmla="*/ 119 h 119"/>
                <a:gd name="T12" fmla="*/ 164 w 171"/>
                <a:gd name="T13" fmla="*/ 107 h 119"/>
                <a:gd name="T14" fmla="*/ 155 w 171"/>
                <a:gd name="T15" fmla="*/ 74 h 119"/>
                <a:gd name="T16" fmla="*/ 155 w 171"/>
                <a:gd name="T17" fmla="*/ 74 h 119"/>
                <a:gd name="T18" fmla="*/ 155 w 171"/>
                <a:gd name="T19" fmla="*/ 74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19">
                  <a:moveTo>
                    <a:pt x="155" y="74"/>
                  </a:moveTo>
                  <a:cubicBezTo>
                    <a:pt x="39" y="7"/>
                    <a:pt x="39" y="7"/>
                    <a:pt x="39" y="7"/>
                  </a:cubicBezTo>
                  <a:cubicBezTo>
                    <a:pt x="27" y="0"/>
                    <a:pt x="13" y="4"/>
                    <a:pt x="6" y="15"/>
                  </a:cubicBezTo>
                  <a:cubicBezTo>
                    <a:pt x="0" y="27"/>
                    <a:pt x="3" y="42"/>
                    <a:pt x="15" y="48"/>
                  </a:cubicBezTo>
                  <a:cubicBezTo>
                    <a:pt x="131" y="115"/>
                    <a:pt x="131" y="115"/>
                    <a:pt x="131" y="115"/>
                  </a:cubicBezTo>
                  <a:cubicBezTo>
                    <a:pt x="135" y="118"/>
                    <a:pt x="139" y="119"/>
                    <a:pt x="143" y="119"/>
                  </a:cubicBezTo>
                  <a:cubicBezTo>
                    <a:pt x="152" y="119"/>
                    <a:pt x="160" y="114"/>
                    <a:pt x="164" y="107"/>
                  </a:cubicBezTo>
                  <a:cubicBezTo>
                    <a:pt x="171" y="95"/>
                    <a:pt x="167" y="80"/>
                    <a:pt x="155" y="74"/>
                  </a:cubicBezTo>
                  <a:close/>
                  <a:moveTo>
                    <a:pt x="155" y="74"/>
                  </a:moveTo>
                  <a:cubicBezTo>
                    <a:pt x="155" y="74"/>
                    <a:pt x="155" y="74"/>
                    <a:pt x="155" y="74"/>
                  </a:cubicBezTo>
                </a:path>
              </a:pathLst>
            </a:custGeom>
            <a:grpFill/>
            <a:ln>
              <a:noFill/>
            </a:ln>
          </p:spPr>
          <p:txBody>
            <a:bodyPr/>
            <a:lstStyle/>
            <a:p>
              <a:pPr>
                <a:defRPr/>
              </a:pPr>
              <a:endParaRPr lang="en-GB" sz="1600">
                <a:solidFill>
                  <a:srgbClr val="282F39"/>
                </a:solidFill>
                <a:latin typeface="Calibri" panose="020F0502020204030204"/>
              </a:endParaRPr>
            </a:p>
          </p:txBody>
        </p:sp>
        <p:sp>
          <p:nvSpPr>
            <p:cNvPr id="31" name="Freeform 13">
              <a:extLst>
                <a:ext uri="{FF2B5EF4-FFF2-40B4-BE49-F238E27FC236}">
                  <a16:creationId xmlns:a16="http://schemas.microsoft.com/office/drawing/2014/main" id="{E11F976E-4198-A849-AB5A-B2C6F7F10F01}"/>
                </a:ext>
              </a:extLst>
            </p:cNvPr>
            <p:cNvSpPr>
              <a:spLocks noEditPoints="1"/>
            </p:cNvSpPr>
            <p:nvPr/>
          </p:nvSpPr>
          <p:spPr bwMode="auto">
            <a:xfrm>
              <a:off x="7993726" y="2704613"/>
              <a:ext cx="142311" cy="98999"/>
            </a:xfrm>
            <a:custGeom>
              <a:avLst/>
              <a:gdLst>
                <a:gd name="T0" fmla="*/ 15 w 171"/>
                <a:gd name="T1" fmla="*/ 48 h 118"/>
                <a:gd name="T2" fmla="*/ 132 w 171"/>
                <a:gd name="T3" fmla="*/ 115 h 118"/>
                <a:gd name="T4" fmla="*/ 144 w 171"/>
                <a:gd name="T5" fmla="*/ 118 h 118"/>
                <a:gd name="T6" fmla="*/ 165 w 171"/>
                <a:gd name="T7" fmla="*/ 106 h 118"/>
                <a:gd name="T8" fmla="*/ 156 w 171"/>
                <a:gd name="T9" fmla="*/ 74 h 118"/>
                <a:gd name="T10" fmla="*/ 39 w 171"/>
                <a:gd name="T11" fmla="*/ 6 h 118"/>
                <a:gd name="T12" fmla="*/ 7 w 171"/>
                <a:gd name="T13" fmla="*/ 15 h 118"/>
                <a:gd name="T14" fmla="*/ 15 w 171"/>
                <a:gd name="T15" fmla="*/ 48 h 118"/>
                <a:gd name="T16" fmla="*/ 15 w 171"/>
                <a:gd name="T17" fmla="*/ 48 h 118"/>
                <a:gd name="T18" fmla="*/ 15 w 171"/>
                <a:gd name="T19" fmla="*/ 4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18">
                  <a:moveTo>
                    <a:pt x="15" y="48"/>
                  </a:moveTo>
                  <a:cubicBezTo>
                    <a:pt x="132" y="115"/>
                    <a:pt x="132" y="115"/>
                    <a:pt x="132" y="115"/>
                  </a:cubicBezTo>
                  <a:cubicBezTo>
                    <a:pt x="136" y="117"/>
                    <a:pt x="140" y="118"/>
                    <a:pt x="144" y="118"/>
                  </a:cubicBezTo>
                  <a:cubicBezTo>
                    <a:pt x="152" y="118"/>
                    <a:pt x="160" y="114"/>
                    <a:pt x="165" y="106"/>
                  </a:cubicBezTo>
                  <a:cubicBezTo>
                    <a:pt x="171" y="95"/>
                    <a:pt x="167" y="80"/>
                    <a:pt x="156" y="74"/>
                  </a:cubicBezTo>
                  <a:cubicBezTo>
                    <a:pt x="39" y="6"/>
                    <a:pt x="39" y="6"/>
                    <a:pt x="39" y="6"/>
                  </a:cubicBezTo>
                  <a:cubicBezTo>
                    <a:pt x="28" y="0"/>
                    <a:pt x="13" y="4"/>
                    <a:pt x="7" y="15"/>
                  </a:cubicBezTo>
                  <a:cubicBezTo>
                    <a:pt x="0" y="27"/>
                    <a:pt x="4" y="41"/>
                    <a:pt x="15" y="48"/>
                  </a:cubicBezTo>
                  <a:close/>
                  <a:moveTo>
                    <a:pt x="15" y="48"/>
                  </a:moveTo>
                  <a:cubicBezTo>
                    <a:pt x="15" y="48"/>
                    <a:pt x="15" y="48"/>
                    <a:pt x="15" y="48"/>
                  </a:cubicBezTo>
                </a:path>
              </a:pathLst>
            </a:custGeom>
            <a:grpFill/>
            <a:ln>
              <a:noFill/>
            </a:ln>
          </p:spPr>
          <p:txBody>
            <a:bodyPr/>
            <a:lstStyle/>
            <a:p>
              <a:pPr>
                <a:defRPr/>
              </a:pPr>
              <a:endParaRPr lang="en-GB" sz="1600">
                <a:solidFill>
                  <a:srgbClr val="282F39"/>
                </a:solidFill>
                <a:latin typeface="Calibri" panose="020F0502020204030204"/>
              </a:endParaRPr>
            </a:p>
          </p:txBody>
        </p:sp>
        <p:sp>
          <p:nvSpPr>
            <p:cNvPr id="32" name="Freeform 14">
              <a:extLst>
                <a:ext uri="{FF2B5EF4-FFF2-40B4-BE49-F238E27FC236}">
                  <a16:creationId xmlns:a16="http://schemas.microsoft.com/office/drawing/2014/main" id="{EBB50462-3C72-5782-5D79-1F2891715EA9}"/>
                </a:ext>
              </a:extLst>
            </p:cNvPr>
            <p:cNvSpPr>
              <a:spLocks noEditPoints="1"/>
            </p:cNvSpPr>
            <p:nvPr/>
          </p:nvSpPr>
          <p:spPr bwMode="auto">
            <a:xfrm>
              <a:off x="8782387" y="2949255"/>
              <a:ext cx="152306" cy="40457"/>
            </a:xfrm>
            <a:custGeom>
              <a:avLst/>
              <a:gdLst>
                <a:gd name="T0" fmla="*/ 159 w 183"/>
                <a:gd name="T1" fmla="*/ 0 h 48"/>
                <a:gd name="T2" fmla="*/ 24 w 183"/>
                <a:gd name="T3" fmla="*/ 0 h 48"/>
                <a:gd name="T4" fmla="*/ 0 w 183"/>
                <a:gd name="T5" fmla="*/ 24 h 48"/>
                <a:gd name="T6" fmla="*/ 24 w 183"/>
                <a:gd name="T7" fmla="*/ 48 h 48"/>
                <a:gd name="T8" fmla="*/ 159 w 183"/>
                <a:gd name="T9" fmla="*/ 48 h 48"/>
                <a:gd name="T10" fmla="*/ 183 w 183"/>
                <a:gd name="T11" fmla="*/ 24 h 48"/>
                <a:gd name="T12" fmla="*/ 159 w 183"/>
                <a:gd name="T13" fmla="*/ 0 h 48"/>
                <a:gd name="T14" fmla="*/ 159 w 183"/>
                <a:gd name="T15" fmla="*/ 0 h 48"/>
                <a:gd name="T16" fmla="*/ 159 w 183"/>
                <a:gd name="T17"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3" h="48">
                  <a:moveTo>
                    <a:pt x="159" y="0"/>
                  </a:moveTo>
                  <a:cubicBezTo>
                    <a:pt x="24" y="0"/>
                    <a:pt x="24" y="0"/>
                    <a:pt x="24" y="0"/>
                  </a:cubicBezTo>
                  <a:cubicBezTo>
                    <a:pt x="11" y="0"/>
                    <a:pt x="0" y="11"/>
                    <a:pt x="0" y="24"/>
                  </a:cubicBezTo>
                  <a:cubicBezTo>
                    <a:pt x="0" y="38"/>
                    <a:pt x="11" y="48"/>
                    <a:pt x="24" y="48"/>
                  </a:cubicBezTo>
                  <a:cubicBezTo>
                    <a:pt x="159" y="48"/>
                    <a:pt x="159" y="48"/>
                    <a:pt x="159" y="48"/>
                  </a:cubicBezTo>
                  <a:cubicBezTo>
                    <a:pt x="172" y="48"/>
                    <a:pt x="183" y="38"/>
                    <a:pt x="183" y="24"/>
                  </a:cubicBezTo>
                  <a:cubicBezTo>
                    <a:pt x="183" y="11"/>
                    <a:pt x="172" y="0"/>
                    <a:pt x="159" y="0"/>
                  </a:cubicBezTo>
                  <a:close/>
                  <a:moveTo>
                    <a:pt x="159" y="0"/>
                  </a:moveTo>
                  <a:cubicBezTo>
                    <a:pt x="159" y="0"/>
                    <a:pt x="159" y="0"/>
                    <a:pt x="159" y="0"/>
                  </a:cubicBezTo>
                </a:path>
              </a:pathLst>
            </a:custGeom>
            <a:grpFill/>
            <a:ln>
              <a:noFill/>
            </a:ln>
          </p:spPr>
          <p:txBody>
            <a:bodyPr/>
            <a:lstStyle/>
            <a:p>
              <a:pPr>
                <a:defRPr/>
              </a:pPr>
              <a:endParaRPr lang="en-GB" sz="1600">
                <a:solidFill>
                  <a:srgbClr val="282F39"/>
                </a:solidFill>
                <a:latin typeface="Calibri" panose="020F0502020204030204"/>
              </a:endParaRPr>
            </a:p>
          </p:txBody>
        </p:sp>
        <p:sp>
          <p:nvSpPr>
            <p:cNvPr id="33" name="Freeform 15">
              <a:extLst>
                <a:ext uri="{FF2B5EF4-FFF2-40B4-BE49-F238E27FC236}">
                  <a16:creationId xmlns:a16="http://schemas.microsoft.com/office/drawing/2014/main" id="{5DEF2493-5714-A7C0-14F8-F2660426B7F6}"/>
                </a:ext>
              </a:extLst>
            </p:cNvPr>
            <p:cNvSpPr>
              <a:spLocks noEditPoints="1"/>
            </p:cNvSpPr>
            <p:nvPr/>
          </p:nvSpPr>
          <p:spPr bwMode="auto">
            <a:xfrm>
              <a:off x="7931851" y="2949255"/>
              <a:ext cx="151355" cy="40457"/>
            </a:xfrm>
            <a:custGeom>
              <a:avLst/>
              <a:gdLst>
                <a:gd name="T0" fmla="*/ 182 w 182"/>
                <a:gd name="T1" fmla="*/ 24 h 48"/>
                <a:gd name="T2" fmla="*/ 158 w 182"/>
                <a:gd name="T3" fmla="*/ 0 h 48"/>
                <a:gd name="T4" fmla="*/ 24 w 182"/>
                <a:gd name="T5" fmla="*/ 0 h 48"/>
                <a:gd name="T6" fmla="*/ 0 w 182"/>
                <a:gd name="T7" fmla="*/ 24 h 48"/>
                <a:gd name="T8" fmla="*/ 24 w 182"/>
                <a:gd name="T9" fmla="*/ 48 h 48"/>
                <a:gd name="T10" fmla="*/ 158 w 182"/>
                <a:gd name="T11" fmla="*/ 48 h 48"/>
                <a:gd name="T12" fmla="*/ 182 w 182"/>
                <a:gd name="T13" fmla="*/ 24 h 48"/>
                <a:gd name="T14" fmla="*/ 182 w 182"/>
                <a:gd name="T15" fmla="*/ 24 h 48"/>
                <a:gd name="T16" fmla="*/ 182 w 182"/>
                <a:gd name="T17"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48">
                  <a:moveTo>
                    <a:pt x="182" y="24"/>
                  </a:moveTo>
                  <a:cubicBezTo>
                    <a:pt x="182" y="11"/>
                    <a:pt x="172" y="0"/>
                    <a:pt x="158" y="0"/>
                  </a:cubicBezTo>
                  <a:cubicBezTo>
                    <a:pt x="24" y="0"/>
                    <a:pt x="24" y="0"/>
                    <a:pt x="24" y="0"/>
                  </a:cubicBezTo>
                  <a:cubicBezTo>
                    <a:pt x="11" y="0"/>
                    <a:pt x="0" y="11"/>
                    <a:pt x="0" y="24"/>
                  </a:cubicBezTo>
                  <a:cubicBezTo>
                    <a:pt x="0" y="38"/>
                    <a:pt x="11" y="48"/>
                    <a:pt x="24" y="48"/>
                  </a:cubicBezTo>
                  <a:cubicBezTo>
                    <a:pt x="158" y="48"/>
                    <a:pt x="158" y="48"/>
                    <a:pt x="158" y="48"/>
                  </a:cubicBezTo>
                  <a:cubicBezTo>
                    <a:pt x="172" y="48"/>
                    <a:pt x="182" y="38"/>
                    <a:pt x="182" y="24"/>
                  </a:cubicBezTo>
                  <a:close/>
                  <a:moveTo>
                    <a:pt x="182" y="24"/>
                  </a:moveTo>
                  <a:cubicBezTo>
                    <a:pt x="182" y="24"/>
                    <a:pt x="182" y="24"/>
                    <a:pt x="182" y="24"/>
                  </a:cubicBezTo>
                </a:path>
              </a:pathLst>
            </a:custGeom>
            <a:grpFill/>
            <a:ln>
              <a:noFill/>
            </a:ln>
          </p:spPr>
          <p:txBody>
            <a:bodyPr/>
            <a:lstStyle/>
            <a:p>
              <a:pPr>
                <a:defRPr/>
              </a:pPr>
              <a:endParaRPr lang="en-GB" sz="1600">
                <a:solidFill>
                  <a:srgbClr val="282F39"/>
                </a:solidFill>
                <a:latin typeface="Calibri" panose="020F0502020204030204"/>
              </a:endParaRPr>
            </a:p>
          </p:txBody>
        </p:sp>
        <p:sp>
          <p:nvSpPr>
            <p:cNvPr id="34" name="Freeform 16">
              <a:extLst>
                <a:ext uri="{FF2B5EF4-FFF2-40B4-BE49-F238E27FC236}">
                  <a16:creationId xmlns:a16="http://schemas.microsoft.com/office/drawing/2014/main" id="{C7ACE025-F11D-6C8C-6318-3A3AF7EBACB8}"/>
                </a:ext>
              </a:extLst>
            </p:cNvPr>
            <p:cNvSpPr>
              <a:spLocks noEditPoints="1"/>
            </p:cNvSpPr>
            <p:nvPr/>
          </p:nvSpPr>
          <p:spPr bwMode="auto">
            <a:xfrm>
              <a:off x="8730507" y="2704613"/>
              <a:ext cx="142311" cy="98999"/>
            </a:xfrm>
            <a:custGeom>
              <a:avLst/>
              <a:gdLst>
                <a:gd name="T0" fmla="*/ 27 w 171"/>
                <a:gd name="T1" fmla="*/ 118 h 118"/>
                <a:gd name="T2" fmla="*/ 39 w 171"/>
                <a:gd name="T3" fmla="*/ 115 h 118"/>
                <a:gd name="T4" fmla="*/ 155 w 171"/>
                <a:gd name="T5" fmla="*/ 48 h 118"/>
                <a:gd name="T6" fmla="*/ 164 w 171"/>
                <a:gd name="T7" fmla="*/ 15 h 118"/>
                <a:gd name="T8" fmla="*/ 131 w 171"/>
                <a:gd name="T9" fmla="*/ 6 h 118"/>
                <a:gd name="T10" fmla="*/ 15 w 171"/>
                <a:gd name="T11" fmla="*/ 74 h 118"/>
                <a:gd name="T12" fmla="*/ 6 w 171"/>
                <a:gd name="T13" fmla="*/ 106 h 118"/>
                <a:gd name="T14" fmla="*/ 27 w 171"/>
                <a:gd name="T15" fmla="*/ 118 h 118"/>
                <a:gd name="T16" fmla="*/ 27 w 171"/>
                <a:gd name="T17" fmla="*/ 118 h 118"/>
                <a:gd name="T18" fmla="*/ 27 w 171"/>
                <a:gd name="T19"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18">
                  <a:moveTo>
                    <a:pt x="27" y="118"/>
                  </a:moveTo>
                  <a:cubicBezTo>
                    <a:pt x="31" y="118"/>
                    <a:pt x="35" y="117"/>
                    <a:pt x="39" y="115"/>
                  </a:cubicBezTo>
                  <a:cubicBezTo>
                    <a:pt x="155" y="48"/>
                    <a:pt x="155" y="48"/>
                    <a:pt x="155" y="48"/>
                  </a:cubicBezTo>
                  <a:cubicBezTo>
                    <a:pt x="167" y="41"/>
                    <a:pt x="171" y="27"/>
                    <a:pt x="164" y="15"/>
                  </a:cubicBezTo>
                  <a:cubicBezTo>
                    <a:pt x="157" y="4"/>
                    <a:pt x="143" y="0"/>
                    <a:pt x="131" y="6"/>
                  </a:cubicBezTo>
                  <a:cubicBezTo>
                    <a:pt x="15" y="74"/>
                    <a:pt x="15" y="74"/>
                    <a:pt x="15" y="74"/>
                  </a:cubicBezTo>
                  <a:cubicBezTo>
                    <a:pt x="3" y="80"/>
                    <a:pt x="0" y="95"/>
                    <a:pt x="6" y="106"/>
                  </a:cubicBezTo>
                  <a:cubicBezTo>
                    <a:pt x="11" y="114"/>
                    <a:pt x="19" y="118"/>
                    <a:pt x="27" y="118"/>
                  </a:cubicBezTo>
                  <a:close/>
                  <a:moveTo>
                    <a:pt x="27" y="118"/>
                  </a:moveTo>
                  <a:cubicBezTo>
                    <a:pt x="27" y="118"/>
                    <a:pt x="27" y="118"/>
                    <a:pt x="27" y="118"/>
                  </a:cubicBezTo>
                </a:path>
              </a:pathLst>
            </a:custGeom>
            <a:grpFill/>
            <a:ln>
              <a:noFill/>
            </a:ln>
          </p:spPr>
          <p:txBody>
            <a:bodyPr/>
            <a:lstStyle/>
            <a:p>
              <a:pPr>
                <a:defRPr/>
              </a:pPr>
              <a:endParaRPr lang="en-GB" sz="1600">
                <a:solidFill>
                  <a:srgbClr val="282F39"/>
                </a:solidFill>
                <a:latin typeface="Calibri" panose="020F0502020204030204"/>
              </a:endParaRPr>
            </a:p>
          </p:txBody>
        </p:sp>
        <p:sp>
          <p:nvSpPr>
            <p:cNvPr id="35" name="Freeform 17">
              <a:extLst>
                <a:ext uri="{FF2B5EF4-FFF2-40B4-BE49-F238E27FC236}">
                  <a16:creationId xmlns:a16="http://schemas.microsoft.com/office/drawing/2014/main" id="{1E9095C8-8B2B-8F54-73EC-3F6AE1F32113}"/>
                </a:ext>
              </a:extLst>
            </p:cNvPr>
            <p:cNvSpPr>
              <a:spLocks noEditPoints="1"/>
            </p:cNvSpPr>
            <p:nvPr/>
          </p:nvSpPr>
          <p:spPr bwMode="auto">
            <a:xfrm>
              <a:off x="7993726" y="3132975"/>
              <a:ext cx="142311" cy="99951"/>
            </a:xfrm>
            <a:custGeom>
              <a:avLst/>
              <a:gdLst>
                <a:gd name="T0" fmla="*/ 132 w 171"/>
                <a:gd name="T1" fmla="*/ 7 h 119"/>
                <a:gd name="T2" fmla="*/ 15 w 171"/>
                <a:gd name="T3" fmla="*/ 74 h 119"/>
                <a:gd name="T4" fmla="*/ 7 w 171"/>
                <a:gd name="T5" fmla="*/ 107 h 119"/>
                <a:gd name="T6" fmla="*/ 28 w 171"/>
                <a:gd name="T7" fmla="*/ 119 h 119"/>
                <a:gd name="T8" fmla="*/ 39 w 171"/>
                <a:gd name="T9" fmla="*/ 115 h 119"/>
                <a:gd name="T10" fmla="*/ 156 w 171"/>
                <a:gd name="T11" fmla="*/ 48 h 119"/>
                <a:gd name="T12" fmla="*/ 165 w 171"/>
                <a:gd name="T13" fmla="*/ 15 h 119"/>
                <a:gd name="T14" fmla="*/ 132 w 171"/>
                <a:gd name="T15" fmla="*/ 7 h 119"/>
                <a:gd name="T16" fmla="*/ 132 w 171"/>
                <a:gd name="T17" fmla="*/ 7 h 119"/>
                <a:gd name="T18" fmla="*/ 132 w 171"/>
                <a:gd name="T19" fmla="*/ 7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19">
                  <a:moveTo>
                    <a:pt x="132" y="7"/>
                  </a:moveTo>
                  <a:cubicBezTo>
                    <a:pt x="15" y="74"/>
                    <a:pt x="15" y="74"/>
                    <a:pt x="15" y="74"/>
                  </a:cubicBezTo>
                  <a:cubicBezTo>
                    <a:pt x="4" y="80"/>
                    <a:pt x="0" y="95"/>
                    <a:pt x="7" y="107"/>
                  </a:cubicBezTo>
                  <a:cubicBezTo>
                    <a:pt x="11" y="114"/>
                    <a:pt x="19" y="119"/>
                    <a:pt x="28" y="119"/>
                  </a:cubicBezTo>
                  <a:cubicBezTo>
                    <a:pt x="32" y="119"/>
                    <a:pt x="36" y="118"/>
                    <a:pt x="39" y="115"/>
                  </a:cubicBezTo>
                  <a:cubicBezTo>
                    <a:pt x="156" y="48"/>
                    <a:pt x="156" y="48"/>
                    <a:pt x="156" y="48"/>
                  </a:cubicBezTo>
                  <a:cubicBezTo>
                    <a:pt x="167" y="42"/>
                    <a:pt x="171" y="27"/>
                    <a:pt x="165" y="15"/>
                  </a:cubicBezTo>
                  <a:cubicBezTo>
                    <a:pt x="158" y="4"/>
                    <a:pt x="143" y="0"/>
                    <a:pt x="132" y="7"/>
                  </a:cubicBezTo>
                  <a:close/>
                  <a:moveTo>
                    <a:pt x="132" y="7"/>
                  </a:moveTo>
                  <a:cubicBezTo>
                    <a:pt x="132" y="7"/>
                    <a:pt x="132" y="7"/>
                    <a:pt x="132" y="7"/>
                  </a:cubicBezTo>
                </a:path>
              </a:pathLst>
            </a:custGeom>
            <a:grpFill/>
            <a:ln>
              <a:noFill/>
            </a:ln>
          </p:spPr>
          <p:txBody>
            <a:bodyPr/>
            <a:lstStyle/>
            <a:p>
              <a:pPr>
                <a:defRPr/>
              </a:pPr>
              <a:endParaRPr lang="en-GB" sz="1600">
                <a:solidFill>
                  <a:srgbClr val="282F39"/>
                </a:solidFill>
                <a:latin typeface="Calibri" panose="020F0502020204030204"/>
              </a:endParaRPr>
            </a:p>
          </p:txBody>
        </p:sp>
        <p:sp>
          <p:nvSpPr>
            <p:cNvPr id="36" name="Freeform 18">
              <a:extLst>
                <a:ext uri="{FF2B5EF4-FFF2-40B4-BE49-F238E27FC236}">
                  <a16:creationId xmlns:a16="http://schemas.microsoft.com/office/drawing/2014/main" id="{65EF0873-42C7-FF98-A0A5-797E6FC1A1F8}"/>
                </a:ext>
              </a:extLst>
            </p:cNvPr>
            <p:cNvSpPr>
              <a:spLocks noEditPoints="1"/>
            </p:cNvSpPr>
            <p:nvPr/>
          </p:nvSpPr>
          <p:spPr bwMode="auto">
            <a:xfrm>
              <a:off x="8595336" y="2526606"/>
              <a:ext cx="101379" cy="140883"/>
            </a:xfrm>
            <a:custGeom>
              <a:avLst/>
              <a:gdLst>
                <a:gd name="T0" fmla="*/ 15 w 122"/>
                <a:gd name="T1" fmla="*/ 165 h 168"/>
                <a:gd name="T2" fmla="*/ 27 w 122"/>
                <a:gd name="T3" fmla="*/ 168 h 168"/>
                <a:gd name="T4" fmla="*/ 48 w 122"/>
                <a:gd name="T5" fmla="*/ 156 h 168"/>
                <a:gd name="T6" fmla="*/ 115 w 122"/>
                <a:gd name="T7" fmla="*/ 39 h 168"/>
                <a:gd name="T8" fmla="*/ 107 w 122"/>
                <a:gd name="T9" fmla="*/ 7 h 168"/>
                <a:gd name="T10" fmla="*/ 74 w 122"/>
                <a:gd name="T11" fmla="*/ 15 h 168"/>
                <a:gd name="T12" fmla="*/ 7 w 122"/>
                <a:gd name="T13" fmla="*/ 132 h 168"/>
                <a:gd name="T14" fmla="*/ 15 w 122"/>
                <a:gd name="T15" fmla="*/ 165 h 168"/>
                <a:gd name="T16" fmla="*/ 15 w 122"/>
                <a:gd name="T17" fmla="*/ 165 h 168"/>
                <a:gd name="T18" fmla="*/ 15 w 122"/>
                <a:gd name="T19" fmla="*/ 165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2" h="168">
                  <a:moveTo>
                    <a:pt x="15" y="165"/>
                  </a:moveTo>
                  <a:cubicBezTo>
                    <a:pt x="19" y="167"/>
                    <a:pt x="23" y="168"/>
                    <a:pt x="27" y="168"/>
                  </a:cubicBezTo>
                  <a:cubicBezTo>
                    <a:pt x="36" y="168"/>
                    <a:pt x="44" y="164"/>
                    <a:pt x="48" y="156"/>
                  </a:cubicBezTo>
                  <a:cubicBezTo>
                    <a:pt x="115" y="39"/>
                    <a:pt x="115" y="39"/>
                    <a:pt x="115" y="39"/>
                  </a:cubicBezTo>
                  <a:cubicBezTo>
                    <a:pt x="122" y="28"/>
                    <a:pt x="118" y="13"/>
                    <a:pt x="107" y="7"/>
                  </a:cubicBezTo>
                  <a:cubicBezTo>
                    <a:pt x="95" y="0"/>
                    <a:pt x="80" y="4"/>
                    <a:pt x="74" y="15"/>
                  </a:cubicBezTo>
                  <a:cubicBezTo>
                    <a:pt x="7" y="132"/>
                    <a:pt x="7" y="132"/>
                    <a:pt x="7" y="132"/>
                  </a:cubicBezTo>
                  <a:cubicBezTo>
                    <a:pt x="0" y="143"/>
                    <a:pt x="4" y="158"/>
                    <a:pt x="15" y="165"/>
                  </a:cubicBezTo>
                  <a:close/>
                  <a:moveTo>
                    <a:pt x="15" y="165"/>
                  </a:moveTo>
                  <a:cubicBezTo>
                    <a:pt x="15" y="165"/>
                    <a:pt x="15" y="165"/>
                    <a:pt x="15" y="165"/>
                  </a:cubicBezTo>
                </a:path>
              </a:pathLst>
            </a:custGeom>
            <a:grpFill/>
            <a:ln>
              <a:noFill/>
            </a:ln>
          </p:spPr>
          <p:txBody>
            <a:bodyPr/>
            <a:lstStyle/>
            <a:p>
              <a:pPr>
                <a:defRPr/>
              </a:pPr>
              <a:endParaRPr lang="en-GB" sz="1600">
                <a:solidFill>
                  <a:srgbClr val="282F39"/>
                </a:solidFill>
                <a:latin typeface="Calibri" panose="020F0502020204030204"/>
              </a:endParaRPr>
            </a:p>
          </p:txBody>
        </p:sp>
      </p:grpSp>
      <p:grpSp>
        <p:nvGrpSpPr>
          <p:cNvPr id="37" name="Group 36">
            <a:extLst>
              <a:ext uri="{FF2B5EF4-FFF2-40B4-BE49-F238E27FC236}">
                <a16:creationId xmlns:a16="http://schemas.microsoft.com/office/drawing/2014/main" id="{38F13487-D7C9-FCB3-F6D1-44BC529531A9}"/>
              </a:ext>
            </a:extLst>
          </p:cNvPr>
          <p:cNvGrpSpPr/>
          <p:nvPr/>
        </p:nvGrpSpPr>
        <p:grpSpPr>
          <a:xfrm>
            <a:off x="1943051" y="2174978"/>
            <a:ext cx="924359" cy="993002"/>
            <a:chOff x="5995988" y="2712903"/>
            <a:chExt cx="2457450" cy="2587625"/>
          </a:xfrm>
          <a:solidFill>
            <a:schemeClr val="accent1"/>
          </a:solidFill>
        </p:grpSpPr>
        <p:sp>
          <p:nvSpPr>
            <p:cNvPr id="38" name="Freeform 6">
              <a:extLst>
                <a:ext uri="{FF2B5EF4-FFF2-40B4-BE49-F238E27FC236}">
                  <a16:creationId xmlns:a16="http://schemas.microsoft.com/office/drawing/2014/main" id="{51928C61-E15E-253E-3818-B7EA8F24D5AB}"/>
                </a:ext>
              </a:extLst>
            </p:cNvPr>
            <p:cNvSpPr>
              <a:spLocks/>
            </p:cNvSpPr>
            <p:nvPr/>
          </p:nvSpPr>
          <p:spPr bwMode="auto">
            <a:xfrm>
              <a:off x="5995988" y="2712903"/>
              <a:ext cx="2457450" cy="2587625"/>
            </a:xfrm>
            <a:custGeom>
              <a:avLst/>
              <a:gdLst>
                <a:gd name="T0" fmla="*/ 707 w 771"/>
                <a:gd name="T1" fmla="*/ 219 h 812"/>
                <a:gd name="T2" fmla="*/ 760 w 771"/>
                <a:gd name="T3" fmla="*/ 369 h 812"/>
                <a:gd name="T4" fmla="*/ 685 w 771"/>
                <a:gd name="T5" fmla="*/ 634 h 812"/>
                <a:gd name="T6" fmla="*/ 197 w 771"/>
                <a:gd name="T7" fmla="*/ 707 h 812"/>
                <a:gd name="T8" fmla="*/ 97 w 771"/>
                <a:gd name="T9" fmla="*/ 220 h 812"/>
                <a:gd name="T10" fmla="*/ 594 w 771"/>
                <a:gd name="T11" fmla="*/ 106 h 812"/>
                <a:gd name="T12" fmla="*/ 552 w 771"/>
                <a:gd name="T13" fmla="*/ 147 h 812"/>
                <a:gd name="T14" fmla="*/ 509 w 771"/>
                <a:gd name="T15" fmla="*/ 128 h 812"/>
                <a:gd name="T16" fmla="*/ 454 w 771"/>
                <a:gd name="T17" fmla="*/ 113 h 812"/>
                <a:gd name="T18" fmla="*/ 372 w 771"/>
                <a:gd name="T19" fmla="*/ 110 h 812"/>
                <a:gd name="T20" fmla="*/ 241 w 771"/>
                <a:gd name="T21" fmla="*/ 155 h 812"/>
                <a:gd name="T22" fmla="*/ 147 w 771"/>
                <a:gd name="T23" fmla="*/ 249 h 812"/>
                <a:gd name="T24" fmla="*/ 115 w 771"/>
                <a:gd name="T25" fmla="*/ 317 h 812"/>
                <a:gd name="T26" fmla="*/ 103 w 771"/>
                <a:gd name="T27" fmla="*/ 366 h 812"/>
                <a:gd name="T28" fmla="*/ 102 w 771"/>
                <a:gd name="T29" fmla="*/ 450 h 812"/>
                <a:gd name="T30" fmla="*/ 124 w 771"/>
                <a:gd name="T31" fmla="*/ 528 h 812"/>
                <a:gd name="T32" fmla="*/ 209 w 771"/>
                <a:gd name="T33" fmla="*/ 643 h 812"/>
                <a:gd name="T34" fmla="*/ 295 w 771"/>
                <a:gd name="T35" fmla="*/ 694 h 812"/>
                <a:gd name="T36" fmla="*/ 357 w 771"/>
                <a:gd name="T37" fmla="*/ 710 h 812"/>
                <a:gd name="T38" fmla="*/ 439 w 771"/>
                <a:gd name="T39" fmla="*/ 711 h 812"/>
                <a:gd name="T40" fmla="*/ 512 w 771"/>
                <a:gd name="T41" fmla="*/ 693 h 812"/>
                <a:gd name="T42" fmla="*/ 585 w 771"/>
                <a:gd name="T43" fmla="*/ 652 h 812"/>
                <a:gd name="T44" fmla="*/ 644 w 771"/>
                <a:gd name="T45" fmla="*/ 592 h 812"/>
                <a:gd name="T46" fmla="*/ 677 w 771"/>
                <a:gd name="T47" fmla="*/ 536 h 812"/>
                <a:gd name="T48" fmla="*/ 696 w 771"/>
                <a:gd name="T49" fmla="*/ 482 h 812"/>
                <a:gd name="T50" fmla="*/ 704 w 771"/>
                <a:gd name="T51" fmla="*/ 432 h 812"/>
                <a:gd name="T52" fmla="*/ 702 w 771"/>
                <a:gd name="T53" fmla="*/ 374 h 812"/>
                <a:gd name="T54" fmla="*/ 695 w 771"/>
                <a:gd name="T55" fmla="*/ 334 h 812"/>
                <a:gd name="T56" fmla="*/ 666 w 771"/>
                <a:gd name="T57" fmla="*/ 264 h 812"/>
                <a:gd name="T58" fmla="*/ 667 w 771"/>
                <a:gd name="T59" fmla="*/ 258 h 812"/>
                <a:gd name="T60" fmla="*/ 703 w 771"/>
                <a:gd name="T61" fmla="*/ 222 h 812"/>
                <a:gd name="T62" fmla="*/ 707 w 771"/>
                <a:gd name="T63" fmla="*/ 219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71" h="812">
                  <a:moveTo>
                    <a:pt x="707" y="219"/>
                  </a:moveTo>
                  <a:cubicBezTo>
                    <a:pt x="736" y="265"/>
                    <a:pt x="754" y="315"/>
                    <a:pt x="760" y="369"/>
                  </a:cubicBezTo>
                  <a:cubicBezTo>
                    <a:pt x="771" y="467"/>
                    <a:pt x="746" y="557"/>
                    <a:pt x="685" y="634"/>
                  </a:cubicBezTo>
                  <a:cubicBezTo>
                    <a:pt x="561" y="789"/>
                    <a:pt x="347" y="812"/>
                    <a:pt x="197" y="707"/>
                  </a:cubicBezTo>
                  <a:cubicBezTo>
                    <a:pt x="31" y="591"/>
                    <a:pt x="0" y="374"/>
                    <a:pt x="97" y="220"/>
                  </a:cubicBezTo>
                  <a:cubicBezTo>
                    <a:pt x="203" y="52"/>
                    <a:pt x="424" y="0"/>
                    <a:pt x="594" y="106"/>
                  </a:cubicBezTo>
                  <a:cubicBezTo>
                    <a:pt x="580" y="120"/>
                    <a:pt x="566" y="134"/>
                    <a:pt x="552" y="147"/>
                  </a:cubicBezTo>
                  <a:cubicBezTo>
                    <a:pt x="538" y="141"/>
                    <a:pt x="523" y="134"/>
                    <a:pt x="509" y="128"/>
                  </a:cubicBezTo>
                  <a:cubicBezTo>
                    <a:pt x="491" y="121"/>
                    <a:pt x="473" y="116"/>
                    <a:pt x="454" y="113"/>
                  </a:cubicBezTo>
                  <a:cubicBezTo>
                    <a:pt x="427" y="108"/>
                    <a:pt x="399" y="107"/>
                    <a:pt x="372" y="110"/>
                  </a:cubicBezTo>
                  <a:cubicBezTo>
                    <a:pt x="325" y="115"/>
                    <a:pt x="281" y="130"/>
                    <a:pt x="241" y="155"/>
                  </a:cubicBezTo>
                  <a:cubicBezTo>
                    <a:pt x="203" y="179"/>
                    <a:pt x="171" y="211"/>
                    <a:pt x="147" y="249"/>
                  </a:cubicBezTo>
                  <a:cubicBezTo>
                    <a:pt x="134" y="270"/>
                    <a:pt x="123" y="293"/>
                    <a:pt x="115" y="317"/>
                  </a:cubicBezTo>
                  <a:cubicBezTo>
                    <a:pt x="110" y="333"/>
                    <a:pt x="106" y="350"/>
                    <a:pt x="103" y="366"/>
                  </a:cubicBezTo>
                  <a:cubicBezTo>
                    <a:pt x="99" y="394"/>
                    <a:pt x="99" y="422"/>
                    <a:pt x="102" y="450"/>
                  </a:cubicBezTo>
                  <a:cubicBezTo>
                    <a:pt x="105" y="477"/>
                    <a:pt x="113" y="503"/>
                    <a:pt x="124" y="528"/>
                  </a:cubicBezTo>
                  <a:cubicBezTo>
                    <a:pt x="143" y="574"/>
                    <a:pt x="171" y="612"/>
                    <a:pt x="209" y="643"/>
                  </a:cubicBezTo>
                  <a:cubicBezTo>
                    <a:pt x="235" y="665"/>
                    <a:pt x="263" y="682"/>
                    <a:pt x="295" y="694"/>
                  </a:cubicBezTo>
                  <a:cubicBezTo>
                    <a:pt x="315" y="701"/>
                    <a:pt x="336" y="707"/>
                    <a:pt x="357" y="710"/>
                  </a:cubicBezTo>
                  <a:cubicBezTo>
                    <a:pt x="384" y="714"/>
                    <a:pt x="412" y="715"/>
                    <a:pt x="439" y="711"/>
                  </a:cubicBezTo>
                  <a:cubicBezTo>
                    <a:pt x="464" y="708"/>
                    <a:pt x="488" y="702"/>
                    <a:pt x="512" y="693"/>
                  </a:cubicBezTo>
                  <a:cubicBezTo>
                    <a:pt x="538" y="683"/>
                    <a:pt x="563" y="669"/>
                    <a:pt x="585" y="652"/>
                  </a:cubicBezTo>
                  <a:cubicBezTo>
                    <a:pt x="607" y="635"/>
                    <a:pt x="627" y="615"/>
                    <a:pt x="644" y="592"/>
                  </a:cubicBezTo>
                  <a:cubicBezTo>
                    <a:pt x="657" y="575"/>
                    <a:pt x="668" y="556"/>
                    <a:pt x="677" y="536"/>
                  </a:cubicBezTo>
                  <a:cubicBezTo>
                    <a:pt x="686" y="519"/>
                    <a:pt x="692" y="501"/>
                    <a:pt x="696" y="482"/>
                  </a:cubicBezTo>
                  <a:cubicBezTo>
                    <a:pt x="700" y="465"/>
                    <a:pt x="703" y="449"/>
                    <a:pt x="704" y="432"/>
                  </a:cubicBezTo>
                  <a:cubicBezTo>
                    <a:pt x="704" y="413"/>
                    <a:pt x="704" y="393"/>
                    <a:pt x="702" y="374"/>
                  </a:cubicBezTo>
                  <a:cubicBezTo>
                    <a:pt x="701" y="361"/>
                    <a:pt x="698" y="347"/>
                    <a:pt x="695" y="334"/>
                  </a:cubicBezTo>
                  <a:cubicBezTo>
                    <a:pt x="689" y="310"/>
                    <a:pt x="679" y="286"/>
                    <a:pt x="666" y="264"/>
                  </a:cubicBezTo>
                  <a:cubicBezTo>
                    <a:pt x="665" y="262"/>
                    <a:pt x="665" y="260"/>
                    <a:pt x="667" y="258"/>
                  </a:cubicBezTo>
                  <a:cubicBezTo>
                    <a:pt x="680" y="246"/>
                    <a:pt x="691" y="234"/>
                    <a:pt x="703" y="222"/>
                  </a:cubicBezTo>
                  <a:cubicBezTo>
                    <a:pt x="704" y="221"/>
                    <a:pt x="705" y="220"/>
                    <a:pt x="707" y="219"/>
                  </a:cubicBezTo>
                  <a:close/>
                </a:path>
              </a:pathLst>
            </a:custGeom>
            <a:grpFill/>
            <a:ln>
              <a:noFill/>
            </a:ln>
          </p:spPr>
          <p:txBody>
            <a:bodyPr/>
            <a:lstStyle/>
            <a:p>
              <a:pPr>
                <a:defRPr/>
              </a:pPr>
              <a:endParaRPr lang="en-US" sz="1600">
                <a:solidFill>
                  <a:srgbClr val="282F39"/>
                </a:solidFill>
                <a:latin typeface="Calibri" panose="020F0502020204030204"/>
              </a:endParaRPr>
            </a:p>
          </p:txBody>
        </p:sp>
        <p:sp>
          <p:nvSpPr>
            <p:cNvPr id="39" name="Freeform 7">
              <a:extLst>
                <a:ext uri="{FF2B5EF4-FFF2-40B4-BE49-F238E27FC236}">
                  <a16:creationId xmlns:a16="http://schemas.microsoft.com/office/drawing/2014/main" id="{EC2C554E-28EB-2EA5-14D7-EE96979B4602}"/>
                </a:ext>
              </a:extLst>
            </p:cNvPr>
            <p:cNvSpPr>
              <a:spLocks/>
            </p:cNvSpPr>
            <p:nvPr/>
          </p:nvSpPr>
          <p:spPr bwMode="auto">
            <a:xfrm>
              <a:off x="6515101" y="3270116"/>
              <a:ext cx="1450975" cy="1435100"/>
            </a:xfrm>
            <a:custGeom>
              <a:avLst/>
              <a:gdLst>
                <a:gd name="T0" fmla="*/ 350 w 455"/>
                <a:gd name="T1" fmla="*/ 54 h 450"/>
                <a:gd name="T2" fmla="*/ 311 w 455"/>
                <a:gd name="T3" fmla="*/ 93 h 450"/>
                <a:gd name="T4" fmla="*/ 305 w 455"/>
                <a:gd name="T5" fmla="*/ 94 h 450"/>
                <a:gd name="T6" fmla="*/ 262 w 455"/>
                <a:gd name="T7" fmla="*/ 81 h 450"/>
                <a:gd name="T8" fmla="*/ 210 w 455"/>
                <a:gd name="T9" fmla="*/ 82 h 450"/>
                <a:gd name="T10" fmla="*/ 148 w 455"/>
                <a:gd name="T11" fmla="*/ 109 h 450"/>
                <a:gd name="T12" fmla="*/ 103 w 455"/>
                <a:gd name="T13" fmla="*/ 160 h 450"/>
                <a:gd name="T14" fmla="*/ 84 w 455"/>
                <a:gd name="T15" fmla="*/ 216 h 450"/>
                <a:gd name="T16" fmla="*/ 90 w 455"/>
                <a:gd name="T17" fmla="*/ 283 h 450"/>
                <a:gd name="T18" fmla="*/ 154 w 455"/>
                <a:gd name="T19" fmla="*/ 367 h 450"/>
                <a:gd name="T20" fmla="*/ 225 w 455"/>
                <a:gd name="T21" fmla="*/ 392 h 450"/>
                <a:gd name="T22" fmla="*/ 302 w 455"/>
                <a:gd name="T23" fmla="*/ 379 h 450"/>
                <a:gd name="T24" fmla="*/ 364 w 455"/>
                <a:gd name="T25" fmla="*/ 330 h 450"/>
                <a:gd name="T26" fmla="*/ 391 w 455"/>
                <a:gd name="T27" fmla="*/ 273 h 450"/>
                <a:gd name="T28" fmla="*/ 395 w 455"/>
                <a:gd name="T29" fmla="*/ 223 h 450"/>
                <a:gd name="T30" fmla="*/ 380 w 455"/>
                <a:gd name="T31" fmla="*/ 167 h 450"/>
                <a:gd name="T32" fmla="*/ 422 w 455"/>
                <a:gd name="T33" fmla="*/ 125 h 450"/>
                <a:gd name="T34" fmla="*/ 453 w 455"/>
                <a:gd name="T35" fmla="*/ 242 h 450"/>
                <a:gd name="T36" fmla="*/ 418 w 455"/>
                <a:gd name="T37" fmla="*/ 354 h 450"/>
                <a:gd name="T38" fmla="*/ 235 w 455"/>
                <a:gd name="T39" fmla="*/ 450 h 450"/>
                <a:gd name="T40" fmla="*/ 85 w 455"/>
                <a:gd name="T41" fmla="*/ 385 h 450"/>
                <a:gd name="T42" fmla="*/ 95 w 455"/>
                <a:gd name="T43" fmla="*/ 78 h 450"/>
                <a:gd name="T44" fmla="*/ 350 w 455"/>
                <a:gd name="T45" fmla="*/ 54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55" h="450">
                  <a:moveTo>
                    <a:pt x="350" y="54"/>
                  </a:moveTo>
                  <a:cubicBezTo>
                    <a:pt x="337" y="67"/>
                    <a:pt x="324" y="80"/>
                    <a:pt x="311" y="93"/>
                  </a:cubicBezTo>
                  <a:cubicBezTo>
                    <a:pt x="310" y="94"/>
                    <a:pt x="307" y="95"/>
                    <a:pt x="305" y="94"/>
                  </a:cubicBezTo>
                  <a:cubicBezTo>
                    <a:pt x="292" y="87"/>
                    <a:pt x="277" y="83"/>
                    <a:pt x="262" y="81"/>
                  </a:cubicBezTo>
                  <a:cubicBezTo>
                    <a:pt x="244" y="79"/>
                    <a:pt x="227" y="79"/>
                    <a:pt x="210" y="82"/>
                  </a:cubicBezTo>
                  <a:cubicBezTo>
                    <a:pt x="187" y="87"/>
                    <a:pt x="166" y="96"/>
                    <a:pt x="148" y="109"/>
                  </a:cubicBezTo>
                  <a:cubicBezTo>
                    <a:pt x="129" y="123"/>
                    <a:pt x="114" y="140"/>
                    <a:pt x="103" y="160"/>
                  </a:cubicBezTo>
                  <a:cubicBezTo>
                    <a:pt x="93" y="178"/>
                    <a:pt x="87" y="196"/>
                    <a:pt x="84" y="216"/>
                  </a:cubicBezTo>
                  <a:cubicBezTo>
                    <a:pt x="81" y="239"/>
                    <a:pt x="83" y="261"/>
                    <a:pt x="90" y="283"/>
                  </a:cubicBezTo>
                  <a:cubicBezTo>
                    <a:pt x="101" y="319"/>
                    <a:pt x="123" y="347"/>
                    <a:pt x="154" y="367"/>
                  </a:cubicBezTo>
                  <a:cubicBezTo>
                    <a:pt x="176" y="381"/>
                    <a:pt x="199" y="389"/>
                    <a:pt x="225" y="392"/>
                  </a:cubicBezTo>
                  <a:cubicBezTo>
                    <a:pt x="252" y="394"/>
                    <a:pt x="277" y="390"/>
                    <a:pt x="302" y="379"/>
                  </a:cubicBezTo>
                  <a:cubicBezTo>
                    <a:pt x="327" y="368"/>
                    <a:pt x="348" y="352"/>
                    <a:pt x="364" y="330"/>
                  </a:cubicBezTo>
                  <a:cubicBezTo>
                    <a:pt x="377" y="313"/>
                    <a:pt x="386" y="294"/>
                    <a:pt x="391" y="273"/>
                  </a:cubicBezTo>
                  <a:cubicBezTo>
                    <a:pt x="395" y="256"/>
                    <a:pt x="397" y="240"/>
                    <a:pt x="395" y="223"/>
                  </a:cubicBezTo>
                  <a:cubicBezTo>
                    <a:pt x="394" y="204"/>
                    <a:pt x="389" y="185"/>
                    <a:pt x="380" y="167"/>
                  </a:cubicBezTo>
                  <a:cubicBezTo>
                    <a:pt x="394" y="153"/>
                    <a:pt x="408" y="139"/>
                    <a:pt x="422" y="125"/>
                  </a:cubicBezTo>
                  <a:cubicBezTo>
                    <a:pt x="444" y="161"/>
                    <a:pt x="455" y="200"/>
                    <a:pt x="453" y="242"/>
                  </a:cubicBezTo>
                  <a:cubicBezTo>
                    <a:pt x="452" y="283"/>
                    <a:pt x="441" y="320"/>
                    <a:pt x="418" y="354"/>
                  </a:cubicBezTo>
                  <a:cubicBezTo>
                    <a:pt x="374" y="418"/>
                    <a:pt x="312" y="450"/>
                    <a:pt x="235" y="450"/>
                  </a:cubicBezTo>
                  <a:cubicBezTo>
                    <a:pt x="176" y="450"/>
                    <a:pt x="125" y="427"/>
                    <a:pt x="85" y="385"/>
                  </a:cubicBezTo>
                  <a:cubicBezTo>
                    <a:pt x="0" y="295"/>
                    <a:pt x="6" y="160"/>
                    <a:pt x="95" y="78"/>
                  </a:cubicBezTo>
                  <a:cubicBezTo>
                    <a:pt x="179" y="0"/>
                    <a:pt x="293" y="14"/>
                    <a:pt x="350" y="54"/>
                  </a:cubicBezTo>
                  <a:close/>
                </a:path>
              </a:pathLst>
            </a:custGeom>
            <a:grpFill/>
            <a:ln>
              <a:noFill/>
            </a:ln>
          </p:spPr>
          <p:txBody>
            <a:bodyPr/>
            <a:lstStyle/>
            <a:p>
              <a:pPr>
                <a:defRPr/>
              </a:pPr>
              <a:endParaRPr lang="en-US" sz="1600">
                <a:solidFill>
                  <a:srgbClr val="282F39"/>
                </a:solidFill>
                <a:latin typeface="Calibri" panose="020F0502020204030204"/>
              </a:endParaRPr>
            </a:p>
          </p:txBody>
        </p:sp>
        <p:sp>
          <p:nvSpPr>
            <p:cNvPr id="40" name="Freeform 8">
              <a:extLst>
                <a:ext uri="{FF2B5EF4-FFF2-40B4-BE49-F238E27FC236}">
                  <a16:creationId xmlns:a16="http://schemas.microsoft.com/office/drawing/2014/main" id="{23895EEC-5F64-9B6D-B901-0B27B459E2B8}"/>
                </a:ext>
              </a:extLst>
            </p:cNvPr>
            <p:cNvSpPr>
              <a:spLocks/>
            </p:cNvSpPr>
            <p:nvPr/>
          </p:nvSpPr>
          <p:spPr bwMode="auto">
            <a:xfrm>
              <a:off x="7040563" y="2874828"/>
              <a:ext cx="1381125" cy="1384300"/>
            </a:xfrm>
            <a:custGeom>
              <a:avLst/>
              <a:gdLst>
                <a:gd name="T0" fmla="*/ 363 w 433"/>
                <a:gd name="T1" fmla="*/ 0 h 434"/>
                <a:gd name="T2" fmla="*/ 363 w 433"/>
                <a:gd name="T3" fmla="*/ 71 h 434"/>
                <a:gd name="T4" fmla="*/ 432 w 433"/>
                <a:gd name="T5" fmla="*/ 71 h 434"/>
                <a:gd name="T6" fmla="*/ 433 w 433"/>
                <a:gd name="T7" fmla="*/ 73 h 434"/>
                <a:gd name="T8" fmla="*/ 408 w 433"/>
                <a:gd name="T9" fmla="*/ 98 h 434"/>
                <a:gd name="T10" fmla="*/ 303 w 433"/>
                <a:gd name="T11" fmla="*/ 203 h 434"/>
                <a:gd name="T12" fmla="*/ 292 w 433"/>
                <a:gd name="T13" fmla="*/ 207 h 434"/>
                <a:gd name="T14" fmla="*/ 262 w 433"/>
                <a:gd name="T15" fmla="*/ 208 h 434"/>
                <a:gd name="T16" fmla="*/ 255 w 433"/>
                <a:gd name="T17" fmla="*/ 210 h 434"/>
                <a:gd name="T18" fmla="*/ 176 w 433"/>
                <a:gd name="T19" fmla="*/ 289 h 434"/>
                <a:gd name="T20" fmla="*/ 141 w 433"/>
                <a:gd name="T21" fmla="*/ 325 h 434"/>
                <a:gd name="T22" fmla="*/ 140 w 433"/>
                <a:gd name="T23" fmla="*/ 330 h 434"/>
                <a:gd name="T24" fmla="*/ 146 w 433"/>
                <a:gd name="T25" fmla="*/ 354 h 434"/>
                <a:gd name="T26" fmla="*/ 121 w 433"/>
                <a:gd name="T27" fmla="*/ 415 h 434"/>
                <a:gd name="T28" fmla="*/ 67 w 433"/>
                <a:gd name="T29" fmla="*/ 432 h 434"/>
                <a:gd name="T30" fmla="*/ 12 w 433"/>
                <a:gd name="T31" fmla="*/ 397 h 434"/>
                <a:gd name="T32" fmla="*/ 4 w 433"/>
                <a:gd name="T33" fmla="*/ 342 h 434"/>
                <a:gd name="T34" fmla="*/ 46 w 433"/>
                <a:gd name="T35" fmla="*/ 294 h 434"/>
                <a:gd name="T36" fmla="*/ 105 w 433"/>
                <a:gd name="T37" fmla="*/ 295 h 434"/>
                <a:gd name="T38" fmla="*/ 110 w 433"/>
                <a:gd name="T39" fmla="*/ 293 h 434"/>
                <a:gd name="T40" fmla="*/ 191 w 433"/>
                <a:gd name="T41" fmla="*/ 213 h 434"/>
                <a:gd name="T42" fmla="*/ 223 w 433"/>
                <a:gd name="T43" fmla="*/ 181 h 434"/>
                <a:gd name="T44" fmla="*/ 227 w 433"/>
                <a:gd name="T45" fmla="*/ 171 h 434"/>
                <a:gd name="T46" fmla="*/ 227 w 433"/>
                <a:gd name="T47" fmla="*/ 143 h 434"/>
                <a:gd name="T48" fmla="*/ 231 w 433"/>
                <a:gd name="T49" fmla="*/ 131 h 434"/>
                <a:gd name="T50" fmla="*/ 360 w 433"/>
                <a:gd name="T51" fmla="*/ 3 h 434"/>
                <a:gd name="T52" fmla="*/ 363 w 433"/>
                <a:gd name="T53" fmla="*/ 0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33" h="434">
                  <a:moveTo>
                    <a:pt x="363" y="0"/>
                  </a:moveTo>
                  <a:cubicBezTo>
                    <a:pt x="363" y="24"/>
                    <a:pt x="363" y="47"/>
                    <a:pt x="363" y="71"/>
                  </a:cubicBezTo>
                  <a:cubicBezTo>
                    <a:pt x="386" y="71"/>
                    <a:pt x="409" y="71"/>
                    <a:pt x="432" y="71"/>
                  </a:cubicBezTo>
                  <a:cubicBezTo>
                    <a:pt x="432" y="72"/>
                    <a:pt x="432" y="73"/>
                    <a:pt x="433" y="73"/>
                  </a:cubicBezTo>
                  <a:cubicBezTo>
                    <a:pt x="424" y="81"/>
                    <a:pt x="416" y="90"/>
                    <a:pt x="408" y="98"/>
                  </a:cubicBezTo>
                  <a:cubicBezTo>
                    <a:pt x="373" y="133"/>
                    <a:pt x="338" y="168"/>
                    <a:pt x="303" y="203"/>
                  </a:cubicBezTo>
                  <a:cubicBezTo>
                    <a:pt x="300" y="206"/>
                    <a:pt x="297" y="208"/>
                    <a:pt x="292" y="207"/>
                  </a:cubicBezTo>
                  <a:cubicBezTo>
                    <a:pt x="282" y="207"/>
                    <a:pt x="272" y="207"/>
                    <a:pt x="262" y="208"/>
                  </a:cubicBezTo>
                  <a:cubicBezTo>
                    <a:pt x="260" y="208"/>
                    <a:pt x="256" y="209"/>
                    <a:pt x="255" y="210"/>
                  </a:cubicBezTo>
                  <a:cubicBezTo>
                    <a:pt x="228" y="237"/>
                    <a:pt x="202" y="263"/>
                    <a:pt x="176" y="289"/>
                  </a:cubicBezTo>
                  <a:cubicBezTo>
                    <a:pt x="164" y="301"/>
                    <a:pt x="152" y="313"/>
                    <a:pt x="141" y="325"/>
                  </a:cubicBezTo>
                  <a:cubicBezTo>
                    <a:pt x="140" y="326"/>
                    <a:pt x="139" y="328"/>
                    <a:pt x="140" y="330"/>
                  </a:cubicBezTo>
                  <a:cubicBezTo>
                    <a:pt x="143" y="338"/>
                    <a:pt x="145" y="346"/>
                    <a:pt x="146" y="354"/>
                  </a:cubicBezTo>
                  <a:cubicBezTo>
                    <a:pt x="148" y="379"/>
                    <a:pt x="139" y="399"/>
                    <a:pt x="121" y="415"/>
                  </a:cubicBezTo>
                  <a:cubicBezTo>
                    <a:pt x="105" y="428"/>
                    <a:pt x="87" y="434"/>
                    <a:pt x="67" y="432"/>
                  </a:cubicBezTo>
                  <a:cubicBezTo>
                    <a:pt x="43" y="429"/>
                    <a:pt x="25" y="417"/>
                    <a:pt x="12" y="397"/>
                  </a:cubicBezTo>
                  <a:cubicBezTo>
                    <a:pt x="2" y="380"/>
                    <a:pt x="0" y="361"/>
                    <a:pt x="4" y="342"/>
                  </a:cubicBezTo>
                  <a:cubicBezTo>
                    <a:pt x="10" y="320"/>
                    <a:pt x="24" y="303"/>
                    <a:pt x="46" y="294"/>
                  </a:cubicBezTo>
                  <a:cubicBezTo>
                    <a:pt x="66" y="285"/>
                    <a:pt x="86" y="286"/>
                    <a:pt x="105" y="295"/>
                  </a:cubicBezTo>
                  <a:cubicBezTo>
                    <a:pt x="107" y="295"/>
                    <a:pt x="109" y="294"/>
                    <a:pt x="110" y="293"/>
                  </a:cubicBezTo>
                  <a:cubicBezTo>
                    <a:pt x="137" y="267"/>
                    <a:pt x="164" y="240"/>
                    <a:pt x="191" y="213"/>
                  </a:cubicBezTo>
                  <a:cubicBezTo>
                    <a:pt x="202" y="202"/>
                    <a:pt x="212" y="191"/>
                    <a:pt x="223" y="181"/>
                  </a:cubicBezTo>
                  <a:cubicBezTo>
                    <a:pt x="226" y="178"/>
                    <a:pt x="227" y="175"/>
                    <a:pt x="227" y="171"/>
                  </a:cubicBezTo>
                  <a:cubicBezTo>
                    <a:pt x="227" y="162"/>
                    <a:pt x="227" y="152"/>
                    <a:pt x="227" y="143"/>
                  </a:cubicBezTo>
                  <a:cubicBezTo>
                    <a:pt x="226" y="138"/>
                    <a:pt x="228" y="135"/>
                    <a:pt x="231" y="131"/>
                  </a:cubicBezTo>
                  <a:cubicBezTo>
                    <a:pt x="274" y="88"/>
                    <a:pt x="317" y="45"/>
                    <a:pt x="360" y="3"/>
                  </a:cubicBezTo>
                  <a:cubicBezTo>
                    <a:pt x="361" y="2"/>
                    <a:pt x="362" y="1"/>
                    <a:pt x="363" y="0"/>
                  </a:cubicBezTo>
                  <a:close/>
                </a:path>
              </a:pathLst>
            </a:custGeom>
            <a:grpFill/>
            <a:ln>
              <a:noFill/>
            </a:ln>
          </p:spPr>
          <p:txBody>
            <a:bodyPr/>
            <a:lstStyle/>
            <a:p>
              <a:pPr>
                <a:defRPr/>
              </a:pPr>
              <a:endParaRPr lang="en-US" sz="1600" dirty="0">
                <a:solidFill>
                  <a:srgbClr val="282F39"/>
                </a:solidFill>
                <a:latin typeface="Calibri" panose="020F0502020204030204"/>
              </a:endParaRPr>
            </a:p>
          </p:txBody>
        </p:sp>
      </p:grpSp>
      <p:grpSp>
        <p:nvGrpSpPr>
          <p:cNvPr id="9230" name="Group 40">
            <a:extLst>
              <a:ext uri="{FF2B5EF4-FFF2-40B4-BE49-F238E27FC236}">
                <a16:creationId xmlns:a16="http://schemas.microsoft.com/office/drawing/2014/main" id="{B6F61634-8155-0366-CE8B-42C318F51B60}"/>
              </a:ext>
            </a:extLst>
          </p:cNvPr>
          <p:cNvGrpSpPr>
            <a:grpSpLocks/>
          </p:cNvGrpSpPr>
          <p:nvPr/>
        </p:nvGrpSpPr>
        <p:grpSpPr bwMode="auto">
          <a:xfrm>
            <a:off x="4294189" y="2305050"/>
            <a:ext cx="674687" cy="687388"/>
            <a:chOff x="2001838" y="-2239963"/>
            <a:chExt cx="965200" cy="963613"/>
          </a:xfrm>
        </p:grpSpPr>
        <p:sp>
          <p:nvSpPr>
            <p:cNvPr id="42" name="Freeform 5">
              <a:extLst>
                <a:ext uri="{FF2B5EF4-FFF2-40B4-BE49-F238E27FC236}">
                  <a16:creationId xmlns:a16="http://schemas.microsoft.com/office/drawing/2014/main" id="{AEE74B6B-0A48-B51C-36AC-3AD2AB05FF82}"/>
                </a:ext>
              </a:extLst>
            </p:cNvPr>
            <p:cNvSpPr>
              <a:spLocks/>
            </p:cNvSpPr>
            <p:nvPr/>
          </p:nvSpPr>
          <p:spPr bwMode="auto">
            <a:xfrm>
              <a:off x="2585500" y="-1654674"/>
              <a:ext cx="381538" cy="378324"/>
            </a:xfrm>
            <a:custGeom>
              <a:avLst/>
              <a:gdLst>
                <a:gd name="T0" fmla="*/ 1404 w 1547"/>
                <a:gd name="T1" fmla="*/ 890 h 1547"/>
                <a:gd name="T2" fmla="*/ 514 w 1547"/>
                <a:gd name="T3" fmla="*/ 0 h 1547"/>
                <a:gd name="T4" fmla="*/ 0 w 1547"/>
                <a:gd name="T5" fmla="*/ 514 h 1547"/>
                <a:gd name="T6" fmla="*/ 890 w 1547"/>
                <a:gd name="T7" fmla="*/ 1404 h 1547"/>
                <a:gd name="T8" fmla="*/ 1404 w 1547"/>
                <a:gd name="T9" fmla="*/ 1404 h 1547"/>
                <a:gd name="T10" fmla="*/ 1404 w 1547"/>
                <a:gd name="T11" fmla="*/ 890 h 1547"/>
              </a:gdLst>
              <a:ahLst/>
              <a:cxnLst>
                <a:cxn ang="0">
                  <a:pos x="T0" y="T1"/>
                </a:cxn>
                <a:cxn ang="0">
                  <a:pos x="T2" y="T3"/>
                </a:cxn>
                <a:cxn ang="0">
                  <a:pos x="T4" y="T5"/>
                </a:cxn>
                <a:cxn ang="0">
                  <a:pos x="T6" y="T7"/>
                </a:cxn>
                <a:cxn ang="0">
                  <a:pos x="T8" y="T9"/>
                </a:cxn>
                <a:cxn ang="0">
                  <a:pos x="T10" y="T11"/>
                </a:cxn>
              </a:cxnLst>
              <a:rect l="0" t="0" r="r" b="b"/>
              <a:pathLst>
                <a:path w="1547" h="1547">
                  <a:moveTo>
                    <a:pt x="1404" y="890"/>
                  </a:moveTo>
                  <a:cubicBezTo>
                    <a:pt x="514" y="0"/>
                    <a:pt x="514" y="0"/>
                    <a:pt x="514" y="0"/>
                  </a:cubicBezTo>
                  <a:cubicBezTo>
                    <a:pt x="382" y="206"/>
                    <a:pt x="206" y="382"/>
                    <a:pt x="0" y="514"/>
                  </a:cubicBezTo>
                  <a:cubicBezTo>
                    <a:pt x="890" y="1404"/>
                    <a:pt x="890" y="1404"/>
                    <a:pt x="890" y="1404"/>
                  </a:cubicBezTo>
                  <a:cubicBezTo>
                    <a:pt x="1032" y="1547"/>
                    <a:pt x="1263" y="1547"/>
                    <a:pt x="1404" y="1404"/>
                  </a:cubicBezTo>
                  <a:cubicBezTo>
                    <a:pt x="1547" y="1263"/>
                    <a:pt x="1547" y="1032"/>
                    <a:pt x="1404" y="890"/>
                  </a:cubicBezTo>
                  <a:close/>
                </a:path>
              </a:pathLst>
            </a:custGeom>
            <a:solidFill>
              <a:schemeClr val="accent5"/>
            </a:solidFill>
            <a:ln>
              <a:noFill/>
            </a:ln>
          </p:spPr>
          <p:txBody>
            <a:bodyPr/>
            <a:lstStyle/>
            <a:p>
              <a:pPr>
                <a:defRPr/>
              </a:pPr>
              <a:endParaRPr lang="en-US" sz="1600">
                <a:solidFill>
                  <a:srgbClr val="282F39"/>
                </a:solidFill>
                <a:latin typeface="Calibri" panose="020F0502020204030204"/>
              </a:endParaRPr>
            </a:p>
          </p:txBody>
        </p:sp>
        <p:sp>
          <p:nvSpPr>
            <p:cNvPr id="43" name="Freeform 6">
              <a:extLst>
                <a:ext uri="{FF2B5EF4-FFF2-40B4-BE49-F238E27FC236}">
                  <a16:creationId xmlns:a16="http://schemas.microsoft.com/office/drawing/2014/main" id="{7BEEFADF-BCAB-710B-9ADD-5FC52F569315}"/>
                </a:ext>
              </a:extLst>
            </p:cNvPr>
            <p:cNvSpPr>
              <a:spLocks noEditPoints="1"/>
            </p:cNvSpPr>
            <p:nvPr/>
          </p:nvSpPr>
          <p:spPr bwMode="auto">
            <a:xfrm>
              <a:off x="2001838" y="-2239963"/>
              <a:ext cx="717655" cy="716589"/>
            </a:xfrm>
            <a:custGeom>
              <a:avLst/>
              <a:gdLst>
                <a:gd name="T0" fmla="*/ 2910 w 2910"/>
                <a:gd name="T1" fmla="*/ 1455 h 2910"/>
                <a:gd name="T2" fmla="*/ 1455 w 2910"/>
                <a:gd name="T3" fmla="*/ 0 h 2910"/>
                <a:gd name="T4" fmla="*/ 0 w 2910"/>
                <a:gd name="T5" fmla="*/ 1455 h 2910"/>
                <a:gd name="T6" fmla="*/ 1455 w 2910"/>
                <a:gd name="T7" fmla="*/ 2910 h 2910"/>
                <a:gd name="T8" fmla="*/ 2910 w 2910"/>
                <a:gd name="T9" fmla="*/ 1455 h 2910"/>
                <a:gd name="T10" fmla="*/ 1455 w 2910"/>
                <a:gd name="T11" fmla="*/ 2546 h 2910"/>
                <a:gd name="T12" fmla="*/ 364 w 2910"/>
                <a:gd name="T13" fmla="*/ 1455 h 2910"/>
                <a:gd name="T14" fmla="*/ 1455 w 2910"/>
                <a:gd name="T15" fmla="*/ 364 h 2910"/>
                <a:gd name="T16" fmla="*/ 2546 w 2910"/>
                <a:gd name="T17" fmla="*/ 1455 h 2910"/>
                <a:gd name="T18" fmla="*/ 1455 w 2910"/>
                <a:gd name="T19" fmla="*/ 2546 h 2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10" h="2910">
                  <a:moveTo>
                    <a:pt x="2910" y="1455"/>
                  </a:moveTo>
                  <a:cubicBezTo>
                    <a:pt x="2910" y="651"/>
                    <a:pt x="2259" y="0"/>
                    <a:pt x="1455" y="0"/>
                  </a:cubicBezTo>
                  <a:cubicBezTo>
                    <a:pt x="652" y="0"/>
                    <a:pt x="0" y="651"/>
                    <a:pt x="0" y="1455"/>
                  </a:cubicBezTo>
                  <a:cubicBezTo>
                    <a:pt x="0" y="2259"/>
                    <a:pt x="652" y="2910"/>
                    <a:pt x="1455" y="2910"/>
                  </a:cubicBezTo>
                  <a:cubicBezTo>
                    <a:pt x="2259" y="2910"/>
                    <a:pt x="2910" y="2259"/>
                    <a:pt x="2910" y="1455"/>
                  </a:cubicBezTo>
                  <a:close/>
                  <a:moveTo>
                    <a:pt x="1455" y="2546"/>
                  </a:moveTo>
                  <a:cubicBezTo>
                    <a:pt x="853" y="2546"/>
                    <a:pt x="364" y="2057"/>
                    <a:pt x="364" y="1455"/>
                  </a:cubicBezTo>
                  <a:cubicBezTo>
                    <a:pt x="364" y="853"/>
                    <a:pt x="853" y="364"/>
                    <a:pt x="1455" y="364"/>
                  </a:cubicBezTo>
                  <a:cubicBezTo>
                    <a:pt x="2057" y="364"/>
                    <a:pt x="2546" y="853"/>
                    <a:pt x="2546" y="1455"/>
                  </a:cubicBezTo>
                  <a:cubicBezTo>
                    <a:pt x="2546" y="2057"/>
                    <a:pt x="2057" y="2546"/>
                    <a:pt x="1455" y="2546"/>
                  </a:cubicBezTo>
                  <a:close/>
                </a:path>
              </a:pathLst>
            </a:custGeom>
            <a:solidFill>
              <a:schemeClr val="accent5"/>
            </a:solidFill>
            <a:ln>
              <a:noFill/>
            </a:ln>
          </p:spPr>
          <p:txBody>
            <a:bodyPr/>
            <a:lstStyle/>
            <a:p>
              <a:pPr>
                <a:defRPr/>
              </a:pPr>
              <a:endParaRPr lang="en-US" sz="1600">
                <a:solidFill>
                  <a:srgbClr val="282F39"/>
                </a:solidFill>
                <a:latin typeface="Calibri" panose="020F0502020204030204"/>
              </a:endParaRPr>
            </a:p>
          </p:txBody>
        </p:sp>
        <p:sp>
          <p:nvSpPr>
            <p:cNvPr id="44" name="Freeform 7">
              <a:extLst>
                <a:ext uri="{FF2B5EF4-FFF2-40B4-BE49-F238E27FC236}">
                  <a16:creationId xmlns:a16="http://schemas.microsoft.com/office/drawing/2014/main" id="{F79564CD-CF6E-548B-422F-6FE7C2D2AE6A}"/>
                </a:ext>
              </a:extLst>
            </p:cNvPr>
            <p:cNvSpPr>
              <a:spLocks/>
            </p:cNvSpPr>
            <p:nvPr/>
          </p:nvSpPr>
          <p:spPr bwMode="auto">
            <a:xfrm>
              <a:off x="2151728" y="-2090858"/>
              <a:ext cx="208938" cy="209191"/>
            </a:xfrm>
            <a:custGeom>
              <a:avLst/>
              <a:gdLst>
                <a:gd name="T0" fmla="*/ 0 w 849"/>
                <a:gd name="T1" fmla="*/ 849 h 849"/>
                <a:gd name="T2" fmla="*/ 243 w 849"/>
                <a:gd name="T3" fmla="*/ 849 h 849"/>
                <a:gd name="T4" fmla="*/ 849 w 849"/>
                <a:gd name="T5" fmla="*/ 243 h 849"/>
                <a:gd name="T6" fmla="*/ 849 w 849"/>
                <a:gd name="T7" fmla="*/ 0 h 849"/>
                <a:gd name="T8" fmla="*/ 0 w 849"/>
                <a:gd name="T9" fmla="*/ 849 h 849"/>
              </a:gdLst>
              <a:ahLst/>
              <a:cxnLst>
                <a:cxn ang="0">
                  <a:pos x="T0" y="T1"/>
                </a:cxn>
                <a:cxn ang="0">
                  <a:pos x="T2" y="T3"/>
                </a:cxn>
                <a:cxn ang="0">
                  <a:pos x="T4" y="T5"/>
                </a:cxn>
                <a:cxn ang="0">
                  <a:pos x="T6" y="T7"/>
                </a:cxn>
                <a:cxn ang="0">
                  <a:pos x="T8" y="T9"/>
                </a:cxn>
              </a:cxnLst>
              <a:rect l="0" t="0" r="r" b="b"/>
              <a:pathLst>
                <a:path w="849" h="849">
                  <a:moveTo>
                    <a:pt x="0" y="849"/>
                  </a:moveTo>
                  <a:cubicBezTo>
                    <a:pt x="243" y="849"/>
                    <a:pt x="243" y="849"/>
                    <a:pt x="243" y="849"/>
                  </a:cubicBezTo>
                  <a:cubicBezTo>
                    <a:pt x="243" y="515"/>
                    <a:pt x="515" y="243"/>
                    <a:pt x="849" y="243"/>
                  </a:cubicBezTo>
                  <a:cubicBezTo>
                    <a:pt x="849" y="0"/>
                    <a:pt x="849" y="0"/>
                    <a:pt x="849" y="0"/>
                  </a:cubicBezTo>
                  <a:cubicBezTo>
                    <a:pt x="381" y="0"/>
                    <a:pt x="0" y="381"/>
                    <a:pt x="0" y="849"/>
                  </a:cubicBezTo>
                  <a:close/>
                </a:path>
              </a:pathLst>
            </a:custGeom>
            <a:solidFill>
              <a:schemeClr val="accent5"/>
            </a:solidFill>
            <a:ln>
              <a:noFill/>
            </a:ln>
          </p:spPr>
          <p:txBody>
            <a:bodyPr/>
            <a:lstStyle/>
            <a:p>
              <a:pPr>
                <a:defRPr/>
              </a:pPr>
              <a:endParaRPr lang="en-US" sz="1600">
                <a:solidFill>
                  <a:srgbClr val="282F39"/>
                </a:solidFill>
                <a:latin typeface="Calibri" panose="020F0502020204030204"/>
              </a:endParaRPr>
            </a:p>
          </p:txBody>
        </p:sp>
      </p:gr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FEC035-4B5F-5AED-253C-C67ACF05CEB0}"/>
              </a:ext>
            </a:extLst>
          </p:cNvPr>
          <p:cNvSpPr>
            <a:spLocks noGrp="1"/>
          </p:cNvSpPr>
          <p:nvPr>
            <p:ph type="title"/>
          </p:nvPr>
        </p:nvSpPr>
        <p:spPr/>
        <p:txBody>
          <a:bodyPr/>
          <a:lstStyle/>
          <a:p>
            <a:r>
              <a:rPr lang="en-GB"/>
              <a:t>DSD Assessment and Acceptance form</a:t>
            </a:r>
          </a:p>
        </p:txBody>
      </p:sp>
      <p:pic>
        <p:nvPicPr>
          <p:cNvPr id="5" name="Picture 4">
            <a:extLst>
              <a:ext uri="{FF2B5EF4-FFF2-40B4-BE49-F238E27FC236}">
                <a16:creationId xmlns:a16="http://schemas.microsoft.com/office/drawing/2014/main" id="{2EECC453-2D83-4AB0-6B5B-FAEAE04DDEE9}"/>
              </a:ext>
            </a:extLst>
          </p:cNvPr>
          <p:cNvPicPr>
            <a:picLocks noChangeAspect="1"/>
          </p:cNvPicPr>
          <p:nvPr/>
        </p:nvPicPr>
        <p:blipFill>
          <a:blip r:embed="rId2"/>
          <a:stretch>
            <a:fillRect/>
          </a:stretch>
        </p:blipFill>
        <p:spPr>
          <a:xfrm>
            <a:off x="609601" y="1417638"/>
            <a:ext cx="10744862" cy="4933950"/>
          </a:xfrm>
          <a:prstGeom prst="rect">
            <a:avLst/>
          </a:prstGeom>
        </p:spPr>
      </p:pic>
    </p:spTree>
    <p:extLst>
      <p:ext uri="{BB962C8B-B14F-4D97-AF65-F5344CB8AC3E}">
        <p14:creationId xmlns:p14="http://schemas.microsoft.com/office/powerpoint/2010/main" val="3610036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FEC035-4B5F-5AED-253C-C67ACF05CEB0}"/>
              </a:ext>
            </a:extLst>
          </p:cNvPr>
          <p:cNvSpPr>
            <a:spLocks noGrp="1"/>
          </p:cNvSpPr>
          <p:nvPr>
            <p:ph type="title"/>
          </p:nvPr>
        </p:nvSpPr>
        <p:spPr/>
        <p:txBody>
          <a:bodyPr/>
          <a:lstStyle/>
          <a:p>
            <a:r>
              <a:rPr lang="en-GB"/>
              <a:t>DSD Registers</a:t>
            </a:r>
          </a:p>
        </p:txBody>
      </p:sp>
      <p:pic>
        <p:nvPicPr>
          <p:cNvPr id="4" name="Picture 3">
            <a:extLst>
              <a:ext uri="{FF2B5EF4-FFF2-40B4-BE49-F238E27FC236}">
                <a16:creationId xmlns:a16="http://schemas.microsoft.com/office/drawing/2014/main" id="{0DDDF2C1-BA5C-0085-74C7-D365CF80918A}"/>
              </a:ext>
            </a:extLst>
          </p:cNvPr>
          <p:cNvPicPr>
            <a:picLocks noChangeAspect="1"/>
          </p:cNvPicPr>
          <p:nvPr/>
        </p:nvPicPr>
        <p:blipFill rotWithShape="1">
          <a:blip r:embed="rId2"/>
          <a:srcRect b="4725"/>
          <a:stretch/>
        </p:blipFill>
        <p:spPr>
          <a:xfrm>
            <a:off x="5950975" y="1165124"/>
            <a:ext cx="6241026" cy="5309566"/>
          </a:xfrm>
          <a:prstGeom prst="rect">
            <a:avLst/>
          </a:prstGeom>
        </p:spPr>
      </p:pic>
      <p:pic>
        <p:nvPicPr>
          <p:cNvPr id="7" name="Picture 6">
            <a:extLst>
              <a:ext uri="{FF2B5EF4-FFF2-40B4-BE49-F238E27FC236}">
                <a16:creationId xmlns:a16="http://schemas.microsoft.com/office/drawing/2014/main" id="{F9826EDA-3FA7-1266-1273-87B4D2FC13D5}"/>
              </a:ext>
            </a:extLst>
          </p:cNvPr>
          <p:cNvPicPr>
            <a:picLocks noChangeAspect="1"/>
          </p:cNvPicPr>
          <p:nvPr/>
        </p:nvPicPr>
        <p:blipFill>
          <a:blip r:embed="rId3"/>
          <a:stretch>
            <a:fillRect/>
          </a:stretch>
        </p:blipFill>
        <p:spPr>
          <a:xfrm>
            <a:off x="0" y="1165123"/>
            <a:ext cx="5892799" cy="5309567"/>
          </a:xfrm>
          <a:prstGeom prst="rect">
            <a:avLst/>
          </a:prstGeom>
        </p:spPr>
      </p:pic>
    </p:spTree>
    <p:extLst>
      <p:ext uri="{BB962C8B-B14F-4D97-AF65-F5344CB8AC3E}">
        <p14:creationId xmlns:p14="http://schemas.microsoft.com/office/powerpoint/2010/main" val="188570815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15F887-6A04-5F8A-A76D-EDB551A43A03}"/>
              </a:ext>
            </a:extLst>
          </p:cNvPr>
          <p:cNvSpPr>
            <a:spLocks noGrp="1"/>
          </p:cNvSpPr>
          <p:nvPr>
            <p:ph type="title"/>
          </p:nvPr>
        </p:nvSpPr>
        <p:spPr/>
        <p:txBody>
          <a:bodyPr/>
          <a:lstStyle/>
          <a:p>
            <a:r>
              <a:rPr lang="en-GB"/>
              <a:t>EAC Register</a:t>
            </a:r>
          </a:p>
        </p:txBody>
      </p:sp>
      <p:pic>
        <p:nvPicPr>
          <p:cNvPr id="5" name="Picture 4">
            <a:extLst>
              <a:ext uri="{FF2B5EF4-FFF2-40B4-BE49-F238E27FC236}">
                <a16:creationId xmlns:a16="http://schemas.microsoft.com/office/drawing/2014/main" id="{A38E73E2-C97A-3C75-C0D1-2C83C2A6C147}"/>
              </a:ext>
            </a:extLst>
          </p:cNvPr>
          <p:cNvPicPr>
            <a:picLocks noChangeAspect="1"/>
          </p:cNvPicPr>
          <p:nvPr/>
        </p:nvPicPr>
        <p:blipFill>
          <a:blip r:embed="rId2"/>
          <a:stretch>
            <a:fillRect/>
          </a:stretch>
        </p:blipFill>
        <p:spPr>
          <a:xfrm>
            <a:off x="106330" y="1162535"/>
            <a:ext cx="11685454" cy="5103093"/>
          </a:xfrm>
          <a:prstGeom prst="rect">
            <a:avLst/>
          </a:prstGeom>
        </p:spPr>
      </p:pic>
    </p:spTree>
    <p:extLst>
      <p:ext uri="{BB962C8B-B14F-4D97-AF65-F5344CB8AC3E}">
        <p14:creationId xmlns:p14="http://schemas.microsoft.com/office/powerpoint/2010/main" val="418181799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09EF686-4E76-6F17-084B-551BC33CB3DD}"/>
              </a:ext>
            </a:extLst>
          </p:cNvPr>
          <p:cNvPicPr>
            <a:picLocks noChangeAspect="1"/>
          </p:cNvPicPr>
          <p:nvPr/>
        </p:nvPicPr>
        <p:blipFill rotWithShape="1">
          <a:blip r:embed="rId5"/>
          <a:srcRect b="17688"/>
          <a:stretch/>
        </p:blipFill>
        <p:spPr>
          <a:xfrm>
            <a:off x="318052" y="190831"/>
            <a:ext cx="11791652" cy="6376945"/>
          </a:xfrm>
          <a:prstGeom prst="rect">
            <a:avLst/>
          </a:prstGeom>
        </p:spPr>
      </p:pic>
      <p:pic>
        <p:nvPicPr>
          <p:cNvPr id="6" name="Audio 5">
            <a:hlinkClick r:id="" action="ppaction://media"/>
            <a:extLst>
              <a:ext uri="{FF2B5EF4-FFF2-40B4-BE49-F238E27FC236}">
                <a16:creationId xmlns:a16="http://schemas.microsoft.com/office/drawing/2014/main" id="{20C17F32-76F1-4521-B92E-427323AA4F67}"/>
              </a:ext>
            </a:extLst>
          </p:cNvPr>
          <p:cNvPicPr>
            <a:picLocks noChangeAspect="1"/>
          </p:cNvPicPr>
          <p:nvPr>
            <a:audioFile r:link="rId2"/>
            <p:extLst>
              <p:ext uri="{DAA4B4D4-6D71-4841-9C94-3DE7FCFB9230}">
                <p14:media xmlns:p14="http://schemas.microsoft.com/office/powerpoint/2010/main" r:embed="rId1"/>
              </p:ext>
            </p:extLst>
          </p:nvPr>
        </p:nvPicPr>
        <p:blipFill>
          <a:blip r:embed="rId6"/>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3163852376"/>
      </p:ext>
    </p:extLst>
  </p:cSld>
  <p:clrMapOvr>
    <a:masterClrMapping/>
  </p:clrMapOvr>
  <mc:AlternateContent xmlns:mc="http://schemas.openxmlformats.org/markup-compatibility/2006" xmlns:p14="http://schemas.microsoft.com/office/powerpoint/2010/main">
    <mc:Choice Requires="p14">
      <p:transition spd="slow" p14:dur="2000" advTm="18603"/>
    </mc:Choice>
    <mc:Fallback xmlns="">
      <p:transition spd="slow" advTm="18603"/>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screenshot of a medical report&#10;&#10;Description automatically generated">
            <a:extLst>
              <a:ext uri="{FF2B5EF4-FFF2-40B4-BE49-F238E27FC236}">
                <a16:creationId xmlns:a16="http://schemas.microsoft.com/office/drawing/2014/main" id="{2ED71A5A-A633-25ED-F675-09A5F148EC13}"/>
              </a:ext>
            </a:extLst>
          </p:cNvPr>
          <p:cNvPicPr>
            <a:picLocks noChangeAspect="1"/>
          </p:cNvPicPr>
          <p:nvPr/>
        </p:nvPicPr>
        <p:blipFill rotWithShape="1">
          <a:blip r:embed="rId2"/>
          <a:srcRect b="4154"/>
          <a:stretch/>
        </p:blipFill>
        <p:spPr>
          <a:xfrm>
            <a:off x="230587" y="254442"/>
            <a:ext cx="11736125" cy="6146358"/>
          </a:xfrm>
          <a:prstGeom prst="rect">
            <a:avLst/>
          </a:prstGeom>
        </p:spPr>
      </p:pic>
    </p:spTree>
    <p:extLst>
      <p:ext uri="{BB962C8B-B14F-4D97-AF65-F5344CB8AC3E}">
        <p14:creationId xmlns:p14="http://schemas.microsoft.com/office/powerpoint/2010/main" val="103942646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276"/>
        <p:cNvGrpSpPr/>
        <p:nvPr/>
      </p:nvGrpSpPr>
      <p:grpSpPr>
        <a:xfrm>
          <a:off x="0" y="0"/>
          <a:ext cx="0" cy="0"/>
          <a:chOff x="0" y="0"/>
          <a:chExt cx="0" cy="0"/>
        </a:xfrm>
      </p:grpSpPr>
      <p:sp>
        <p:nvSpPr>
          <p:cNvPr id="277" name="Google Shape;277;p18"/>
          <p:cNvSpPr txBox="1">
            <a:spLocks noGrp="1"/>
          </p:cNvSpPr>
          <p:nvPr>
            <p:ph type="title"/>
          </p:nvPr>
        </p:nvSpPr>
        <p:spPr>
          <a:xfrm>
            <a:off x="741995" y="198865"/>
            <a:ext cx="10298000" cy="641600"/>
          </a:xfrm>
          <a:prstGeom prst="rect">
            <a:avLst/>
          </a:prstGeom>
        </p:spPr>
        <p:txBody>
          <a:bodyPr spcFirstLastPara="1" vert="horz" wrap="square" lIns="121900" tIns="121900" rIns="121900" bIns="121900" rtlCol="0" anchor="ctr" anchorCtr="0">
            <a:noAutofit/>
          </a:bodyPr>
          <a:lstStyle/>
          <a:p>
            <a:pPr algn="l">
              <a:spcBef>
                <a:spcPts val="0"/>
              </a:spcBef>
            </a:pPr>
            <a:r>
              <a:rPr lang="en-US" sz="4000" dirty="0"/>
              <a:t>Benefit of proper filling of DCTs in HIV Program</a:t>
            </a:r>
            <a:endParaRPr sz="4000" dirty="0"/>
          </a:p>
        </p:txBody>
      </p:sp>
      <p:grpSp>
        <p:nvGrpSpPr>
          <p:cNvPr id="278" name="Google Shape;278;p18"/>
          <p:cNvGrpSpPr/>
          <p:nvPr/>
        </p:nvGrpSpPr>
        <p:grpSpPr>
          <a:xfrm>
            <a:off x="1381701" y="1789602"/>
            <a:ext cx="1883612" cy="2564617"/>
            <a:chOff x="1036275" y="1121000"/>
            <a:chExt cx="1412709" cy="1923461"/>
          </a:xfrm>
        </p:grpSpPr>
        <p:sp>
          <p:nvSpPr>
            <p:cNvPr id="279" name="Google Shape;279;p18"/>
            <p:cNvSpPr/>
            <p:nvPr/>
          </p:nvSpPr>
          <p:spPr>
            <a:xfrm>
              <a:off x="1812795" y="2639054"/>
              <a:ext cx="534944" cy="218918"/>
            </a:xfrm>
            <a:custGeom>
              <a:avLst/>
              <a:gdLst/>
              <a:ahLst/>
              <a:cxnLst/>
              <a:rect l="l" t="t" r="r" b="b"/>
              <a:pathLst>
                <a:path w="17110" h="7002" extrusionOk="0">
                  <a:moveTo>
                    <a:pt x="0" y="1"/>
                  </a:moveTo>
                  <a:lnTo>
                    <a:pt x="2810" y="3501"/>
                  </a:lnTo>
                  <a:lnTo>
                    <a:pt x="0" y="7002"/>
                  </a:lnTo>
                  <a:lnTo>
                    <a:pt x="14300" y="7002"/>
                  </a:lnTo>
                  <a:lnTo>
                    <a:pt x="17110" y="3501"/>
                  </a:lnTo>
                  <a:lnTo>
                    <a:pt x="14300" y="1"/>
                  </a:lnTo>
                  <a:close/>
                </a:path>
              </a:pathLst>
            </a:custGeom>
            <a:solidFill>
              <a:srgbClr val="FCBD24"/>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280" name="Google Shape;280;p18"/>
            <p:cNvSpPr/>
            <p:nvPr/>
          </p:nvSpPr>
          <p:spPr>
            <a:xfrm>
              <a:off x="1742447" y="1996915"/>
              <a:ext cx="31" cy="754581"/>
            </a:xfrm>
            <a:custGeom>
              <a:avLst/>
              <a:gdLst/>
              <a:ahLst/>
              <a:cxnLst/>
              <a:rect l="l" t="t" r="r" b="b"/>
              <a:pathLst>
                <a:path w="1" h="24135" fill="none" extrusionOk="0">
                  <a:moveTo>
                    <a:pt x="0" y="24134"/>
                  </a:moveTo>
                  <a:lnTo>
                    <a:pt x="0" y="0"/>
                  </a:lnTo>
                </a:path>
              </a:pathLst>
            </a:custGeom>
            <a:noFill/>
            <a:ln w="17850" cap="rnd" cmpd="sng">
              <a:solidFill>
                <a:srgbClr val="9DB6C6"/>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281" name="Google Shape;281;p18"/>
            <p:cNvSpPr/>
            <p:nvPr/>
          </p:nvSpPr>
          <p:spPr>
            <a:xfrm>
              <a:off x="1036275" y="1121000"/>
              <a:ext cx="1412709" cy="987693"/>
            </a:xfrm>
            <a:custGeom>
              <a:avLst/>
              <a:gdLst/>
              <a:ahLst/>
              <a:cxnLst/>
              <a:rect l="l" t="t" r="r" b="b"/>
              <a:pathLst>
                <a:path w="45185" h="31591" extrusionOk="0">
                  <a:moveTo>
                    <a:pt x="2858" y="0"/>
                  </a:moveTo>
                  <a:cubicBezTo>
                    <a:pt x="1274" y="0"/>
                    <a:pt x="0" y="1274"/>
                    <a:pt x="0" y="2846"/>
                  </a:cubicBezTo>
                  <a:lnTo>
                    <a:pt x="0" y="21669"/>
                  </a:lnTo>
                  <a:cubicBezTo>
                    <a:pt x="0" y="25753"/>
                    <a:pt x="3310" y="29063"/>
                    <a:pt x="7394" y="29063"/>
                  </a:cubicBezTo>
                  <a:lnTo>
                    <a:pt x="18121" y="29063"/>
                  </a:lnTo>
                  <a:cubicBezTo>
                    <a:pt x="18157" y="29111"/>
                    <a:pt x="18193" y="29170"/>
                    <a:pt x="18240" y="29206"/>
                  </a:cubicBezTo>
                  <a:lnTo>
                    <a:pt x="19241" y="30206"/>
                  </a:lnTo>
                  <a:cubicBezTo>
                    <a:pt x="20163" y="31129"/>
                    <a:pt x="21375" y="31590"/>
                    <a:pt x="22586" y="31590"/>
                  </a:cubicBezTo>
                  <a:cubicBezTo>
                    <a:pt x="23798" y="31590"/>
                    <a:pt x="25009" y="31129"/>
                    <a:pt x="25932" y="30206"/>
                  </a:cubicBezTo>
                  <a:lnTo>
                    <a:pt x="26932" y="29206"/>
                  </a:lnTo>
                  <a:cubicBezTo>
                    <a:pt x="26980" y="29170"/>
                    <a:pt x="27003" y="29111"/>
                    <a:pt x="27051" y="29063"/>
                  </a:cubicBezTo>
                  <a:lnTo>
                    <a:pt x="37779" y="29063"/>
                  </a:lnTo>
                  <a:cubicBezTo>
                    <a:pt x="41874" y="29063"/>
                    <a:pt x="45184" y="25753"/>
                    <a:pt x="45184" y="21669"/>
                  </a:cubicBezTo>
                  <a:lnTo>
                    <a:pt x="45184" y="2846"/>
                  </a:lnTo>
                  <a:cubicBezTo>
                    <a:pt x="45184" y="1274"/>
                    <a:pt x="43898" y="0"/>
                    <a:pt x="42327" y="0"/>
                  </a:cubicBezTo>
                  <a:close/>
                </a:path>
              </a:pathLst>
            </a:custGeom>
            <a:solidFill>
              <a:srgbClr val="F2F2F2"/>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prstClr val="black"/>
                </a:buClr>
                <a:buSzPts val="1100"/>
                <a:buFontTx/>
                <a:buNone/>
                <a:tabLst/>
                <a:defRPr/>
              </a:pPr>
              <a:endParaRPr kumimoji="0" sz="16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a:p>
              <a:pPr marL="0" marR="0" lvl="0" indent="0" algn="ctr" defTabSz="914400" rtl="0" eaLnBrk="1" fontAlgn="auto" latinLnBrk="0" hangingPunct="1">
                <a:lnSpc>
                  <a:spcPct val="100000"/>
                </a:lnSpc>
                <a:spcBef>
                  <a:spcPts val="0"/>
                </a:spcBef>
                <a:spcAft>
                  <a:spcPts val="0"/>
                </a:spcAft>
                <a:buClr>
                  <a:prstClr val="black"/>
                </a:buClr>
                <a:buSzPts val="1100"/>
                <a:buFontTx/>
                <a:buNone/>
                <a:tabLst/>
                <a:defRPr/>
              </a:pPr>
              <a:endParaRPr kumimoji="0" sz="16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282" name="Google Shape;282;p18"/>
            <p:cNvSpPr/>
            <p:nvPr/>
          </p:nvSpPr>
          <p:spPr>
            <a:xfrm>
              <a:off x="1036275" y="1121000"/>
              <a:ext cx="1412709" cy="336536"/>
            </a:xfrm>
            <a:custGeom>
              <a:avLst/>
              <a:gdLst/>
              <a:ahLst/>
              <a:cxnLst/>
              <a:rect l="l" t="t" r="r" b="b"/>
              <a:pathLst>
                <a:path w="45185" h="10764" extrusionOk="0">
                  <a:moveTo>
                    <a:pt x="2846" y="0"/>
                  </a:moveTo>
                  <a:cubicBezTo>
                    <a:pt x="1274" y="0"/>
                    <a:pt x="0" y="1274"/>
                    <a:pt x="0" y="2846"/>
                  </a:cubicBezTo>
                  <a:lnTo>
                    <a:pt x="0" y="10763"/>
                  </a:lnTo>
                  <a:lnTo>
                    <a:pt x="45184" y="10763"/>
                  </a:lnTo>
                  <a:lnTo>
                    <a:pt x="45184" y="2846"/>
                  </a:lnTo>
                  <a:cubicBezTo>
                    <a:pt x="45184" y="1274"/>
                    <a:pt x="43910" y="0"/>
                    <a:pt x="42339" y="0"/>
                  </a:cubicBezTo>
                  <a:close/>
                </a:path>
              </a:pathLst>
            </a:custGeom>
            <a:solidFill>
              <a:srgbClr val="FCBD24"/>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133" b="0" i="0" u="none" strike="noStrike" kern="1200" cap="none" spc="0" normalizeH="0" baseline="0" noProof="0">
                  <a:ln>
                    <a:noFill/>
                  </a:ln>
                  <a:solidFill>
                    <a:srgbClr val="FFFFFF"/>
                  </a:solidFill>
                  <a:effectLst/>
                  <a:uLnTx/>
                  <a:uFillTx/>
                  <a:latin typeface="Fira Sans Extra Condensed Medium"/>
                  <a:ea typeface="Fira Sans Extra Condensed Medium"/>
                  <a:cs typeface="Fira Sans Extra Condensed Medium"/>
                  <a:sym typeface="Fira Sans Extra Condensed Medium"/>
                </a:rPr>
                <a:t>1</a:t>
              </a:r>
              <a:endParaRPr kumimoji="0" sz="2133" b="0" i="0" u="none" strike="noStrike" kern="1200" cap="none" spc="0" normalizeH="0" baseline="0" noProof="0">
                <a:ln>
                  <a:noFill/>
                </a:ln>
                <a:solidFill>
                  <a:srgbClr val="FFFFFF"/>
                </a:solidFill>
                <a:effectLst/>
                <a:uLnTx/>
                <a:uFillTx/>
                <a:latin typeface="Fira Sans Extra Condensed Medium"/>
                <a:ea typeface="Fira Sans Extra Condensed Medium"/>
                <a:cs typeface="Fira Sans Extra Condensed Medium"/>
                <a:sym typeface="Fira Sans Extra Condensed Medium"/>
              </a:endParaRPr>
            </a:p>
          </p:txBody>
        </p:sp>
        <p:sp>
          <p:nvSpPr>
            <p:cNvPr id="283" name="Google Shape;283;p18"/>
            <p:cNvSpPr/>
            <p:nvPr/>
          </p:nvSpPr>
          <p:spPr>
            <a:xfrm>
              <a:off x="1449454" y="2458524"/>
              <a:ext cx="585969" cy="585937"/>
            </a:xfrm>
            <a:custGeom>
              <a:avLst/>
              <a:gdLst/>
              <a:ahLst/>
              <a:cxnLst/>
              <a:rect l="l" t="t" r="r" b="b"/>
              <a:pathLst>
                <a:path w="18742" h="18741" extrusionOk="0">
                  <a:moveTo>
                    <a:pt x="9371" y="0"/>
                  </a:moveTo>
                  <a:cubicBezTo>
                    <a:pt x="4204" y="0"/>
                    <a:pt x="1" y="4191"/>
                    <a:pt x="1" y="9370"/>
                  </a:cubicBezTo>
                  <a:cubicBezTo>
                    <a:pt x="1" y="14538"/>
                    <a:pt x="4204" y="18741"/>
                    <a:pt x="9371" y="18741"/>
                  </a:cubicBezTo>
                  <a:cubicBezTo>
                    <a:pt x="14550" y="18741"/>
                    <a:pt x="18741" y="14538"/>
                    <a:pt x="18741" y="9370"/>
                  </a:cubicBezTo>
                  <a:cubicBezTo>
                    <a:pt x="18741" y="4191"/>
                    <a:pt x="14550" y="0"/>
                    <a:pt x="9371" y="0"/>
                  </a:cubicBezTo>
                  <a:close/>
                </a:path>
              </a:pathLst>
            </a:custGeom>
            <a:solidFill>
              <a:srgbClr val="FCBD24"/>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284" name="Google Shape;284;p18"/>
            <p:cNvSpPr/>
            <p:nvPr/>
          </p:nvSpPr>
          <p:spPr>
            <a:xfrm>
              <a:off x="1524680" y="2533344"/>
              <a:ext cx="435928" cy="436303"/>
            </a:xfrm>
            <a:custGeom>
              <a:avLst/>
              <a:gdLst/>
              <a:ahLst/>
              <a:cxnLst/>
              <a:rect l="l" t="t" r="r" b="b"/>
              <a:pathLst>
                <a:path w="13943" h="13955" extrusionOk="0">
                  <a:moveTo>
                    <a:pt x="6965" y="0"/>
                  </a:moveTo>
                  <a:cubicBezTo>
                    <a:pt x="3119" y="0"/>
                    <a:pt x="0" y="3120"/>
                    <a:pt x="0" y="6977"/>
                  </a:cubicBezTo>
                  <a:cubicBezTo>
                    <a:pt x="0" y="10823"/>
                    <a:pt x="3119" y="13954"/>
                    <a:pt x="6965" y="13954"/>
                  </a:cubicBezTo>
                  <a:cubicBezTo>
                    <a:pt x="10823" y="13954"/>
                    <a:pt x="13942" y="10823"/>
                    <a:pt x="13942" y="6977"/>
                  </a:cubicBezTo>
                  <a:cubicBezTo>
                    <a:pt x="13942" y="3120"/>
                    <a:pt x="10823" y="0"/>
                    <a:pt x="6965"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285" name="Google Shape;285;p18"/>
            <p:cNvSpPr/>
            <p:nvPr/>
          </p:nvSpPr>
          <p:spPr>
            <a:xfrm>
              <a:off x="1637831" y="2646870"/>
              <a:ext cx="209601" cy="209225"/>
            </a:xfrm>
            <a:custGeom>
              <a:avLst/>
              <a:gdLst/>
              <a:ahLst/>
              <a:cxnLst/>
              <a:rect l="l" t="t" r="r" b="b"/>
              <a:pathLst>
                <a:path w="6704" h="6692" extrusionOk="0">
                  <a:moveTo>
                    <a:pt x="3346" y="453"/>
                  </a:moveTo>
                  <a:cubicBezTo>
                    <a:pt x="3656" y="453"/>
                    <a:pt x="3941" y="501"/>
                    <a:pt x="4215" y="584"/>
                  </a:cubicBezTo>
                  <a:cubicBezTo>
                    <a:pt x="3941" y="691"/>
                    <a:pt x="3584" y="846"/>
                    <a:pt x="3203" y="1084"/>
                  </a:cubicBezTo>
                  <a:cubicBezTo>
                    <a:pt x="2870" y="929"/>
                    <a:pt x="2513" y="810"/>
                    <a:pt x="2108" y="727"/>
                  </a:cubicBezTo>
                  <a:cubicBezTo>
                    <a:pt x="2489" y="548"/>
                    <a:pt x="2906" y="453"/>
                    <a:pt x="3346" y="453"/>
                  </a:cubicBezTo>
                  <a:close/>
                  <a:moveTo>
                    <a:pt x="1632" y="1025"/>
                  </a:moveTo>
                  <a:cubicBezTo>
                    <a:pt x="2072" y="1084"/>
                    <a:pt x="2477" y="1179"/>
                    <a:pt x="2834" y="1322"/>
                  </a:cubicBezTo>
                  <a:cubicBezTo>
                    <a:pt x="2572" y="1513"/>
                    <a:pt x="2310" y="1739"/>
                    <a:pt x="2048" y="2001"/>
                  </a:cubicBezTo>
                  <a:lnTo>
                    <a:pt x="1298" y="1298"/>
                  </a:lnTo>
                  <a:cubicBezTo>
                    <a:pt x="1405" y="1191"/>
                    <a:pt x="1513" y="1108"/>
                    <a:pt x="1632" y="1025"/>
                  </a:cubicBezTo>
                  <a:close/>
                  <a:moveTo>
                    <a:pt x="4715" y="798"/>
                  </a:moveTo>
                  <a:cubicBezTo>
                    <a:pt x="5061" y="977"/>
                    <a:pt x="5358" y="1227"/>
                    <a:pt x="5596" y="1525"/>
                  </a:cubicBezTo>
                  <a:cubicBezTo>
                    <a:pt x="5573" y="2037"/>
                    <a:pt x="5489" y="2489"/>
                    <a:pt x="5358" y="2894"/>
                  </a:cubicBezTo>
                  <a:cubicBezTo>
                    <a:pt x="4954" y="2310"/>
                    <a:pt x="4382" y="1703"/>
                    <a:pt x="3584" y="1263"/>
                  </a:cubicBezTo>
                  <a:cubicBezTo>
                    <a:pt x="4096" y="977"/>
                    <a:pt x="4537" y="846"/>
                    <a:pt x="4715" y="798"/>
                  </a:cubicBezTo>
                  <a:close/>
                  <a:moveTo>
                    <a:pt x="1060" y="1572"/>
                  </a:moveTo>
                  <a:lnTo>
                    <a:pt x="1810" y="2275"/>
                  </a:lnTo>
                  <a:cubicBezTo>
                    <a:pt x="1596" y="2525"/>
                    <a:pt x="1405" y="2811"/>
                    <a:pt x="1239" y="3132"/>
                  </a:cubicBezTo>
                  <a:cubicBezTo>
                    <a:pt x="989" y="2632"/>
                    <a:pt x="870" y="2191"/>
                    <a:pt x="822" y="1941"/>
                  </a:cubicBezTo>
                  <a:cubicBezTo>
                    <a:pt x="893" y="1810"/>
                    <a:pt x="977" y="1691"/>
                    <a:pt x="1060" y="1572"/>
                  </a:cubicBezTo>
                  <a:close/>
                  <a:moveTo>
                    <a:pt x="5930" y="2025"/>
                  </a:moveTo>
                  <a:cubicBezTo>
                    <a:pt x="6132" y="2418"/>
                    <a:pt x="6239" y="2870"/>
                    <a:pt x="6239" y="3346"/>
                  </a:cubicBezTo>
                  <a:cubicBezTo>
                    <a:pt x="6239" y="3680"/>
                    <a:pt x="6192" y="3989"/>
                    <a:pt x="6085" y="4287"/>
                  </a:cubicBezTo>
                  <a:cubicBezTo>
                    <a:pt x="5989" y="4025"/>
                    <a:pt x="5835" y="3668"/>
                    <a:pt x="5608" y="3275"/>
                  </a:cubicBezTo>
                  <a:cubicBezTo>
                    <a:pt x="5751" y="2906"/>
                    <a:pt x="5858" y="2489"/>
                    <a:pt x="5930" y="2025"/>
                  </a:cubicBezTo>
                  <a:close/>
                  <a:moveTo>
                    <a:pt x="3215" y="1477"/>
                  </a:moveTo>
                  <a:cubicBezTo>
                    <a:pt x="4180" y="1941"/>
                    <a:pt x="4811" y="2656"/>
                    <a:pt x="5204" y="3299"/>
                  </a:cubicBezTo>
                  <a:cubicBezTo>
                    <a:pt x="5037" y="3704"/>
                    <a:pt x="4811" y="4061"/>
                    <a:pt x="4573" y="4370"/>
                  </a:cubicBezTo>
                  <a:lnTo>
                    <a:pt x="2310" y="2239"/>
                  </a:lnTo>
                  <a:cubicBezTo>
                    <a:pt x="2596" y="1929"/>
                    <a:pt x="2918" y="1679"/>
                    <a:pt x="3215" y="1477"/>
                  </a:cubicBezTo>
                  <a:close/>
                  <a:moveTo>
                    <a:pt x="596" y="2465"/>
                  </a:moveTo>
                  <a:cubicBezTo>
                    <a:pt x="691" y="2763"/>
                    <a:pt x="834" y="3132"/>
                    <a:pt x="1048" y="3525"/>
                  </a:cubicBezTo>
                  <a:cubicBezTo>
                    <a:pt x="917" y="3846"/>
                    <a:pt x="810" y="4192"/>
                    <a:pt x="739" y="4573"/>
                  </a:cubicBezTo>
                  <a:cubicBezTo>
                    <a:pt x="560" y="4204"/>
                    <a:pt x="453" y="3787"/>
                    <a:pt x="453" y="3346"/>
                  </a:cubicBezTo>
                  <a:cubicBezTo>
                    <a:pt x="453" y="3037"/>
                    <a:pt x="501" y="2751"/>
                    <a:pt x="596" y="2465"/>
                  </a:cubicBezTo>
                  <a:close/>
                  <a:moveTo>
                    <a:pt x="5430" y="3680"/>
                  </a:moveTo>
                  <a:cubicBezTo>
                    <a:pt x="5716" y="4215"/>
                    <a:pt x="5835" y="4668"/>
                    <a:pt x="5858" y="4787"/>
                  </a:cubicBezTo>
                  <a:cubicBezTo>
                    <a:pt x="5763" y="4954"/>
                    <a:pt x="5644" y="5108"/>
                    <a:pt x="5513" y="5263"/>
                  </a:cubicBezTo>
                  <a:lnTo>
                    <a:pt x="4823" y="4608"/>
                  </a:lnTo>
                  <a:cubicBezTo>
                    <a:pt x="5049" y="4335"/>
                    <a:pt x="5251" y="4025"/>
                    <a:pt x="5430" y="3680"/>
                  </a:cubicBezTo>
                  <a:close/>
                  <a:moveTo>
                    <a:pt x="2072" y="2513"/>
                  </a:moveTo>
                  <a:lnTo>
                    <a:pt x="4334" y="4644"/>
                  </a:lnTo>
                  <a:cubicBezTo>
                    <a:pt x="4049" y="4954"/>
                    <a:pt x="3739" y="5204"/>
                    <a:pt x="3453" y="5394"/>
                  </a:cubicBezTo>
                  <a:cubicBezTo>
                    <a:pt x="2477" y="4918"/>
                    <a:pt x="1846" y="4192"/>
                    <a:pt x="1453" y="3525"/>
                  </a:cubicBezTo>
                  <a:cubicBezTo>
                    <a:pt x="1620" y="3132"/>
                    <a:pt x="1834" y="2799"/>
                    <a:pt x="2072" y="2513"/>
                  </a:cubicBezTo>
                  <a:close/>
                  <a:moveTo>
                    <a:pt x="4584" y="4882"/>
                  </a:moveTo>
                  <a:lnTo>
                    <a:pt x="5263" y="5513"/>
                  </a:lnTo>
                  <a:cubicBezTo>
                    <a:pt x="5120" y="5632"/>
                    <a:pt x="4965" y="5751"/>
                    <a:pt x="4811" y="5835"/>
                  </a:cubicBezTo>
                  <a:cubicBezTo>
                    <a:pt x="4453" y="5775"/>
                    <a:pt x="4120" y="5680"/>
                    <a:pt x="3834" y="5561"/>
                  </a:cubicBezTo>
                  <a:cubicBezTo>
                    <a:pt x="4084" y="5370"/>
                    <a:pt x="4334" y="5144"/>
                    <a:pt x="4584" y="4882"/>
                  </a:cubicBezTo>
                  <a:close/>
                  <a:moveTo>
                    <a:pt x="1286" y="3918"/>
                  </a:moveTo>
                  <a:cubicBezTo>
                    <a:pt x="1691" y="4537"/>
                    <a:pt x="2275" y="5156"/>
                    <a:pt x="3108" y="5620"/>
                  </a:cubicBezTo>
                  <a:cubicBezTo>
                    <a:pt x="2739" y="5835"/>
                    <a:pt x="2429" y="5966"/>
                    <a:pt x="2251" y="6025"/>
                  </a:cubicBezTo>
                  <a:cubicBezTo>
                    <a:pt x="1763" y="5823"/>
                    <a:pt x="1346" y="5489"/>
                    <a:pt x="1024" y="5061"/>
                  </a:cubicBezTo>
                  <a:cubicBezTo>
                    <a:pt x="1072" y="4644"/>
                    <a:pt x="1167" y="4263"/>
                    <a:pt x="1286" y="3918"/>
                  </a:cubicBezTo>
                  <a:close/>
                  <a:moveTo>
                    <a:pt x="3477" y="5811"/>
                  </a:moveTo>
                  <a:cubicBezTo>
                    <a:pt x="3715" y="5918"/>
                    <a:pt x="3977" y="6013"/>
                    <a:pt x="4263" y="6085"/>
                  </a:cubicBezTo>
                  <a:cubicBezTo>
                    <a:pt x="3977" y="6180"/>
                    <a:pt x="3668" y="6240"/>
                    <a:pt x="3346" y="6240"/>
                  </a:cubicBezTo>
                  <a:cubicBezTo>
                    <a:pt x="3168" y="6240"/>
                    <a:pt x="2977" y="6216"/>
                    <a:pt x="2798" y="6180"/>
                  </a:cubicBezTo>
                  <a:cubicBezTo>
                    <a:pt x="2989" y="6097"/>
                    <a:pt x="3227" y="5966"/>
                    <a:pt x="3477" y="5811"/>
                  </a:cubicBezTo>
                  <a:close/>
                  <a:moveTo>
                    <a:pt x="3346" y="1"/>
                  </a:moveTo>
                  <a:cubicBezTo>
                    <a:pt x="1501" y="1"/>
                    <a:pt x="1" y="1489"/>
                    <a:pt x="1" y="3346"/>
                  </a:cubicBezTo>
                  <a:cubicBezTo>
                    <a:pt x="1" y="5192"/>
                    <a:pt x="1501" y="6692"/>
                    <a:pt x="3346" y="6692"/>
                  </a:cubicBezTo>
                  <a:cubicBezTo>
                    <a:pt x="5204" y="6692"/>
                    <a:pt x="6704" y="5192"/>
                    <a:pt x="6704" y="3346"/>
                  </a:cubicBezTo>
                  <a:cubicBezTo>
                    <a:pt x="6704" y="1489"/>
                    <a:pt x="5204" y="1"/>
                    <a:pt x="3346" y="1"/>
                  </a:cubicBezTo>
                  <a:close/>
                </a:path>
              </a:pathLst>
            </a:custGeom>
            <a:solidFill>
              <a:srgbClr val="FCBD24"/>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286" name="Google Shape;286;p18"/>
            <p:cNvSpPr txBox="1"/>
            <p:nvPr/>
          </p:nvSpPr>
          <p:spPr>
            <a:xfrm>
              <a:off x="1130649" y="1457525"/>
              <a:ext cx="1253258" cy="534900"/>
            </a:xfrm>
            <a:prstGeom prst="rect">
              <a:avLst/>
            </a:prstGeom>
            <a:no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a:ea typeface="+mn-ea"/>
                  <a:cs typeface="+mn-cs"/>
                </a:rPr>
                <a:t>Helps in improved decision-making</a:t>
              </a:r>
            </a:p>
          </p:txBody>
        </p:sp>
      </p:grpSp>
      <p:grpSp>
        <p:nvGrpSpPr>
          <p:cNvPr id="287" name="Google Shape;287;p18"/>
          <p:cNvGrpSpPr/>
          <p:nvPr/>
        </p:nvGrpSpPr>
        <p:grpSpPr>
          <a:xfrm>
            <a:off x="4388064" y="1789599"/>
            <a:ext cx="1883112" cy="2564615"/>
            <a:chOff x="3291048" y="1121000"/>
            <a:chExt cx="1412334" cy="1923461"/>
          </a:xfrm>
        </p:grpSpPr>
        <p:sp>
          <p:nvSpPr>
            <p:cNvPr id="288" name="Google Shape;288;p18"/>
            <p:cNvSpPr/>
            <p:nvPr/>
          </p:nvSpPr>
          <p:spPr>
            <a:xfrm>
              <a:off x="3997219" y="1996915"/>
              <a:ext cx="31" cy="754581"/>
            </a:xfrm>
            <a:custGeom>
              <a:avLst/>
              <a:gdLst/>
              <a:ahLst/>
              <a:cxnLst/>
              <a:rect l="l" t="t" r="r" b="b"/>
              <a:pathLst>
                <a:path w="1" h="24135" fill="none" extrusionOk="0">
                  <a:moveTo>
                    <a:pt x="0" y="24134"/>
                  </a:moveTo>
                  <a:lnTo>
                    <a:pt x="0" y="0"/>
                  </a:lnTo>
                </a:path>
              </a:pathLst>
            </a:custGeom>
            <a:noFill/>
            <a:ln w="17850" cap="rnd" cmpd="sng">
              <a:solidFill>
                <a:srgbClr val="9DB6C6"/>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289" name="Google Shape;289;p18"/>
            <p:cNvSpPr/>
            <p:nvPr/>
          </p:nvSpPr>
          <p:spPr>
            <a:xfrm>
              <a:off x="3291048" y="1121000"/>
              <a:ext cx="1412334" cy="987693"/>
            </a:xfrm>
            <a:custGeom>
              <a:avLst/>
              <a:gdLst/>
              <a:ahLst/>
              <a:cxnLst/>
              <a:rect l="l" t="t" r="r" b="b"/>
              <a:pathLst>
                <a:path w="45173" h="31591" extrusionOk="0">
                  <a:moveTo>
                    <a:pt x="2846" y="0"/>
                  </a:moveTo>
                  <a:cubicBezTo>
                    <a:pt x="1274" y="0"/>
                    <a:pt x="0" y="1274"/>
                    <a:pt x="0" y="2846"/>
                  </a:cubicBezTo>
                  <a:lnTo>
                    <a:pt x="0" y="21669"/>
                  </a:lnTo>
                  <a:cubicBezTo>
                    <a:pt x="0" y="25753"/>
                    <a:pt x="3310" y="29063"/>
                    <a:pt x="7394" y="29063"/>
                  </a:cubicBezTo>
                  <a:lnTo>
                    <a:pt x="18121" y="29063"/>
                  </a:lnTo>
                  <a:cubicBezTo>
                    <a:pt x="18157" y="29111"/>
                    <a:pt x="18193" y="29170"/>
                    <a:pt x="18241" y="29206"/>
                  </a:cubicBezTo>
                  <a:lnTo>
                    <a:pt x="19229" y="30206"/>
                  </a:lnTo>
                  <a:cubicBezTo>
                    <a:pt x="20157" y="31129"/>
                    <a:pt x="21369" y="31590"/>
                    <a:pt x="22580" y="31590"/>
                  </a:cubicBezTo>
                  <a:cubicBezTo>
                    <a:pt x="23792" y="31590"/>
                    <a:pt x="25003" y="31129"/>
                    <a:pt x="25932" y="30206"/>
                  </a:cubicBezTo>
                  <a:lnTo>
                    <a:pt x="26920" y="29206"/>
                  </a:lnTo>
                  <a:cubicBezTo>
                    <a:pt x="26968" y="29170"/>
                    <a:pt x="27004" y="29111"/>
                    <a:pt x="27039" y="29063"/>
                  </a:cubicBezTo>
                  <a:lnTo>
                    <a:pt x="37779" y="29063"/>
                  </a:lnTo>
                  <a:cubicBezTo>
                    <a:pt x="41863" y="29063"/>
                    <a:pt x="45172" y="25753"/>
                    <a:pt x="45172" y="21669"/>
                  </a:cubicBezTo>
                  <a:lnTo>
                    <a:pt x="45172" y="2846"/>
                  </a:lnTo>
                  <a:cubicBezTo>
                    <a:pt x="45172" y="1274"/>
                    <a:pt x="43899" y="0"/>
                    <a:pt x="42327" y="0"/>
                  </a:cubicBezTo>
                  <a:close/>
                </a:path>
              </a:pathLst>
            </a:custGeom>
            <a:solidFill>
              <a:srgbClr val="F2F2F2"/>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290" name="Google Shape;290;p18"/>
            <p:cNvSpPr txBox="1"/>
            <p:nvPr/>
          </p:nvSpPr>
          <p:spPr>
            <a:xfrm>
              <a:off x="3385213" y="1457525"/>
              <a:ext cx="1222084" cy="534900"/>
            </a:xfrm>
            <a:prstGeom prst="rect">
              <a:avLst/>
            </a:prstGeom>
            <a:no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Resource Optimization</a:t>
              </a:r>
            </a:p>
          </p:txBody>
        </p:sp>
        <p:sp>
          <p:nvSpPr>
            <p:cNvPr id="291" name="Google Shape;291;p18"/>
            <p:cNvSpPr/>
            <p:nvPr/>
          </p:nvSpPr>
          <p:spPr>
            <a:xfrm>
              <a:off x="3291048" y="1121000"/>
              <a:ext cx="1412334" cy="336536"/>
            </a:xfrm>
            <a:custGeom>
              <a:avLst/>
              <a:gdLst/>
              <a:ahLst/>
              <a:cxnLst/>
              <a:rect l="l" t="t" r="r" b="b"/>
              <a:pathLst>
                <a:path w="45173" h="10764" extrusionOk="0">
                  <a:moveTo>
                    <a:pt x="2846" y="0"/>
                  </a:moveTo>
                  <a:cubicBezTo>
                    <a:pt x="1274" y="0"/>
                    <a:pt x="0" y="1274"/>
                    <a:pt x="0" y="2846"/>
                  </a:cubicBezTo>
                  <a:lnTo>
                    <a:pt x="0" y="10763"/>
                  </a:lnTo>
                  <a:lnTo>
                    <a:pt x="45172" y="10763"/>
                  </a:lnTo>
                  <a:lnTo>
                    <a:pt x="45172" y="2846"/>
                  </a:lnTo>
                  <a:cubicBezTo>
                    <a:pt x="45172" y="1274"/>
                    <a:pt x="43899" y="0"/>
                    <a:pt x="42327" y="0"/>
                  </a:cubicBezTo>
                  <a:close/>
                </a:path>
              </a:pathLst>
            </a:custGeom>
            <a:solidFill>
              <a:srgbClr val="869FB2"/>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133" b="0" i="0" u="none" strike="noStrike" kern="1200" cap="none" spc="0" normalizeH="0" baseline="0" noProof="0" dirty="0">
                  <a:ln>
                    <a:noFill/>
                  </a:ln>
                  <a:solidFill>
                    <a:srgbClr val="FFFFFF"/>
                  </a:solidFill>
                  <a:effectLst/>
                  <a:uLnTx/>
                  <a:uFillTx/>
                  <a:latin typeface="Fira Sans Extra Condensed Medium"/>
                  <a:ea typeface="Fira Sans Extra Condensed Medium"/>
                  <a:cs typeface="Fira Sans Extra Condensed Medium"/>
                  <a:sym typeface="Fira Sans Extra Condensed Medium"/>
                </a:rPr>
                <a:t> 3</a:t>
              </a:r>
              <a:endParaRPr kumimoji="0" sz="2133" b="0" i="0" u="none" strike="noStrike" kern="1200" cap="none" spc="0" normalizeH="0" baseline="0" noProof="0" dirty="0">
                <a:ln>
                  <a:noFill/>
                </a:ln>
                <a:solidFill>
                  <a:srgbClr val="FFFFFF"/>
                </a:solidFill>
                <a:effectLst/>
                <a:uLnTx/>
                <a:uFillTx/>
                <a:latin typeface="Fira Sans Extra Condensed Medium"/>
                <a:ea typeface="Fira Sans Extra Condensed Medium"/>
                <a:cs typeface="Fira Sans Extra Condensed Medium"/>
                <a:sym typeface="Fira Sans Extra Condensed Medium"/>
              </a:endParaRPr>
            </a:p>
          </p:txBody>
        </p:sp>
        <p:sp>
          <p:nvSpPr>
            <p:cNvPr id="292" name="Google Shape;292;p18"/>
            <p:cNvSpPr/>
            <p:nvPr/>
          </p:nvSpPr>
          <p:spPr>
            <a:xfrm>
              <a:off x="3390067" y="2639054"/>
              <a:ext cx="534569" cy="218918"/>
            </a:xfrm>
            <a:custGeom>
              <a:avLst/>
              <a:gdLst/>
              <a:ahLst/>
              <a:cxnLst/>
              <a:rect l="l" t="t" r="r" b="b"/>
              <a:pathLst>
                <a:path w="17098" h="7002" extrusionOk="0">
                  <a:moveTo>
                    <a:pt x="0" y="1"/>
                  </a:moveTo>
                  <a:lnTo>
                    <a:pt x="2798" y="3501"/>
                  </a:lnTo>
                  <a:lnTo>
                    <a:pt x="0" y="7002"/>
                  </a:lnTo>
                  <a:lnTo>
                    <a:pt x="14288" y="7002"/>
                  </a:lnTo>
                  <a:lnTo>
                    <a:pt x="17098" y="3501"/>
                  </a:lnTo>
                  <a:lnTo>
                    <a:pt x="14288" y="1"/>
                  </a:lnTo>
                  <a:close/>
                </a:path>
              </a:pathLst>
            </a:custGeom>
            <a:solidFill>
              <a:srgbClr val="869FB2"/>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293" name="Google Shape;293;p18"/>
            <p:cNvSpPr/>
            <p:nvPr/>
          </p:nvSpPr>
          <p:spPr>
            <a:xfrm>
              <a:off x="4072789" y="2639054"/>
              <a:ext cx="534569" cy="218918"/>
            </a:xfrm>
            <a:custGeom>
              <a:avLst/>
              <a:gdLst/>
              <a:ahLst/>
              <a:cxnLst/>
              <a:rect l="l" t="t" r="r" b="b"/>
              <a:pathLst>
                <a:path w="17098" h="7002" extrusionOk="0">
                  <a:moveTo>
                    <a:pt x="0" y="1"/>
                  </a:moveTo>
                  <a:lnTo>
                    <a:pt x="2798" y="3501"/>
                  </a:lnTo>
                  <a:lnTo>
                    <a:pt x="0" y="7002"/>
                  </a:lnTo>
                  <a:lnTo>
                    <a:pt x="14288" y="7002"/>
                  </a:lnTo>
                  <a:lnTo>
                    <a:pt x="17098" y="3501"/>
                  </a:lnTo>
                  <a:lnTo>
                    <a:pt x="14288" y="1"/>
                  </a:lnTo>
                  <a:close/>
                </a:path>
              </a:pathLst>
            </a:custGeom>
            <a:solidFill>
              <a:srgbClr val="869FB2"/>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294" name="Google Shape;294;p18"/>
            <p:cNvSpPr/>
            <p:nvPr/>
          </p:nvSpPr>
          <p:spPr>
            <a:xfrm>
              <a:off x="3704258" y="2458524"/>
              <a:ext cx="585937" cy="585937"/>
            </a:xfrm>
            <a:custGeom>
              <a:avLst/>
              <a:gdLst/>
              <a:ahLst/>
              <a:cxnLst/>
              <a:rect l="l" t="t" r="r" b="b"/>
              <a:pathLst>
                <a:path w="18741" h="18741" extrusionOk="0">
                  <a:moveTo>
                    <a:pt x="9370" y="0"/>
                  </a:moveTo>
                  <a:cubicBezTo>
                    <a:pt x="4191" y="0"/>
                    <a:pt x="0" y="4191"/>
                    <a:pt x="0" y="9370"/>
                  </a:cubicBezTo>
                  <a:cubicBezTo>
                    <a:pt x="0" y="14538"/>
                    <a:pt x="4191" y="18741"/>
                    <a:pt x="9370" y="18741"/>
                  </a:cubicBezTo>
                  <a:cubicBezTo>
                    <a:pt x="14550" y="18741"/>
                    <a:pt x="18741" y="14538"/>
                    <a:pt x="18741" y="9370"/>
                  </a:cubicBezTo>
                  <a:cubicBezTo>
                    <a:pt x="18741" y="4191"/>
                    <a:pt x="14550" y="0"/>
                    <a:pt x="9370" y="0"/>
                  </a:cubicBezTo>
                  <a:close/>
                </a:path>
              </a:pathLst>
            </a:custGeom>
            <a:solidFill>
              <a:srgbClr val="869FB2"/>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295" name="Google Shape;295;p18"/>
            <p:cNvSpPr/>
            <p:nvPr/>
          </p:nvSpPr>
          <p:spPr>
            <a:xfrm>
              <a:off x="3779077" y="2533344"/>
              <a:ext cx="436303" cy="436303"/>
            </a:xfrm>
            <a:custGeom>
              <a:avLst/>
              <a:gdLst/>
              <a:ahLst/>
              <a:cxnLst/>
              <a:rect l="l" t="t" r="r" b="b"/>
              <a:pathLst>
                <a:path w="13955" h="13955" extrusionOk="0">
                  <a:moveTo>
                    <a:pt x="6977" y="0"/>
                  </a:moveTo>
                  <a:cubicBezTo>
                    <a:pt x="3120" y="0"/>
                    <a:pt x="0" y="3120"/>
                    <a:pt x="0" y="6977"/>
                  </a:cubicBezTo>
                  <a:cubicBezTo>
                    <a:pt x="0" y="10823"/>
                    <a:pt x="3120" y="13954"/>
                    <a:pt x="6977" y="13954"/>
                  </a:cubicBezTo>
                  <a:cubicBezTo>
                    <a:pt x="10823" y="13954"/>
                    <a:pt x="13954" y="10823"/>
                    <a:pt x="13954" y="6977"/>
                  </a:cubicBezTo>
                  <a:cubicBezTo>
                    <a:pt x="13954" y="3120"/>
                    <a:pt x="10823" y="0"/>
                    <a:pt x="6977"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296" name="Google Shape;296;p18"/>
            <p:cNvSpPr/>
            <p:nvPr/>
          </p:nvSpPr>
          <p:spPr>
            <a:xfrm>
              <a:off x="3915303" y="2646495"/>
              <a:ext cx="163453" cy="204035"/>
            </a:xfrm>
            <a:custGeom>
              <a:avLst/>
              <a:gdLst/>
              <a:ahLst/>
              <a:cxnLst/>
              <a:rect l="l" t="t" r="r" b="b"/>
              <a:pathLst>
                <a:path w="5228" h="6526" extrusionOk="0">
                  <a:moveTo>
                    <a:pt x="989" y="1"/>
                  </a:moveTo>
                  <a:cubicBezTo>
                    <a:pt x="453" y="1"/>
                    <a:pt x="1" y="441"/>
                    <a:pt x="1" y="989"/>
                  </a:cubicBezTo>
                  <a:cubicBezTo>
                    <a:pt x="1" y="1537"/>
                    <a:pt x="453" y="1977"/>
                    <a:pt x="989" y="1977"/>
                  </a:cubicBezTo>
                  <a:cubicBezTo>
                    <a:pt x="1251" y="1977"/>
                    <a:pt x="1489" y="1870"/>
                    <a:pt x="1668" y="1703"/>
                  </a:cubicBezTo>
                  <a:lnTo>
                    <a:pt x="3335" y="2870"/>
                  </a:lnTo>
                  <a:cubicBezTo>
                    <a:pt x="3275" y="2989"/>
                    <a:pt x="3251" y="3120"/>
                    <a:pt x="3251" y="3263"/>
                  </a:cubicBezTo>
                  <a:cubicBezTo>
                    <a:pt x="3251" y="3406"/>
                    <a:pt x="3275" y="3537"/>
                    <a:pt x="3335" y="3656"/>
                  </a:cubicBezTo>
                  <a:lnTo>
                    <a:pt x="1668" y="4823"/>
                  </a:lnTo>
                  <a:cubicBezTo>
                    <a:pt x="1489" y="4656"/>
                    <a:pt x="1251" y="4549"/>
                    <a:pt x="989" y="4549"/>
                  </a:cubicBezTo>
                  <a:cubicBezTo>
                    <a:pt x="453" y="4549"/>
                    <a:pt x="1" y="4989"/>
                    <a:pt x="1" y="5537"/>
                  </a:cubicBezTo>
                  <a:cubicBezTo>
                    <a:pt x="1" y="6085"/>
                    <a:pt x="453" y="6525"/>
                    <a:pt x="989" y="6525"/>
                  </a:cubicBezTo>
                  <a:cubicBezTo>
                    <a:pt x="1537" y="6525"/>
                    <a:pt x="1977" y="6085"/>
                    <a:pt x="1977" y="5537"/>
                  </a:cubicBezTo>
                  <a:cubicBezTo>
                    <a:pt x="1977" y="5394"/>
                    <a:pt x="1954" y="5263"/>
                    <a:pt x="1894" y="5144"/>
                  </a:cubicBezTo>
                  <a:lnTo>
                    <a:pt x="3561" y="3977"/>
                  </a:lnTo>
                  <a:cubicBezTo>
                    <a:pt x="3740" y="4144"/>
                    <a:pt x="3978" y="4251"/>
                    <a:pt x="4240" y="4251"/>
                  </a:cubicBezTo>
                  <a:cubicBezTo>
                    <a:pt x="4787" y="4251"/>
                    <a:pt x="5228" y="3811"/>
                    <a:pt x="5228" y="3263"/>
                  </a:cubicBezTo>
                  <a:cubicBezTo>
                    <a:pt x="5228" y="2715"/>
                    <a:pt x="4787" y="2275"/>
                    <a:pt x="4240" y="2275"/>
                  </a:cubicBezTo>
                  <a:cubicBezTo>
                    <a:pt x="3978" y="2275"/>
                    <a:pt x="3740" y="2382"/>
                    <a:pt x="3561" y="2549"/>
                  </a:cubicBezTo>
                  <a:lnTo>
                    <a:pt x="1894" y="1382"/>
                  </a:lnTo>
                  <a:cubicBezTo>
                    <a:pt x="1954" y="1263"/>
                    <a:pt x="1977" y="1132"/>
                    <a:pt x="1977" y="989"/>
                  </a:cubicBezTo>
                  <a:cubicBezTo>
                    <a:pt x="1977" y="441"/>
                    <a:pt x="1537" y="1"/>
                    <a:pt x="989" y="1"/>
                  </a:cubicBezTo>
                  <a:close/>
                </a:path>
              </a:pathLst>
            </a:custGeom>
            <a:solidFill>
              <a:srgbClr val="869FB2"/>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grpSp>
      <p:grpSp>
        <p:nvGrpSpPr>
          <p:cNvPr id="297" name="Google Shape;297;p18"/>
          <p:cNvGrpSpPr/>
          <p:nvPr/>
        </p:nvGrpSpPr>
        <p:grpSpPr>
          <a:xfrm>
            <a:off x="7383471" y="1789599"/>
            <a:ext cx="1894068" cy="2564615"/>
            <a:chOff x="5537603" y="1121000"/>
            <a:chExt cx="1420551" cy="1923461"/>
          </a:xfrm>
        </p:grpSpPr>
        <p:sp>
          <p:nvSpPr>
            <p:cNvPr id="298" name="Google Shape;298;p18"/>
            <p:cNvSpPr/>
            <p:nvPr/>
          </p:nvSpPr>
          <p:spPr>
            <a:xfrm>
              <a:off x="5649310" y="2639054"/>
              <a:ext cx="534569" cy="218918"/>
            </a:xfrm>
            <a:custGeom>
              <a:avLst/>
              <a:gdLst/>
              <a:ahLst/>
              <a:cxnLst/>
              <a:rect l="l" t="t" r="r" b="b"/>
              <a:pathLst>
                <a:path w="17098" h="7002" extrusionOk="0">
                  <a:moveTo>
                    <a:pt x="0" y="1"/>
                  </a:moveTo>
                  <a:lnTo>
                    <a:pt x="2798" y="3501"/>
                  </a:lnTo>
                  <a:lnTo>
                    <a:pt x="0" y="7002"/>
                  </a:lnTo>
                  <a:lnTo>
                    <a:pt x="14288" y="7002"/>
                  </a:lnTo>
                  <a:lnTo>
                    <a:pt x="17098" y="3501"/>
                  </a:lnTo>
                  <a:lnTo>
                    <a:pt x="14288" y="1"/>
                  </a:lnTo>
                  <a:close/>
                </a:path>
              </a:pathLst>
            </a:custGeom>
            <a:solidFill>
              <a:srgbClr val="EC3A3B"/>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299" name="Google Shape;299;p18"/>
            <p:cNvSpPr/>
            <p:nvPr/>
          </p:nvSpPr>
          <p:spPr>
            <a:xfrm>
              <a:off x="6324591" y="2639054"/>
              <a:ext cx="534569" cy="218918"/>
            </a:xfrm>
            <a:custGeom>
              <a:avLst/>
              <a:gdLst/>
              <a:ahLst/>
              <a:cxnLst/>
              <a:rect l="l" t="t" r="r" b="b"/>
              <a:pathLst>
                <a:path w="17098" h="7002" extrusionOk="0">
                  <a:moveTo>
                    <a:pt x="0" y="1"/>
                  </a:moveTo>
                  <a:lnTo>
                    <a:pt x="2798" y="3501"/>
                  </a:lnTo>
                  <a:lnTo>
                    <a:pt x="0" y="7002"/>
                  </a:lnTo>
                  <a:lnTo>
                    <a:pt x="14288" y="7002"/>
                  </a:lnTo>
                  <a:lnTo>
                    <a:pt x="17098" y="3501"/>
                  </a:lnTo>
                  <a:lnTo>
                    <a:pt x="14288" y="1"/>
                  </a:lnTo>
                  <a:close/>
                </a:path>
              </a:pathLst>
            </a:custGeom>
            <a:solidFill>
              <a:srgbClr val="EC3A3B"/>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300" name="Google Shape;300;p18"/>
            <p:cNvSpPr/>
            <p:nvPr/>
          </p:nvSpPr>
          <p:spPr>
            <a:xfrm>
              <a:off x="6251992" y="1996915"/>
              <a:ext cx="31" cy="754581"/>
            </a:xfrm>
            <a:custGeom>
              <a:avLst/>
              <a:gdLst/>
              <a:ahLst/>
              <a:cxnLst/>
              <a:rect l="l" t="t" r="r" b="b"/>
              <a:pathLst>
                <a:path w="1" h="24135" fill="none" extrusionOk="0">
                  <a:moveTo>
                    <a:pt x="0" y="24134"/>
                  </a:moveTo>
                  <a:lnTo>
                    <a:pt x="0" y="0"/>
                  </a:lnTo>
                </a:path>
              </a:pathLst>
            </a:custGeom>
            <a:noFill/>
            <a:ln w="17850" cap="rnd" cmpd="sng">
              <a:solidFill>
                <a:srgbClr val="9DB6C6"/>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301" name="Google Shape;301;p18"/>
            <p:cNvSpPr/>
            <p:nvPr/>
          </p:nvSpPr>
          <p:spPr>
            <a:xfrm>
              <a:off x="5545445" y="1121000"/>
              <a:ext cx="1412709" cy="987693"/>
            </a:xfrm>
            <a:custGeom>
              <a:avLst/>
              <a:gdLst/>
              <a:ahLst/>
              <a:cxnLst/>
              <a:rect l="l" t="t" r="r" b="b"/>
              <a:pathLst>
                <a:path w="45185" h="31591" extrusionOk="0">
                  <a:moveTo>
                    <a:pt x="2858" y="0"/>
                  </a:moveTo>
                  <a:cubicBezTo>
                    <a:pt x="1286" y="0"/>
                    <a:pt x="0" y="1274"/>
                    <a:pt x="0" y="2846"/>
                  </a:cubicBezTo>
                  <a:lnTo>
                    <a:pt x="0" y="21669"/>
                  </a:lnTo>
                  <a:cubicBezTo>
                    <a:pt x="0" y="25753"/>
                    <a:pt x="3310" y="29063"/>
                    <a:pt x="7406" y="29063"/>
                  </a:cubicBezTo>
                  <a:lnTo>
                    <a:pt x="18122" y="29063"/>
                  </a:lnTo>
                  <a:cubicBezTo>
                    <a:pt x="18169" y="29111"/>
                    <a:pt x="18193" y="29170"/>
                    <a:pt x="18241" y="29206"/>
                  </a:cubicBezTo>
                  <a:lnTo>
                    <a:pt x="19241" y="30206"/>
                  </a:lnTo>
                  <a:cubicBezTo>
                    <a:pt x="20164" y="31129"/>
                    <a:pt x="21375" y="31590"/>
                    <a:pt x="22587" y="31590"/>
                  </a:cubicBezTo>
                  <a:cubicBezTo>
                    <a:pt x="23798" y="31590"/>
                    <a:pt x="25009" y="31129"/>
                    <a:pt x="25932" y="30206"/>
                  </a:cubicBezTo>
                  <a:lnTo>
                    <a:pt x="26932" y="29206"/>
                  </a:lnTo>
                  <a:cubicBezTo>
                    <a:pt x="26980" y="29170"/>
                    <a:pt x="27016" y="29111"/>
                    <a:pt x="27051" y="29063"/>
                  </a:cubicBezTo>
                  <a:lnTo>
                    <a:pt x="37791" y="29063"/>
                  </a:lnTo>
                  <a:cubicBezTo>
                    <a:pt x="41875" y="29063"/>
                    <a:pt x="45185" y="25753"/>
                    <a:pt x="45185" y="21669"/>
                  </a:cubicBezTo>
                  <a:lnTo>
                    <a:pt x="45185" y="2846"/>
                  </a:lnTo>
                  <a:cubicBezTo>
                    <a:pt x="45185" y="1274"/>
                    <a:pt x="43911" y="0"/>
                    <a:pt x="42327" y="0"/>
                  </a:cubicBezTo>
                  <a:close/>
                </a:path>
              </a:pathLst>
            </a:custGeom>
            <a:solidFill>
              <a:srgbClr val="F2F2F2"/>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302" name="Google Shape;302;p18"/>
            <p:cNvSpPr/>
            <p:nvPr/>
          </p:nvSpPr>
          <p:spPr>
            <a:xfrm>
              <a:off x="5545445" y="1121000"/>
              <a:ext cx="1412709" cy="336536"/>
            </a:xfrm>
            <a:custGeom>
              <a:avLst/>
              <a:gdLst/>
              <a:ahLst/>
              <a:cxnLst/>
              <a:rect l="l" t="t" r="r" b="b"/>
              <a:pathLst>
                <a:path w="45185" h="10764" extrusionOk="0">
                  <a:moveTo>
                    <a:pt x="2846" y="0"/>
                  </a:moveTo>
                  <a:cubicBezTo>
                    <a:pt x="1274" y="0"/>
                    <a:pt x="0" y="1274"/>
                    <a:pt x="0" y="2846"/>
                  </a:cubicBezTo>
                  <a:lnTo>
                    <a:pt x="0" y="10763"/>
                  </a:lnTo>
                  <a:lnTo>
                    <a:pt x="45185" y="10763"/>
                  </a:lnTo>
                  <a:lnTo>
                    <a:pt x="45185" y="2846"/>
                  </a:lnTo>
                  <a:cubicBezTo>
                    <a:pt x="45185" y="1274"/>
                    <a:pt x="43911" y="0"/>
                    <a:pt x="42339" y="0"/>
                  </a:cubicBezTo>
                  <a:close/>
                </a:path>
              </a:pathLst>
            </a:custGeom>
            <a:solidFill>
              <a:srgbClr val="EC3A3B"/>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133" b="0" i="0" u="none" strike="noStrike" kern="1200" cap="none" spc="0" normalizeH="0" baseline="0" noProof="0" dirty="0">
                  <a:ln>
                    <a:noFill/>
                  </a:ln>
                  <a:solidFill>
                    <a:srgbClr val="FFFFFF"/>
                  </a:solidFill>
                  <a:effectLst/>
                  <a:uLnTx/>
                  <a:uFillTx/>
                  <a:latin typeface="Fira Sans Extra Condensed Medium"/>
                  <a:ea typeface="Fira Sans Extra Condensed Medium"/>
                  <a:cs typeface="Fira Sans Extra Condensed Medium"/>
                  <a:sym typeface="Fira Sans Extra Condensed Medium"/>
                </a:rPr>
                <a:t> 5</a:t>
              </a:r>
              <a:endParaRPr kumimoji="0" sz="2133" b="0" i="0" u="none" strike="noStrike" kern="1200" cap="none" spc="0" normalizeH="0" baseline="0" noProof="0" dirty="0">
                <a:ln>
                  <a:noFill/>
                </a:ln>
                <a:solidFill>
                  <a:srgbClr val="FFFFFF"/>
                </a:solidFill>
                <a:effectLst/>
                <a:uLnTx/>
                <a:uFillTx/>
                <a:latin typeface="Fira Sans Extra Condensed Medium"/>
                <a:ea typeface="Fira Sans Extra Condensed Medium"/>
                <a:cs typeface="Fira Sans Extra Condensed Medium"/>
                <a:sym typeface="Fira Sans Extra Condensed Medium"/>
              </a:endParaRPr>
            </a:p>
          </p:txBody>
        </p:sp>
        <p:sp>
          <p:nvSpPr>
            <p:cNvPr id="303" name="Google Shape;303;p18"/>
            <p:cNvSpPr/>
            <p:nvPr/>
          </p:nvSpPr>
          <p:spPr>
            <a:xfrm>
              <a:off x="5959030" y="2458524"/>
              <a:ext cx="585937" cy="585937"/>
            </a:xfrm>
            <a:custGeom>
              <a:avLst/>
              <a:gdLst/>
              <a:ahLst/>
              <a:cxnLst/>
              <a:rect l="l" t="t" r="r" b="b"/>
              <a:pathLst>
                <a:path w="18741" h="18741" extrusionOk="0">
                  <a:moveTo>
                    <a:pt x="9370" y="0"/>
                  </a:moveTo>
                  <a:cubicBezTo>
                    <a:pt x="4191" y="0"/>
                    <a:pt x="0" y="4191"/>
                    <a:pt x="0" y="9370"/>
                  </a:cubicBezTo>
                  <a:cubicBezTo>
                    <a:pt x="0" y="14538"/>
                    <a:pt x="4191" y="18741"/>
                    <a:pt x="9370" y="18741"/>
                  </a:cubicBezTo>
                  <a:cubicBezTo>
                    <a:pt x="14538" y="18741"/>
                    <a:pt x="18741" y="14538"/>
                    <a:pt x="18741" y="9370"/>
                  </a:cubicBezTo>
                  <a:cubicBezTo>
                    <a:pt x="18741" y="4191"/>
                    <a:pt x="14538" y="0"/>
                    <a:pt x="9370" y="0"/>
                  </a:cubicBezTo>
                  <a:close/>
                </a:path>
              </a:pathLst>
            </a:custGeom>
            <a:solidFill>
              <a:srgbClr val="EC3A3B"/>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304" name="Google Shape;304;p18"/>
            <p:cNvSpPr/>
            <p:nvPr/>
          </p:nvSpPr>
          <p:spPr>
            <a:xfrm>
              <a:off x="6033850" y="2533344"/>
              <a:ext cx="435928" cy="436303"/>
            </a:xfrm>
            <a:custGeom>
              <a:avLst/>
              <a:gdLst/>
              <a:ahLst/>
              <a:cxnLst/>
              <a:rect l="l" t="t" r="r" b="b"/>
              <a:pathLst>
                <a:path w="13943" h="13955" extrusionOk="0">
                  <a:moveTo>
                    <a:pt x="6977" y="0"/>
                  </a:moveTo>
                  <a:cubicBezTo>
                    <a:pt x="3120" y="0"/>
                    <a:pt x="0" y="3120"/>
                    <a:pt x="0" y="6977"/>
                  </a:cubicBezTo>
                  <a:cubicBezTo>
                    <a:pt x="0" y="10823"/>
                    <a:pt x="3120" y="13954"/>
                    <a:pt x="6977" y="13954"/>
                  </a:cubicBezTo>
                  <a:cubicBezTo>
                    <a:pt x="10823" y="13954"/>
                    <a:pt x="13943" y="10823"/>
                    <a:pt x="13943" y="6977"/>
                  </a:cubicBezTo>
                  <a:cubicBezTo>
                    <a:pt x="13943" y="3120"/>
                    <a:pt x="10823" y="0"/>
                    <a:pt x="6977"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305" name="Google Shape;305;p18"/>
            <p:cNvSpPr/>
            <p:nvPr/>
          </p:nvSpPr>
          <p:spPr>
            <a:xfrm>
              <a:off x="6135839" y="2718344"/>
              <a:ext cx="116556" cy="116181"/>
            </a:xfrm>
            <a:custGeom>
              <a:avLst/>
              <a:gdLst/>
              <a:ahLst/>
              <a:cxnLst/>
              <a:rect l="l" t="t" r="r" b="b"/>
              <a:pathLst>
                <a:path w="3728" h="3716" extrusionOk="0">
                  <a:moveTo>
                    <a:pt x="1846" y="1251"/>
                  </a:moveTo>
                  <a:cubicBezTo>
                    <a:pt x="2168" y="1251"/>
                    <a:pt x="2442" y="1513"/>
                    <a:pt x="2442" y="1834"/>
                  </a:cubicBezTo>
                  <a:cubicBezTo>
                    <a:pt x="2442" y="2168"/>
                    <a:pt x="2168" y="2430"/>
                    <a:pt x="1846" y="2430"/>
                  </a:cubicBezTo>
                  <a:cubicBezTo>
                    <a:pt x="1525" y="2430"/>
                    <a:pt x="1263" y="2168"/>
                    <a:pt x="1263" y="1834"/>
                  </a:cubicBezTo>
                  <a:cubicBezTo>
                    <a:pt x="1263" y="1513"/>
                    <a:pt x="1525" y="1251"/>
                    <a:pt x="1846" y="1251"/>
                  </a:cubicBezTo>
                  <a:close/>
                  <a:moveTo>
                    <a:pt x="1763" y="1"/>
                  </a:moveTo>
                  <a:cubicBezTo>
                    <a:pt x="1560" y="1"/>
                    <a:pt x="1334" y="155"/>
                    <a:pt x="1334" y="358"/>
                  </a:cubicBezTo>
                  <a:lnTo>
                    <a:pt x="1334" y="751"/>
                  </a:lnTo>
                  <a:lnTo>
                    <a:pt x="1096" y="477"/>
                  </a:lnTo>
                  <a:cubicBezTo>
                    <a:pt x="1025" y="405"/>
                    <a:pt x="935" y="370"/>
                    <a:pt x="846" y="370"/>
                  </a:cubicBezTo>
                  <a:cubicBezTo>
                    <a:pt x="757" y="370"/>
                    <a:pt x="667" y="405"/>
                    <a:pt x="596" y="477"/>
                  </a:cubicBezTo>
                  <a:lnTo>
                    <a:pt x="477" y="596"/>
                  </a:lnTo>
                  <a:cubicBezTo>
                    <a:pt x="334" y="739"/>
                    <a:pt x="334" y="941"/>
                    <a:pt x="477" y="1084"/>
                  </a:cubicBezTo>
                  <a:lnTo>
                    <a:pt x="763" y="1334"/>
                  </a:lnTo>
                  <a:lnTo>
                    <a:pt x="370" y="1334"/>
                  </a:lnTo>
                  <a:cubicBezTo>
                    <a:pt x="167" y="1334"/>
                    <a:pt x="1" y="1548"/>
                    <a:pt x="1" y="1751"/>
                  </a:cubicBezTo>
                  <a:lnTo>
                    <a:pt x="1" y="1929"/>
                  </a:lnTo>
                  <a:cubicBezTo>
                    <a:pt x="1" y="2132"/>
                    <a:pt x="167" y="2227"/>
                    <a:pt x="370" y="2227"/>
                  </a:cubicBezTo>
                  <a:lnTo>
                    <a:pt x="763" y="2227"/>
                  </a:lnTo>
                  <a:lnTo>
                    <a:pt x="489" y="2537"/>
                  </a:lnTo>
                  <a:cubicBezTo>
                    <a:pt x="346" y="2680"/>
                    <a:pt x="346" y="2918"/>
                    <a:pt x="489" y="3061"/>
                  </a:cubicBezTo>
                  <a:lnTo>
                    <a:pt x="608" y="3192"/>
                  </a:lnTo>
                  <a:cubicBezTo>
                    <a:pt x="679" y="3263"/>
                    <a:pt x="766" y="3299"/>
                    <a:pt x="852" y="3299"/>
                  </a:cubicBezTo>
                  <a:cubicBezTo>
                    <a:pt x="938" y="3299"/>
                    <a:pt x="1025" y="3263"/>
                    <a:pt x="1096" y="3192"/>
                  </a:cubicBezTo>
                  <a:lnTo>
                    <a:pt x="1334" y="2930"/>
                  </a:lnTo>
                  <a:lnTo>
                    <a:pt x="1334" y="3311"/>
                  </a:lnTo>
                  <a:cubicBezTo>
                    <a:pt x="1334" y="3513"/>
                    <a:pt x="1560" y="3715"/>
                    <a:pt x="1763" y="3715"/>
                  </a:cubicBezTo>
                  <a:lnTo>
                    <a:pt x="1941" y="3715"/>
                  </a:lnTo>
                  <a:cubicBezTo>
                    <a:pt x="2132" y="3715"/>
                    <a:pt x="2227" y="3513"/>
                    <a:pt x="2227" y="3311"/>
                  </a:cubicBezTo>
                  <a:lnTo>
                    <a:pt x="2227" y="2930"/>
                  </a:lnTo>
                  <a:lnTo>
                    <a:pt x="2537" y="3203"/>
                  </a:lnTo>
                  <a:cubicBezTo>
                    <a:pt x="2608" y="3275"/>
                    <a:pt x="2706" y="3311"/>
                    <a:pt x="2805" y="3311"/>
                  </a:cubicBezTo>
                  <a:cubicBezTo>
                    <a:pt x="2903" y="3311"/>
                    <a:pt x="3001" y="3275"/>
                    <a:pt x="3073" y="3203"/>
                  </a:cubicBezTo>
                  <a:lnTo>
                    <a:pt x="3204" y="3072"/>
                  </a:lnTo>
                  <a:cubicBezTo>
                    <a:pt x="3346" y="2930"/>
                    <a:pt x="3346" y="2680"/>
                    <a:pt x="3204" y="2537"/>
                  </a:cubicBezTo>
                  <a:lnTo>
                    <a:pt x="2942" y="2227"/>
                  </a:lnTo>
                  <a:lnTo>
                    <a:pt x="3323" y="2227"/>
                  </a:lnTo>
                  <a:cubicBezTo>
                    <a:pt x="3525" y="2227"/>
                    <a:pt x="3727" y="2132"/>
                    <a:pt x="3727" y="1929"/>
                  </a:cubicBezTo>
                  <a:lnTo>
                    <a:pt x="3727" y="1751"/>
                  </a:lnTo>
                  <a:cubicBezTo>
                    <a:pt x="3715" y="1548"/>
                    <a:pt x="3525" y="1334"/>
                    <a:pt x="3323" y="1334"/>
                  </a:cubicBezTo>
                  <a:lnTo>
                    <a:pt x="2942" y="1334"/>
                  </a:lnTo>
                  <a:lnTo>
                    <a:pt x="3215" y="1084"/>
                  </a:lnTo>
                  <a:cubicBezTo>
                    <a:pt x="3358" y="941"/>
                    <a:pt x="3358" y="727"/>
                    <a:pt x="3215" y="584"/>
                  </a:cubicBezTo>
                  <a:lnTo>
                    <a:pt x="3084" y="465"/>
                  </a:lnTo>
                  <a:cubicBezTo>
                    <a:pt x="3015" y="395"/>
                    <a:pt x="2916" y="362"/>
                    <a:pt x="2817" y="362"/>
                  </a:cubicBezTo>
                  <a:cubicBezTo>
                    <a:pt x="2714" y="362"/>
                    <a:pt x="2610" y="398"/>
                    <a:pt x="2537" y="465"/>
                  </a:cubicBezTo>
                  <a:lnTo>
                    <a:pt x="2227" y="751"/>
                  </a:lnTo>
                  <a:lnTo>
                    <a:pt x="2227" y="358"/>
                  </a:lnTo>
                  <a:cubicBezTo>
                    <a:pt x="2227" y="155"/>
                    <a:pt x="2132" y="1"/>
                    <a:pt x="1941" y="1"/>
                  </a:cubicBezTo>
                  <a:close/>
                </a:path>
              </a:pathLst>
            </a:custGeom>
            <a:solidFill>
              <a:srgbClr val="EC3A3B"/>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306" name="Google Shape;306;p18"/>
            <p:cNvSpPr/>
            <p:nvPr/>
          </p:nvSpPr>
          <p:spPr>
            <a:xfrm>
              <a:off x="6254587" y="2735071"/>
              <a:ext cx="113211" cy="112523"/>
            </a:xfrm>
            <a:custGeom>
              <a:avLst/>
              <a:gdLst/>
              <a:ahLst/>
              <a:cxnLst/>
              <a:rect l="l" t="t" r="r" b="b"/>
              <a:pathLst>
                <a:path w="3621" h="3599" extrusionOk="0">
                  <a:moveTo>
                    <a:pt x="1824" y="1174"/>
                  </a:moveTo>
                  <a:cubicBezTo>
                    <a:pt x="2134" y="1174"/>
                    <a:pt x="2397" y="1411"/>
                    <a:pt x="2430" y="1728"/>
                  </a:cubicBezTo>
                  <a:cubicBezTo>
                    <a:pt x="2477" y="2073"/>
                    <a:pt x="2227" y="2383"/>
                    <a:pt x="1882" y="2418"/>
                  </a:cubicBezTo>
                  <a:cubicBezTo>
                    <a:pt x="1854" y="2422"/>
                    <a:pt x="1825" y="2424"/>
                    <a:pt x="1798" y="2424"/>
                  </a:cubicBezTo>
                  <a:cubicBezTo>
                    <a:pt x="1488" y="2424"/>
                    <a:pt x="1224" y="2188"/>
                    <a:pt x="1191" y="1871"/>
                  </a:cubicBezTo>
                  <a:cubicBezTo>
                    <a:pt x="1144" y="1525"/>
                    <a:pt x="1394" y="1216"/>
                    <a:pt x="1739" y="1180"/>
                  </a:cubicBezTo>
                  <a:cubicBezTo>
                    <a:pt x="1768" y="1176"/>
                    <a:pt x="1796" y="1174"/>
                    <a:pt x="1824" y="1174"/>
                  </a:cubicBezTo>
                  <a:close/>
                  <a:moveTo>
                    <a:pt x="1640" y="0"/>
                  </a:moveTo>
                  <a:cubicBezTo>
                    <a:pt x="1634" y="0"/>
                    <a:pt x="1627" y="1"/>
                    <a:pt x="1620" y="1"/>
                  </a:cubicBezTo>
                  <a:cubicBezTo>
                    <a:pt x="1489" y="13"/>
                    <a:pt x="1394" y="132"/>
                    <a:pt x="1406" y="263"/>
                  </a:cubicBezTo>
                  <a:lnTo>
                    <a:pt x="1465" y="716"/>
                  </a:lnTo>
                  <a:cubicBezTo>
                    <a:pt x="1322" y="763"/>
                    <a:pt x="1203" y="835"/>
                    <a:pt x="1096" y="930"/>
                  </a:cubicBezTo>
                  <a:lnTo>
                    <a:pt x="727" y="632"/>
                  </a:lnTo>
                  <a:cubicBezTo>
                    <a:pt x="687" y="598"/>
                    <a:pt x="639" y="582"/>
                    <a:pt x="591" y="582"/>
                  </a:cubicBezTo>
                  <a:cubicBezTo>
                    <a:pt x="523" y="582"/>
                    <a:pt x="454" y="613"/>
                    <a:pt x="406" y="668"/>
                  </a:cubicBezTo>
                  <a:cubicBezTo>
                    <a:pt x="322" y="763"/>
                    <a:pt x="334" y="918"/>
                    <a:pt x="441" y="990"/>
                  </a:cubicBezTo>
                  <a:lnTo>
                    <a:pt x="799" y="1287"/>
                  </a:lnTo>
                  <a:cubicBezTo>
                    <a:pt x="739" y="1406"/>
                    <a:pt x="691" y="1549"/>
                    <a:pt x="679" y="1692"/>
                  </a:cubicBezTo>
                  <a:lnTo>
                    <a:pt x="215" y="1740"/>
                  </a:lnTo>
                  <a:cubicBezTo>
                    <a:pt x="96" y="1752"/>
                    <a:pt x="1" y="1871"/>
                    <a:pt x="13" y="1990"/>
                  </a:cubicBezTo>
                  <a:cubicBezTo>
                    <a:pt x="24" y="2113"/>
                    <a:pt x="131" y="2205"/>
                    <a:pt x="253" y="2205"/>
                  </a:cubicBezTo>
                  <a:cubicBezTo>
                    <a:pt x="260" y="2205"/>
                    <a:pt x="267" y="2205"/>
                    <a:pt x="275" y="2204"/>
                  </a:cubicBezTo>
                  <a:lnTo>
                    <a:pt x="727" y="2145"/>
                  </a:lnTo>
                  <a:cubicBezTo>
                    <a:pt x="775" y="2287"/>
                    <a:pt x="846" y="2407"/>
                    <a:pt x="941" y="2514"/>
                  </a:cubicBezTo>
                  <a:lnTo>
                    <a:pt x="644" y="2883"/>
                  </a:lnTo>
                  <a:cubicBezTo>
                    <a:pt x="560" y="2978"/>
                    <a:pt x="584" y="3121"/>
                    <a:pt x="679" y="3204"/>
                  </a:cubicBezTo>
                  <a:cubicBezTo>
                    <a:pt x="721" y="3241"/>
                    <a:pt x="772" y="3259"/>
                    <a:pt x="823" y="3259"/>
                  </a:cubicBezTo>
                  <a:cubicBezTo>
                    <a:pt x="888" y="3259"/>
                    <a:pt x="954" y="3229"/>
                    <a:pt x="1001" y="3169"/>
                  </a:cubicBezTo>
                  <a:lnTo>
                    <a:pt x="1299" y="2811"/>
                  </a:lnTo>
                  <a:cubicBezTo>
                    <a:pt x="1418" y="2871"/>
                    <a:pt x="1561" y="2918"/>
                    <a:pt x="1703" y="2930"/>
                  </a:cubicBezTo>
                  <a:lnTo>
                    <a:pt x="1751" y="3395"/>
                  </a:lnTo>
                  <a:cubicBezTo>
                    <a:pt x="1762" y="3507"/>
                    <a:pt x="1869" y="3598"/>
                    <a:pt x="1981" y="3598"/>
                  </a:cubicBezTo>
                  <a:cubicBezTo>
                    <a:pt x="1988" y="3598"/>
                    <a:pt x="1994" y="3598"/>
                    <a:pt x="2001" y="3597"/>
                  </a:cubicBezTo>
                  <a:cubicBezTo>
                    <a:pt x="2132" y="3585"/>
                    <a:pt x="2227" y="3466"/>
                    <a:pt x="2215" y="3335"/>
                  </a:cubicBezTo>
                  <a:lnTo>
                    <a:pt x="2156" y="2883"/>
                  </a:lnTo>
                  <a:cubicBezTo>
                    <a:pt x="2299" y="2835"/>
                    <a:pt x="2418" y="2764"/>
                    <a:pt x="2525" y="2668"/>
                  </a:cubicBezTo>
                  <a:lnTo>
                    <a:pt x="2894" y="2966"/>
                  </a:lnTo>
                  <a:cubicBezTo>
                    <a:pt x="2934" y="3001"/>
                    <a:pt x="2982" y="3017"/>
                    <a:pt x="3031" y="3017"/>
                  </a:cubicBezTo>
                  <a:cubicBezTo>
                    <a:pt x="3098" y="3017"/>
                    <a:pt x="3167" y="2986"/>
                    <a:pt x="3216" y="2930"/>
                  </a:cubicBezTo>
                  <a:cubicBezTo>
                    <a:pt x="3299" y="2835"/>
                    <a:pt x="3287" y="2680"/>
                    <a:pt x="3180" y="2609"/>
                  </a:cubicBezTo>
                  <a:lnTo>
                    <a:pt x="2823" y="2311"/>
                  </a:lnTo>
                  <a:cubicBezTo>
                    <a:pt x="2882" y="2192"/>
                    <a:pt x="2930" y="2049"/>
                    <a:pt x="2942" y="1906"/>
                  </a:cubicBezTo>
                  <a:lnTo>
                    <a:pt x="3406" y="1859"/>
                  </a:lnTo>
                  <a:cubicBezTo>
                    <a:pt x="3525" y="1847"/>
                    <a:pt x="3620" y="1728"/>
                    <a:pt x="3608" y="1609"/>
                  </a:cubicBezTo>
                  <a:cubicBezTo>
                    <a:pt x="3598" y="1491"/>
                    <a:pt x="3501" y="1403"/>
                    <a:pt x="3387" y="1403"/>
                  </a:cubicBezTo>
                  <a:cubicBezTo>
                    <a:pt x="3374" y="1403"/>
                    <a:pt x="3360" y="1404"/>
                    <a:pt x="3346" y="1406"/>
                  </a:cubicBezTo>
                  <a:lnTo>
                    <a:pt x="2894" y="1454"/>
                  </a:lnTo>
                  <a:cubicBezTo>
                    <a:pt x="2846" y="1311"/>
                    <a:pt x="2775" y="1192"/>
                    <a:pt x="2680" y="1085"/>
                  </a:cubicBezTo>
                  <a:lnTo>
                    <a:pt x="2977" y="716"/>
                  </a:lnTo>
                  <a:cubicBezTo>
                    <a:pt x="3061" y="621"/>
                    <a:pt x="3037" y="478"/>
                    <a:pt x="2942" y="394"/>
                  </a:cubicBezTo>
                  <a:cubicBezTo>
                    <a:pt x="2902" y="360"/>
                    <a:pt x="2852" y="343"/>
                    <a:pt x="2801" y="343"/>
                  </a:cubicBezTo>
                  <a:cubicBezTo>
                    <a:pt x="2732" y="343"/>
                    <a:pt x="2662" y="375"/>
                    <a:pt x="2620" y="430"/>
                  </a:cubicBezTo>
                  <a:lnTo>
                    <a:pt x="2323" y="787"/>
                  </a:lnTo>
                  <a:cubicBezTo>
                    <a:pt x="2203" y="728"/>
                    <a:pt x="2061" y="680"/>
                    <a:pt x="1918" y="668"/>
                  </a:cubicBezTo>
                  <a:lnTo>
                    <a:pt x="1870" y="204"/>
                  </a:lnTo>
                  <a:cubicBezTo>
                    <a:pt x="1859" y="92"/>
                    <a:pt x="1752" y="0"/>
                    <a:pt x="1640" y="0"/>
                  </a:cubicBezTo>
                  <a:close/>
                </a:path>
              </a:pathLst>
            </a:custGeom>
            <a:solidFill>
              <a:srgbClr val="EC3A3B"/>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307" name="Google Shape;307;p18"/>
            <p:cNvSpPr/>
            <p:nvPr/>
          </p:nvSpPr>
          <p:spPr>
            <a:xfrm>
              <a:off x="6264279" y="2693769"/>
              <a:ext cx="12318" cy="12318"/>
            </a:xfrm>
            <a:custGeom>
              <a:avLst/>
              <a:gdLst/>
              <a:ahLst/>
              <a:cxnLst/>
              <a:rect l="l" t="t" r="r" b="b"/>
              <a:pathLst>
                <a:path w="394" h="394" extrusionOk="0">
                  <a:moveTo>
                    <a:pt x="203" y="1"/>
                  </a:moveTo>
                  <a:cubicBezTo>
                    <a:pt x="96" y="1"/>
                    <a:pt x="0" y="84"/>
                    <a:pt x="0" y="203"/>
                  </a:cubicBezTo>
                  <a:cubicBezTo>
                    <a:pt x="0" y="310"/>
                    <a:pt x="96" y="394"/>
                    <a:pt x="203" y="394"/>
                  </a:cubicBezTo>
                  <a:cubicBezTo>
                    <a:pt x="310" y="394"/>
                    <a:pt x="393" y="310"/>
                    <a:pt x="393" y="203"/>
                  </a:cubicBezTo>
                  <a:cubicBezTo>
                    <a:pt x="393" y="84"/>
                    <a:pt x="310" y="1"/>
                    <a:pt x="203" y="1"/>
                  </a:cubicBezTo>
                  <a:close/>
                </a:path>
              </a:pathLst>
            </a:custGeom>
            <a:solidFill>
              <a:srgbClr val="EC3A3B"/>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308" name="Google Shape;308;p18"/>
            <p:cNvSpPr/>
            <p:nvPr/>
          </p:nvSpPr>
          <p:spPr>
            <a:xfrm>
              <a:off x="6225197" y="2655437"/>
              <a:ext cx="90856" cy="89011"/>
            </a:xfrm>
            <a:custGeom>
              <a:avLst/>
              <a:gdLst/>
              <a:ahLst/>
              <a:cxnLst/>
              <a:rect l="l" t="t" r="r" b="b"/>
              <a:pathLst>
                <a:path w="2906" h="2847" extrusionOk="0">
                  <a:moveTo>
                    <a:pt x="1457" y="681"/>
                  </a:moveTo>
                  <a:cubicBezTo>
                    <a:pt x="1555" y="681"/>
                    <a:pt x="1655" y="700"/>
                    <a:pt x="1750" y="739"/>
                  </a:cubicBezTo>
                  <a:cubicBezTo>
                    <a:pt x="2120" y="905"/>
                    <a:pt x="2298" y="1346"/>
                    <a:pt x="2131" y="1715"/>
                  </a:cubicBezTo>
                  <a:cubicBezTo>
                    <a:pt x="2007" y="2000"/>
                    <a:pt x="1728" y="2165"/>
                    <a:pt x="1441" y="2165"/>
                  </a:cubicBezTo>
                  <a:cubicBezTo>
                    <a:pt x="1345" y="2165"/>
                    <a:pt x="1248" y="2147"/>
                    <a:pt x="1155" y="2108"/>
                  </a:cubicBezTo>
                  <a:cubicBezTo>
                    <a:pt x="774" y="1941"/>
                    <a:pt x="607" y="1501"/>
                    <a:pt x="774" y="1132"/>
                  </a:cubicBezTo>
                  <a:cubicBezTo>
                    <a:pt x="890" y="846"/>
                    <a:pt x="1166" y="681"/>
                    <a:pt x="1457" y="681"/>
                  </a:cubicBezTo>
                  <a:close/>
                  <a:moveTo>
                    <a:pt x="960" y="1"/>
                  </a:moveTo>
                  <a:cubicBezTo>
                    <a:pt x="937" y="1"/>
                    <a:pt x="915" y="4"/>
                    <a:pt x="893" y="12"/>
                  </a:cubicBezTo>
                  <a:cubicBezTo>
                    <a:pt x="798" y="48"/>
                    <a:pt x="750" y="167"/>
                    <a:pt x="786" y="262"/>
                  </a:cubicBezTo>
                  <a:lnTo>
                    <a:pt x="929" y="632"/>
                  </a:lnTo>
                  <a:cubicBezTo>
                    <a:pt x="834" y="691"/>
                    <a:pt x="738" y="774"/>
                    <a:pt x="667" y="870"/>
                  </a:cubicBezTo>
                  <a:lnTo>
                    <a:pt x="310" y="715"/>
                  </a:lnTo>
                  <a:cubicBezTo>
                    <a:pt x="286" y="706"/>
                    <a:pt x="261" y="701"/>
                    <a:pt x="236" y="701"/>
                  </a:cubicBezTo>
                  <a:cubicBezTo>
                    <a:pt x="160" y="701"/>
                    <a:pt x="87" y="742"/>
                    <a:pt x="60" y="822"/>
                  </a:cubicBezTo>
                  <a:cubicBezTo>
                    <a:pt x="12" y="917"/>
                    <a:pt x="60" y="1024"/>
                    <a:pt x="155" y="1072"/>
                  </a:cubicBezTo>
                  <a:lnTo>
                    <a:pt x="512" y="1227"/>
                  </a:lnTo>
                  <a:cubicBezTo>
                    <a:pt x="488" y="1346"/>
                    <a:pt x="488" y="1465"/>
                    <a:pt x="512" y="1584"/>
                  </a:cubicBezTo>
                  <a:lnTo>
                    <a:pt x="143" y="1727"/>
                  </a:lnTo>
                  <a:cubicBezTo>
                    <a:pt x="48" y="1763"/>
                    <a:pt x="0" y="1882"/>
                    <a:pt x="36" y="1977"/>
                  </a:cubicBezTo>
                  <a:cubicBezTo>
                    <a:pt x="62" y="2056"/>
                    <a:pt x="134" y="2103"/>
                    <a:pt x="208" y="2103"/>
                  </a:cubicBezTo>
                  <a:cubicBezTo>
                    <a:pt x="234" y="2103"/>
                    <a:pt x="261" y="2097"/>
                    <a:pt x="286" y="2084"/>
                  </a:cubicBezTo>
                  <a:lnTo>
                    <a:pt x="655" y="1941"/>
                  </a:lnTo>
                  <a:cubicBezTo>
                    <a:pt x="715" y="2048"/>
                    <a:pt x="798" y="2132"/>
                    <a:pt x="905" y="2203"/>
                  </a:cubicBezTo>
                  <a:lnTo>
                    <a:pt x="738" y="2560"/>
                  </a:lnTo>
                  <a:cubicBezTo>
                    <a:pt x="703" y="2656"/>
                    <a:pt x="750" y="2775"/>
                    <a:pt x="846" y="2810"/>
                  </a:cubicBezTo>
                  <a:cubicBezTo>
                    <a:pt x="871" y="2823"/>
                    <a:pt x="898" y="2829"/>
                    <a:pt x="925" y="2829"/>
                  </a:cubicBezTo>
                  <a:cubicBezTo>
                    <a:pt x="999" y="2829"/>
                    <a:pt x="1069" y="2785"/>
                    <a:pt x="1096" y="2715"/>
                  </a:cubicBezTo>
                  <a:lnTo>
                    <a:pt x="1250" y="2358"/>
                  </a:lnTo>
                  <a:cubicBezTo>
                    <a:pt x="1310" y="2370"/>
                    <a:pt x="1369" y="2376"/>
                    <a:pt x="1429" y="2376"/>
                  </a:cubicBezTo>
                  <a:cubicBezTo>
                    <a:pt x="1489" y="2376"/>
                    <a:pt x="1548" y="2370"/>
                    <a:pt x="1608" y="2358"/>
                  </a:cubicBezTo>
                  <a:lnTo>
                    <a:pt x="1750" y="2727"/>
                  </a:lnTo>
                  <a:cubicBezTo>
                    <a:pt x="1787" y="2801"/>
                    <a:pt x="1860" y="2846"/>
                    <a:pt x="1935" y="2846"/>
                  </a:cubicBezTo>
                  <a:cubicBezTo>
                    <a:pt x="1957" y="2846"/>
                    <a:pt x="1979" y="2842"/>
                    <a:pt x="2000" y="2834"/>
                  </a:cubicBezTo>
                  <a:cubicBezTo>
                    <a:pt x="2108" y="2798"/>
                    <a:pt x="2155" y="2679"/>
                    <a:pt x="2120" y="2584"/>
                  </a:cubicBezTo>
                  <a:lnTo>
                    <a:pt x="1977" y="2215"/>
                  </a:lnTo>
                  <a:cubicBezTo>
                    <a:pt x="2072" y="2156"/>
                    <a:pt x="2155" y="2072"/>
                    <a:pt x="2227" y="1977"/>
                  </a:cubicBezTo>
                  <a:lnTo>
                    <a:pt x="2584" y="2132"/>
                  </a:lnTo>
                  <a:cubicBezTo>
                    <a:pt x="2608" y="2141"/>
                    <a:pt x="2633" y="2145"/>
                    <a:pt x="2658" y="2145"/>
                  </a:cubicBezTo>
                  <a:cubicBezTo>
                    <a:pt x="2734" y="2145"/>
                    <a:pt x="2810" y="2105"/>
                    <a:pt x="2846" y="2025"/>
                  </a:cubicBezTo>
                  <a:cubicBezTo>
                    <a:pt x="2882" y="1929"/>
                    <a:pt x="2834" y="1822"/>
                    <a:pt x="2739" y="1775"/>
                  </a:cubicBezTo>
                  <a:lnTo>
                    <a:pt x="2381" y="1620"/>
                  </a:lnTo>
                  <a:cubicBezTo>
                    <a:pt x="2405" y="1501"/>
                    <a:pt x="2405" y="1382"/>
                    <a:pt x="2393" y="1263"/>
                  </a:cubicBezTo>
                  <a:lnTo>
                    <a:pt x="2751" y="1120"/>
                  </a:lnTo>
                  <a:cubicBezTo>
                    <a:pt x="2858" y="1084"/>
                    <a:pt x="2905" y="965"/>
                    <a:pt x="2858" y="870"/>
                  </a:cubicBezTo>
                  <a:cubicBezTo>
                    <a:pt x="2831" y="791"/>
                    <a:pt x="2766" y="744"/>
                    <a:pt x="2691" y="744"/>
                  </a:cubicBezTo>
                  <a:cubicBezTo>
                    <a:pt x="2664" y="744"/>
                    <a:pt x="2636" y="750"/>
                    <a:pt x="2608" y="763"/>
                  </a:cubicBezTo>
                  <a:lnTo>
                    <a:pt x="2251" y="905"/>
                  </a:lnTo>
                  <a:cubicBezTo>
                    <a:pt x="2179" y="798"/>
                    <a:pt x="2096" y="715"/>
                    <a:pt x="2000" y="643"/>
                  </a:cubicBezTo>
                  <a:lnTo>
                    <a:pt x="2155" y="286"/>
                  </a:lnTo>
                  <a:cubicBezTo>
                    <a:pt x="2203" y="191"/>
                    <a:pt x="2155" y="72"/>
                    <a:pt x="2060" y="36"/>
                  </a:cubicBezTo>
                  <a:cubicBezTo>
                    <a:pt x="2031" y="23"/>
                    <a:pt x="2003" y="18"/>
                    <a:pt x="1975" y="18"/>
                  </a:cubicBezTo>
                  <a:cubicBezTo>
                    <a:pt x="1900" y="18"/>
                    <a:pt x="1833" y="62"/>
                    <a:pt x="1798" y="131"/>
                  </a:cubicBezTo>
                  <a:lnTo>
                    <a:pt x="1643" y="489"/>
                  </a:lnTo>
                  <a:cubicBezTo>
                    <a:pt x="1584" y="477"/>
                    <a:pt x="1524" y="471"/>
                    <a:pt x="1465" y="471"/>
                  </a:cubicBezTo>
                  <a:cubicBezTo>
                    <a:pt x="1405" y="471"/>
                    <a:pt x="1346" y="477"/>
                    <a:pt x="1286" y="489"/>
                  </a:cubicBezTo>
                  <a:lnTo>
                    <a:pt x="1143" y="120"/>
                  </a:lnTo>
                  <a:cubicBezTo>
                    <a:pt x="1116" y="46"/>
                    <a:pt x="1038" y="1"/>
                    <a:pt x="960" y="1"/>
                  </a:cubicBezTo>
                  <a:close/>
                </a:path>
              </a:pathLst>
            </a:custGeom>
            <a:solidFill>
              <a:srgbClr val="EC3A3B"/>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309" name="Google Shape;309;p18"/>
            <p:cNvSpPr txBox="1"/>
            <p:nvPr/>
          </p:nvSpPr>
          <p:spPr>
            <a:xfrm>
              <a:off x="5537603" y="1457525"/>
              <a:ext cx="1420487" cy="534900"/>
            </a:xfrm>
            <a:prstGeom prst="rect">
              <a:avLst/>
            </a:prstGeom>
            <a:no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Increased program efficiency</a:t>
              </a:r>
            </a:p>
          </p:txBody>
        </p:sp>
      </p:grpSp>
      <p:grpSp>
        <p:nvGrpSpPr>
          <p:cNvPr id="310" name="Google Shape;310;p18"/>
          <p:cNvGrpSpPr/>
          <p:nvPr/>
        </p:nvGrpSpPr>
        <p:grpSpPr>
          <a:xfrm>
            <a:off x="2884634" y="3572967"/>
            <a:ext cx="1883613" cy="2572091"/>
            <a:chOff x="2163474" y="2458524"/>
            <a:chExt cx="1412709" cy="1929066"/>
          </a:xfrm>
        </p:grpSpPr>
        <p:sp>
          <p:nvSpPr>
            <p:cNvPr id="311" name="Google Shape;311;p18"/>
            <p:cNvSpPr/>
            <p:nvPr/>
          </p:nvSpPr>
          <p:spPr>
            <a:xfrm>
              <a:off x="2260242" y="2639054"/>
              <a:ext cx="534944" cy="218918"/>
            </a:xfrm>
            <a:custGeom>
              <a:avLst/>
              <a:gdLst/>
              <a:ahLst/>
              <a:cxnLst/>
              <a:rect l="l" t="t" r="r" b="b"/>
              <a:pathLst>
                <a:path w="17110" h="7002" extrusionOk="0">
                  <a:moveTo>
                    <a:pt x="1" y="1"/>
                  </a:moveTo>
                  <a:lnTo>
                    <a:pt x="2811" y="3501"/>
                  </a:lnTo>
                  <a:lnTo>
                    <a:pt x="1" y="7002"/>
                  </a:lnTo>
                  <a:lnTo>
                    <a:pt x="14300" y="7002"/>
                  </a:lnTo>
                  <a:lnTo>
                    <a:pt x="17110" y="3501"/>
                  </a:lnTo>
                  <a:lnTo>
                    <a:pt x="14300" y="1"/>
                  </a:lnTo>
                  <a:close/>
                </a:path>
              </a:pathLst>
            </a:custGeom>
            <a:solidFill>
              <a:srgbClr val="69E78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312" name="Google Shape;312;p18"/>
            <p:cNvSpPr/>
            <p:nvPr/>
          </p:nvSpPr>
          <p:spPr>
            <a:xfrm>
              <a:off x="2942589" y="2639054"/>
              <a:ext cx="534600" cy="218918"/>
            </a:xfrm>
            <a:custGeom>
              <a:avLst/>
              <a:gdLst/>
              <a:ahLst/>
              <a:cxnLst/>
              <a:rect l="l" t="t" r="r" b="b"/>
              <a:pathLst>
                <a:path w="17099" h="7002" extrusionOk="0">
                  <a:moveTo>
                    <a:pt x="1" y="1"/>
                  </a:moveTo>
                  <a:lnTo>
                    <a:pt x="2799" y="3501"/>
                  </a:lnTo>
                  <a:lnTo>
                    <a:pt x="1" y="7002"/>
                  </a:lnTo>
                  <a:lnTo>
                    <a:pt x="14288" y="7002"/>
                  </a:lnTo>
                  <a:lnTo>
                    <a:pt x="17098" y="3501"/>
                  </a:lnTo>
                  <a:lnTo>
                    <a:pt x="14288" y="1"/>
                  </a:lnTo>
                  <a:close/>
                </a:path>
              </a:pathLst>
            </a:custGeom>
            <a:solidFill>
              <a:srgbClr val="69E78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313" name="Google Shape;313;p18"/>
            <p:cNvSpPr/>
            <p:nvPr/>
          </p:nvSpPr>
          <p:spPr>
            <a:xfrm>
              <a:off x="2870021" y="2757051"/>
              <a:ext cx="31" cy="754206"/>
            </a:xfrm>
            <a:custGeom>
              <a:avLst/>
              <a:gdLst/>
              <a:ahLst/>
              <a:cxnLst/>
              <a:rect l="l" t="t" r="r" b="b"/>
              <a:pathLst>
                <a:path w="1" h="24123" fill="none" extrusionOk="0">
                  <a:moveTo>
                    <a:pt x="0" y="1"/>
                  </a:moveTo>
                  <a:lnTo>
                    <a:pt x="0" y="24123"/>
                  </a:lnTo>
                </a:path>
              </a:pathLst>
            </a:custGeom>
            <a:noFill/>
            <a:ln w="17850" cap="rnd" cmpd="sng">
              <a:solidFill>
                <a:srgbClr val="9DB6C6"/>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314" name="Google Shape;314;p18"/>
            <p:cNvSpPr/>
            <p:nvPr/>
          </p:nvSpPr>
          <p:spPr>
            <a:xfrm>
              <a:off x="2163474" y="3399597"/>
              <a:ext cx="1412709" cy="987974"/>
            </a:xfrm>
            <a:custGeom>
              <a:avLst/>
              <a:gdLst/>
              <a:ahLst/>
              <a:cxnLst/>
              <a:rect l="l" t="t" r="r" b="b"/>
              <a:pathLst>
                <a:path w="45185" h="31600" extrusionOk="0">
                  <a:moveTo>
                    <a:pt x="22598" y="0"/>
                  </a:moveTo>
                  <a:cubicBezTo>
                    <a:pt x="21387" y="0"/>
                    <a:pt x="20175" y="464"/>
                    <a:pt x="19253" y="1393"/>
                  </a:cubicBezTo>
                  <a:lnTo>
                    <a:pt x="18252" y="2381"/>
                  </a:lnTo>
                  <a:cubicBezTo>
                    <a:pt x="18205" y="2429"/>
                    <a:pt x="18181" y="2477"/>
                    <a:pt x="18133" y="2524"/>
                  </a:cubicBezTo>
                  <a:lnTo>
                    <a:pt x="7406" y="2524"/>
                  </a:lnTo>
                  <a:cubicBezTo>
                    <a:pt x="3310" y="2524"/>
                    <a:pt x="0" y="5846"/>
                    <a:pt x="0" y="9930"/>
                  </a:cubicBezTo>
                  <a:lnTo>
                    <a:pt x="0" y="28742"/>
                  </a:lnTo>
                  <a:cubicBezTo>
                    <a:pt x="0" y="30325"/>
                    <a:pt x="1286" y="31599"/>
                    <a:pt x="2858" y="31599"/>
                  </a:cubicBezTo>
                  <a:lnTo>
                    <a:pt x="42327" y="31599"/>
                  </a:lnTo>
                  <a:cubicBezTo>
                    <a:pt x="43910" y="31599"/>
                    <a:pt x="45184" y="30325"/>
                    <a:pt x="45184" y="28742"/>
                  </a:cubicBezTo>
                  <a:lnTo>
                    <a:pt x="45184" y="9930"/>
                  </a:lnTo>
                  <a:cubicBezTo>
                    <a:pt x="45184" y="5846"/>
                    <a:pt x="41874" y="2524"/>
                    <a:pt x="37791" y="2524"/>
                  </a:cubicBezTo>
                  <a:lnTo>
                    <a:pt x="27063" y="2524"/>
                  </a:lnTo>
                  <a:cubicBezTo>
                    <a:pt x="27027" y="2477"/>
                    <a:pt x="26992" y="2429"/>
                    <a:pt x="26944" y="2381"/>
                  </a:cubicBezTo>
                  <a:lnTo>
                    <a:pt x="25944" y="1393"/>
                  </a:lnTo>
                  <a:cubicBezTo>
                    <a:pt x="25021" y="464"/>
                    <a:pt x="23810" y="0"/>
                    <a:pt x="22598" y="0"/>
                  </a:cubicBezTo>
                  <a:close/>
                </a:path>
              </a:pathLst>
            </a:custGeom>
            <a:solidFill>
              <a:srgbClr val="F2F2F2"/>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315" name="Google Shape;315;p18"/>
            <p:cNvSpPr/>
            <p:nvPr/>
          </p:nvSpPr>
          <p:spPr>
            <a:xfrm>
              <a:off x="2163474" y="4051022"/>
              <a:ext cx="1412709" cy="336568"/>
            </a:xfrm>
            <a:custGeom>
              <a:avLst/>
              <a:gdLst/>
              <a:ahLst/>
              <a:cxnLst/>
              <a:rect l="l" t="t" r="r" b="b"/>
              <a:pathLst>
                <a:path w="45185" h="10765" extrusionOk="0">
                  <a:moveTo>
                    <a:pt x="0" y="1"/>
                  </a:moveTo>
                  <a:lnTo>
                    <a:pt x="0" y="7919"/>
                  </a:lnTo>
                  <a:cubicBezTo>
                    <a:pt x="0" y="9490"/>
                    <a:pt x="1274" y="10764"/>
                    <a:pt x="2846" y="10764"/>
                  </a:cubicBezTo>
                  <a:lnTo>
                    <a:pt x="42339" y="10764"/>
                  </a:lnTo>
                  <a:cubicBezTo>
                    <a:pt x="43910" y="10764"/>
                    <a:pt x="45184" y="9490"/>
                    <a:pt x="45184" y="7919"/>
                  </a:cubicBezTo>
                  <a:lnTo>
                    <a:pt x="45184" y="1"/>
                  </a:lnTo>
                  <a:close/>
                </a:path>
              </a:pathLst>
            </a:custGeom>
            <a:solidFill>
              <a:srgbClr val="69E78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133" b="0" i="0" u="none" strike="noStrike" kern="1200" cap="none" spc="0" normalizeH="0" baseline="0" noProof="0">
                  <a:ln>
                    <a:noFill/>
                  </a:ln>
                  <a:solidFill>
                    <a:srgbClr val="FFFFFF"/>
                  </a:solidFill>
                  <a:effectLst/>
                  <a:uLnTx/>
                  <a:uFillTx/>
                  <a:latin typeface="Fira Sans Extra Condensed Medium"/>
                  <a:ea typeface="Fira Sans Extra Condensed Medium"/>
                  <a:cs typeface="Fira Sans Extra Condensed Medium"/>
                  <a:sym typeface="Fira Sans Extra Condensed Medium"/>
                </a:rPr>
                <a:t> 2</a:t>
              </a:r>
              <a:endParaRPr kumimoji="0" sz="2133" b="0" i="0" u="none" strike="noStrike" kern="1200" cap="none" spc="0" normalizeH="0" baseline="0" noProof="0">
                <a:ln>
                  <a:noFill/>
                </a:ln>
                <a:solidFill>
                  <a:srgbClr val="FFFFFF"/>
                </a:solidFill>
                <a:effectLst/>
                <a:uLnTx/>
                <a:uFillTx/>
                <a:latin typeface="Fira Sans Extra Condensed Medium"/>
                <a:ea typeface="Fira Sans Extra Condensed Medium"/>
                <a:cs typeface="Fira Sans Extra Condensed Medium"/>
                <a:sym typeface="Fira Sans Extra Condensed Medium"/>
              </a:endParaRPr>
            </a:p>
          </p:txBody>
        </p:sp>
        <p:sp>
          <p:nvSpPr>
            <p:cNvPr id="316" name="Google Shape;316;p18"/>
            <p:cNvSpPr/>
            <p:nvPr/>
          </p:nvSpPr>
          <p:spPr>
            <a:xfrm>
              <a:off x="2577028" y="2458524"/>
              <a:ext cx="585969" cy="585937"/>
            </a:xfrm>
            <a:custGeom>
              <a:avLst/>
              <a:gdLst/>
              <a:ahLst/>
              <a:cxnLst/>
              <a:rect l="l" t="t" r="r" b="b"/>
              <a:pathLst>
                <a:path w="18742" h="18741" extrusionOk="0">
                  <a:moveTo>
                    <a:pt x="9371" y="0"/>
                  </a:moveTo>
                  <a:cubicBezTo>
                    <a:pt x="4192" y="0"/>
                    <a:pt x="1" y="4191"/>
                    <a:pt x="1" y="9370"/>
                  </a:cubicBezTo>
                  <a:cubicBezTo>
                    <a:pt x="1" y="14538"/>
                    <a:pt x="4192" y="18741"/>
                    <a:pt x="9371" y="18741"/>
                  </a:cubicBezTo>
                  <a:cubicBezTo>
                    <a:pt x="14539" y="18741"/>
                    <a:pt x="18741" y="14538"/>
                    <a:pt x="18741" y="9370"/>
                  </a:cubicBezTo>
                  <a:cubicBezTo>
                    <a:pt x="18741" y="4191"/>
                    <a:pt x="14539" y="0"/>
                    <a:pt x="9371" y="0"/>
                  </a:cubicBezTo>
                  <a:close/>
                </a:path>
              </a:pathLst>
            </a:custGeom>
            <a:solidFill>
              <a:srgbClr val="69E78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317" name="Google Shape;317;p18"/>
            <p:cNvSpPr/>
            <p:nvPr/>
          </p:nvSpPr>
          <p:spPr>
            <a:xfrm>
              <a:off x="2651878" y="2533344"/>
              <a:ext cx="435928" cy="436303"/>
            </a:xfrm>
            <a:custGeom>
              <a:avLst/>
              <a:gdLst/>
              <a:ahLst/>
              <a:cxnLst/>
              <a:rect l="l" t="t" r="r" b="b"/>
              <a:pathLst>
                <a:path w="13943" h="13955" extrusionOk="0">
                  <a:moveTo>
                    <a:pt x="6977" y="0"/>
                  </a:moveTo>
                  <a:cubicBezTo>
                    <a:pt x="3120" y="0"/>
                    <a:pt x="0" y="3120"/>
                    <a:pt x="0" y="6977"/>
                  </a:cubicBezTo>
                  <a:cubicBezTo>
                    <a:pt x="0" y="10823"/>
                    <a:pt x="3120" y="13954"/>
                    <a:pt x="6977" y="13954"/>
                  </a:cubicBezTo>
                  <a:cubicBezTo>
                    <a:pt x="10823" y="13954"/>
                    <a:pt x="13942" y="10823"/>
                    <a:pt x="13942" y="6977"/>
                  </a:cubicBezTo>
                  <a:cubicBezTo>
                    <a:pt x="13942" y="3120"/>
                    <a:pt x="10823" y="0"/>
                    <a:pt x="6977"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318" name="Google Shape;318;p18"/>
            <p:cNvSpPr/>
            <p:nvPr/>
          </p:nvSpPr>
          <p:spPr>
            <a:xfrm>
              <a:off x="2759464" y="2640930"/>
              <a:ext cx="221137" cy="221137"/>
            </a:xfrm>
            <a:custGeom>
              <a:avLst/>
              <a:gdLst/>
              <a:ahLst/>
              <a:cxnLst/>
              <a:rect l="l" t="t" r="r" b="b"/>
              <a:pathLst>
                <a:path w="7073" h="7073" extrusionOk="0">
                  <a:moveTo>
                    <a:pt x="3536" y="476"/>
                  </a:moveTo>
                  <a:cubicBezTo>
                    <a:pt x="5227" y="476"/>
                    <a:pt x="6596" y="1846"/>
                    <a:pt x="6596" y="3536"/>
                  </a:cubicBezTo>
                  <a:cubicBezTo>
                    <a:pt x="6596" y="5227"/>
                    <a:pt x="5227" y="6596"/>
                    <a:pt x="3536" y="6596"/>
                  </a:cubicBezTo>
                  <a:cubicBezTo>
                    <a:pt x="1846" y="6596"/>
                    <a:pt x="476" y="5227"/>
                    <a:pt x="476" y="3536"/>
                  </a:cubicBezTo>
                  <a:cubicBezTo>
                    <a:pt x="476" y="1846"/>
                    <a:pt x="1846" y="476"/>
                    <a:pt x="3536" y="476"/>
                  </a:cubicBezTo>
                  <a:close/>
                  <a:moveTo>
                    <a:pt x="3536" y="0"/>
                  </a:moveTo>
                  <a:cubicBezTo>
                    <a:pt x="1584" y="0"/>
                    <a:pt x="0" y="1584"/>
                    <a:pt x="0" y="3536"/>
                  </a:cubicBezTo>
                  <a:cubicBezTo>
                    <a:pt x="0" y="5489"/>
                    <a:pt x="1584" y="7072"/>
                    <a:pt x="3536" y="7072"/>
                  </a:cubicBezTo>
                  <a:cubicBezTo>
                    <a:pt x="5489" y="7072"/>
                    <a:pt x="7072" y="5489"/>
                    <a:pt x="7072" y="3536"/>
                  </a:cubicBezTo>
                  <a:cubicBezTo>
                    <a:pt x="7072" y="1584"/>
                    <a:pt x="5489" y="0"/>
                    <a:pt x="3536" y="0"/>
                  </a:cubicBezTo>
                  <a:close/>
                </a:path>
              </a:pathLst>
            </a:custGeom>
            <a:solidFill>
              <a:srgbClr val="69E78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319" name="Google Shape;319;p18"/>
            <p:cNvSpPr/>
            <p:nvPr/>
          </p:nvSpPr>
          <p:spPr>
            <a:xfrm>
              <a:off x="2859953" y="2666974"/>
              <a:ext cx="13819" cy="23480"/>
            </a:xfrm>
            <a:custGeom>
              <a:avLst/>
              <a:gdLst/>
              <a:ahLst/>
              <a:cxnLst/>
              <a:rect l="l" t="t" r="r" b="b"/>
              <a:pathLst>
                <a:path w="442" h="751" extrusionOk="0">
                  <a:moveTo>
                    <a:pt x="227" y="1"/>
                  </a:moveTo>
                  <a:cubicBezTo>
                    <a:pt x="96" y="1"/>
                    <a:pt x="1" y="96"/>
                    <a:pt x="1" y="227"/>
                  </a:cubicBezTo>
                  <a:lnTo>
                    <a:pt x="1" y="524"/>
                  </a:lnTo>
                  <a:cubicBezTo>
                    <a:pt x="1" y="644"/>
                    <a:pt x="96" y="751"/>
                    <a:pt x="227" y="751"/>
                  </a:cubicBezTo>
                  <a:cubicBezTo>
                    <a:pt x="346" y="751"/>
                    <a:pt x="441" y="644"/>
                    <a:pt x="441" y="524"/>
                  </a:cubicBezTo>
                  <a:lnTo>
                    <a:pt x="441" y="227"/>
                  </a:lnTo>
                  <a:cubicBezTo>
                    <a:pt x="441" y="96"/>
                    <a:pt x="346" y="1"/>
                    <a:pt x="227" y="1"/>
                  </a:cubicBezTo>
                  <a:close/>
                </a:path>
              </a:pathLst>
            </a:custGeom>
            <a:solidFill>
              <a:srgbClr val="69E78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320" name="Google Shape;320;p18"/>
            <p:cNvSpPr/>
            <p:nvPr/>
          </p:nvSpPr>
          <p:spPr>
            <a:xfrm>
              <a:off x="2859953" y="2815894"/>
              <a:ext cx="13819" cy="23480"/>
            </a:xfrm>
            <a:custGeom>
              <a:avLst/>
              <a:gdLst/>
              <a:ahLst/>
              <a:cxnLst/>
              <a:rect l="l" t="t" r="r" b="b"/>
              <a:pathLst>
                <a:path w="442" h="751" extrusionOk="0">
                  <a:moveTo>
                    <a:pt x="227" y="0"/>
                  </a:moveTo>
                  <a:cubicBezTo>
                    <a:pt x="96" y="0"/>
                    <a:pt x="1" y="95"/>
                    <a:pt x="1" y="226"/>
                  </a:cubicBezTo>
                  <a:lnTo>
                    <a:pt x="1" y="524"/>
                  </a:lnTo>
                  <a:cubicBezTo>
                    <a:pt x="1" y="643"/>
                    <a:pt x="96" y="750"/>
                    <a:pt x="227" y="750"/>
                  </a:cubicBezTo>
                  <a:cubicBezTo>
                    <a:pt x="346" y="750"/>
                    <a:pt x="441" y="643"/>
                    <a:pt x="441" y="524"/>
                  </a:cubicBezTo>
                  <a:lnTo>
                    <a:pt x="441" y="226"/>
                  </a:lnTo>
                  <a:cubicBezTo>
                    <a:pt x="441" y="95"/>
                    <a:pt x="346" y="0"/>
                    <a:pt x="227" y="0"/>
                  </a:cubicBezTo>
                  <a:close/>
                </a:path>
              </a:pathLst>
            </a:custGeom>
            <a:solidFill>
              <a:srgbClr val="69E78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321" name="Google Shape;321;p18"/>
            <p:cNvSpPr/>
            <p:nvPr/>
          </p:nvSpPr>
          <p:spPr>
            <a:xfrm>
              <a:off x="2933303" y="2741418"/>
              <a:ext cx="23105" cy="18665"/>
            </a:xfrm>
            <a:custGeom>
              <a:avLst/>
              <a:gdLst/>
              <a:ahLst/>
              <a:cxnLst/>
              <a:rect l="l" t="t" r="r" b="b"/>
              <a:pathLst>
                <a:path w="739" h="597" extrusionOk="0">
                  <a:moveTo>
                    <a:pt x="262" y="1"/>
                  </a:moveTo>
                  <a:cubicBezTo>
                    <a:pt x="119" y="1"/>
                    <a:pt x="0" y="156"/>
                    <a:pt x="0" y="299"/>
                  </a:cubicBezTo>
                  <a:cubicBezTo>
                    <a:pt x="0" y="441"/>
                    <a:pt x="119" y="596"/>
                    <a:pt x="262" y="596"/>
                  </a:cubicBezTo>
                  <a:lnTo>
                    <a:pt x="488" y="596"/>
                  </a:lnTo>
                  <a:cubicBezTo>
                    <a:pt x="631" y="596"/>
                    <a:pt x="738" y="441"/>
                    <a:pt x="738" y="299"/>
                  </a:cubicBezTo>
                  <a:cubicBezTo>
                    <a:pt x="738" y="156"/>
                    <a:pt x="631" y="1"/>
                    <a:pt x="488" y="1"/>
                  </a:cubicBezTo>
                  <a:close/>
                </a:path>
              </a:pathLst>
            </a:custGeom>
            <a:solidFill>
              <a:srgbClr val="69E78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322" name="Google Shape;322;p18"/>
            <p:cNvSpPr/>
            <p:nvPr/>
          </p:nvSpPr>
          <p:spPr>
            <a:xfrm>
              <a:off x="2783633" y="2741418"/>
              <a:ext cx="23136" cy="18665"/>
            </a:xfrm>
            <a:custGeom>
              <a:avLst/>
              <a:gdLst/>
              <a:ahLst/>
              <a:cxnLst/>
              <a:rect l="l" t="t" r="r" b="b"/>
              <a:pathLst>
                <a:path w="740" h="597" extrusionOk="0">
                  <a:moveTo>
                    <a:pt x="251" y="1"/>
                  </a:moveTo>
                  <a:cubicBezTo>
                    <a:pt x="108" y="1"/>
                    <a:pt x="1" y="156"/>
                    <a:pt x="1" y="299"/>
                  </a:cubicBezTo>
                  <a:cubicBezTo>
                    <a:pt x="1" y="441"/>
                    <a:pt x="108" y="596"/>
                    <a:pt x="251" y="596"/>
                  </a:cubicBezTo>
                  <a:lnTo>
                    <a:pt x="477" y="596"/>
                  </a:lnTo>
                  <a:cubicBezTo>
                    <a:pt x="620" y="596"/>
                    <a:pt x="739" y="441"/>
                    <a:pt x="739" y="299"/>
                  </a:cubicBezTo>
                  <a:cubicBezTo>
                    <a:pt x="739" y="156"/>
                    <a:pt x="620" y="1"/>
                    <a:pt x="477" y="1"/>
                  </a:cubicBezTo>
                  <a:close/>
                </a:path>
              </a:pathLst>
            </a:custGeom>
            <a:solidFill>
              <a:srgbClr val="69E78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323" name="Google Shape;323;p18"/>
            <p:cNvSpPr/>
            <p:nvPr/>
          </p:nvSpPr>
          <p:spPr>
            <a:xfrm>
              <a:off x="2861454" y="2703931"/>
              <a:ext cx="56965" cy="98203"/>
            </a:xfrm>
            <a:custGeom>
              <a:avLst/>
              <a:gdLst/>
              <a:ahLst/>
              <a:cxnLst/>
              <a:rect l="l" t="t" r="r" b="b"/>
              <a:pathLst>
                <a:path w="1822" h="3141" extrusionOk="0">
                  <a:moveTo>
                    <a:pt x="1657" y="0"/>
                  </a:moveTo>
                  <a:cubicBezTo>
                    <a:pt x="1620" y="0"/>
                    <a:pt x="1584" y="15"/>
                    <a:pt x="1560" y="45"/>
                  </a:cubicBezTo>
                  <a:lnTo>
                    <a:pt x="334" y="1271"/>
                  </a:lnTo>
                  <a:cubicBezTo>
                    <a:pt x="310" y="1259"/>
                    <a:pt x="298" y="1259"/>
                    <a:pt x="274" y="1259"/>
                  </a:cubicBezTo>
                  <a:cubicBezTo>
                    <a:pt x="131" y="1259"/>
                    <a:pt x="0" y="1378"/>
                    <a:pt x="0" y="1521"/>
                  </a:cubicBezTo>
                  <a:cubicBezTo>
                    <a:pt x="0" y="1605"/>
                    <a:pt x="96" y="1688"/>
                    <a:pt x="96" y="1736"/>
                  </a:cubicBezTo>
                  <a:lnTo>
                    <a:pt x="96" y="2926"/>
                  </a:lnTo>
                  <a:cubicBezTo>
                    <a:pt x="96" y="3010"/>
                    <a:pt x="179" y="3141"/>
                    <a:pt x="262" y="3141"/>
                  </a:cubicBezTo>
                  <a:cubicBezTo>
                    <a:pt x="334" y="3141"/>
                    <a:pt x="393" y="3010"/>
                    <a:pt x="393" y="2926"/>
                  </a:cubicBezTo>
                  <a:lnTo>
                    <a:pt x="393" y="1736"/>
                  </a:lnTo>
                  <a:cubicBezTo>
                    <a:pt x="548" y="1688"/>
                    <a:pt x="524" y="1605"/>
                    <a:pt x="524" y="1521"/>
                  </a:cubicBezTo>
                  <a:cubicBezTo>
                    <a:pt x="524" y="1509"/>
                    <a:pt x="524" y="1498"/>
                    <a:pt x="524" y="1486"/>
                  </a:cubicBezTo>
                  <a:lnTo>
                    <a:pt x="1762" y="247"/>
                  </a:lnTo>
                  <a:cubicBezTo>
                    <a:pt x="1822" y="200"/>
                    <a:pt x="1822" y="104"/>
                    <a:pt x="1762" y="45"/>
                  </a:cubicBezTo>
                  <a:cubicBezTo>
                    <a:pt x="1733" y="15"/>
                    <a:pt x="1694" y="0"/>
                    <a:pt x="1657" y="0"/>
                  </a:cubicBezTo>
                  <a:close/>
                </a:path>
              </a:pathLst>
            </a:custGeom>
            <a:solidFill>
              <a:srgbClr val="69E78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324" name="Google Shape;324;p18"/>
            <p:cNvSpPr txBox="1"/>
            <p:nvPr/>
          </p:nvSpPr>
          <p:spPr>
            <a:xfrm>
              <a:off x="2173242" y="3564377"/>
              <a:ext cx="1373423" cy="534900"/>
            </a:xfrm>
            <a:prstGeom prst="rect">
              <a:avLst/>
            </a:prstGeom>
            <a:no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a:ea typeface="+mn-ea"/>
                  <a:cs typeface="+mn-cs"/>
                </a:rPr>
                <a:t>Enhanced Monitoring and Evaluation</a:t>
              </a:r>
            </a:p>
          </p:txBody>
        </p:sp>
      </p:grpSp>
      <p:grpSp>
        <p:nvGrpSpPr>
          <p:cNvPr id="325" name="Google Shape;325;p18"/>
          <p:cNvGrpSpPr/>
          <p:nvPr/>
        </p:nvGrpSpPr>
        <p:grpSpPr>
          <a:xfrm>
            <a:off x="5890995" y="3572965"/>
            <a:ext cx="1883612" cy="2572088"/>
            <a:chOff x="4418246" y="2458524"/>
            <a:chExt cx="1412709" cy="1929066"/>
          </a:xfrm>
        </p:grpSpPr>
        <p:sp>
          <p:nvSpPr>
            <p:cNvPr id="326" name="Google Shape;326;p18"/>
            <p:cNvSpPr/>
            <p:nvPr/>
          </p:nvSpPr>
          <p:spPr>
            <a:xfrm>
              <a:off x="4520236" y="2639054"/>
              <a:ext cx="534569" cy="218918"/>
            </a:xfrm>
            <a:custGeom>
              <a:avLst/>
              <a:gdLst/>
              <a:ahLst/>
              <a:cxnLst/>
              <a:rect l="l" t="t" r="r" b="b"/>
              <a:pathLst>
                <a:path w="17098" h="7002" extrusionOk="0">
                  <a:moveTo>
                    <a:pt x="1" y="1"/>
                  </a:moveTo>
                  <a:lnTo>
                    <a:pt x="2799" y="3501"/>
                  </a:lnTo>
                  <a:lnTo>
                    <a:pt x="1" y="7002"/>
                  </a:lnTo>
                  <a:lnTo>
                    <a:pt x="14288" y="7002"/>
                  </a:lnTo>
                  <a:lnTo>
                    <a:pt x="17098" y="3501"/>
                  </a:lnTo>
                  <a:lnTo>
                    <a:pt x="14288" y="1"/>
                  </a:lnTo>
                  <a:close/>
                </a:path>
              </a:pathLst>
            </a:custGeom>
            <a:solidFill>
              <a:srgbClr val="4949E7"/>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327" name="Google Shape;327;p18"/>
            <p:cNvSpPr/>
            <p:nvPr/>
          </p:nvSpPr>
          <p:spPr>
            <a:xfrm>
              <a:off x="5201833" y="2639054"/>
              <a:ext cx="534600" cy="218918"/>
            </a:xfrm>
            <a:custGeom>
              <a:avLst/>
              <a:gdLst/>
              <a:ahLst/>
              <a:cxnLst/>
              <a:rect l="l" t="t" r="r" b="b"/>
              <a:pathLst>
                <a:path w="17099" h="7002" extrusionOk="0">
                  <a:moveTo>
                    <a:pt x="1" y="1"/>
                  </a:moveTo>
                  <a:lnTo>
                    <a:pt x="2799" y="3501"/>
                  </a:lnTo>
                  <a:lnTo>
                    <a:pt x="1" y="7002"/>
                  </a:lnTo>
                  <a:lnTo>
                    <a:pt x="14288" y="7002"/>
                  </a:lnTo>
                  <a:lnTo>
                    <a:pt x="17098" y="3501"/>
                  </a:lnTo>
                  <a:lnTo>
                    <a:pt x="14288" y="1"/>
                  </a:lnTo>
                  <a:close/>
                </a:path>
              </a:pathLst>
            </a:custGeom>
            <a:solidFill>
              <a:srgbClr val="4949E7"/>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328" name="Google Shape;328;p18"/>
            <p:cNvSpPr/>
            <p:nvPr/>
          </p:nvSpPr>
          <p:spPr>
            <a:xfrm>
              <a:off x="5124418" y="2757051"/>
              <a:ext cx="31" cy="754206"/>
            </a:xfrm>
            <a:custGeom>
              <a:avLst/>
              <a:gdLst/>
              <a:ahLst/>
              <a:cxnLst/>
              <a:rect l="l" t="t" r="r" b="b"/>
              <a:pathLst>
                <a:path w="1" h="24123" fill="none" extrusionOk="0">
                  <a:moveTo>
                    <a:pt x="0" y="1"/>
                  </a:moveTo>
                  <a:lnTo>
                    <a:pt x="0" y="24123"/>
                  </a:lnTo>
                </a:path>
              </a:pathLst>
            </a:custGeom>
            <a:noFill/>
            <a:ln w="17850" cap="rnd" cmpd="sng">
              <a:solidFill>
                <a:srgbClr val="9DB6C6"/>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329" name="Google Shape;329;p18"/>
            <p:cNvSpPr/>
            <p:nvPr/>
          </p:nvSpPr>
          <p:spPr>
            <a:xfrm>
              <a:off x="4418246" y="3399597"/>
              <a:ext cx="1412709" cy="987974"/>
            </a:xfrm>
            <a:custGeom>
              <a:avLst/>
              <a:gdLst/>
              <a:ahLst/>
              <a:cxnLst/>
              <a:rect l="l" t="t" r="r" b="b"/>
              <a:pathLst>
                <a:path w="45185" h="31600" extrusionOk="0">
                  <a:moveTo>
                    <a:pt x="22597" y="0"/>
                  </a:moveTo>
                  <a:cubicBezTo>
                    <a:pt x="21384" y="0"/>
                    <a:pt x="20169" y="464"/>
                    <a:pt x="19241" y="1393"/>
                  </a:cubicBezTo>
                  <a:lnTo>
                    <a:pt x="18253" y="2381"/>
                  </a:lnTo>
                  <a:cubicBezTo>
                    <a:pt x="18205" y="2429"/>
                    <a:pt x="18169" y="2477"/>
                    <a:pt x="18134" y="2524"/>
                  </a:cubicBezTo>
                  <a:lnTo>
                    <a:pt x="7394" y="2524"/>
                  </a:lnTo>
                  <a:cubicBezTo>
                    <a:pt x="3310" y="2524"/>
                    <a:pt x="0" y="5846"/>
                    <a:pt x="0" y="9930"/>
                  </a:cubicBezTo>
                  <a:lnTo>
                    <a:pt x="0" y="28742"/>
                  </a:lnTo>
                  <a:cubicBezTo>
                    <a:pt x="0" y="30325"/>
                    <a:pt x="1274" y="31599"/>
                    <a:pt x="2858" y="31599"/>
                  </a:cubicBezTo>
                  <a:lnTo>
                    <a:pt x="42327" y="31599"/>
                  </a:lnTo>
                  <a:cubicBezTo>
                    <a:pt x="43899" y="31599"/>
                    <a:pt x="45185" y="30325"/>
                    <a:pt x="45185" y="28742"/>
                  </a:cubicBezTo>
                  <a:lnTo>
                    <a:pt x="45185" y="9930"/>
                  </a:lnTo>
                  <a:cubicBezTo>
                    <a:pt x="45185" y="5846"/>
                    <a:pt x="41863" y="2524"/>
                    <a:pt x="37779" y="2524"/>
                  </a:cubicBezTo>
                  <a:lnTo>
                    <a:pt x="27051" y="2524"/>
                  </a:lnTo>
                  <a:cubicBezTo>
                    <a:pt x="27016" y="2477"/>
                    <a:pt x="26980" y="2429"/>
                    <a:pt x="26944" y="2381"/>
                  </a:cubicBezTo>
                  <a:lnTo>
                    <a:pt x="25944" y="1393"/>
                  </a:lnTo>
                  <a:cubicBezTo>
                    <a:pt x="25021" y="464"/>
                    <a:pt x="23810" y="0"/>
                    <a:pt x="22597" y="0"/>
                  </a:cubicBezTo>
                  <a:close/>
                </a:path>
              </a:pathLst>
            </a:custGeom>
            <a:solidFill>
              <a:srgbClr val="F2F2F2"/>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330" name="Google Shape;330;p18"/>
            <p:cNvSpPr/>
            <p:nvPr/>
          </p:nvSpPr>
          <p:spPr>
            <a:xfrm>
              <a:off x="4418246" y="4051022"/>
              <a:ext cx="1412709" cy="336568"/>
            </a:xfrm>
            <a:custGeom>
              <a:avLst/>
              <a:gdLst/>
              <a:ahLst/>
              <a:cxnLst/>
              <a:rect l="l" t="t" r="r" b="b"/>
              <a:pathLst>
                <a:path w="45185" h="10765" extrusionOk="0">
                  <a:moveTo>
                    <a:pt x="0" y="1"/>
                  </a:moveTo>
                  <a:lnTo>
                    <a:pt x="0" y="7919"/>
                  </a:lnTo>
                  <a:cubicBezTo>
                    <a:pt x="0" y="9490"/>
                    <a:pt x="1274" y="10764"/>
                    <a:pt x="2846" y="10764"/>
                  </a:cubicBezTo>
                  <a:lnTo>
                    <a:pt x="42327" y="10764"/>
                  </a:lnTo>
                  <a:cubicBezTo>
                    <a:pt x="43911" y="10764"/>
                    <a:pt x="45185" y="9490"/>
                    <a:pt x="45185" y="7919"/>
                  </a:cubicBezTo>
                  <a:lnTo>
                    <a:pt x="45185" y="1"/>
                  </a:lnTo>
                  <a:close/>
                </a:path>
              </a:pathLst>
            </a:custGeom>
            <a:solidFill>
              <a:srgbClr val="4949E7"/>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133" b="0" i="0" u="none" strike="noStrike" kern="1200" cap="none" spc="0" normalizeH="0" baseline="0" noProof="0" dirty="0">
                  <a:ln>
                    <a:noFill/>
                  </a:ln>
                  <a:solidFill>
                    <a:srgbClr val="FFFFFF"/>
                  </a:solidFill>
                  <a:effectLst/>
                  <a:uLnTx/>
                  <a:uFillTx/>
                  <a:latin typeface="Fira Sans Extra Condensed Medium"/>
                  <a:ea typeface="Fira Sans Extra Condensed Medium"/>
                  <a:cs typeface="Fira Sans Extra Condensed Medium"/>
                  <a:sym typeface="Fira Sans Extra Condensed Medium"/>
                </a:rPr>
                <a:t>4</a:t>
              </a:r>
              <a:endParaRPr kumimoji="0" sz="2133" b="0" i="0" u="none" strike="noStrike" kern="1200" cap="none" spc="0" normalizeH="0" baseline="0" noProof="0" dirty="0">
                <a:ln>
                  <a:noFill/>
                </a:ln>
                <a:solidFill>
                  <a:srgbClr val="FFFFFF"/>
                </a:solidFill>
                <a:effectLst/>
                <a:uLnTx/>
                <a:uFillTx/>
                <a:latin typeface="Fira Sans Extra Condensed Medium"/>
                <a:ea typeface="Fira Sans Extra Condensed Medium"/>
                <a:cs typeface="Fira Sans Extra Condensed Medium"/>
                <a:sym typeface="Fira Sans Extra Condensed Medium"/>
              </a:endParaRPr>
            </a:p>
          </p:txBody>
        </p:sp>
        <p:sp>
          <p:nvSpPr>
            <p:cNvPr id="331" name="Google Shape;331;p18"/>
            <p:cNvSpPr/>
            <p:nvPr/>
          </p:nvSpPr>
          <p:spPr>
            <a:xfrm>
              <a:off x="4831457" y="2458524"/>
              <a:ext cx="585937" cy="585937"/>
            </a:xfrm>
            <a:custGeom>
              <a:avLst/>
              <a:gdLst/>
              <a:ahLst/>
              <a:cxnLst/>
              <a:rect l="l" t="t" r="r" b="b"/>
              <a:pathLst>
                <a:path w="18741" h="18741" extrusionOk="0">
                  <a:moveTo>
                    <a:pt x="9370" y="0"/>
                  </a:moveTo>
                  <a:cubicBezTo>
                    <a:pt x="4203" y="0"/>
                    <a:pt x="0" y="4191"/>
                    <a:pt x="0" y="9370"/>
                  </a:cubicBezTo>
                  <a:cubicBezTo>
                    <a:pt x="0" y="14538"/>
                    <a:pt x="4203" y="18741"/>
                    <a:pt x="9370" y="18741"/>
                  </a:cubicBezTo>
                  <a:cubicBezTo>
                    <a:pt x="14550" y="18741"/>
                    <a:pt x="18741" y="14538"/>
                    <a:pt x="18741" y="9370"/>
                  </a:cubicBezTo>
                  <a:cubicBezTo>
                    <a:pt x="18741" y="4191"/>
                    <a:pt x="14550" y="0"/>
                    <a:pt x="9370" y="0"/>
                  </a:cubicBezTo>
                  <a:close/>
                </a:path>
              </a:pathLst>
            </a:custGeom>
            <a:solidFill>
              <a:srgbClr val="4949E7"/>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332" name="Google Shape;332;p18"/>
            <p:cNvSpPr/>
            <p:nvPr/>
          </p:nvSpPr>
          <p:spPr>
            <a:xfrm>
              <a:off x="4906651" y="2533344"/>
              <a:ext cx="435928" cy="436303"/>
            </a:xfrm>
            <a:custGeom>
              <a:avLst/>
              <a:gdLst/>
              <a:ahLst/>
              <a:cxnLst/>
              <a:rect l="l" t="t" r="r" b="b"/>
              <a:pathLst>
                <a:path w="13943" h="13955" extrusionOk="0">
                  <a:moveTo>
                    <a:pt x="6965" y="0"/>
                  </a:moveTo>
                  <a:cubicBezTo>
                    <a:pt x="3120" y="0"/>
                    <a:pt x="0" y="3120"/>
                    <a:pt x="0" y="6977"/>
                  </a:cubicBezTo>
                  <a:cubicBezTo>
                    <a:pt x="0" y="10823"/>
                    <a:pt x="3120" y="13954"/>
                    <a:pt x="6965" y="13954"/>
                  </a:cubicBezTo>
                  <a:cubicBezTo>
                    <a:pt x="10823" y="13954"/>
                    <a:pt x="13943" y="10823"/>
                    <a:pt x="13943" y="6977"/>
                  </a:cubicBezTo>
                  <a:cubicBezTo>
                    <a:pt x="13943" y="3120"/>
                    <a:pt x="10823" y="0"/>
                    <a:pt x="6965"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333" name="Google Shape;333;p18"/>
            <p:cNvSpPr/>
            <p:nvPr/>
          </p:nvSpPr>
          <p:spPr>
            <a:xfrm>
              <a:off x="5028369" y="2681138"/>
              <a:ext cx="195469" cy="60685"/>
            </a:xfrm>
            <a:custGeom>
              <a:avLst/>
              <a:gdLst/>
              <a:ahLst/>
              <a:cxnLst/>
              <a:rect l="l" t="t" r="r" b="b"/>
              <a:pathLst>
                <a:path w="6252" h="1941" extrusionOk="0">
                  <a:moveTo>
                    <a:pt x="1" y="0"/>
                  </a:moveTo>
                  <a:lnTo>
                    <a:pt x="1" y="786"/>
                  </a:lnTo>
                  <a:lnTo>
                    <a:pt x="3120" y="1941"/>
                  </a:lnTo>
                  <a:lnTo>
                    <a:pt x="6251" y="786"/>
                  </a:lnTo>
                  <a:lnTo>
                    <a:pt x="6251" y="0"/>
                  </a:lnTo>
                  <a:close/>
                </a:path>
              </a:pathLst>
            </a:custGeom>
            <a:solidFill>
              <a:srgbClr val="4949E7"/>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334" name="Google Shape;334;p18"/>
            <p:cNvSpPr/>
            <p:nvPr/>
          </p:nvSpPr>
          <p:spPr>
            <a:xfrm>
              <a:off x="5028369" y="2723566"/>
              <a:ext cx="195469" cy="97172"/>
            </a:xfrm>
            <a:custGeom>
              <a:avLst/>
              <a:gdLst/>
              <a:ahLst/>
              <a:cxnLst/>
              <a:rect l="l" t="t" r="r" b="b"/>
              <a:pathLst>
                <a:path w="6252" h="3108" extrusionOk="0">
                  <a:moveTo>
                    <a:pt x="144" y="381"/>
                  </a:moveTo>
                  <a:lnTo>
                    <a:pt x="1727" y="965"/>
                  </a:lnTo>
                  <a:lnTo>
                    <a:pt x="144" y="2632"/>
                  </a:lnTo>
                  <a:lnTo>
                    <a:pt x="144" y="381"/>
                  </a:lnTo>
                  <a:close/>
                  <a:moveTo>
                    <a:pt x="5954" y="381"/>
                  </a:moveTo>
                  <a:lnTo>
                    <a:pt x="5954" y="2632"/>
                  </a:lnTo>
                  <a:lnTo>
                    <a:pt x="4382" y="965"/>
                  </a:lnTo>
                  <a:lnTo>
                    <a:pt x="5954" y="381"/>
                  </a:lnTo>
                  <a:close/>
                  <a:moveTo>
                    <a:pt x="4108" y="1048"/>
                  </a:moveTo>
                  <a:lnTo>
                    <a:pt x="5751" y="2798"/>
                  </a:lnTo>
                  <a:lnTo>
                    <a:pt x="417" y="2798"/>
                  </a:lnTo>
                  <a:lnTo>
                    <a:pt x="2049" y="1048"/>
                  </a:lnTo>
                  <a:lnTo>
                    <a:pt x="2989" y="1405"/>
                  </a:lnTo>
                  <a:lnTo>
                    <a:pt x="3084" y="1441"/>
                  </a:lnTo>
                  <a:lnTo>
                    <a:pt x="3168" y="1405"/>
                  </a:lnTo>
                  <a:lnTo>
                    <a:pt x="4108" y="1048"/>
                  </a:lnTo>
                  <a:close/>
                  <a:moveTo>
                    <a:pt x="1" y="0"/>
                  </a:moveTo>
                  <a:lnTo>
                    <a:pt x="1" y="2905"/>
                  </a:lnTo>
                  <a:lnTo>
                    <a:pt x="1" y="3108"/>
                  </a:lnTo>
                  <a:lnTo>
                    <a:pt x="6251" y="3108"/>
                  </a:lnTo>
                  <a:lnTo>
                    <a:pt x="6251" y="2905"/>
                  </a:lnTo>
                  <a:lnTo>
                    <a:pt x="6251" y="0"/>
                  </a:lnTo>
                  <a:lnTo>
                    <a:pt x="4180" y="762"/>
                  </a:lnTo>
                  <a:lnTo>
                    <a:pt x="3918" y="858"/>
                  </a:lnTo>
                  <a:lnTo>
                    <a:pt x="3084" y="1155"/>
                  </a:lnTo>
                  <a:lnTo>
                    <a:pt x="2251" y="858"/>
                  </a:lnTo>
                  <a:lnTo>
                    <a:pt x="2001" y="750"/>
                  </a:lnTo>
                  <a:lnTo>
                    <a:pt x="1" y="0"/>
                  </a:lnTo>
                  <a:close/>
                </a:path>
              </a:pathLst>
            </a:custGeom>
            <a:solidFill>
              <a:srgbClr val="4949E7"/>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335" name="Google Shape;335;p18"/>
            <p:cNvSpPr txBox="1"/>
            <p:nvPr/>
          </p:nvSpPr>
          <p:spPr>
            <a:xfrm>
              <a:off x="4511488" y="3504600"/>
              <a:ext cx="1224000" cy="534900"/>
            </a:xfrm>
            <a:prstGeom prst="rect">
              <a:avLst/>
            </a:prstGeom>
            <a:no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Better patient outcomes</a:t>
              </a:r>
            </a:p>
          </p:txBody>
        </p:sp>
      </p:grpSp>
      <p:grpSp>
        <p:nvGrpSpPr>
          <p:cNvPr id="336" name="Google Shape;336;p18"/>
          <p:cNvGrpSpPr/>
          <p:nvPr/>
        </p:nvGrpSpPr>
        <p:grpSpPr>
          <a:xfrm>
            <a:off x="8894399" y="3572965"/>
            <a:ext cx="1915912" cy="2572088"/>
            <a:chOff x="6670799" y="2458524"/>
            <a:chExt cx="1436934" cy="1929066"/>
          </a:xfrm>
        </p:grpSpPr>
        <p:sp>
          <p:nvSpPr>
            <p:cNvPr id="337" name="Google Shape;337;p18"/>
            <p:cNvSpPr/>
            <p:nvPr/>
          </p:nvSpPr>
          <p:spPr>
            <a:xfrm>
              <a:off x="7573133" y="2639054"/>
              <a:ext cx="534600" cy="218918"/>
            </a:xfrm>
            <a:custGeom>
              <a:avLst/>
              <a:gdLst/>
              <a:ahLst/>
              <a:cxnLst/>
              <a:rect l="l" t="t" r="r" b="b"/>
              <a:pathLst>
                <a:path w="17099" h="7002" extrusionOk="0">
                  <a:moveTo>
                    <a:pt x="1" y="1"/>
                  </a:moveTo>
                  <a:lnTo>
                    <a:pt x="2811" y="3501"/>
                  </a:lnTo>
                  <a:lnTo>
                    <a:pt x="1" y="7002"/>
                  </a:lnTo>
                  <a:lnTo>
                    <a:pt x="14300" y="7002"/>
                  </a:lnTo>
                  <a:lnTo>
                    <a:pt x="17098" y="3501"/>
                  </a:lnTo>
                  <a:lnTo>
                    <a:pt x="14300" y="1"/>
                  </a:lnTo>
                  <a:close/>
                </a:path>
              </a:pathLst>
            </a:custGeom>
            <a:solidFill>
              <a:srgbClr val="5EB2FC"/>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338" name="Google Shape;338;p18"/>
            <p:cNvSpPr/>
            <p:nvPr/>
          </p:nvSpPr>
          <p:spPr>
            <a:xfrm>
              <a:off x="6772038" y="2639054"/>
              <a:ext cx="534569" cy="218918"/>
            </a:xfrm>
            <a:custGeom>
              <a:avLst/>
              <a:gdLst/>
              <a:ahLst/>
              <a:cxnLst/>
              <a:rect l="l" t="t" r="r" b="b"/>
              <a:pathLst>
                <a:path w="17098" h="7002" extrusionOk="0">
                  <a:moveTo>
                    <a:pt x="0" y="1"/>
                  </a:moveTo>
                  <a:lnTo>
                    <a:pt x="2798" y="3501"/>
                  </a:lnTo>
                  <a:lnTo>
                    <a:pt x="0" y="7002"/>
                  </a:lnTo>
                  <a:lnTo>
                    <a:pt x="14288" y="7002"/>
                  </a:lnTo>
                  <a:lnTo>
                    <a:pt x="17098" y="3501"/>
                  </a:lnTo>
                  <a:lnTo>
                    <a:pt x="14288" y="1"/>
                  </a:lnTo>
                  <a:close/>
                </a:path>
              </a:pathLst>
            </a:custGeom>
            <a:solidFill>
              <a:srgbClr val="5EB2FC"/>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339" name="Google Shape;339;p18"/>
            <p:cNvSpPr/>
            <p:nvPr/>
          </p:nvSpPr>
          <p:spPr>
            <a:xfrm>
              <a:off x="7379191" y="2757051"/>
              <a:ext cx="31" cy="754206"/>
            </a:xfrm>
            <a:custGeom>
              <a:avLst/>
              <a:gdLst/>
              <a:ahLst/>
              <a:cxnLst/>
              <a:rect l="l" t="t" r="r" b="b"/>
              <a:pathLst>
                <a:path w="1" h="24123" fill="none" extrusionOk="0">
                  <a:moveTo>
                    <a:pt x="1" y="1"/>
                  </a:moveTo>
                  <a:lnTo>
                    <a:pt x="1" y="24123"/>
                  </a:lnTo>
                </a:path>
              </a:pathLst>
            </a:custGeom>
            <a:noFill/>
            <a:ln w="17850" cap="rnd" cmpd="sng">
              <a:solidFill>
                <a:srgbClr val="9DB6C6"/>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340" name="Google Shape;340;p18"/>
            <p:cNvSpPr/>
            <p:nvPr/>
          </p:nvSpPr>
          <p:spPr>
            <a:xfrm>
              <a:off x="6670799" y="3399597"/>
              <a:ext cx="1412709" cy="987974"/>
            </a:xfrm>
            <a:custGeom>
              <a:avLst/>
              <a:gdLst/>
              <a:ahLst/>
              <a:cxnLst/>
              <a:rect l="l" t="t" r="r" b="b"/>
              <a:pathLst>
                <a:path w="45185" h="31600" extrusionOk="0">
                  <a:moveTo>
                    <a:pt x="22600" y="0"/>
                  </a:moveTo>
                  <a:cubicBezTo>
                    <a:pt x="21387" y="0"/>
                    <a:pt x="20175" y="464"/>
                    <a:pt x="19252" y="1393"/>
                  </a:cubicBezTo>
                  <a:lnTo>
                    <a:pt x="18264" y="2381"/>
                  </a:lnTo>
                  <a:cubicBezTo>
                    <a:pt x="18217" y="2429"/>
                    <a:pt x="18181" y="2477"/>
                    <a:pt x="18145" y="2524"/>
                  </a:cubicBezTo>
                  <a:lnTo>
                    <a:pt x="7406" y="2524"/>
                  </a:lnTo>
                  <a:cubicBezTo>
                    <a:pt x="3322" y="2524"/>
                    <a:pt x="0" y="5846"/>
                    <a:pt x="0" y="9930"/>
                  </a:cubicBezTo>
                  <a:lnTo>
                    <a:pt x="0" y="28742"/>
                  </a:lnTo>
                  <a:cubicBezTo>
                    <a:pt x="0" y="30325"/>
                    <a:pt x="1286" y="31599"/>
                    <a:pt x="2857" y="31599"/>
                  </a:cubicBezTo>
                  <a:lnTo>
                    <a:pt x="42327" y="31599"/>
                  </a:lnTo>
                  <a:cubicBezTo>
                    <a:pt x="43910" y="31599"/>
                    <a:pt x="45184" y="30325"/>
                    <a:pt x="45184" y="28742"/>
                  </a:cubicBezTo>
                  <a:lnTo>
                    <a:pt x="45184" y="9930"/>
                  </a:lnTo>
                  <a:cubicBezTo>
                    <a:pt x="45184" y="5846"/>
                    <a:pt x="41874" y="2524"/>
                    <a:pt x="37790" y="2524"/>
                  </a:cubicBezTo>
                  <a:lnTo>
                    <a:pt x="27063" y="2524"/>
                  </a:lnTo>
                  <a:cubicBezTo>
                    <a:pt x="27027" y="2477"/>
                    <a:pt x="26991" y="2429"/>
                    <a:pt x="26944" y="2381"/>
                  </a:cubicBezTo>
                  <a:lnTo>
                    <a:pt x="25956" y="1393"/>
                  </a:lnTo>
                  <a:cubicBezTo>
                    <a:pt x="25027" y="464"/>
                    <a:pt x="23812" y="0"/>
                    <a:pt x="22600" y="0"/>
                  </a:cubicBezTo>
                  <a:close/>
                </a:path>
              </a:pathLst>
            </a:custGeom>
            <a:solidFill>
              <a:srgbClr val="F2F2F2"/>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341" name="Google Shape;341;p18"/>
            <p:cNvSpPr/>
            <p:nvPr/>
          </p:nvSpPr>
          <p:spPr>
            <a:xfrm>
              <a:off x="6670799" y="4051022"/>
              <a:ext cx="1412709" cy="336568"/>
            </a:xfrm>
            <a:custGeom>
              <a:avLst/>
              <a:gdLst/>
              <a:ahLst/>
              <a:cxnLst/>
              <a:rect l="l" t="t" r="r" b="b"/>
              <a:pathLst>
                <a:path w="45185" h="10765" extrusionOk="0">
                  <a:moveTo>
                    <a:pt x="0" y="1"/>
                  </a:moveTo>
                  <a:lnTo>
                    <a:pt x="0" y="7919"/>
                  </a:lnTo>
                  <a:cubicBezTo>
                    <a:pt x="0" y="9490"/>
                    <a:pt x="1286" y="10764"/>
                    <a:pt x="2857" y="10764"/>
                  </a:cubicBezTo>
                  <a:lnTo>
                    <a:pt x="42339" y="10764"/>
                  </a:lnTo>
                  <a:cubicBezTo>
                    <a:pt x="43910" y="10764"/>
                    <a:pt x="45184" y="9490"/>
                    <a:pt x="45184" y="7919"/>
                  </a:cubicBezTo>
                  <a:lnTo>
                    <a:pt x="45184" y="1"/>
                  </a:lnTo>
                  <a:close/>
                </a:path>
              </a:pathLst>
            </a:custGeom>
            <a:solidFill>
              <a:srgbClr val="5EB2FC"/>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133" b="0" i="0" u="none" strike="noStrike" kern="1200" cap="none" spc="0" normalizeH="0" baseline="0" noProof="0" dirty="0">
                  <a:ln>
                    <a:noFill/>
                  </a:ln>
                  <a:solidFill>
                    <a:srgbClr val="FFFFFF"/>
                  </a:solidFill>
                  <a:effectLst/>
                  <a:uLnTx/>
                  <a:uFillTx/>
                  <a:latin typeface="Fira Sans Extra Condensed Medium"/>
                  <a:ea typeface="Fira Sans Extra Condensed Medium"/>
                  <a:cs typeface="Fira Sans Extra Condensed Medium"/>
                  <a:sym typeface="Fira Sans Extra Condensed Medium"/>
                </a:rPr>
                <a:t>6</a:t>
              </a:r>
              <a:endParaRPr kumimoji="0" sz="2133" b="0" i="0" u="none" strike="noStrike" kern="1200" cap="none" spc="0" normalizeH="0" baseline="0" noProof="0" dirty="0">
                <a:ln>
                  <a:noFill/>
                </a:ln>
                <a:solidFill>
                  <a:srgbClr val="FFFFFF"/>
                </a:solidFill>
                <a:effectLst/>
                <a:uLnTx/>
                <a:uFillTx/>
                <a:latin typeface="Fira Sans Extra Condensed Medium"/>
                <a:ea typeface="Fira Sans Extra Condensed Medium"/>
                <a:cs typeface="Fira Sans Extra Condensed Medium"/>
                <a:sym typeface="Fira Sans Extra Condensed Medium"/>
              </a:endParaRPr>
            </a:p>
          </p:txBody>
        </p:sp>
        <p:sp>
          <p:nvSpPr>
            <p:cNvPr id="342" name="Google Shape;342;p18"/>
            <p:cNvSpPr/>
            <p:nvPr/>
          </p:nvSpPr>
          <p:spPr>
            <a:xfrm>
              <a:off x="7086229" y="2458524"/>
              <a:ext cx="585937" cy="585937"/>
            </a:xfrm>
            <a:custGeom>
              <a:avLst/>
              <a:gdLst/>
              <a:ahLst/>
              <a:cxnLst/>
              <a:rect l="l" t="t" r="r" b="b"/>
              <a:pathLst>
                <a:path w="18741" h="18741" extrusionOk="0">
                  <a:moveTo>
                    <a:pt x="9371" y="0"/>
                  </a:moveTo>
                  <a:cubicBezTo>
                    <a:pt x="4191" y="0"/>
                    <a:pt x="0" y="4191"/>
                    <a:pt x="0" y="9370"/>
                  </a:cubicBezTo>
                  <a:cubicBezTo>
                    <a:pt x="0" y="14538"/>
                    <a:pt x="4191" y="18741"/>
                    <a:pt x="9371" y="18741"/>
                  </a:cubicBezTo>
                  <a:cubicBezTo>
                    <a:pt x="14550" y="18741"/>
                    <a:pt x="18741" y="14538"/>
                    <a:pt x="18741" y="9370"/>
                  </a:cubicBezTo>
                  <a:cubicBezTo>
                    <a:pt x="18741" y="4191"/>
                    <a:pt x="14550" y="0"/>
                    <a:pt x="9371" y="0"/>
                  </a:cubicBezTo>
                  <a:close/>
                </a:path>
              </a:pathLst>
            </a:custGeom>
            <a:solidFill>
              <a:srgbClr val="5EB2FC"/>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343" name="Google Shape;343;p18"/>
            <p:cNvSpPr/>
            <p:nvPr/>
          </p:nvSpPr>
          <p:spPr>
            <a:xfrm>
              <a:off x="7161048" y="2533344"/>
              <a:ext cx="436303" cy="436303"/>
            </a:xfrm>
            <a:custGeom>
              <a:avLst/>
              <a:gdLst/>
              <a:ahLst/>
              <a:cxnLst/>
              <a:rect l="l" t="t" r="r" b="b"/>
              <a:pathLst>
                <a:path w="13955" h="13955" extrusionOk="0">
                  <a:moveTo>
                    <a:pt x="6978" y="0"/>
                  </a:moveTo>
                  <a:cubicBezTo>
                    <a:pt x="3120" y="0"/>
                    <a:pt x="1" y="3120"/>
                    <a:pt x="1" y="6977"/>
                  </a:cubicBezTo>
                  <a:cubicBezTo>
                    <a:pt x="1" y="10823"/>
                    <a:pt x="3120" y="13954"/>
                    <a:pt x="6978" y="13954"/>
                  </a:cubicBezTo>
                  <a:cubicBezTo>
                    <a:pt x="10823" y="13954"/>
                    <a:pt x="13955" y="10823"/>
                    <a:pt x="13955" y="6977"/>
                  </a:cubicBezTo>
                  <a:cubicBezTo>
                    <a:pt x="13955" y="3120"/>
                    <a:pt x="10823" y="0"/>
                    <a:pt x="6978"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344" name="Google Shape;344;p18"/>
            <p:cNvSpPr/>
            <p:nvPr/>
          </p:nvSpPr>
          <p:spPr>
            <a:xfrm>
              <a:off x="7265289" y="2658407"/>
              <a:ext cx="228203" cy="185433"/>
            </a:xfrm>
            <a:custGeom>
              <a:avLst/>
              <a:gdLst/>
              <a:ahLst/>
              <a:cxnLst/>
              <a:rect l="l" t="t" r="r" b="b"/>
              <a:pathLst>
                <a:path w="7299" h="5931" extrusionOk="0">
                  <a:moveTo>
                    <a:pt x="119" y="1"/>
                  </a:moveTo>
                  <a:cubicBezTo>
                    <a:pt x="60" y="1"/>
                    <a:pt x="36" y="48"/>
                    <a:pt x="36" y="108"/>
                  </a:cubicBezTo>
                  <a:lnTo>
                    <a:pt x="36" y="5763"/>
                  </a:lnTo>
                  <a:cubicBezTo>
                    <a:pt x="12" y="5775"/>
                    <a:pt x="0" y="5799"/>
                    <a:pt x="0" y="5835"/>
                  </a:cubicBezTo>
                  <a:cubicBezTo>
                    <a:pt x="0" y="5894"/>
                    <a:pt x="48" y="5930"/>
                    <a:pt x="107" y="5930"/>
                  </a:cubicBezTo>
                  <a:lnTo>
                    <a:pt x="7192" y="5930"/>
                  </a:lnTo>
                  <a:cubicBezTo>
                    <a:pt x="7251" y="5930"/>
                    <a:pt x="7299" y="5918"/>
                    <a:pt x="7299" y="5859"/>
                  </a:cubicBezTo>
                  <a:cubicBezTo>
                    <a:pt x="7299" y="5799"/>
                    <a:pt x="7251" y="5787"/>
                    <a:pt x="7192" y="5787"/>
                  </a:cubicBezTo>
                  <a:lnTo>
                    <a:pt x="191" y="5787"/>
                  </a:lnTo>
                  <a:lnTo>
                    <a:pt x="191" y="108"/>
                  </a:lnTo>
                  <a:cubicBezTo>
                    <a:pt x="191" y="48"/>
                    <a:pt x="179" y="1"/>
                    <a:pt x="119" y="1"/>
                  </a:cubicBezTo>
                  <a:close/>
                </a:path>
              </a:pathLst>
            </a:custGeom>
            <a:solidFill>
              <a:srgbClr val="5EB2FC"/>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345" name="Google Shape;345;p18"/>
            <p:cNvSpPr/>
            <p:nvPr/>
          </p:nvSpPr>
          <p:spPr>
            <a:xfrm>
              <a:off x="7294304" y="2774185"/>
              <a:ext cx="32797" cy="46554"/>
            </a:xfrm>
            <a:custGeom>
              <a:avLst/>
              <a:gdLst/>
              <a:ahLst/>
              <a:cxnLst/>
              <a:rect l="l" t="t" r="r" b="b"/>
              <a:pathLst>
                <a:path w="1049" h="1489" extrusionOk="0">
                  <a:moveTo>
                    <a:pt x="1" y="1"/>
                  </a:moveTo>
                  <a:lnTo>
                    <a:pt x="1" y="1489"/>
                  </a:lnTo>
                  <a:lnTo>
                    <a:pt x="1049" y="1489"/>
                  </a:lnTo>
                  <a:lnTo>
                    <a:pt x="1049" y="1"/>
                  </a:lnTo>
                  <a:close/>
                </a:path>
              </a:pathLst>
            </a:custGeom>
            <a:solidFill>
              <a:srgbClr val="5EB2FC"/>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346" name="Google Shape;346;p18"/>
            <p:cNvSpPr/>
            <p:nvPr/>
          </p:nvSpPr>
          <p:spPr>
            <a:xfrm>
              <a:off x="7340859" y="2750736"/>
              <a:ext cx="37237" cy="70002"/>
            </a:xfrm>
            <a:custGeom>
              <a:avLst/>
              <a:gdLst/>
              <a:ahLst/>
              <a:cxnLst/>
              <a:rect l="l" t="t" r="r" b="b"/>
              <a:pathLst>
                <a:path w="1191" h="2239" extrusionOk="0">
                  <a:moveTo>
                    <a:pt x="0" y="1"/>
                  </a:moveTo>
                  <a:lnTo>
                    <a:pt x="0" y="2239"/>
                  </a:lnTo>
                  <a:lnTo>
                    <a:pt x="1191" y="2239"/>
                  </a:lnTo>
                  <a:lnTo>
                    <a:pt x="1191" y="1"/>
                  </a:lnTo>
                  <a:close/>
                </a:path>
              </a:pathLst>
            </a:custGeom>
            <a:solidFill>
              <a:srgbClr val="5EB2FC"/>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347" name="Google Shape;347;p18"/>
            <p:cNvSpPr/>
            <p:nvPr/>
          </p:nvSpPr>
          <p:spPr>
            <a:xfrm>
              <a:off x="7392229" y="2722815"/>
              <a:ext cx="32422" cy="97922"/>
            </a:xfrm>
            <a:custGeom>
              <a:avLst/>
              <a:gdLst/>
              <a:ahLst/>
              <a:cxnLst/>
              <a:rect l="l" t="t" r="r" b="b"/>
              <a:pathLst>
                <a:path w="1037" h="3132" extrusionOk="0">
                  <a:moveTo>
                    <a:pt x="0" y="1"/>
                  </a:moveTo>
                  <a:lnTo>
                    <a:pt x="0" y="3132"/>
                  </a:lnTo>
                  <a:lnTo>
                    <a:pt x="1036" y="3132"/>
                  </a:lnTo>
                  <a:lnTo>
                    <a:pt x="1036" y="1"/>
                  </a:lnTo>
                  <a:close/>
                </a:path>
              </a:pathLst>
            </a:custGeom>
            <a:solidFill>
              <a:srgbClr val="5EB2FC"/>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348" name="Google Shape;348;p18"/>
            <p:cNvSpPr/>
            <p:nvPr/>
          </p:nvSpPr>
          <p:spPr>
            <a:xfrm>
              <a:off x="7438752" y="2676292"/>
              <a:ext cx="37268" cy="144444"/>
            </a:xfrm>
            <a:custGeom>
              <a:avLst/>
              <a:gdLst/>
              <a:ahLst/>
              <a:cxnLst/>
              <a:rect l="l" t="t" r="r" b="b"/>
              <a:pathLst>
                <a:path w="1192" h="4620" extrusionOk="0">
                  <a:moveTo>
                    <a:pt x="1" y="0"/>
                  </a:moveTo>
                  <a:lnTo>
                    <a:pt x="1" y="4620"/>
                  </a:lnTo>
                  <a:lnTo>
                    <a:pt x="1191" y="4620"/>
                  </a:lnTo>
                  <a:lnTo>
                    <a:pt x="1191" y="0"/>
                  </a:lnTo>
                  <a:close/>
                </a:path>
              </a:pathLst>
            </a:custGeom>
            <a:solidFill>
              <a:srgbClr val="5EB2FC"/>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Fira Sans Extra Condensed"/>
                <a:ea typeface="Fira Sans Extra Condensed"/>
                <a:cs typeface="Fira Sans Extra Condensed"/>
                <a:sym typeface="Fira Sans Extra Condensed"/>
              </a:endParaRPr>
            </a:p>
          </p:txBody>
        </p:sp>
        <p:sp>
          <p:nvSpPr>
            <p:cNvPr id="349" name="Google Shape;349;p18"/>
            <p:cNvSpPr txBox="1"/>
            <p:nvPr/>
          </p:nvSpPr>
          <p:spPr>
            <a:xfrm>
              <a:off x="6770338" y="3504600"/>
              <a:ext cx="1224000" cy="534900"/>
            </a:xfrm>
            <a:prstGeom prst="rect">
              <a:avLst/>
            </a:prstGeom>
            <a:no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Identification of trends and patterns</a:t>
              </a:r>
            </a:p>
          </p:txBody>
        </p:sp>
      </p:grpSp>
      <p:sp>
        <p:nvSpPr>
          <p:cNvPr id="3" name="TextBox 2">
            <a:extLst>
              <a:ext uri="{FF2B5EF4-FFF2-40B4-BE49-F238E27FC236}">
                <a16:creationId xmlns:a16="http://schemas.microsoft.com/office/drawing/2014/main" id="{C42E2775-5487-E18F-CD2D-787E19FC5A0F}"/>
              </a:ext>
            </a:extLst>
          </p:cNvPr>
          <p:cNvSpPr txBox="1"/>
          <p:nvPr/>
        </p:nvSpPr>
        <p:spPr>
          <a:xfrm>
            <a:off x="333828" y="1157684"/>
            <a:ext cx="8811719" cy="36933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The DCTs use in HIV is </a:t>
            </a:r>
            <a:r>
              <a:rPr kumimoji="0" lang="en-US" sz="1800" b="0" i="0" u="none" strike="noStrike" kern="1200" cap="none" spc="0" normalizeH="0" baseline="0" noProof="0">
                <a:ln>
                  <a:noFill/>
                </a:ln>
                <a:solidFill>
                  <a:prstClr val="black"/>
                </a:solidFill>
                <a:effectLst/>
                <a:uLnTx/>
                <a:uFillTx/>
                <a:latin typeface="Calibri"/>
                <a:ea typeface="+mn-ea"/>
                <a:cs typeface="+mn-cs"/>
              </a:rPr>
              <a:t>important, the benefits include</a:t>
            </a:r>
            <a:r>
              <a:rPr kumimoji="0" lang="en-US" sz="1800" b="0" i="0" u="none" strike="noStrike" kern="1200" cap="none" spc="0" normalizeH="0" baseline="0" noProof="0" dirty="0">
                <a:ln>
                  <a:noFill/>
                </a:ln>
                <a:solidFill>
                  <a:prstClr val="black"/>
                </a:solidFill>
                <a:effectLst/>
                <a:uLnTx/>
                <a:uFillTx/>
                <a:latin typeface="Calibri"/>
                <a:ea typeface="+mn-ea"/>
                <a:cs typeface="+mn-cs"/>
              </a:rPr>
              <a:t> the following</a:t>
            </a:r>
            <a:r>
              <a:rPr kumimoji="0" lang="en-US" sz="1800" b="0" i="0" u="none" strike="noStrike" kern="1200" cap="none" spc="0" normalizeH="0" baseline="0" noProof="0">
                <a:ln>
                  <a:noFill/>
                </a:ln>
                <a:solidFill>
                  <a:prstClr val="black"/>
                </a:solidFill>
                <a:effectLst/>
                <a:uLnTx/>
                <a:uFillTx/>
                <a:latin typeface="Calibri"/>
                <a:ea typeface="+mn-ea"/>
                <a:cs typeface="+mn-cs"/>
              </a:rPr>
              <a:t>:</a:t>
            </a: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EA5A020-9289-BC3F-6AE9-4B69C67492FE}"/>
              </a:ext>
            </a:extLst>
          </p:cNvPr>
          <p:cNvSpPr txBox="1"/>
          <p:nvPr/>
        </p:nvSpPr>
        <p:spPr>
          <a:xfrm>
            <a:off x="1654892" y="3273831"/>
            <a:ext cx="9406398" cy="707886"/>
          </a:xfrm>
          <a:prstGeom prst="rect">
            <a:avLst/>
          </a:prstGeom>
          <a:noFill/>
        </p:spPr>
        <p:txBody>
          <a:bodyPr wrap="square">
            <a:spAutoFit/>
          </a:bodyPr>
          <a:lstStyle/>
          <a:p>
            <a:r>
              <a:rPr lang="en-US" sz="4000" b="1" dirty="0">
                <a:solidFill>
                  <a:srgbClr val="002060"/>
                </a:solidFill>
                <a:latin typeface="Poppins" panose="00000500000000000000" pitchFamily="2" charset="0"/>
                <a:cs typeface="Poppins" panose="00000500000000000000" pitchFamily="2" charset="0"/>
              </a:rPr>
              <a:t>Indicators and MER</a:t>
            </a:r>
          </a:p>
        </p:txBody>
      </p:sp>
    </p:spTree>
    <p:extLst>
      <p:ext uri="{BB962C8B-B14F-4D97-AF65-F5344CB8AC3E}">
        <p14:creationId xmlns:p14="http://schemas.microsoft.com/office/powerpoint/2010/main" val="3164447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59CA07F-6565-5418-9E7F-4011056A93E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2" imgH="392" progId="TCLayout.ActiveDocument.1">
                  <p:embed/>
                </p:oleObj>
              </mc:Choice>
              <mc:Fallback>
                <p:oleObj name="think-cell Slide" r:id="rId3" imgW="392" imgH="392" progId="TCLayout.ActiveDocument.1">
                  <p:embed/>
                  <p:pic>
                    <p:nvPicPr>
                      <p:cNvPr id="7" name="think-cell data - do not delete" hidden="1">
                        <a:extLst>
                          <a:ext uri="{FF2B5EF4-FFF2-40B4-BE49-F238E27FC236}">
                            <a16:creationId xmlns:a16="http://schemas.microsoft.com/office/drawing/2014/main" id="{659CA07F-6565-5418-9E7F-4011056A93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7688" y="10633"/>
            <a:ext cx="10603605" cy="1171977"/>
          </a:xfrm>
        </p:spPr>
        <p:txBody>
          <a:bodyPr vert="horz">
            <a:normAutofit fontScale="90000"/>
          </a:bodyPr>
          <a:lstStyle/>
          <a:p>
            <a:r>
              <a:rPr lang="en-US">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Overview of the MER indicator reference guide</a:t>
            </a:r>
          </a:p>
        </p:txBody>
      </p:sp>
      <p:graphicFrame>
        <p:nvGraphicFramePr>
          <p:cNvPr id="4" name="Content Placeholder 3">
            <a:extLst>
              <a:ext uri="{FF2B5EF4-FFF2-40B4-BE49-F238E27FC236}">
                <a16:creationId xmlns:a16="http://schemas.microsoft.com/office/drawing/2014/main" id="{F2DF656F-4259-E809-C4D0-691BD5C4CFF0}"/>
              </a:ext>
            </a:extLst>
          </p:cNvPr>
          <p:cNvGraphicFramePr>
            <a:graphicFrameLocks noGrp="1"/>
          </p:cNvGraphicFramePr>
          <p:nvPr>
            <p:ph idx="1"/>
          </p:nvPr>
        </p:nvGraphicFramePr>
        <p:xfrm>
          <a:off x="287689" y="1171978"/>
          <a:ext cx="11720135" cy="526072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5" name="TextBox 4">
            <a:extLst>
              <a:ext uri="{FF2B5EF4-FFF2-40B4-BE49-F238E27FC236}">
                <a16:creationId xmlns:a16="http://schemas.microsoft.com/office/drawing/2014/main" id="{770992A6-BBAB-6A37-97AF-4FE6F751F7F4}"/>
              </a:ext>
            </a:extLst>
          </p:cNvPr>
          <p:cNvSpPr txBox="1"/>
          <p:nvPr/>
        </p:nvSpPr>
        <p:spPr>
          <a:xfrm>
            <a:off x="404956" y="3429000"/>
            <a:ext cx="5202396" cy="3046988"/>
          </a:xfrm>
          <a:prstGeom prst="rect">
            <a:avLst/>
          </a:prstGeom>
          <a:noFill/>
        </p:spPr>
        <p:txBody>
          <a:bodyPr wrap="square" rtlCol="0">
            <a:spAutoFit/>
          </a:bodyPr>
          <a:lstStyle/>
          <a:p>
            <a:pPr marL="0" indent="0">
              <a:buNone/>
            </a:pPr>
            <a:r>
              <a:rPr lang="en-US" sz="2400" b="1">
                <a:effectLst>
                  <a:outerShdw blurRad="38100" dist="38100" dir="2700000" algn="tl">
                    <a:srgbClr val="000000">
                      <a:alpha val="43137"/>
                    </a:srgbClr>
                  </a:outerShdw>
                </a:effectLst>
              </a:rPr>
              <a:t>What is MER indicator reference guide?</a:t>
            </a:r>
          </a:p>
          <a:p>
            <a:pPr marL="0" indent="0">
              <a:buNone/>
            </a:pPr>
            <a:endParaRPr lang="en-US" sz="2400"/>
          </a:p>
          <a:p>
            <a:pPr marL="342900" indent="-342900">
              <a:buFont typeface="Arial" panose="020B0604020202020204" pitchFamily="34" charset="0"/>
              <a:buChar char="•"/>
            </a:pPr>
            <a:r>
              <a:rPr lang="en-US" sz="2100">
                <a:latin typeface="Arial" panose="020B0604020202020204" pitchFamily="34" charset="0"/>
                <a:cs typeface="Arial" panose="020B0604020202020204" pitchFamily="34" charset="0"/>
              </a:rPr>
              <a:t>Monitoring, Evaluation, and Reporting (MER) indicators . </a:t>
            </a:r>
          </a:p>
          <a:p>
            <a:pPr marL="342900" indent="-342900">
              <a:buFont typeface="Arial" panose="020B0604020202020204" pitchFamily="34" charset="0"/>
              <a:buChar char="•"/>
            </a:pPr>
            <a:endParaRPr lang="en-US" sz="2100"/>
          </a:p>
          <a:p>
            <a:pPr marL="342900" indent="-342900">
              <a:buFont typeface="Arial" panose="020B0604020202020204" pitchFamily="34" charset="0"/>
              <a:buChar char="•"/>
            </a:pPr>
            <a:r>
              <a:rPr lang="en-US" sz="2100" b="0" i="0">
                <a:effectLst/>
                <a:latin typeface="Arial" panose="020B0604020202020204" pitchFamily="34" charset="0"/>
                <a:cs typeface="Arial" panose="020B0604020202020204" pitchFamily="34" charset="0"/>
              </a:rPr>
              <a:t>Database is a tool for exploring the impact of PEPFAR and the current state of the HIV/AIDS epidemic.</a:t>
            </a:r>
            <a:endParaRPr lang="en-US" sz="2100">
              <a:latin typeface="Arial" panose="020B0604020202020204" pitchFamily="34" charset="0"/>
              <a:cs typeface="Arial" panose="020B0604020202020204" pitchFamily="34" charset="0"/>
            </a:endParaRPr>
          </a:p>
          <a:p>
            <a:endParaRPr lang="en-US"/>
          </a:p>
        </p:txBody>
      </p:sp>
      <p:sp>
        <p:nvSpPr>
          <p:cNvPr id="6" name="TextBox 5">
            <a:extLst>
              <a:ext uri="{FF2B5EF4-FFF2-40B4-BE49-F238E27FC236}">
                <a16:creationId xmlns:a16="http://schemas.microsoft.com/office/drawing/2014/main" id="{5910FEDC-E8D9-7F0A-0D46-684114440CA1}"/>
              </a:ext>
            </a:extLst>
          </p:cNvPr>
          <p:cNvSpPr txBox="1"/>
          <p:nvPr/>
        </p:nvSpPr>
        <p:spPr>
          <a:xfrm>
            <a:off x="6096000" y="3429000"/>
            <a:ext cx="5911824" cy="3693319"/>
          </a:xfrm>
          <a:prstGeom prst="rect">
            <a:avLst/>
          </a:prstGeom>
          <a:noFill/>
        </p:spPr>
        <p:txBody>
          <a:bodyPr wrap="square" rtlCol="0">
            <a:spAutoFit/>
          </a:bodyPr>
          <a:lstStyle/>
          <a:p>
            <a:pPr marL="0" indent="0">
              <a:buNone/>
            </a:pPr>
            <a:r>
              <a:rPr lang="en-US" sz="2400" b="1">
                <a:effectLst>
                  <a:outerShdw blurRad="38100" dist="38100" dir="2700000" algn="tl">
                    <a:srgbClr val="000000">
                      <a:alpha val="43137"/>
                    </a:srgbClr>
                  </a:outerShdw>
                </a:effectLst>
                <a:latin typeface="Arial" panose="020B0604020202020204" pitchFamily="34" charset="0"/>
                <a:cs typeface="Arial" panose="020B0604020202020204" pitchFamily="34" charset="0"/>
              </a:rPr>
              <a:t>MER indicator Version</a:t>
            </a:r>
            <a:endParaRPr lang="en-US" sz="280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100">
                <a:latin typeface="Arial" panose="020B0604020202020204" pitchFamily="34" charset="0"/>
                <a:cs typeface="Arial" panose="020B0604020202020204" pitchFamily="34" charset="0"/>
              </a:rPr>
              <a:t>The current version in use is </a:t>
            </a:r>
            <a:r>
              <a:rPr lang="nb-NO" sz="2100">
                <a:latin typeface="Arial" panose="020B0604020202020204" pitchFamily="34" charset="0"/>
                <a:cs typeface="Arial" panose="020B0604020202020204" pitchFamily="34" charset="0"/>
              </a:rPr>
              <a:t>MER 2.0 (Version 2.7) September 2023.</a:t>
            </a:r>
          </a:p>
          <a:p>
            <a:pPr marL="342900" indent="-342900">
              <a:buFont typeface="Arial" panose="020B0604020202020204" pitchFamily="34" charset="0"/>
              <a:buChar char="•"/>
            </a:pPr>
            <a:endParaRPr lang="nb-NO" sz="210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nb-NO" sz="2100">
                <a:latin typeface="Arial" panose="020B0604020202020204" pitchFamily="34" charset="0"/>
                <a:cs typeface="Arial" panose="020B0604020202020204" pitchFamily="34" charset="0"/>
              </a:rPr>
              <a:t>PEPFAR conducts an annual review of </a:t>
            </a:r>
            <a:r>
              <a:rPr lang="en-US" sz="2100">
                <a:latin typeface="Arial" panose="020B0604020202020204" pitchFamily="34" charset="0"/>
                <a:cs typeface="Arial" panose="020B0604020202020204" pitchFamily="34" charset="0"/>
              </a:rPr>
              <a:t>MER indicators to ensure they align with the programs planned for implementation and expectations and reflect any new PEPFAR initiatives</a:t>
            </a:r>
            <a:endParaRPr lang="nb-NO" sz="2100">
              <a:latin typeface="Arial" panose="020B0604020202020204" pitchFamily="34" charset="0"/>
              <a:cs typeface="Arial" panose="020B0604020202020204" pitchFamily="34" charset="0"/>
            </a:endParaRPr>
          </a:p>
          <a:p>
            <a:pPr marL="342900" indent="-342900">
              <a:buFont typeface="Arial" panose="020B0604020202020204" pitchFamily="34" charset="0"/>
              <a:buChar char="•"/>
            </a:pPr>
            <a:endParaRPr lang="nb-NO" sz="2100"/>
          </a:p>
          <a:p>
            <a:endParaRPr lang="en-US" sz="2100"/>
          </a:p>
        </p:txBody>
      </p:sp>
    </p:spTree>
    <p:extLst>
      <p:ext uri="{BB962C8B-B14F-4D97-AF65-F5344CB8AC3E}">
        <p14:creationId xmlns:p14="http://schemas.microsoft.com/office/powerpoint/2010/main" val="854233519"/>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9D6AD1D-5DD1-5247-91DF-A105D4C08D9B}"/>
              </a:ext>
            </a:extLst>
          </p:cNvPr>
          <p:cNvSpPr txBox="1"/>
          <p:nvPr/>
        </p:nvSpPr>
        <p:spPr>
          <a:xfrm>
            <a:off x="986871" y="328219"/>
            <a:ext cx="9240816" cy="769441"/>
          </a:xfrm>
          <a:prstGeom prst="rect">
            <a:avLst/>
          </a:prstGeom>
          <a:noFill/>
        </p:spPr>
        <p:txBody>
          <a:bodyPr wrap="square" rtlCol="0">
            <a:spAutoFit/>
          </a:bodyPr>
          <a:lstStyle/>
          <a:p>
            <a:pPr algn="ctr"/>
            <a:r>
              <a:rPr lang="en-US" sz="4400">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Objectives of MER</a:t>
            </a:r>
            <a:endParaRPr lang="en-US" sz="4400" b="1">
              <a:solidFill>
                <a:schemeClr val="tx2"/>
              </a:solidFill>
              <a:effectLst>
                <a:outerShdw blurRad="38100" dist="38100" dir="2700000" algn="tl">
                  <a:srgbClr val="000000">
                    <a:alpha val="43137"/>
                  </a:srgbClr>
                </a:outerShdw>
              </a:effectLst>
              <a:latin typeface="Poppins" pitchFamily="2" charset="77"/>
              <a:cs typeface="Poppins" pitchFamily="2" charset="77"/>
            </a:endParaRPr>
          </a:p>
        </p:txBody>
      </p:sp>
      <p:graphicFrame>
        <p:nvGraphicFramePr>
          <p:cNvPr id="4" name="Chart 3">
            <a:extLst>
              <a:ext uri="{FF2B5EF4-FFF2-40B4-BE49-F238E27FC236}">
                <a16:creationId xmlns:a16="http://schemas.microsoft.com/office/drawing/2014/main" id="{542539D6-4560-5B44-A795-28D71D0ADDF7}"/>
              </a:ext>
            </a:extLst>
          </p:cNvPr>
          <p:cNvGraphicFramePr/>
          <p:nvPr/>
        </p:nvGraphicFramePr>
        <p:xfrm>
          <a:off x="1084369" y="1272638"/>
          <a:ext cx="1493190" cy="1495460"/>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8C97B7E8-C777-F24F-B987-379A15105013}"/>
              </a:ext>
            </a:extLst>
          </p:cNvPr>
          <p:cNvSpPr txBox="1"/>
          <p:nvPr/>
        </p:nvSpPr>
        <p:spPr>
          <a:xfrm>
            <a:off x="1571918" y="1470995"/>
            <a:ext cx="518092" cy="1154162"/>
          </a:xfrm>
          <a:prstGeom prst="rect">
            <a:avLst/>
          </a:prstGeom>
          <a:noFill/>
        </p:spPr>
        <p:txBody>
          <a:bodyPr wrap="none" rtlCol="0" anchor="ctr">
            <a:spAutoFit/>
          </a:bodyPr>
          <a:lstStyle/>
          <a:p>
            <a:pPr algn="ctr"/>
            <a:r>
              <a:rPr lang="en-US" sz="6900" b="1">
                <a:solidFill>
                  <a:schemeClr val="tx2"/>
                </a:solidFill>
                <a:latin typeface="Poppins" pitchFamily="2" charset="77"/>
                <a:cs typeface="Poppins" pitchFamily="2" charset="77"/>
              </a:rPr>
              <a:t>1</a:t>
            </a:r>
          </a:p>
        </p:txBody>
      </p:sp>
      <p:graphicFrame>
        <p:nvGraphicFramePr>
          <p:cNvPr id="8" name="Chart 7">
            <a:extLst>
              <a:ext uri="{FF2B5EF4-FFF2-40B4-BE49-F238E27FC236}">
                <a16:creationId xmlns:a16="http://schemas.microsoft.com/office/drawing/2014/main" id="{F9F63084-1EC3-1941-968D-3E70C897D283}"/>
              </a:ext>
            </a:extLst>
          </p:cNvPr>
          <p:cNvGraphicFramePr/>
          <p:nvPr/>
        </p:nvGraphicFramePr>
        <p:xfrm>
          <a:off x="5349405" y="1272638"/>
          <a:ext cx="1493190" cy="1495460"/>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a:extLst>
              <a:ext uri="{FF2B5EF4-FFF2-40B4-BE49-F238E27FC236}">
                <a16:creationId xmlns:a16="http://schemas.microsoft.com/office/drawing/2014/main" id="{1EAEB1C4-13A3-7B46-A86E-858626DF8F38}"/>
              </a:ext>
            </a:extLst>
          </p:cNvPr>
          <p:cNvSpPr txBox="1"/>
          <p:nvPr/>
        </p:nvSpPr>
        <p:spPr>
          <a:xfrm>
            <a:off x="5751194" y="1470995"/>
            <a:ext cx="689612" cy="1154162"/>
          </a:xfrm>
          <a:prstGeom prst="rect">
            <a:avLst/>
          </a:prstGeom>
          <a:noFill/>
        </p:spPr>
        <p:txBody>
          <a:bodyPr wrap="none" rtlCol="0" anchor="ctr">
            <a:spAutoFit/>
          </a:bodyPr>
          <a:lstStyle/>
          <a:p>
            <a:pPr algn="ctr"/>
            <a:r>
              <a:rPr lang="en-US" sz="6900" b="1">
                <a:solidFill>
                  <a:schemeClr val="tx2"/>
                </a:solidFill>
                <a:latin typeface="Poppins" pitchFamily="2" charset="77"/>
                <a:cs typeface="Poppins" pitchFamily="2" charset="77"/>
              </a:rPr>
              <a:t>2</a:t>
            </a:r>
          </a:p>
        </p:txBody>
      </p:sp>
      <p:graphicFrame>
        <p:nvGraphicFramePr>
          <p:cNvPr id="10" name="Chart 9">
            <a:extLst>
              <a:ext uri="{FF2B5EF4-FFF2-40B4-BE49-F238E27FC236}">
                <a16:creationId xmlns:a16="http://schemas.microsoft.com/office/drawing/2014/main" id="{29E5A735-817A-CB43-9721-D19ADE3013CC}"/>
              </a:ext>
            </a:extLst>
          </p:cNvPr>
          <p:cNvGraphicFramePr/>
          <p:nvPr/>
        </p:nvGraphicFramePr>
        <p:xfrm>
          <a:off x="9126892" y="1271279"/>
          <a:ext cx="1493190" cy="1495460"/>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a:extLst>
              <a:ext uri="{FF2B5EF4-FFF2-40B4-BE49-F238E27FC236}">
                <a16:creationId xmlns:a16="http://schemas.microsoft.com/office/drawing/2014/main" id="{9C865764-8FC3-C743-A4A5-D2E8BE2352BB}"/>
              </a:ext>
            </a:extLst>
          </p:cNvPr>
          <p:cNvSpPr txBox="1"/>
          <p:nvPr/>
        </p:nvSpPr>
        <p:spPr>
          <a:xfrm>
            <a:off x="9513453" y="1469636"/>
            <a:ext cx="720069" cy="1154162"/>
          </a:xfrm>
          <a:prstGeom prst="rect">
            <a:avLst/>
          </a:prstGeom>
          <a:noFill/>
        </p:spPr>
        <p:txBody>
          <a:bodyPr wrap="none" rtlCol="0" anchor="ctr">
            <a:spAutoFit/>
          </a:bodyPr>
          <a:lstStyle/>
          <a:p>
            <a:pPr algn="ctr"/>
            <a:r>
              <a:rPr lang="en-US" sz="6900" b="1">
                <a:solidFill>
                  <a:schemeClr val="tx2"/>
                </a:solidFill>
                <a:latin typeface="Poppins" pitchFamily="2" charset="77"/>
                <a:cs typeface="Poppins" pitchFamily="2" charset="77"/>
              </a:rPr>
              <a:t>3</a:t>
            </a:r>
          </a:p>
        </p:txBody>
      </p:sp>
      <p:graphicFrame>
        <p:nvGraphicFramePr>
          <p:cNvPr id="12" name="Chart 11">
            <a:extLst>
              <a:ext uri="{FF2B5EF4-FFF2-40B4-BE49-F238E27FC236}">
                <a16:creationId xmlns:a16="http://schemas.microsoft.com/office/drawing/2014/main" id="{617A23D1-AE67-AE48-8197-ACDC1BD0325F}"/>
              </a:ext>
            </a:extLst>
          </p:cNvPr>
          <p:cNvGraphicFramePr/>
          <p:nvPr/>
        </p:nvGraphicFramePr>
        <p:xfrm>
          <a:off x="7481923" y="1926397"/>
          <a:ext cx="1493190" cy="1495460"/>
        </p:xfrm>
        <a:graphic>
          <a:graphicData uri="http://schemas.openxmlformats.org/drawingml/2006/chart">
            <c:chart xmlns:c="http://schemas.openxmlformats.org/drawingml/2006/chart" xmlns:r="http://schemas.openxmlformats.org/officeDocument/2006/relationships" r:id="rId5"/>
          </a:graphicData>
        </a:graphic>
      </p:graphicFrame>
      <p:sp>
        <p:nvSpPr>
          <p:cNvPr id="16" name="Subtitle 2">
            <a:extLst>
              <a:ext uri="{FF2B5EF4-FFF2-40B4-BE49-F238E27FC236}">
                <a16:creationId xmlns:a16="http://schemas.microsoft.com/office/drawing/2014/main" id="{4C0D870E-2DA9-D84A-835F-393E7BAE2175}"/>
              </a:ext>
            </a:extLst>
          </p:cNvPr>
          <p:cNvSpPr txBox="1">
            <a:spLocks/>
          </p:cNvSpPr>
          <p:nvPr/>
        </p:nvSpPr>
        <p:spPr>
          <a:xfrm>
            <a:off x="110898" y="2868844"/>
            <a:ext cx="3535587" cy="2814681"/>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r>
              <a:rPr lang="en-US" b="1">
                <a:latin typeface="Arial" panose="020B0604020202020204" pitchFamily="34" charset="0"/>
                <a:cs typeface="Arial" panose="020B0604020202020204" pitchFamily="34" charset="0"/>
              </a:rPr>
              <a:t>Monitor Program Performance:</a:t>
            </a:r>
          </a:p>
          <a:p>
            <a:r>
              <a:rPr lang="en-US" sz="2000">
                <a:solidFill>
                  <a:schemeClr val="tx1"/>
                </a:solidFill>
                <a:latin typeface="Arial" panose="020B0604020202020204" pitchFamily="34" charset="0"/>
                <a:cs typeface="Arial" panose="020B0604020202020204" pitchFamily="34" charset="0"/>
              </a:rPr>
              <a:t>Collect and analyze data on key performance indicators to assess the reach, effectiveness, and efficiency of interventions.</a:t>
            </a:r>
          </a:p>
        </p:txBody>
      </p:sp>
      <p:sp>
        <p:nvSpPr>
          <p:cNvPr id="19" name="Subtitle 2">
            <a:extLst>
              <a:ext uri="{FF2B5EF4-FFF2-40B4-BE49-F238E27FC236}">
                <a16:creationId xmlns:a16="http://schemas.microsoft.com/office/drawing/2014/main" id="{CEF7E9AD-8BBC-8844-A9D0-5522E7A92484}"/>
              </a:ext>
            </a:extLst>
          </p:cNvPr>
          <p:cNvSpPr txBox="1">
            <a:spLocks/>
          </p:cNvSpPr>
          <p:nvPr/>
        </p:nvSpPr>
        <p:spPr>
          <a:xfrm>
            <a:off x="3993931" y="2902835"/>
            <a:ext cx="4214648" cy="2806859"/>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r>
              <a:rPr lang="en-US" b="1">
                <a:latin typeface="Arial" panose="020B0604020202020204" pitchFamily="34" charset="0"/>
                <a:cs typeface="Arial" panose="020B0604020202020204" pitchFamily="34" charset="0"/>
              </a:rPr>
              <a:t>Evaluate Impact and Effectiveness: </a:t>
            </a:r>
          </a:p>
          <a:p>
            <a:r>
              <a:rPr lang="en-US" sz="2000">
                <a:solidFill>
                  <a:schemeClr val="tx1"/>
                </a:solidFill>
                <a:latin typeface="Arial" panose="020B0604020202020204" pitchFamily="34" charset="0"/>
                <a:cs typeface="Arial" panose="020B0604020202020204" pitchFamily="34" charset="0"/>
              </a:rPr>
              <a:t>Assess how well programs are achieving desired health outcomes, such as reduced HIV incidence, increased viral suppression, and improved patient retention.</a:t>
            </a:r>
          </a:p>
        </p:txBody>
      </p:sp>
      <p:sp>
        <p:nvSpPr>
          <p:cNvPr id="21" name="Subtitle 2">
            <a:extLst>
              <a:ext uri="{FF2B5EF4-FFF2-40B4-BE49-F238E27FC236}">
                <a16:creationId xmlns:a16="http://schemas.microsoft.com/office/drawing/2014/main" id="{AB6ADBC2-C7C9-6043-A1A6-AAB7D70E2E39}"/>
              </a:ext>
            </a:extLst>
          </p:cNvPr>
          <p:cNvSpPr txBox="1">
            <a:spLocks/>
          </p:cNvSpPr>
          <p:nvPr/>
        </p:nvSpPr>
        <p:spPr>
          <a:xfrm>
            <a:off x="8523983" y="2965096"/>
            <a:ext cx="3407408" cy="2814681"/>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r>
              <a:rPr lang="en-US" b="1">
                <a:latin typeface="Arial" panose="020B0604020202020204" pitchFamily="34" charset="0"/>
                <a:cs typeface="Arial" panose="020B0604020202020204" pitchFamily="34" charset="0"/>
              </a:rPr>
              <a:t>Ensure Accountability and Transparency:</a:t>
            </a:r>
          </a:p>
          <a:p>
            <a:r>
              <a:rPr lang="en-US" sz="2000" b="1">
                <a:latin typeface="Arial" panose="020B0604020202020204" pitchFamily="34" charset="0"/>
                <a:cs typeface="Arial" panose="020B0604020202020204" pitchFamily="34" charset="0"/>
              </a:rPr>
              <a:t> </a:t>
            </a:r>
            <a:r>
              <a:rPr lang="en-US" sz="2000">
                <a:solidFill>
                  <a:schemeClr val="tx1"/>
                </a:solidFill>
                <a:latin typeface="Arial" panose="020B0604020202020204" pitchFamily="34" charset="0"/>
                <a:cs typeface="Arial" panose="020B0604020202020204" pitchFamily="34" charset="0"/>
              </a:rPr>
              <a:t>Regularly report program performance data, ensuring transparency in how resources are used and the impact they achieve</a:t>
            </a:r>
            <a:r>
              <a:rPr lang="en-US" sz="2000">
                <a:solidFill>
                  <a:schemeClr val="tx1"/>
                </a:solidFill>
              </a:rPr>
              <a:t>.</a:t>
            </a:r>
          </a:p>
        </p:txBody>
      </p:sp>
      <p:sp>
        <p:nvSpPr>
          <p:cNvPr id="22" name="Rectangle 21">
            <a:extLst>
              <a:ext uri="{FF2B5EF4-FFF2-40B4-BE49-F238E27FC236}">
                <a16:creationId xmlns:a16="http://schemas.microsoft.com/office/drawing/2014/main" id="{2E1FC0D9-113F-904B-A552-8C649A123B02}"/>
              </a:ext>
            </a:extLst>
          </p:cNvPr>
          <p:cNvSpPr/>
          <p:nvPr/>
        </p:nvSpPr>
        <p:spPr>
          <a:xfrm>
            <a:off x="1214906" y="6066426"/>
            <a:ext cx="1232116" cy="13716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Lato Light" panose="020F0502020204030203" pitchFamily="34" charset="0"/>
            </a:endParaRPr>
          </a:p>
        </p:txBody>
      </p:sp>
      <p:sp>
        <p:nvSpPr>
          <p:cNvPr id="24" name="Rectangle 23">
            <a:extLst>
              <a:ext uri="{FF2B5EF4-FFF2-40B4-BE49-F238E27FC236}">
                <a16:creationId xmlns:a16="http://schemas.microsoft.com/office/drawing/2014/main" id="{47A67B59-19CC-EC45-9327-A7DC6C2C32ED}"/>
              </a:ext>
            </a:extLst>
          </p:cNvPr>
          <p:cNvSpPr/>
          <p:nvPr/>
        </p:nvSpPr>
        <p:spPr>
          <a:xfrm>
            <a:off x="5479942" y="6066567"/>
            <a:ext cx="1232116" cy="13716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Lato Light" panose="020F0502020204030203" pitchFamily="34" charset="0"/>
            </a:endParaRPr>
          </a:p>
        </p:txBody>
      </p:sp>
      <p:sp>
        <p:nvSpPr>
          <p:cNvPr id="26" name="Rectangle 25">
            <a:extLst>
              <a:ext uri="{FF2B5EF4-FFF2-40B4-BE49-F238E27FC236}">
                <a16:creationId xmlns:a16="http://schemas.microsoft.com/office/drawing/2014/main" id="{D49F4A4D-0F6D-AD4F-89FE-9981944BDA06}"/>
              </a:ext>
            </a:extLst>
          </p:cNvPr>
          <p:cNvSpPr/>
          <p:nvPr/>
        </p:nvSpPr>
        <p:spPr>
          <a:xfrm>
            <a:off x="9709127" y="6066426"/>
            <a:ext cx="1232116" cy="137160"/>
          </a:xfrm>
          <a:prstGeom prst="rect">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Lato Light" panose="020F0502020204030203" pitchFamily="34" charset="0"/>
            </a:endParaRPr>
          </a:p>
        </p:txBody>
      </p:sp>
    </p:spTree>
    <p:extLst>
      <p:ext uri="{BB962C8B-B14F-4D97-AF65-F5344CB8AC3E}">
        <p14:creationId xmlns:p14="http://schemas.microsoft.com/office/powerpoint/2010/main" val="604666310"/>
      </p:ext>
    </p:extLst>
  </p:cSld>
  <p:clrMapOvr>
    <a:masterClrMapping/>
  </p:clrMapOvr>
  <p:transition spd="slow">
    <p:push dir="u"/>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9D6AD1D-5DD1-5247-91DF-A105D4C08D9B}"/>
              </a:ext>
            </a:extLst>
          </p:cNvPr>
          <p:cNvSpPr txBox="1"/>
          <p:nvPr/>
        </p:nvSpPr>
        <p:spPr>
          <a:xfrm>
            <a:off x="986871" y="328219"/>
            <a:ext cx="9240816" cy="769441"/>
          </a:xfrm>
          <a:prstGeom prst="rect">
            <a:avLst/>
          </a:prstGeom>
          <a:noFill/>
        </p:spPr>
        <p:txBody>
          <a:bodyPr wrap="square" rtlCol="0">
            <a:spAutoFit/>
          </a:bodyPr>
          <a:lstStyle/>
          <a:p>
            <a:pPr algn="ctr"/>
            <a:r>
              <a:rPr lang="en-US" sz="4400">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Objectives Of MER</a:t>
            </a:r>
            <a:endParaRPr lang="en-US" sz="4400" b="1">
              <a:solidFill>
                <a:schemeClr val="tx2"/>
              </a:solidFill>
              <a:effectLst>
                <a:outerShdw blurRad="38100" dist="38100" dir="2700000" algn="tl">
                  <a:srgbClr val="000000">
                    <a:alpha val="43137"/>
                  </a:srgbClr>
                </a:outerShdw>
              </a:effectLst>
              <a:latin typeface="Poppins" pitchFamily="2" charset="77"/>
              <a:cs typeface="Poppins" pitchFamily="2" charset="77"/>
            </a:endParaRPr>
          </a:p>
        </p:txBody>
      </p:sp>
      <p:graphicFrame>
        <p:nvGraphicFramePr>
          <p:cNvPr id="4" name="Chart 3">
            <a:extLst>
              <a:ext uri="{FF2B5EF4-FFF2-40B4-BE49-F238E27FC236}">
                <a16:creationId xmlns:a16="http://schemas.microsoft.com/office/drawing/2014/main" id="{542539D6-4560-5B44-A795-28D71D0ADDF7}"/>
              </a:ext>
            </a:extLst>
          </p:cNvPr>
          <p:cNvGraphicFramePr/>
          <p:nvPr/>
        </p:nvGraphicFramePr>
        <p:xfrm>
          <a:off x="1084369" y="1272638"/>
          <a:ext cx="1493190" cy="1495460"/>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8C97B7E8-C777-F24F-B987-379A15105013}"/>
              </a:ext>
            </a:extLst>
          </p:cNvPr>
          <p:cNvSpPr txBox="1"/>
          <p:nvPr/>
        </p:nvSpPr>
        <p:spPr>
          <a:xfrm>
            <a:off x="1423599" y="1469636"/>
            <a:ext cx="784189" cy="1154162"/>
          </a:xfrm>
          <a:prstGeom prst="rect">
            <a:avLst/>
          </a:prstGeom>
          <a:noFill/>
        </p:spPr>
        <p:txBody>
          <a:bodyPr wrap="none" rtlCol="0" anchor="ctr">
            <a:spAutoFit/>
          </a:bodyPr>
          <a:lstStyle/>
          <a:p>
            <a:pPr algn="ctr"/>
            <a:r>
              <a:rPr lang="en-US" sz="6900" b="1">
                <a:solidFill>
                  <a:schemeClr val="tx2"/>
                </a:solidFill>
                <a:latin typeface="Poppins" pitchFamily="2" charset="77"/>
                <a:cs typeface="Poppins" pitchFamily="2" charset="77"/>
              </a:rPr>
              <a:t>4</a:t>
            </a:r>
          </a:p>
        </p:txBody>
      </p:sp>
      <p:graphicFrame>
        <p:nvGraphicFramePr>
          <p:cNvPr id="8" name="Chart 7">
            <a:extLst>
              <a:ext uri="{FF2B5EF4-FFF2-40B4-BE49-F238E27FC236}">
                <a16:creationId xmlns:a16="http://schemas.microsoft.com/office/drawing/2014/main" id="{F9F63084-1EC3-1941-968D-3E70C897D283}"/>
              </a:ext>
            </a:extLst>
          </p:cNvPr>
          <p:cNvGraphicFramePr/>
          <p:nvPr/>
        </p:nvGraphicFramePr>
        <p:xfrm>
          <a:off x="5349405" y="1272638"/>
          <a:ext cx="1493190" cy="1495460"/>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a:extLst>
              <a:ext uri="{FF2B5EF4-FFF2-40B4-BE49-F238E27FC236}">
                <a16:creationId xmlns:a16="http://schemas.microsoft.com/office/drawing/2014/main" id="{1EAEB1C4-13A3-7B46-A86E-858626DF8F38}"/>
              </a:ext>
            </a:extLst>
          </p:cNvPr>
          <p:cNvSpPr txBox="1"/>
          <p:nvPr/>
        </p:nvSpPr>
        <p:spPr>
          <a:xfrm>
            <a:off x="5715928" y="1470995"/>
            <a:ext cx="760144" cy="1154162"/>
          </a:xfrm>
          <a:prstGeom prst="rect">
            <a:avLst/>
          </a:prstGeom>
          <a:noFill/>
        </p:spPr>
        <p:txBody>
          <a:bodyPr wrap="none" rtlCol="0" anchor="ctr">
            <a:spAutoFit/>
          </a:bodyPr>
          <a:lstStyle/>
          <a:p>
            <a:pPr algn="ctr"/>
            <a:r>
              <a:rPr lang="en-US" sz="6900" b="1">
                <a:solidFill>
                  <a:schemeClr val="tx2"/>
                </a:solidFill>
                <a:latin typeface="Poppins" pitchFamily="2" charset="77"/>
                <a:cs typeface="Poppins" pitchFamily="2" charset="77"/>
              </a:rPr>
              <a:t>5</a:t>
            </a:r>
          </a:p>
        </p:txBody>
      </p:sp>
      <p:graphicFrame>
        <p:nvGraphicFramePr>
          <p:cNvPr id="10" name="Chart 9">
            <a:extLst>
              <a:ext uri="{FF2B5EF4-FFF2-40B4-BE49-F238E27FC236}">
                <a16:creationId xmlns:a16="http://schemas.microsoft.com/office/drawing/2014/main" id="{29E5A735-817A-CB43-9721-D19ADE3013CC}"/>
              </a:ext>
            </a:extLst>
          </p:cNvPr>
          <p:cNvGraphicFramePr/>
          <p:nvPr/>
        </p:nvGraphicFramePr>
        <p:xfrm>
          <a:off x="9126892" y="1271279"/>
          <a:ext cx="1493190" cy="1495460"/>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a:extLst>
              <a:ext uri="{FF2B5EF4-FFF2-40B4-BE49-F238E27FC236}">
                <a16:creationId xmlns:a16="http://schemas.microsoft.com/office/drawing/2014/main" id="{9C865764-8FC3-C743-A4A5-D2E8BE2352BB}"/>
              </a:ext>
            </a:extLst>
          </p:cNvPr>
          <p:cNvSpPr txBox="1"/>
          <p:nvPr/>
        </p:nvSpPr>
        <p:spPr>
          <a:xfrm>
            <a:off x="9499025" y="1469636"/>
            <a:ext cx="748924" cy="1154162"/>
          </a:xfrm>
          <a:prstGeom prst="rect">
            <a:avLst/>
          </a:prstGeom>
          <a:noFill/>
        </p:spPr>
        <p:txBody>
          <a:bodyPr wrap="none" rtlCol="0" anchor="ctr">
            <a:spAutoFit/>
          </a:bodyPr>
          <a:lstStyle/>
          <a:p>
            <a:pPr algn="ctr"/>
            <a:r>
              <a:rPr lang="en-US" sz="6900" b="1">
                <a:solidFill>
                  <a:schemeClr val="tx2"/>
                </a:solidFill>
                <a:latin typeface="Poppins" pitchFamily="2" charset="77"/>
                <a:cs typeface="Poppins" pitchFamily="2" charset="77"/>
              </a:rPr>
              <a:t>6</a:t>
            </a:r>
          </a:p>
        </p:txBody>
      </p:sp>
      <p:graphicFrame>
        <p:nvGraphicFramePr>
          <p:cNvPr id="12" name="Chart 11">
            <a:extLst>
              <a:ext uri="{FF2B5EF4-FFF2-40B4-BE49-F238E27FC236}">
                <a16:creationId xmlns:a16="http://schemas.microsoft.com/office/drawing/2014/main" id="{617A23D1-AE67-AE48-8197-ACDC1BD0325F}"/>
              </a:ext>
            </a:extLst>
          </p:cNvPr>
          <p:cNvGraphicFramePr/>
          <p:nvPr/>
        </p:nvGraphicFramePr>
        <p:xfrm>
          <a:off x="7481923" y="1926397"/>
          <a:ext cx="1493190" cy="1495460"/>
        </p:xfrm>
        <a:graphic>
          <a:graphicData uri="http://schemas.openxmlformats.org/drawingml/2006/chart">
            <c:chart xmlns:c="http://schemas.openxmlformats.org/drawingml/2006/chart" xmlns:r="http://schemas.openxmlformats.org/officeDocument/2006/relationships" r:id="rId5"/>
          </a:graphicData>
        </a:graphic>
      </p:graphicFrame>
      <p:sp>
        <p:nvSpPr>
          <p:cNvPr id="16" name="Subtitle 2">
            <a:extLst>
              <a:ext uri="{FF2B5EF4-FFF2-40B4-BE49-F238E27FC236}">
                <a16:creationId xmlns:a16="http://schemas.microsoft.com/office/drawing/2014/main" id="{4C0D870E-2DA9-D84A-835F-393E7BAE2175}"/>
              </a:ext>
            </a:extLst>
          </p:cNvPr>
          <p:cNvSpPr txBox="1">
            <a:spLocks/>
          </p:cNvSpPr>
          <p:nvPr/>
        </p:nvSpPr>
        <p:spPr>
          <a:xfrm>
            <a:off x="110898" y="2868844"/>
            <a:ext cx="3567629" cy="2443682"/>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r>
              <a:rPr lang="en-US" sz="2400" b="1">
                <a:latin typeface="Arial" panose="020B0604020202020204" pitchFamily="34" charset="0"/>
                <a:cs typeface="Arial" panose="020B0604020202020204" pitchFamily="34" charset="0"/>
              </a:rPr>
              <a:t>Inform Decision-Making: </a:t>
            </a:r>
          </a:p>
          <a:p>
            <a:r>
              <a:rPr lang="en-US" sz="2000">
                <a:solidFill>
                  <a:schemeClr val="tx1"/>
                </a:solidFill>
                <a:latin typeface="Arial" panose="020B0604020202020204" pitchFamily="34" charset="0"/>
                <a:cs typeface="Arial" panose="020B0604020202020204" pitchFamily="34" charset="0"/>
              </a:rPr>
              <a:t>Use collected data to identify gaps, inform strategic planning, and allocate resources efficiently</a:t>
            </a:r>
            <a:r>
              <a:rPr lang="en-US" sz="2000">
                <a:solidFill>
                  <a:schemeClr val="tx1"/>
                </a:solidFill>
              </a:rPr>
              <a:t>.</a:t>
            </a:r>
          </a:p>
        </p:txBody>
      </p:sp>
      <p:sp>
        <p:nvSpPr>
          <p:cNvPr id="19" name="Subtitle 2">
            <a:extLst>
              <a:ext uri="{FF2B5EF4-FFF2-40B4-BE49-F238E27FC236}">
                <a16:creationId xmlns:a16="http://schemas.microsoft.com/office/drawing/2014/main" id="{CEF7E9AD-8BBC-8844-A9D0-5522E7A92484}"/>
              </a:ext>
            </a:extLst>
          </p:cNvPr>
          <p:cNvSpPr txBox="1">
            <a:spLocks/>
          </p:cNvSpPr>
          <p:nvPr/>
        </p:nvSpPr>
        <p:spPr>
          <a:xfrm>
            <a:off x="3993931" y="2902835"/>
            <a:ext cx="4214648" cy="2129750"/>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r>
              <a:rPr lang="en-US" b="1">
                <a:latin typeface="Arial" panose="020B0604020202020204" pitchFamily="34" charset="0"/>
                <a:cs typeface="Arial" panose="020B0604020202020204" pitchFamily="34" charset="0"/>
              </a:rPr>
              <a:t>Support Achievement of 95-95-95 Targets: </a:t>
            </a:r>
          </a:p>
          <a:p>
            <a:r>
              <a:rPr lang="en-US" sz="2000">
                <a:solidFill>
                  <a:schemeClr val="tx1"/>
                </a:solidFill>
                <a:latin typeface="Arial" panose="020B0604020202020204" pitchFamily="34" charset="0"/>
                <a:cs typeface="Arial" panose="020B0604020202020204" pitchFamily="34" charset="0"/>
              </a:rPr>
              <a:t>Monitor indicators related to </a:t>
            </a:r>
            <a:r>
              <a:rPr lang="en-US" sz="2000" b="1">
                <a:solidFill>
                  <a:schemeClr val="tx1"/>
                </a:solidFill>
                <a:latin typeface="Arial" panose="020B0604020202020204" pitchFamily="34" charset="0"/>
                <a:cs typeface="Arial" panose="020B0604020202020204" pitchFamily="34" charset="0"/>
              </a:rPr>
              <a:t>testing, treatment, and viral suppression.</a:t>
            </a:r>
          </a:p>
          <a:p>
            <a:endParaRPr lang="en-US" sz="2000">
              <a:solidFill>
                <a:schemeClr val="tx1"/>
              </a:solidFill>
              <a:latin typeface="Arial" panose="020B0604020202020204" pitchFamily="34" charset="0"/>
              <a:cs typeface="Arial" panose="020B0604020202020204" pitchFamily="34" charset="0"/>
            </a:endParaRPr>
          </a:p>
        </p:txBody>
      </p:sp>
      <p:sp>
        <p:nvSpPr>
          <p:cNvPr id="21" name="Subtitle 2">
            <a:extLst>
              <a:ext uri="{FF2B5EF4-FFF2-40B4-BE49-F238E27FC236}">
                <a16:creationId xmlns:a16="http://schemas.microsoft.com/office/drawing/2014/main" id="{AB6ADBC2-C7C9-6043-A1A6-AAB7D70E2E39}"/>
              </a:ext>
            </a:extLst>
          </p:cNvPr>
          <p:cNvSpPr txBox="1">
            <a:spLocks/>
          </p:cNvSpPr>
          <p:nvPr/>
        </p:nvSpPr>
        <p:spPr>
          <a:xfrm>
            <a:off x="8523982" y="2965096"/>
            <a:ext cx="3668018" cy="2806859"/>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r>
              <a:rPr lang="en-US" sz="2400" b="1">
                <a:latin typeface="Arial" panose="020B0604020202020204" pitchFamily="34" charset="0"/>
                <a:cs typeface="Arial" panose="020B0604020202020204" pitchFamily="34" charset="0"/>
              </a:rPr>
              <a:t>Enhance Data Quality and Use:</a:t>
            </a:r>
          </a:p>
          <a:p>
            <a:r>
              <a:rPr lang="en-US" sz="2000">
                <a:solidFill>
                  <a:schemeClr val="tx1"/>
                </a:solidFill>
                <a:latin typeface="Arial" panose="020B0604020202020204" pitchFamily="34" charset="0"/>
                <a:cs typeface="Arial" panose="020B0604020202020204" pitchFamily="34" charset="0"/>
              </a:rPr>
              <a:t>Implement robust data quality assurance processes and promote the use of high-quality data for informed decision-making at all levels.</a:t>
            </a:r>
          </a:p>
        </p:txBody>
      </p:sp>
      <p:sp>
        <p:nvSpPr>
          <p:cNvPr id="22" name="Rectangle 21">
            <a:extLst>
              <a:ext uri="{FF2B5EF4-FFF2-40B4-BE49-F238E27FC236}">
                <a16:creationId xmlns:a16="http://schemas.microsoft.com/office/drawing/2014/main" id="{2E1FC0D9-113F-904B-A552-8C649A123B02}"/>
              </a:ext>
            </a:extLst>
          </p:cNvPr>
          <p:cNvSpPr/>
          <p:nvPr/>
        </p:nvSpPr>
        <p:spPr>
          <a:xfrm>
            <a:off x="1214906" y="6066426"/>
            <a:ext cx="1232116" cy="13716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Lato Light" panose="020F0502020204030203" pitchFamily="34" charset="0"/>
            </a:endParaRPr>
          </a:p>
        </p:txBody>
      </p:sp>
      <p:sp>
        <p:nvSpPr>
          <p:cNvPr id="24" name="Rectangle 23">
            <a:extLst>
              <a:ext uri="{FF2B5EF4-FFF2-40B4-BE49-F238E27FC236}">
                <a16:creationId xmlns:a16="http://schemas.microsoft.com/office/drawing/2014/main" id="{47A67B59-19CC-EC45-9327-A7DC6C2C32ED}"/>
              </a:ext>
            </a:extLst>
          </p:cNvPr>
          <p:cNvSpPr/>
          <p:nvPr/>
        </p:nvSpPr>
        <p:spPr>
          <a:xfrm>
            <a:off x="5479942" y="6066567"/>
            <a:ext cx="1232116" cy="1371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Lato Light" panose="020F0502020204030203" pitchFamily="34" charset="0"/>
            </a:endParaRPr>
          </a:p>
        </p:txBody>
      </p:sp>
      <p:sp>
        <p:nvSpPr>
          <p:cNvPr id="26" name="Rectangle 25">
            <a:extLst>
              <a:ext uri="{FF2B5EF4-FFF2-40B4-BE49-F238E27FC236}">
                <a16:creationId xmlns:a16="http://schemas.microsoft.com/office/drawing/2014/main" id="{D49F4A4D-0F6D-AD4F-89FE-9981944BDA06}"/>
              </a:ext>
            </a:extLst>
          </p:cNvPr>
          <p:cNvSpPr/>
          <p:nvPr/>
        </p:nvSpPr>
        <p:spPr>
          <a:xfrm>
            <a:off x="9709127" y="6066426"/>
            <a:ext cx="1232116" cy="13716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Lato Light" panose="020F0502020204030203" pitchFamily="34" charset="0"/>
            </a:endParaRPr>
          </a:p>
        </p:txBody>
      </p:sp>
    </p:spTree>
    <p:extLst>
      <p:ext uri="{BB962C8B-B14F-4D97-AF65-F5344CB8AC3E}">
        <p14:creationId xmlns:p14="http://schemas.microsoft.com/office/powerpoint/2010/main" val="2487497151"/>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a:extLst>
              <a:ext uri="{FF2B5EF4-FFF2-40B4-BE49-F238E27FC236}">
                <a16:creationId xmlns:a16="http://schemas.microsoft.com/office/drawing/2014/main" id="{14FA524E-7E82-A09D-1C0B-38439A9EABEB}"/>
              </a:ext>
            </a:extLst>
          </p:cNvPr>
          <p:cNvSpPr>
            <a:spLocks noGrp="1"/>
          </p:cNvSpPr>
          <p:nvPr>
            <p:ph type="title"/>
          </p:nvPr>
        </p:nvSpPr>
        <p:spPr>
          <a:xfrm>
            <a:off x="1868489" y="169497"/>
            <a:ext cx="8229600" cy="1143000"/>
          </a:xfrm>
        </p:spPr>
        <p:txBody>
          <a:bodyPr>
            <a:normAutofit fontScale="90000"/>
          </a:bodyPr>
          <a:lstStyle/>
          <a:p>
            <a:pPr algn="ctr" eaLnBrk="1" hangingPunct="1"/>
            <a:r>
              <a:rPr lang="en-US" altLang="en-US" sz="3600" b="1" dirty="0">
                <a:solidFill>
                  <a:srgbClr val="002060"/>
                </a:solidFill>
                <a:latin typeface="Poppins" panose="00000500000000000000" pitchFamily="2" charset="0"/>
                <a:ea typeface="Angsana New" panose="020B0502040204020203" pitchFamily="18" charset="-34"/>
                <a:cs typeface="Poppins" panose="00000500000000000000" pitchFamily="2" charset="0"/>
              </a:rPr>
              <a:t>Results Chain or Logical Framework</a:t>
            </a:r>
            <a:endParaRPr lang="en-US" altLang="en-US" sz="3600" dirty="0">
              <a:solidFill>
                <a:srgbClr val="002060"/>
              </a:solidFill>
              <a:latin typeface="Poppins" panose="00000500000000000000" pitchFamily="2" charset="0"/>
              <a:cs typeface="Poppins" panose="00000500000000000000" pitchFamily="2" charset="0"/>
            </a:endParaRPr>
          </a:p>
        </p:txBody>
      </p:sp>
      <p:grpSp>
        <p:nvGrpSpPr>
          <p:cNvPr id="10243" name="Group 81">
            <a:extLst>
              <a:ext uri="{FF2B5EF4-FFF2-40B4-BE49-F238E27FC236}">
                <a16:creationId xmlns:a16="http://schemas.microsoft.com/office/drawing/2014/main" id="{9DDB11A8-6506-C719-FED8-19B335FC166A}"/>
              </a:ext>
            </a:extLst>
          </p:cNvPr>
          <p:cNvGrpSpPr>
            <a:grpSpLocks/>
          </p:cNvGrpSpPr>
          <p:nvPr/>
        </p:nvGrpSpPr>
        <p:grpSpPr bwMode="auto">
          <a:xfrm>
            <a:off x="3470275" y="6451600"/>
            <a:ext cx="7265988" cy="382588"/>
            <a:chOff x="3348986" y="4260939"/>
            <a:chExt cx="12977314" cy="364015"/>
          </a:xfrm>
        </p:grpSpPr>
        <p:sp>
          <p:nvSpPr>
            <p:cNvPr id="83" name="Rectangle 82">
              <a:extLst>
                <a:ext uri="{FF2B5EF4-FFF2-40B4-BE49-F238E27FC236}">
                  <a16:creationId xmlns:a16="http://schemas.microsoft.com/office/drawing/2014/main" id="{6BBD62D3-4746-62B1-6206-368B6574F43B}"/>
                </a:ext>
              </a:extLst>
            </p:cNvPr>
            <p:cNvSpPr/>
            <p:nvPr/>
          </p:nvSpPr>
          <p:spPr>
            <a:xfrm>
              <a:off x="3348986" y="4402920"/>
              <a:ext cx="12977314" cy="222034"/>
            </a:xfrm>
            <a:prstGeom prst="rect">
              <a:avLst/>
            </a:prstGeom>
            <a:solidFill>
              <a:srgbClr val="04A597"/>
            </a:solidFill>
            <a:ln w="12700" cap="flat" cmpd="sng" algn="ctr">
              <a:noFill/>
              <a:prstDash val="solid"/>
              <a:miter lim="800000"/>
            </a:ln>
            <a:effectLst/>
          </p:spPr>
          <p:txBody>
            <a:bodyPr anchor="ctr"/>
            <a:lstStyle/>
            <a:p>
              <a:pPr algn="ctr">
                <a:defRPr/>
              </a:pPr>
              <a:endParaRPr lang="en-US" sz="1350" kern="0">
                <a:solidFill>
                  <a:prstClr val="white"/>
                </a:solidFill>
                <a:cs typeface="Arial" panose="020B0604020202020204" pitchFamily="34" charset="0"/>
              </a:endParaRPr>
            </a:p>
          </p:txBody>
        </p:sp>
        <p:sp>
          <p:nvSpPr>
            <p:cNvPr id="84" name="Rounded Rectangle 83">
              <a:extLst>
                <a:ext uri="{FF2B5EF4-FFF2-40B4-BE49-F238E27FC236}">
                  <a16:creationId xmlns:a16="http://schemas.microsoft.com/office/drawing/2014/main" id="{1BD055A5-B7C9-3C85-C93D-C8FAE62D61BB}"/>
                </a:ext>
              </a:extLst>
            </p:cNvPr>
            <p:cNvSpPr/>
            <p:nvPr/>
          </p:nvSpPr>
          <p:spPr>
            <a:xfrm>
              <a:off x="3348986" y="4260939"/>
              <a:ext cx="1485714" cy="92137"/>
            </a:xfrm>
            <a:prstGeom prst="roundRect">
              <a:avLst>
                <a:gd name="adj" fmla="val 50000"/>
              </a:avLst>
            </a:prstGeom>
            <a:solidFill>
              <a:srgbClr val="04A597"/>
            </a:solidFill>
            <a:ln w="12700" cap="flat" cmpd="sng" algn="ctr">
              <a:noFill/>
              <a:prstDash val="solid"/>
              <a:miter lim="800000"/>
            </a:ln>
            <a:effectLst/>
          </p:spPr>
          <p:txBody>
            <a:bodyPr anchor="ctr"/>
            <a:lstStyle/>
            <a:p>
              <a:pPr algn="ctr">
                <a:defRPr/>
              </a:pPr>
              <a:endParaRPr lang="en-US" sz="1350" kern="0">
                <a:solidFill>
                  <a:prstClr val="white"/>
                </a:solidFill>
                <a:cs typeface="Arial" panose="020B0604020202020204" pitchFamily="34" charset="0"/>
              </a:endParaRPr>
            </a:p>
          </p:txBody>
        </p:sp>
      </p:grpSp>
      <p:grpSp>
        <p:nvGrpSpPr>
          <p:cNvPr id="10244" name="Group 84">
            <a:extLst>
              <a:ext uri="{FF2B5EF4-FFF2-40B4-BE49-F238E27FC236}">
                <a16:creationId xmlns:a16="http://schemas.microsoft.com/office/drawing/2014/main" id="{FFF1585B-8D02-2BAF-9711-D30820C206F6}"/>
              </a:ext>
            </a:extLst>
          </p:cNvPr>
          <p:cNvGrpSpPr>
            <a:grpSpLocks/>
          </p:cNvGrpSpPr>
          <p:nvPr/>
        </p:nvGrpSpPr>
        <p:grpSpPr bwMode="auto">
          <a:xfrm>
            <a:off x="4098925" y="6013451"/>
            <a:ext cx="6630988" cy="663575"/>
            <a:chOff x="3348990" y="4260939"/>
            <a:chExt cx="11843379" cy="632529"/>
          </a:xfrm>
        </p:grpSpPr>
        <p:sp>
          <p:nvSpPr>
            <p:cNvPr id="86" name="Rectangle 85">
              <a:extLst>
                <a:ext uri="{FF2B5EF4-FFF2-40B4-BE49-F238E27FC236}">
                  <a16:creationId xmlns:a16="http://schemas.microsoft.com/office/drawing/2014/main" id="{C553B7D1-3649-CD4D-DEDC-97BA5EEB2445}"/>
                </a:ext>
              </a:extLst>
            </p:cNvPr>
            <p:cNvSpPr/>
            <p:nvPr/>
          </p:nvSpPr>
          <p:spPr>
            <a:xfrm>
              <a:off x="3408534" y="4403182"/>
              <a:ext cx="11783835" cy="490286"/>
            </a:xfrm>
            <a:prstGeom prst="rect">
              <a:avLst/>
            </a:prstGeom>
            <a:solidFill>
              <a:srgbClr val="04A597"/>
            </a:solidFill>
            <a:ln w="12700" cap="flat" cmpd="sng" algn="ctr">
              <a:noFill/>
              <a:prstDash val="solid"/>
              <a:miter lim="800000"/>
            </a:ln>
            <a:effectLst/>
          </p:spPr>
          <p:txBody>
            <a:bodyPr anchor="ctr"/>
            <a:lstStyle/>
            <a:p>
              <a:pPr algn="ctr">
                <a:defRPr/>
              </a:pPr>
              <a:endParaRPr lang="en-US" sz="1350" kern="0">
                <a:solidFill>
                  <a:prstClr val="white"/>
                </a:solidFill>
                <a:cs typeface="Arial" panose="020B0604020202020204" pitchFamily="34" charset="0"/>
              </a:endParaRPr>
            </a:p>
          </p:txBody>
        </p:sp>
        <p:sp>
          <p:nvSpPr>
            <p:cNvPr id="87" name="Rounded Rectangle 86">
              <a:extLst>
                <a:ext uri="{FF2B5EF4-FFF2-40B4-BE49-F238E27FC236}">
                  <a16:creationId xmlns:a16="http://schemas.microsoft.com/office/drawing/2014/main" id="{A2B4527E-4BE6-AE1D-FB38-1FE486582410}"/>
                </a:ext>
              </a:extLst>
            </p:cNvPr>
            <p:cNvSpPr/>
            <p:nvPr/>
          </p:nvSpPr>
          <p:spPr>
            <a:xfrm>
              <a:off x="3348990" y="4260939"/>
              <a:ext cx="1485739" cy="90794"/>
            </a:xfrm>
            <a:prstGeom prst="roundRect">
              <a:avLst>
                <a:gd name="adj" fmla="val 50000"/>
              </a:avLst>
            </a:prstGeom>
            <a:solidFill>
              <a:srgbClr val="04A597"/>
            </a:solidFill>
            <a:ln w="12700" cap="flat" cmpd="sng" algn="ctr">
              <a:noFill/>
              <a:prstDash val="solid"/>
              <a:miter lim="800000"/>
            </a:ln>
            <a:effectLst/>
          </p:spPr>
          <p:txBody>
            <a:bodyPr anchor="ctr"/>
            <a:lstStyle/>
            <a:p>
              <a:pPr algn="ctr">
                <a:defRPr/>
              </a:pPr>
              <a:endParaRPr lang="en-US" sz="1350" kern="0">
                <a:solidFill>
                  <a:prstClr val="white"/>
                </a:solidFill>
                <a:cs typeface="Arial" panose="020B0604020202020204" pitchFamily="34" charset="0"/>
              </a:endParaRPr>
            </a:p>
          </p:txBody>
        </p:sp>
      </p:grpSp>
      <p:grpSp>
        <p:nvGrpSpPr>
          <p:cNvPr id="10245" name="Group 87">
            <a:extLst>
              <a:ext uri="{FF2B5EF4-FFF2-40B4-BE49-F238E27FC236}">
                <a16:creationId xmlns:a16="http://schemas.microsoft.com/office/drawing/2014/main" id="{DD2A8931-F9FD-BC11-64AF-163F6D0C7A34}"/>
              </a:ext>
            </a:extLst>
          </p:cNvPr>
          <p:cNvGrpSpPr>
            <a:grpSpLocks/>
          </p:cNvGrpSpPr>
          <p:nvPr/>
        </p:nvGrpSpPr>
        <p:grpSpPr bwMode="auto">
          <a:xfrm>
            <a:off x="4725989" y="5437188"/>
            <a:ext cx="5997575" cy="766762"/>
            <a:chOff x="3348990" y="4247687"/>
            <a:chExt cx="10709450" cy="728719"/>
          </a:xfrm>
        </p:grpSpPr>
        <p:sp>
          <p:nvSpPr>
            <p:cNvPr id="89" name="Rectangle 88">
              <a:extLst>
                <a:ext uri="{FF2B5EF4-FFF2-40B4-BE49-F238E27FC236}">
                  <a16:creationId xmlns:a16="http://schemas.microsoft.com/office/drawing/2014/main" id="{BD0F905A-7987-E4C2-52A6-DEF005FDC500}"/>
                </a:ext>
              </a:extLst>
            </p:cNvPr>
            <p:cNvSpPr/>
            <p:nvPr/>
          </p:nvSpPr>
          <p:spPr>
            <a:xfrm>
              <a:off x="3408518" y="4403086"/>
              <a:ext cx="10649922" cy="573320"/>
            </a:xfrm>
            <a:prstGeom prst="rect">
              <a:avLst/>
            </a:prstGeom>
            <a:solidFill>
              <a:srgbClr val="1890AD"/>
            </a:solidFill>
            <a:ln w="12700" cap="flat" cmpd="sng" algn="ctr">
              <a:noFill/>
              <a:prstDash val="solid"/>
              <a:miter lim="800000"/>
            </a:ln>
            <a:effectLst/>
          </p:spPr>
          <p:txBody>
            <a:bodyPr anchor="ctr"/>
            <a:lstStyle/>
            <a:p>
              <a:pPr algn="ctr">
                <a:defRPr/>
              </a:pPr>
              <a:endParaRPr lang="en-US" sz="1350" kern="0" dirty="0">
                <a:solidFill>
                  <a:prstClr val="white"/>
                </a:solidFill>
                <a:cs typeface="Arial" panose="020B0604020202020204" pitchFamily="34" charset="0"/>
              </a:endParaRPr>
            </a:p>
          </p:txBody>
        </p:sp>
        <p:sp>
          <p:nvSpPr>
            <p:cNvPr id="90" name="Rounded Rectangle 89">
              <a:extLst>
                <a:ext uri="{FF2B5EF4-FFF2-40B4-BE49-F238E27FC236}">
                  <a16:creationId xmlns:a16="http://schemas.microsoft.com/office/drawing/2014/main" id="{137CD3B0-B223-F066-F406-2EF4F89071DE}"/>
                </a:ext>
              </a:extLst>
            </p:cNvPr>
            <p:cNvSpPr/>
            <p:nvPr/>
          </p:nvSpPr>
          <p:spPr>
            <a:xfrm>
              <a:off x="3348990" y="4247687"/>
              <a:ext cx="1485376" cy="92032"/>
            </a:xfrm>
            <a:prstGeom prst="roundRect">
              <a:avLst>
                <a:gd name="adj" fmla="val 50000"/>
              </a:avLst>
            </a:prstGeom>
            <a:solidFill>
              <a:srgbClr val="1890AD"/>
            </a:solidFill>
            <a:ln w="12700" cap="flat" cmpd="sng" algn="ctr">
              <a:noFill/>
              <a:prstDash val="solid"/>
              <a:miter lim="800000"/>
            </a:ln>
            <a:effectLst/>
          </p:spPr>
          <p:txBody>
            <a:bodyPr anchor="ctr"/>
            <a:lstStyle/>
            <a:p>
              <a:pPr algn="ctr">
                <a:defRPr/>
              </a:pPr>
              <a:endParaRPr lang="en-US" sz="1350" kern="0">
                <a:solidFill>
                  <a:prstClr val="white"/>
                </a:solidFill>
                <a:cs typeface="Arial" panose="020B0604020202020204" pitchFamily="34" charset="0"/>
              </a:endParaRPr>
            </a:p>
          </p:txBody>
        </p:sp>
      </p:grpSp>
      <p:grpSp>
        <p:nvGrpSpPr>
          <p:cNvPr id="10246" name="Group 90">
            <a:extLst>
              <a:ext uri="{FF2B5EF4-FFF2-40B4-BE49-F238E27FC236}">
                <a16:creationId xmlns:a16="http://schemas.microsoft.com/office/drawing/2014/main" id="{9E64D4C2-CB00-8546-AD0B-6466559A3D80}"/>
              </a:ext>
            </a:extLst>
          </p:cNvPr>
          <p:cNvGrpSpPr>
            <a:grpSpLocks/>
          </p:cNvGrpSpPr>
          <p:nvPr/>
        </p:nvGrpSpPr>
        <p:grpSpPr bwMode="auto">
          <a:xfrm>
            <a:off x="5354639" y="4951413"/>
            <a:ext cx="5360987" cy="665162"/>
            <a:chOff x="3348990" y="4260939"/>
            <a:chExt cx="9575517" cy="632529"/>
          </a:xfrm>
        </p:grpSpPr>
        <p:sp>
          <p:nvSpPr>
            <p:cNvPr id="92" name="Rectangle 91">
              <a:extLst>
                <a:ext uri="{FF2B5EF4-FFF2-40B4-BE49-F238E27FC236}">
                  <a16:creationId xmlns:a16="http://schemas.microsoft.com/office/drawing/2014/main" id="{436331DC-E420-F0C4-BF72-F0818C807265}"/>
                </a:ext>
              </a:extLst>
            </p:cNvPr>
            <p:cNvSpPr/>
            <p:nvPr/>
          </p:nvSpPr>
          <p:spPr>
            <a:xfrm>
              <a:off x="3408535" y="4402843"/>
              <a:ext cx="9515972" cy="490625"/>
            </a:xfrm>
            <a:prstGeom prst="rect">
              <a:avLst/>
            </a:prstGeom>
            <a:solidFill>
              <a:srgbClr val="1890AD"/>
            </a:solidFill>
            <a:ln w="12700" cap="flat" cmpd="sng" algn="ctr">
              <a:noFill/>
              <a:prstDash val="solid"/>
              <a:miter lim="800000"/>
            </a:ln>
            <a:effectLst/>
          </p:spPr>
          <p:txBody>
            <a:bodyPr anchor="ctr"/>
            <a:lstStyle/>
            <a:p>
              <a:pPr algn="ctr">
                <a:defRPr/>
              </a:pPr>
              <a:endParaRPr lang="en-US" sz="1350" kern="0">
                <a:solidFill>
                  <a:prstClr val="white"/>
                </a:solidFill>
                <a:cs typeface="Arial" panose="020B0604020202020204" pitchFamily="34" charset="0"/>
              </a:endParaRPr>
            </a:p>
          </p:txBody>
        </p:sp>
        <p:sp>
          <p:nvSpPr>
            <p:cNvPr id="93" name="Rounded Rectangle 92">
              <a:extLst>
                <a:ext uri="{FF2B5EF4-FFF2-40B4-BE49-F238E27FC236}">
                  <a16:creationId xmlns:a16="http://schemas.microsoft.com/office/drawing/2014/main" id="{FFB9298B-D417-A6A2-5EB9-C96670143CAD}"/>
                </a:ext>
              </a:extLst>
            </p:cNvPr>
            <p:cNvSpPr/>
            <p:nvPr/>
          </p:nvSpPr>
          <p:spPr>
            <a:xfrm>
              <a:off x="3348990" y="4260939"/>
              <a:ext cx="1485807" cy="92086"/>
            </a:xfrm>
            <a:prstGeom prst="roundRect">
              <a:avLst>
                <a:gd name="adj" fmla="val 50000"/>
              </a:avLst>
            </a:prstGeom>
            <a:solidFill>
              <a:srgbClr val="1890AD"/>
            </a:solidFill>
            <a:ln w="12700" cap="flat" cmpd="sng" algn="ctr">
              <a:noFill/>
              <a:prstDash val="solid"/>
              <a:miter lim="800000"/>
            </a:ln>
            <a:effectLst/>
          </p:spPr>
          <p:txBody>
            <a:bodyPr anchor="ctr"/>
            <a:lstStyle/>
            <a:p>
              <a:pPr algn="ctr">
                <a:defRPr/>
              </a:pPr>
              <a:endParaRPr lang="en-US" sz="1350" kern="0" dirty="0">
                <a:solidFill>
                  <a:prstClr val="white"/>
                </a:solidFill>
                <a:cs typeface="Arial" panose="020B0604020202020204" pitchFamily="34" charset="0"/>
              </a:endParaRPr>
            </a:p>
          </p:txBody>
        </p:sp>
      </p:grpSp>
      <p:grpSp>
        <p:nvGrpSpPr>
          <p:cNvPr id="10247" name="Group 93">
            <a:extLst>
              <a:ext uri="{FF2B5EF4-FFF2-40B4-BE49-F238E27FC236}">
                <a16:creationId xmlns:a16="http://schemas.microsoft.com/office/drawing/2014/main" id="{87FFAD17-DFA5-B847-3607-A6623FFC43AE}"/>
              </a:ext>
            </a:extLst>
          </p:cNvPr>
          <p:cNvGrpSpPr>
            <a:grpSpLocks/>
          </p:cNvGrpSpPr>
          <p:nvPr/>
        </p:nvGrpSpPr>
        <p:grpSpPr bwMode="auto">
          <a:xfrm>
            <a:off x="5983289" y="4451351"/>
            <a:ext cx="4725987" cy="665163"/>
            <a:chOff x="3348990" y="4260939"/>
            <a:chExt cx="8441585" cy="632529"/>
          </a:xfrm>
        </p:grpSpPr>
        <p:sp>
          <p:nvSpPr>
            <p:cNvPr id="95" name="Rectangle 94">
              <a:extLst>
                <a:ext uri="{FF2B5EF4-FFF2-40B4-BE49-F238E27FC236}">
                  <a16:creationId xmlns:a16="http://schemas.microsoft.com/office/drawing/2014/main" id="{12E9B756-6119-602D-393E-2E20600B29F8}"/>
                </a:ext>
              </a:extLst>
            </p:cNvPr>
            <p:cNvSpPr/>
            <p:nvPr/>
          </p:nvSpPr>
          <p:spPr>
            <a:xfrm>
              <a:off x="3408537" y="4402843"/>
              <a:ext cx="8382038" cy="490625"/>
            </a:xfrm>
            <a:prstGeom prst="rect">
              <a:avLst/>
            </a:prstGeom>
            <a:solidFill>
              <a:srgbClr val="3E74AB"/>
            </a:solidFill>
            <a:ln w="12700" cap="flat" cmpd="sng" algn="ctr">
              <a:noFill/>
              <a:prstDash val="solid"/>
              <a:miter lim="800000"/>
            </a:ln>
            <a:effectLst/>
          </p:spPr>
          <p:txBody>
            <a:bodyPr anchor="ctr"/>
            <a:lstStyle/>
            <a:p>
              <a:pPr algn="ctr">
                <a:defRPr/>
              </a:pPr>
              <a:endParaRPr lang="en-US" sz="1350" kern="0">
                <a:solidFill>
                  <a:prstClr val="white"/>
                </a:solidFill>
                <a:cs typeface="Arial" panose="020B0604020202020204" pitchFamily="34" charset="0"/>
              </a:endParaRPr>
            </a:p>
          </p:txBody>
        </p:sp>
        <p:sp>
          <p:nvSpPr>
            <p:cNvPr id="96" name="Rounded Rectangle 95">
              <a:extLst>
                <a:ext uri="{FF2B5EF4-FFF2-40B4-BE49-F238E27FC236}">
                  <a16:creationId xmlns:a16="http://schemas.microsoft.com/office/drawing/2014/main" id="{27A99CCD-EC9A-580A-14F9-69A4A749A945}"/>
                </a:ext>
              </a:extLst>
            </p:cNvPr>
            <p:cNvSpPr/>
            <p:nvPr/>
          </p:nvSpPr>
          <p:spPr>
            <a:xfrm>
              <a:off x="3348990" y="4260939"/>
              <a:ext cx="1485855" cy="92087"/>
            </a:xfrm>
            <a:prstGeom prst="roundRect">
              <a:avLst>
                <a:gd name="adj" fmla="val 50000"/>
              </a:avLst>
            </a:prstGeom>
            <a:solidFill>
              <a:srgbClr val="3E74AB"/>
            </a:solidFill>
            <a:ln w="12700" cap="flat" cmpd="sng" algn="ctr">
              <a:noFill/>
              <a:prstDash val="solid"/>
              <a:miter lim="800000"/>
            </a:ln>
            <a:effectLst/>
          </p:spPr>
          <p:txBody>
            <a:bodyPr anchor="ctr"/>
            <a:lstStyle/>
            <a:p>
              <a:pPr algn="ctr">
                <a:defRPr/>
              </a:pPr>
              <a:endParaRPr lang="en-US" sz="1350" kern="0">
                <a:solidFill>
                  <a:prstClr val="white"/>
                </a:solidFill>
                <a:cs typeface="Arial" panose="020B0604020202020204" pitchFamily="34" charset="0"/>
              </a:endParaRPr>
            </a:p>
          </p:txBody>
        </p:sp>
      </p:grpSp>
      <p:grpSp>
        <p:nvGrpSpPr>
          <p:cNvPr id="10248" name="Group 96">
            <a:extLst>
              <a:ext uri="{FF2B5EF4-FFF2-40B4-BE49-F238E27FC236}">
                <a16:creationId xmlns:a16="http://schemas.microsoft.com/office/drawing/2014/main" id="{AF578D28-5BD2-02AB-E286-4001CCB16752}"/>
              </a:ext>
            </a:extLst>
          </p:cNvPr>
          <p:cNvGrpSpPr>
            <a:grpSpLocks/>
          </p:cNvGrpSpPr>
          <p:nvPr/>
        </p:nvGrpSpPr>
        <p:grpSpPr bwMode="auto">
          <a:xfrm>
            <a:off x="6611939" y="3949700"/>
            <a:ext cx="4090987" cy="666750"/>
            <a:chOff x="3348990" y="4260336"/>
            <a:chExt cx="7307655" cy="633132"/>
          </a:xfrm>
        </p:grpSpPr>
        <p:sp>
          <p:nvSpPr>
            <p:cNvPr id="98" name="Rectangle 97">
              <a:extLst>
                <a:ext uri="{FF2B5EF4-FFF2-40B4-BE49-F238E27FC236}">
                  <a16:creationId xmlns:a16="http://schemas.microsoft.com/office/drawing/2014/main" id="{18D904E8-5E46-4608-7BDB-F95BD5D63713}"/>
                </a:ext>
              </a:extLst>
            </p:cNvPr>
            <p:cNvSpPr/>
            <p:nvPr/>
          </p:nvSpPr>
          <p:spPr>
            <a:xfrm>
              <a:off x="3408539" y="4403545"/>
              <a:ext cx="7248106" cy="489923"/>
            </a:xfrm>
            <a:prstGeom prst="rect">
              <a:avLst/>
            </a:prstGeom>
            <a:solidFill>
              <a:srgbClr val="3E74AB"/>
            </a:solidFill>
            <a:ln w="12700" cap="flat" cmpd="sng" algn="ctr">
              <a:noFill/>
              <a:prstDash val="solid"/>
              <a:miter lim="800000"/>
            </a:ln>
            <a:effectLst/>
          </p:spPr>
          <p:txBody>
            <a:bodyPr anchor="ctr"/>
            <a:lstStyle/>
            <a:p>
              <a:pPr algn="ctr">
                <a:defRPr/>
              </a:pPr>
              <a:endParaRPr lang="en-US" sz="1350" kern="0">
                <a:solidFill>
                  <a:prstClr val="white"/>
                </a:solidFill>
                <a:cs typeface="Arial" panose="020B0604020202020204" pitchFamily="34" charset="0"/>
              </a:endParaRPr>
            </a:p>
          </p:txBody>
        </p:sp>
        <p:sp>
          <p:nvSpPr>
            <p:cNvPr id="99" name="Rounded Rectangle 98">
              <a:extLst>
                <a:ext uri="{FF2B5EF4-FFF2-40B4-BE49-F238E27FC236}">
                  <a16:creationId xmlns:a16="http://schemas.microsoft.com/office/drawing/2014/main" id="{036C657A-D522-E416-A622-D779B97F1373}"/>
                </a:ext>
              </a:extLst>
            </p:cNvPr>
            <p:cNvSpPr/>
            <p:nvPr/>
          </p:nvSpPr>
          <p:spPr>
            <a:xfrm>
              <a:off x="3348990" y="4260336"/>
              <a:ext cx="1485918" cy="91955"/>
            </a:xfrm>
            <a:prstGeom prst="roundRect">
              <a:avLst>
                <a:gd name="adj" fmla="val 50000"/>
              </a:avLst>
            </a:prstGeom>
            <a:solidFill>
              <a:srgbClr val="3E74AB"/>
            </a:solidFill>
            <a:ln w="12700" cap="flat" cmpd="sng" algn="ctr">
              <a:noFill/>
              <a:prstDash val="solid"/>
              <a:miter lim="800000"/>
            </a:ln>
            <a:effectLst/>
          </p:spPr>
          <p:txBody>
            <a:bodyPr anchor="ctr"/>
            <a:lstStyle/>
            <a:p>
              <a:pPr algn="ctr">
                <a:defRPr/>
              </a:pPr>
              <a:endParaRPr lang="en-US" sz="1350" kern="0" dirty="0">
                <a:solidFill>
                  <a:prstClr val="white"/>
                </a:solidFill>
                <a:cs typeface="Arial" panose="020B0604020202020204" pitchFamily="34" charset="0"/>
              </a:endParaRPr>
            </a:p>
          </p:txBody>
        </p:sp>
      </p:grpSp>
      <p:grpSp>
        <p:nvGrpSpPr>
          <p:cNvPr id="10249" name="Group 99">
            <a:extLst>
              <a:ext uri="{FF2B5EF4-FFF2-40B4-BE49-F238E27FC236}">
                <a16:creationId xmlns:a16="http://schemas.microsoft.com/office/drawing/2014/main" id="{C0632B9C-0CE1-6A4D-A235-D7919053C808}"/>
              </a:ext>
            </a:extLst>
          </p:cNvPr>
          <p:cNvGrpSpPr>
            <a:grpSpLocks/>
          </p:cNvGrpSpPr>
          <p:nvPr/>
        </p:nvGrpSpPr>
        <p:grpSpPr bwMode="auto">
          <a:xfrm>
            <a:off x="7239001" y="3451226"/>
            <a:ext cx="3457575" cy="663575"/>
            <a:chOff x="3348990" y="4260939"/>
            <a:chExt cx="6173725" cy="632529"/>
          </a:xfrm>
        </p:grpSpPr>
        <p:sp>
          <p:nvSpPr>
            <p:cNvPr id="101" name="Rectangle 100">
              <a:extLst>
                <a:ext uri="{FF2B5EF4-FFF2-40B4-BE49-F238E27FC236}">
                  <a16:creationId xmlns:a16="http://schemas.microsoft.com/office/drawing/2014/main" id="{4C64E092-9154-BEBC-1B7D-638E24C8306B}"/>
                </a:ext>
              </a:extLst>
            </p:cNvPr>
            <p:cNvSpPr/>
            <p:nvPr/>
          </p:nvSpPr>
          <p:spPr>
            <a:xfrm>
              <a:off x="3408517" y="4403182"/>
              <a:ext cx="6114198" cy="490286"/>
            </a:xfrm>
            <a:prstGeom prst="rect">
              <a:avLst/>
            </a:prstGeom>
            <a:solidFill>
              <a:srgbClr val="5F5CA2"/>
            </a:solidFill>
            <a:ln w="12700" cap="flat" cmpd="sng" algn="ctr">
              <a:noFill/>
              <a:prstDash val="solid"/>
              <a:miter lim="800000"/>
            </a:ln>
            <a:effectLst/>
          </p:spPr>
          <p:txBody>
            <a:bodyPr anchor="ctr"/>
            <a:lstStyle/>
            <a:p>
              <a:pPr algn="ctr">
                <a:defRPr/>
              </a:pPr>
              <a:endParaRPr lang="en-US" sz="1350" kern="0">
                <a:solidFill>
                  <a:prstClr val="white"/>
                </a:solidFill>
                <a:cs typeface="Arial" panose="020B0604020202020204" pitchFamily="34" charset="0"/>
              </a:endParaRPr>
            </a:p>
          </p:txBody>
        </p:sp>
        <p:sp>
          <p:nvSpPr>
            <p:cNvPr id="102" name="Rounded Rectangle 101">
              <a:extLst>
                <a:ext uri="{FF2B5EF4-FFF2-40B4-BE49-F238E27FC236}">
                  <a16:creationId xmlns:a16="http://schemas.microsoft.com/office/drawing/2014/main" id="{F260835A-6D48-231D-874D-724BC70898EF}"/>
                </a:ext>
              </a:extLst>
            </p:cNvPr>
            <p:cNvSpPr/>
            <p:nvPr/>
          </p:nvSpPr>
          <p:spPr>
            <a:xfrm>
              <a:off x="3348990" y="4260939"/>
              <a:ext cx="1485322" cy="90794"/>
            </a:xfrm>
            <a:prstGeom prst="roundRect">
              <a:avLst>
                <a:gd name="adj" fmla="val 50000"/>
              </a:avLst>
            </a:prstGeom>
            <a:solidFill>
              <a:srgbClr val="5F5CA2"/>
            </a:solidFill>
            <a:ln w="12700" cap="flat" cmpd="sng" algn="ctr">
              <a:noFill/>
              <a:prstDash val="solid"/>
              <a:miter lim="800000"/>
            </a:ln>
            <a:effectLst/>
          </p:spPr>
          <p:txBody>
            <a:bodyPr anchor="ctr"/>
            <a:lstStyle/>
            <a:p>
              <a:pPr algn="ctr">
                <a:defRPr/>
              </a:pPr>
              <a:endParaRPr lang="en-US" sz="1350" kern="0">
                <a:solidFill>
                  <a:prstClr val="white"/>
                </a:solidFill>
                <a:cs typeface="Arial" panose="020B0604020202020204" pitchFamily="34" charset="0"/>
              </a:endParaRPr>
            </a:p>
          </p:txBody>
        </p:sp>
      </p:grpSp>
      <p:sp>
        <p:nvSpPr>
          <p:cNvPr id="103" name="Rectangle 102">
            <a:extLst>
              <a:ext uri="{FF2B5EF4-FFF2-40B4-BE49-F238E27FC236}">
                <a16:creationId xmlns:a16="http://schemas.microsoft.com/office/drawing/2014/main" id="{34BB9700-8847-637B-45F9-958C9525BAD5}"/>
              </a:ext>
            </a:extLst>
          </p:cNvPr>
          <p:cNvSpPr/>
          <p:nvPr/>
        </p:nvSpPr>
        <p:spPr>
          <a:xfrm>
            <a:off x="7899400" y="3101975"/>
            <a:ext cx="2789238" cy="515938"/>
          </a:xfrm>
          <a:prstGeom prst="rect">
            <a:avLst/>
          </a:prstGeom>
          <a:solidFill>
            <a:srgbClr val="5F5CA2"/>
          </a:solidFill>
          <a:ln w="12700" cap="flat" cmpd="sng" algn="ctr">
            <a:noFill/>
            <a:prstDash val="solid"/>
            <a:miter lim="800000"/>
          </a:ln>
          <a:effectLst/>
        </p:spPr>
        <p:txBody>
          <a:bodyPr anchor="ctr"/>
          <a:lstStyle/>
          <a:p>
            <a:pPr algn="ctr">
              <a:defRPr/>
            </a:pPr>
            <a:endParaRPr lang="en-US" sz="1350" kern="0">
              <a:solidFill>
                <a:prstClr val="white"/>
              </a:solidFill>
              <a:cs typeface="Arial" panose="020B0604020202020204" pitchFamily="34" charset="0"/>
            </a:endParaRPr>
          </a:p>
        </p:txBody>
      </p:sp>
      <p:sp>
        <p:nvSpPr>
          <p:cNvPr id="104" name="Rounded Rectangle 103">
            <a:extLst>
              <a:ext uri="{FF2B5EF4-FFF2-40B4-BE49-F238E27FC236}">
                <a16:creationId xmlns:a16="http://schemas.microsoft.com/office/drawing/2014/main" id="{B467230F-89CE-0407-6D28-7BE7351844AA}"/>
              </a:ext>
            </a:extLst>
          </p:cNvPr>
          <p:cNvSpPr/>
          <p:nvPr/>
        </p:nvSpPr>
        <p:spPr>
          <a:xfrm>
            <a:off x="7867650" y="2951163"/>
            <a:ext cx="831850" cy="95250"/>
          </a:xfrm>
          <a:prstGeom prst="roundRect">
            <a:avLst>
              <a:gd name="adj" fmla="val 50000"/>
            </a:avLst>
          </a:prstGeom>
          <a:solidFill>
            <a:srgbClr val="5F5CA2"/>
          </a:solidFill>
          <a:ln w="12700" cap="flat" cmpd="sng" algn="ctr">
            <a:noFill/>
            <a:prstDash val="solid"/>
            <a:miter lim="800000"/>
          </a:ln>
          <a:effectLst/>
        </p:spPr>
        <p:txBody>
          <a:bodyPr anchor="ctr"/>
          <a:lstStyle/>
          <a:p>
            <a:pPr algn="ctr">
              <a:defRPr/>
            </a:pPr>
            <a:endParaRPr lang="en-US" sz="1350" kern="0">
              <a:solidFill>
                <a:prstClr val="white"/>
              </a:solidFill>
              <a:cs typeface="Arial" panose="020B0604020202020204" pitchFamily="34" charset="0"/>
            </a:endParaRPr>
          </a:p>
        </p:txBody>
      </p:sp>
      <p:grpSp>
        <p:nvGrpSpPr>
          <p:cNvPr id="10252" name="Group 104">
            <a:extLst>
              <a:ext uri="{FF2B5EF4-FFF2-40B4-BE49-F238E27FC236}">
                <a16:creationId xmlns:a16="http://schemas.microsoft.com/office/drawing/2014/main" id="{21485BA0-320C-FF90-4723-3F48043216CE}"/>
              </a:ext>
            </a:extLst>
          </p:cNvPr>
          <p:cNvGrpSpPr>
            <a:grpSpLocks/>
          </p:cNvGrpSpPr>
          <p:nvPr/>
        </p:nvGrpSpPr>
        <p:grpSpPr bwMode="auto">
          <a:xfrm>
            <a:off x="1900239" y="1100138"/>
            <a:ext cx="6618287" cy="4324350"/>
            <a:chOff x="381425" y="1126821"/>
            <a:chExt cx="6548580" cy="4401066"/>
          </a:xfrm>
        </p:grpSpPr>
        <p:sp>
          <p:nvSpPr>
            <p:cNvPr id="119" name="Rectangle 118">
              <a:extLst>
                <a:ext uri="{FF2B5EF4-FFF2-40B4-BE49-F238E27FC236}">
                  <a16:creationId xmlns:a16="http://schemas.microsoft.com/office/drawing/2014/main" id="{82D7E1BE-9D12-549F-A609-B78CF603A67E}"/>
                </a:ext>
              </a:extLst>
            </p:cNvPr>
            <p:cNvSpPr/>
            <p:nvPr/>
          </p:nvSpPr>
          <p:spPr>
            <a:xfrm>
              <a:off x="381425" y="5183750"/>
              <a:ext cx="1652460" cy="344137"/>
            </a:xfrm>
            <a:prstGeom prst="rect">
              <a:avLst/>
            </a:prstGeom>
          </p:spPr>
          <p:txBody>
            <a:bodyPr>
              <a:spAutoFit/>
            </a:bodyPr>
            <a:lstStyle/>
            <a:p>
              <a:pPr algn="r">
                <a:defRPr/>
              </a:pPr>
              <a:r>
                <a:rPr lang="en-US" sz="1600" b="1" kern="0" dirty="0">
                  <a:solidFill>
                    <a:srgbClr val="04A597"/>
                  </a:solidFill>
                  <a:cs typeface="Arial" panose="020B0604020202020204" pitchFamily="34" charset="0"/>
                </a:rPr>
                <a:t>01 Input</a:t>
              </a:r>
            </a:p>
          </p:txBody>
        </p:sp>
        <p:sp>
          <p:nvSpPr>
            <p:cNvPr id="117" name="Rectangle 116">
              <a:extLst>
                <a:ext uri="{FF2B5EF4-FFF2-40B4-BE49-F238E27FC236}">
                  <a16:creationId xmlns:a16="http://schemas.microsoft.com/office/drawing/2014/main" id="{AEB95136-0FB6-72A7-F3E3-0CEF13746EEF}"/>
                </a:ext>
              </a:extLst>
            </p:cNvPr>
            <p:cNvSpPr/>
            <p:nvPr/>
          </p:nvSpPr>
          <p:spPr>
            <a:xfrm>
              <a:off x="1609775" y="3997854"/>
              <a:ext cx="1654031" cy="344137"/>
            </a:xfrm>
            <a:prstGeom prst="rect">
              <a:avLst/>
            </a:prstGeom>
          </p:spPr>
          <p:txBody>
            <a:bodyPr>
              <a:spAutoFit/>
            </a:bodyPr>
            <a:lstStyle/>
            <a:p>
              <a:pPr algn="r">
                <a:defRPr/>
              </a:pPr>
              <a:r>
                <a:rPr lang="en-US" sz="1600" b="1" kern="0" dirty="0">
                  <a:solidFill>
                    <a:srgbClr val="1890AD"/>
                  </a:solidFill>
                  <a:cs typeface="Arial" panose="020B0604020202020204" pitchFamily="34" charset="0"/>
                </a:rPr>
                <a:t>02 Activities</a:t>
              </a:r>
            </a:p>
          </p:txBody>
        </p:sp>
        <p:sp>
          <p:nvSpPr>
            <p:cNvPr id="115" name="Rectangle 114">
              <a:extLst>
                <a:ext uri="{FF2B5EF4-FFF2-40B4-BE49-F238E27FC236}">
                  <a16:creationId xmlns:a16="http://schemas.microsoft.com/office/drawing/2014/main" id="{8BDF5903-6494-42A1-CF0E-415F5C932A79}"/>
                </a:ext>
              </a:extLst>
            </p:cNvPr>
            <p:cNvSpPr/>
            <p:nvPr/>
          </p:nvSpPr>
          <p:spPr>
            <a:xfrm>
              <a:off x="2839695" y="2965445"/>
              <a:ext cx="1652460" cy="344136"/>
            </a:xfrm>
            <a:prstGeom prst="rect">
              <a:avLst/>
            </a:prstGeom>
          </p:spPr>
          <p:txBody>
            <a:bodyPr>
              <a:spAutoFit/>
            </a:bodyPr>
            <a:lstStyle/>
            <a:p>
              <a:pPr algn="r">
                <a:defRPr/>
              </a:pPr>
              <a:r>
                <a:rPr lang="en-US" sz="1600" b="1" kern="0" dirty="0">
                  <a:solidFill>
                    <a:srgbClr val="3E74AB"/>
                  </a:solidFill>
                  <a:cs typeface="Arial" panose="020B0604020202020204" pitchFamily="34" charset="0"/>
                </a:rPr>
                <a:t>03 Output</a:t>
              </a:r>
            </a:p>
          </p:txBody>
        </p:sp>
        <p:sp>
          <p:nvSpPr>
            <p:cNvPr id="113" name="Rectangle 112">
              <a:extLst>
                <a:ext uri="{FF2B5EF4-FFF2-40B4-BE49-F238E27FC236}">
                  <a16:creationId xmlns:a16="http://schemas.microsoft.com/office/drawing/2014/main" id="{9D5B8F11-A4A0-88EE-CC03-E417C5A08A48}"/>
                </a:ext>
              </a:extLst>
            </p:cNvPr>
            <p:cNvSpPr/>
            <p:nvPr/>
          </p:nvSpPr>
          <p:spPr>
            <a:xfrm>
              <a:off x="4068044" y="1933036"/>
              <a:ext cx="1654031" cy="344137"/>
            </a:xfrm>
            <a:prstGeom prst="rect">
              <a:avLst/>
            </a:prstGeom>
          </p:spPr>
          <p:txBody>
            <a:bodyPr>
              <a:spAutoFit/>
            </a:bodyPr>
            <a:lstStyle/>
            <a:p>
              <a:pPr algn="r">
                <a:defRPr/>
              </a:pPr>
              <a:r>
                <a:rPr lang="en-US" sz="1600" b="1" kern="0" dirty="0">
                  <a:solidFill>
                    <a:srgbClr val="5F5CA2"/>
                  </a:solidFill>
                  <a:cs typeface="Arial" panose="020B0604020202020204" pitchFamily="34" charset="0"/>
                </a:rPr>
                <a:t>04 Outcome</a:t>
              </a:r>
            </a:p>
          </p:txBody>
        </p:sp>
        <p:sp>
          <p:nvSpPr>
            <p:cNvPr id="111" name="Rectangle 110">
              <a:extLst>
                <a:ext uri="{FF2B5EF4-FFF2-40B4-BE49-F238E27FC236}">
                  <a16:creationId xmlns:a16="http://schemas.microsoft.com/office/drawing/2014/main" id="{AD5E07F5-25DF-30D7-3ECE-80A8137061D3}"/>
                </a:ext>
              </a:extLst>
            </p:cNvPr>
            <p:cNvSpPr/>
            <p:nvPr/>
          </p:nvSpPr>
          <p:spPr>
            <a:xfrm>
              <a:off x="5277545" y="1126821"/>
              <a:ext cx="1652460" cy="344136"/>
            </a:xfrm>
            <a:prstGeom prst="rect">
              <a:avLst/>
            </a:prstGeom>
          </p:spPr>
          <p:txBody>
            <a:bodyPr>
              <a:spAutoFit/>
            </a:bodyPr>
            <a:lstStyle/>
            <a:p>
              <a:pPr algn="r">
                <a:defRPr/>
              </a:pPr>
              <a:r>
                <a:rPr lang="en-US" sz="1600" b="1" kern="0" dirty="0">
                  <a:solidFill>
                    <a:srgbClr val="775CA3"/>
                  </a:solidFill>
                  <a:cs typeface="Arial" panose="020B0604020202020204" pitchFamily="34" charset="0"/>
                </a:rPr>
                <a:t>05 Impact</a:t>
              </a:r>
            </a:p>
          </p:txBody>
        </p:sp>
      </p:grpSp>
      <p:grpSp>
        <p:nvGrpSpPr>
          <p:cNvPr id="10253" name="Group 120">
            <a:extLst>
              <a:ext uri="{FF2B5EF4-FFF2-40B4-BE49-F238E27FC236}">
                <a16:creationId xmlns:a16="http://schemas.microsoft.com/office/drawing/2014/main" id="{B04FB19D-EAEF-642C-3A9C-E790D4B16058}"/>
              </a:ext>
            </a:extLst>
          </p:cNvPr>
          <p:cNvGrpSpPr>
            <a:grpSpLocks/>
          </p:cNvGrpSpPr>
          <p:nvPr/>
        </p:nvGrpSpPr>
        <p:grpSpPr bwMode="auto">
          <a:xfrm>
            <a:off x="8497888" y="2070101"/>
            <a:ext cx="2189162" cy="1027113"/>
            <a:chOff x="9360687" y="2401410"/>
            <a:chExt cx="2888463" cy="977188"/>
          </a:xfrm>
        </p:grpSpPr>
        <p:sp>
          <p:nvSpPr>
            <p:cNvPr id="122" name="Rounded Rectangle 121">
              <a:extLst>
                <a:ext uri="{FF2B5EF4-FFF2-40B4-BE49-F238E27FC236}">
                  <a16:creationId xmlns:a16="http://schemas.microsoft.com/office/drawing/2014/main" id="{0EB2717D-30A7-0416-9735-A84499C43637}"/>
                </a:ext>
              </a:extLst>
            </p:cNvPr>
            <p:cNvSpPr/>
            <p:nvPr/>
          </p:nvSpPr>
          <p:spPr>
            <a:xfrm>
              <a:off x="9360687" y="2744257"/>
              <a:ext cx="1122710" cy="90620"/>
            </a:xfrm>
            <a:prstGeom prst="roundRect">
              <a:avLst>
                <a:gd name="adj" fmla="val 50000"/>
              </a:avLst>
            </a:prstGeom>
            <a:solidFill>
              <a:srgbClr val="775CA3"/>
            </a:solidFill>
            <a:ln w="12700" cap="flat" cmpd="sng" algn="ctr">
              <a:noFill/>
              <a:prstDash val="solid"/>
              <a:miter lim="800000"/>
            </a:ln>
            <a:effectLst/>
          </p:spPr>
          <p:txBody>
            <a:bodyPr anchor="ctr"/>
            <a:lstStyle/>
            <a:p>
              <a:pPr algn="ctr">
                <a:defRPr/>
              </a:pPr>
              <a:endParaRPr lang="en-US" sz="1350" kern="0">
                <a:solidFill>
                  <a:prstClr val="white"/>
                </a:solidFill>
                <a:cs typeface="Arial" panose="020B0604020202020204" pitchFamily="34" charset="0"/>
              </a:endParaRPr>
            </a:p>
          </p:txBody>
        </p:sp>
        <p:sp>
          <p:nvSpPr>
            <p:cNvPr id="123" name="Rectangle 122">
              <a:extLst>
                <a:ext uri="{FF2B5EF4-FFF2-40B4-BE49-F238E27FC236}">
                  <a16:creationId xmlns:a16="http://schemas.microsoft.com/office/drawing/2014/main" id="{EDBA0467-87C9-8C02-3BE5-A1204DCF473F}"/>
                </a:ext>
              </a:extLst>
            </p:cNvPr>
            <p:cNvSpPr/>
            <p:nvPr/>
          </p:nvSpPr>
          <p:spPr>
            <a:xfrm>
              <a:off x="9398390" y="2887738"/>
              <a:ext cx="2850760" cy="490860"/>
            </a:xfrm>
            <a:prstGeom prst="rect">
              <a:avLst/>
            </a:prstGeom>
            <a:solidFill>
              <a:srgbClr val="775CA3"/>
            </a:solidFill>
            <a:ln w="12700" cap="flat" cmpd="sng" algn="ctr">
              <a:noFill/>
              <a:prstDash val="solid"/>
              <a:miter lim="800000"/>
            </a:ln>
            <a:effectLst/>
          </p:spPr>
          <p:txBody>
            <a:bodyPr anchor="ctr"/>
            <a:lstStyle/>
            <a:p>
              <a:pPr algn="ctr">
                <a:defRPr/>
              </a:pPr>
              <a:endParaRPr lang="en-US" sz="1350" kern="0">
                <a:solidFill>
                  <a:prstClr val="white"/>
                </a:solidFill>
                <a:cs typeface="Arial" panose="020B0604020202020204" pitchFamily="34" charset="0"/>
              </a:endParaRPr>
            </a:p>
          </p:txBody>
        </p:sp>
        <p:sp>
          <p:nvSpPr>
            <p:cNvPr id="124" name="Rectangle 123">
              <a:extLst>
                <a:ext uri="{FF2B5EF4-FFF2-40B4-BE49-F238E27FC236}">
                  <a16:creationId xmlns:a16="http://schemas.microsoft.com/office/drawing/2014/main" id="{C78BDEAC-64A1-C668-A1DD-FDA81C97E2FC}"/>
                </a:ext>
              </a:extLst>
            </p:cNvPr>
            <p:cNvSpPr/>
            <p:nvPr/>
          </p:nvSpPr>
          <p:spPr>
            <a:xfrm>
              <a:off x="10236233" y="2401410"/>
              <a:ext cx="2012917" cy="490860"/>
            </a:xfrm>
            <a:prstGeom prst="rect">
              <a:avLst/>
            </a:prstGeom>
            <a:solidFill>
              <a:srgbClr val="775CA3"/>
            </a:solidFill>
            <a:ln w="12700" cap="flat" cmpd="sng" algn="ctr">
              <a:noFill/>
              <a:prstDash val="solid"/>
              <a:miter lim="800000"/>
            </a:ln>
            <a:effectLst/>
          </p:spPr>
          <p:txBody>
            <a:bodyPr anchor="ctr"/>
            <a:lstStyle/>
            <a:p>
              <a:pPr algn="ctr">
                <a:defRPr/>
              </a:pPr>
              <a:endParaRPr lang="en-US" sz="1350" kern="0">
                <a:solidFill>
                  <a:prstClr val="white"/>
                </a:solidFill>
                <a:cs typeface="Arial" panose="020B0604020202020204" pitchFamily="34" charset="0"/>
              </a:endParaRPr>
            </a:p>
          </p:txBody>
        </p:sp>
      </p:grpSp>
      <p:sp>
        <p:nvSpPr>
          <p:cNvPr id="125" name="Freeform 124">
            <a:extLst>
              <a:ext uri="{FF2B5EF4-FFF2-40B4-BE49-F238E27FC236}">
                <a16:creationId xmlns:a16="http://schemas.microsoft.com/office/drawing/2014/main" id="{653DBEDC-2D19-6255-BF79-59A4D275DB33}"/>
              </a:ext>
            </a:extLst>
          </p:cNvPr>
          <p:cNvSpPr/>
          <p:nvPr/>
        </p:nvSpPr>
        <p:spPr>
          <a:xfrm>
            <a:off x="9091614" y="1905000"/>
            <a:ext cx="1584325" cy="96838"/>
          </a:xfrm>
          <a:custGeom>
            <a:avLst/>
            <a:gdLst>
              <a:gd name="connsiteX0" fmla="*/ 45720 w 2090459"/>
              <a:gd name="connsiteY0" fmla="*/ 0 h 91440"/>
              <a:gd name="connsiteX1" fmla="*/ 2087601 w 2090459"/>
              <a:gd name="connsiteY1" fmla="*/ 0 h 91440"/>
              <a:gd name="connsiteX2" fmla="*/ 2090459 w 2090459"/>
              <a:gd name="connsiteY2" fmla="*/ 577 h 91440"/>
              <a:gd name="connsiteX3" fmla="*/ 2090459 w 2090459"/>
              <a:gd name="connsiteY3" fmla="*/ 90863 h 91440"/>
              <a:gd name="connsiteX4" fmla="*/ 2087601 w 2090459"/>
              <a:gd name="connsiteY4" fmla="*/ 91440 h 91440"/>
              <a:gd name="connsiteX5" fmla="*/ 45720 w 2090459"/>
              <a:gd name="connsiteY5" fmla="*/ 91440 h 91440"/>
              <a:gd name="connsiteX6" fmla="*/ 0 w 2090459"/>
              <a:gd name="connsiteY6" fmla="*/ 45720 h 91440"/>
              <a:gd name="connsiteX7" fmla="*/ 45720 w 2090459"/>
              <a:gd name="connsiteY7" fmla="*/ 0 h 91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90459" h="91440">
                <a:moveTo>
                  <a:pt x="45720" y="0"/>
                </a:moveTo>
                <a:lnTo>
                  <a:pt x="2087601" y="0"/>
                </a:lnTo>
                <a:lnTo>
                  <a:pt x="2090459" y="577"/>
                </a:lnTo>
                <a:lnTo>
                  <a:pt x="2090459" y="90863"/>
                </a:lnTo>
                <a:lnTo>
                  <a:pt x="2087601" y="91440"/>
                </a:lnTo>
                <a:lnTo>
                  <a:pt x="45720" y="91440"/>
                </a:lnTo>
                <a:cubicBezTo>
                  <a:pt x="20470" y="91440"/>
                  <a:pt x="0" y="70970"/>
                  <a:pt x="0" y="45720"/>
                </a:cubicBezTo>
                <a:cubicBezTo>
                  <a:pt x="0" y="20470"/>
                  <a:pt x="20470" y="0"/>
                  <a:pt x="45720" y="0"/>
                </a:cubicBezTo>
                <a:close/>
              </a:path>
            </a:pathLst>
          </a:custGeom>
          <a:solidFill>
            <a:srgbClr val="775CA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a:latin typeface="Arial" panose="020B0604020202020204" pitchFamily="34" charset="0"/>
              <a:cs typeface="Arial" panose="020B0604020202020204" pitchFamily="34" charset="0"/>
            </a:endParaRPr>
          </a:p>
        </p:txBody>
      </p:sp>
      <p:grpSp>
        <p:nvGrpSpPr>
          <p:cNvPr id="10255" name="Group 125">
            <a:extLst>
              <a:ext uri="{FF2B5EF4-FFF2-40B4-BE49-F238E27FC236}">
                <a16:creationId xmlns:a16="http://schemas.microsoft.com/office/drawing/2014/main" id="{9F44316E-A090-3015-FDE7-50235D51CE36}"/>
              </a:ext>
            </a:extLst>
          </p:cNvPr>
          <p:cNvGrpSpPr>
            <a:grpSpLocks/>
          </p:cNvGrpSpPr>
          <p:nvPr/>
        </p:nvGrpSpPr>
        <p:grpSpPr bwMode="auto">
          <a:xfrm>
            <a:off x="3592514" y="5313364"/>
            <a:ext cx="458787" cy="1195387"/>
            <a:chOff x="1061739" y="3019934"/>
            <a:chExt cx="1262892" cy="3385088"/>
          </a:xfrm>
        </p:grpSpPr>
        <p:sp>
          <p:nvSpPr>
            <p:cNvPr id="127" name="Rectangle 112">
              <a:extLst>
                <a:ext uri="{FF2B5EF4-FFF2-40B4-BE49-F238E27FC236}">
                  <a16:creationId xmlns:a16="http://schemas.microsoft.com/office/drawing/2014/main" id="{3BCB213E-A545-6462-4C81-CD4770917EBC}"/>
                </a:ext>
              </a:extLst>
            </p:cNvPr>
            <p:cNvSpPr/>
            <p:nvPr/>
          </p:nvSpPr>
          <p:spPr>
            <a:xfrm>
              <a:off x="1485615" y="3473975"/>
              <a:ext cx="305891" cy="593402"/>
            </a:xfrm>
            <a:custGeom>
              <a:avLst/>
              <a:gdLst>
                <a:gd name="connsiteX0" fmla="*/ 0 w 304800"/>
                <a:gd name="connsiteY0" fmla="*/ 0 h 526017"/>
                <a:gd name="connsiteX1" fmla="*/ 304800 w 304800"/>
                <a:gd name="connsiteY1" fmla="*/ 0 h 526017"/>
                <a:gd name="connsiteX2" fmla="*/ 304800 w 304800"/>
                <a:gd name="connsiteY2" fmla="*/ 526017 h 526017"/>
                <a:gd name="connsiteX3" fmla="*/ 0 w 304800"/>
                <a:gd name="connsiteY3" fmla="*/ 526017 h 526017"/>
                <a:gd name="connsiteX4" fmla="*/ 0 w 304800"/>
                <a:gd name="connsiteY4" fmla="*/ 0 h 526017"/>
                <a:gd name="connsiteX0" fmla="*/ 0 w 304800"/>
                <a:gd name="connsiteY0" fmla="*/ 0 h 559068"/>
                <a:gd name="connsiteX1" fmla="*/ 304800 w 304800"/>
                <a:gd name="connsiteY1" fmla="*/ 0 h 559068"/>
                <a:gd name="connsiteX2" fmla="*/ 304800 w 304800"/>
                <a:gd name="connsiteY2" fmla="*/ 526017 h 559068"/>
                <a:gd name="connsiteX3" fmla="*/ 145974 w 304800"/>
                <a:gd name="connsiteY3" fmla="*/ 559068 h 559068"/>
                <a:gd name="connsiteX4" fmla="*/ 0 w 304800"/>
                <a:gd name="connsiteY4" fmla="*/ 0 h 559068"/>
                <a:gd name="connsiteX0" fmla="*/ 0 w 315817"/>
                <a:gd name="connsiteY0" fmla="*/ 0 h 559068"/>
                <a:gd name="connsiteX1" fmla="*/ 304800 w 315817"/>
                <a:gd name="connsiteY1" fmla="*/ 0 h 559068"/>
                <a:gd name="connsiteX2" fmla="*/ 315817 w 315817"/>
                <a:gd name="connsiteY2" fmla="*/ 528771 h 559068"/>
                <a:gd name="connsiteX3" fmla="*/ 145974 w 315817"/>
                <a:gd name="connsiteY3" fmla="*/ 559068 h 559068"/>
                <a:gd name="connsiteX4" fmla="*/ 0 w 315817"/>
                <a:gd name="connsiteY4" fmla="*/ 0 h 559068"/>
                <a:gd name="connsiteX0" fmla="*/ 0 w 315817"/>
                <a:gd name="connsiteY0" fmla="*/ 13771 h 572839"/>
                <a:gd name="connsiteX1" fmla="*/ 282766 w 315817"/>
                <a:gd name="connsiteY1" fmla="*/ 0 h 572839"/>
                <a:gd name="connsiteX2" fmla="*/ 315817 w 315817"/>
                <a:gd name="connsiteY2" fmla="*/ 542542 h 572839"/>
                <a:gd name="connsiteX3" fmla="*/ 145974 w 315817"/>
                <a:gd name="connsiteY3" fmla="*/ 572839 h 572839"/>
                <a:gd name="connsiteX4" fmla="*/ 0 w 315817"/>
                <a:gd name="connsiteY4" fmla="*/ 13771 h 572839"/>
                <a:gd name="connsiteX0" fmla="*/ 0 w 315817"/>
                <a:gd name="connsiteY0" fmla="*/ 13771 h 572839"/>
                <a:gd name="connsiteX1" fmla="*/ 282766 w 315817"/>
                <a:gd name="connsiteY1" fmla="*/ 0 h 572839"/>
                <a:gd name="connsiteX2" fmla="*/ 304800 w 315817"/>
                <a:gd name="connsiteY2" fmla="*/ 39042 h 572839"/>
                <a:gd name="connsiteX3" fmla="*/ 315817 w 315817"/>
                <a:gd name="connsiteY3" fmla="*/ 542542 h 572839"/>
                <a:gd name="connsiteX4" fmla="*/ 145974 w 315817"/>
                <a:gd name="connsiteY4" fmla="*/ 572839 h 572839"/>
                <a:gd name="connsiteX5" fmla="*/ 0 w 315817"/>
                <a:gd name="connsiteY5" fmla="*/ 13771 h 572839"/>
                <a:gd name="connsiteX0" fmla="*/ 0 w 304800"/>
                <a:gd name="connsiteY0" fmla="*/ 0 h 589365"/>
                <a:gd name="connsiteX1" fmla="*/ 271749 w 304800"/>
                <a:gd name="connsiteY1" fmla="*/ 16526 h 589365"/>
                <a:gd name="connsiteX2" fmla="*/ 293783 w 304800"/>
                <a:gd name="connsiteY2" fmla="*/ 55568 h 589365"/>
                <a:gd name="connsiteX3" fmla="*/ 304800 w 304800"/>
                <a:gd name="connsiteY3" fmla="*/ 559068 h 589365"/>
                <a:gd name="connsiteX4" fmla="*/ 134957 w 304800"/>
                <a:gd name="connsiteY4" fmla="*/ 589365 h 589365"/>
                <a:gd name="connsiteX5" fmla="*/ 0 w 304800"/>
                <a:gd name="connsiteY5" fmla="*/ 0 h 589365"/>
                <a:gd name="connsiteX0" fmla="*/ 0 w 304800"/>
                <a:gd name="connsiteY0" fmla="*/ 0 h 589365"/>
                <a:gd name="connsiteX1" fmla="*/ 271749 w 304800"/>
                <a:gd name="connsiteY1" fmla="*/ 16526 h 589365"/>
                <a:gd name="connsiteX2" fmla="*/ 293783 w 304800"/>
                <a:gd name="connsiteY2" fmla="*/ 55568 h 589365"/>
                <a:gd name="connsiteX3" fmla="*/ 304800 w 304800"/>
                <a:gd name="connsiteY3" fmla="*/ 559068 h 589365"/>
                <a:gd name="connsiteX4" fmla="*/ 134957 w 304800"/>
                <a:gd name="connsiteY4" fmla="*/ 589365 h 589365"/>
                <a:gd name="connsiteX5" fmla="*/ 0 w 304800"/>
                <a:gd name="connsiteY5" fmla="*/ 0 h 589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4800" h="589365">
                  <a:moveTo>
                    <a:pt x="0" y="0"/>
                  </a:moveTo>
                  <a:lnTo>
                    <a:pt x="271749" y="16526"/>
                  </a:lnTo>
                  <a:cubicBezTo>
                    <a:pt x="272667" y="42393"/>
                    <a:pt x="292865" y="29701"/>
                    <a:pt x="293783" y="55568"/>
                  </a:cubicBezTo>
                  <a:lnTo>
                    <a:pt x="304800" y="559068"/>
                  </a:lnTo>
                  <a:lnTo>
                    <a:pt x="134957" y="589365"/>
                  </a:lnTo>
                  <a:cubicBezTo>
                    <a:pt x="89971" y="392910"/>
                    <a:pt x="22953" y="268064"/>
                    <a:pt x="0"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a:solidFill>
                  <a:prstClr val="white"/>
                </a:solidFill>
                <a:latin typeface="Arial" panose="020B0604020202020204" pitchFamily="34" charset="0"/>
                <a:cs typeface="Arial" panose="020B0604020202020204" pitchFamily="34" charset="0"/>
              </a:endParaRPr>
            </a:p>
          </p:txBody>
        </p:sp>
        <p:sp>
          <p:nvSpPr>
            <p:cNvPr id="128" name="Rectangle 1">
              <a:extLst>
                <a:ext uri="{FF2B5EF4-FFF2-40B4-BE49-F238E27FC236}">
                  <a16:creationId xmlns:a16="http://schemas.microsoft.com/office/drawing/2014/main" id="{37CF6B7A-6D22-9E70-578B-D1BD204675A8}"/>
                </a:ext>
              </a:extLst>
            </p:cNvPr>
            <p:cNvSpPr/>
            <p:nvPr/>
          </p:nvSpPr>
          <p:spPr>
            <a:xfrm rot="20857870">
              <a:off x="1516206" y="3019934"/>
              <a:ext cx="362698" cy="1065425"/>
            </a:xfrm>
            <a:custGeom>
              <a:avLst/>
              <a:gdLst>
                <a:gd name="connsiteX0" fmla="*/ 0 w 337267"/>
                <a:gd name="connsiteY0" fmla="*/ 0 h 457200"/>
                <a:gd name="connsiteX1" fmla="*/ 337267 w 337267"/>
                <a:gd name="connsiteY1" fmla="*/ 0 h 457200"/>
                <a:gd name="connsiteX2" fmla="*/ 337267 w 337267"/>
                <a:gd name="connsiteY2" fmla="*/ 457200 h 457200"/>
                <a:gd name="connsiteX3" fmla="*/ 0 w 337267"/>
                <a:gd name="connsiteY3" fmla="*/ 457200 h 457200"/>
                <a:gd name="connsiteX4" fmla="*/ 0 w 337267"/>
                <a:gd name="connsiteY4" fmla="*/ 0 h 457200"/>
                <a:gd name="connsiteX0" fmla="*/ 3131 w 340398"/>
                <a:gd name="connsiteY0" fmla="*/ 0 h 460331"/>
                <a:gd name="connsiteX1" fmla="*/ 340398 w 340398"/>
                <a:gd name="connsiteY1" fmla="*/ 0 h 460331"/>
                <a:gd name="connsiteX2" fmla="*/ 340398 w 340398"/>
                <a:gd name="connsiteY2" fmla="*/ 457200 h 460331"/>
                <a:gd name="connsiteX3" fmla="*/ 0 w 340398"/>
                <a:gd name="connsiteY3" fmla="*/ 460331 h 460331"/>
                <a:gd name="connsiteX4" fmla="*/ 3131 w 340398"/>
                <a:gd name="connsiteY4" fmla="*/ 0 h 460331"/>
                <a:gd name="connsiteX0" fmla="*/ 3131 w 340398"/>
                <a:gd name="connsiteY0" fmla="*/ 0 h 927970"/>
                <a:gd name="connsiteX1" fmla="*/ 340398 w 340398"/>
                <a:gd name="connsiteY1" fmla="*/ 0 h 927970"/>
                <a:gd name="connsiteX2" fmla="*/ 340398 w 340398"/>
                <a:gd name="connsiteY2" fmla="*/ 457200 h 927970"/>
                <a:gd name="connsiteX3" fmla="*/ 99164 w 340398"/>
                <a:gd name="connsiteY3" fmla="*/ 927970 h 927970"/>
                <a:gd name="connsiteX4" fmla="*/ 0 w 340398"/>
                <a:gd name="connsiteY4" fmla="*/ 460331 h 927970"/>
                <a:gd name="connsiteX5" fmla="*/ 3131 w 340398"/>
                <a:gd name="connsiteY5" fmla="*/ 0 h 927970"/>
                <a:gd name="connsiteX0" fmla="*/ 3131 w 340398"/>
                <a:gd name="connsiteY0" fmla="*/ 0 h 1284962"/>
                <a:gd name="connsiteX1" fmla="*/ 340398 w 340398"/>
                <a:gd name="connsiteY1" fmla="*/ 0 h 1284962"/>
                <a:gd name="connsiteX2" fmla="*/ 340398 w 340398"/>
                <a:gd name="connsiteY2" fmla="*/ 457200 h 1284962"/>
                <a:gd name="connsiteX3" fmla="*/ 14613 w 340398"/>
                <a:gd name="connsiteY3" fmla="*/ 1284962 h 1284962"/>
                <a:gd name="connsiteX4" fmla="*/ 0 w 340398"/>
                <a:gd name="connsiteY4" fmla="*/ 460331 h 1284962"/>
                <a:gd name="connsiteX5" fmla="*/ 3131 w 340398"/>
                <a:gd name="connsiteY5" fmla="*/ 0 h 1284962"/>
                <a:gd name="connsiteX0" fmla="*/ 3131 w 340398"/>
                <a:gd name="connsiteY0" fmla="*/ 0 h 1339415"/>
                <a:gd name="connsiteX1" fmla="*/ 340398 w 340398"/>
                <a:gd name="connsiteY1" fmla="*/ 0 h 1339415"/>
                <a:gd name="connsiteX2" fmla="*/ 340398 w 340398"/>
                <a:gd name="connsiteY2" fmla="*/ 457200 h 1339415"/>
                <a:gd name="connsiteX3" fmla="*/ 108558 w 340398"/>
                <a:gd name="connsiteY3" fmla="*/ 1194147 h 1339415"/>
                <a:gd name="connsiteX4" fmla="*/ 14613 w 340398"/>
                <a:gd name="connsiteY4" fmla="*/ 1284962 h 1339415"/>
                <a:gd name="connsiteX5" fmla="*/ 0 w 340398"/>
                <a:gd name="connsiteY5" fmla="*/ 460331 h 1339415"/>
                <a:gd name="connsiteX6" fmla="*/ 3131 w 340398"/>
                <a:gd name="connsiteY6" fmla="*/ 0 h 1339415"/>
                <a:gd name="connsiteX0" fmla="*/ 76200 w 413467"/>
                <a:gd name="connsiteY0" fmla="*/ 0 h 1295433"/>
                <a:gd name="connsiteX1" fmla="*/ 413467 w 413467"/>
                <a:gd name="connsiteY1" fmla="*/ 0 h 1295433"/>
                <a:gd name="connsiteX2" fmla="*/ 413467 w 413467"/>
                <a:gd name="connsiteY2" fmla="*/ 457200 h 1295433"/>
                <a:gd name="connsiteX3" fmla="*/ 181627 w 413467"/>
                <a:gd name="connsiteY3" fmla="*/ 1194147 h 1295433"/>
                <a:gd name="connsiteX4" fmla="*/ 87682 w 413467"/>
                <a:gd name="connsiteY4" fmla="*/ 1284962 h 1295433"/>
                <a:gd name="connsiteX5" fmla="*/ 0 w 413467"/>
                <a:gd name="connsiteY5" fmla="*/ 1175358 h 1295433"/>
                <a:gd name="connsiteX6" fmla="*/ 73069 w 413467"/>
                <a:gd name="connsiteY6" fmla="*/ 460331 h 1295433"/>
                <a:gd name="connsiteX7" fmla="*/ 76200 w 413467"/>
                <a:gd name="connsiteY7" fmla="*/ 0 h 1295433"/>
                <a:gd name="connsiteX0" fmla="*/ 76200 w 413467"/>
                <a:gd name="connsiteY0" fmla="*/ 0 h 1296560"/>
                <a:gd name="connsiteX1" fmla="*/ 413467 w 413467"/>
                <a:gd name="connsiteY1" fmla="*/ 0 h 1296560"/>
                <a:gd name="connsiteX2" fmla="*/ 413467 w 413467"/>
                <a:gd name="connsiteY2" fmla="*/ 457200 h 1296560"/>
                <a:gd name="connsiteX3" fmla="*/ 191021 w 413467"/>
                <a:gd name="connsiteY3" fmla="*/ 1197279 h 1296560"/>
                <a:gd name="connsiteX4" fmla="*/ 87682 w 413467"/>
                <a:gd name="connsiteY4" fmla="*/ 1284962 h 1296560"/>
                <a:gd name="connsiteX5" fmla="*/ 0 w 413467"/>
                <a:gd name="connsiteY5" fmla="*/ 1175358 h 1296560"/>
                <a:gd name="connsiteX6" fmla="*/ 73069 w 413467"/>
                <a:gd name="connsiteY6" fmla="*/ 460331 h 1296560"/>
                <a:gd name="connsiteX7" fmla="*/ 76200 w 413467"/>
                <a:gd name="connsiteY7" fmla="*/ 0 h 1296560"/>
                <a:gd name="connsiteX0" fmla="*/ 76200 w 413467"/>
                <a:gd name="connsiteY0" fmla="*/ 0 h 1285443"/>
                <a:gd name="connsiteX1" fmla="*/ 413467 w 413467"/>
                <a:gd name="connsiteY1" fmla="*/ 0 h 1285443"/>
                <a:gd name="connsiteX2" fmla="*/ 413467 w 413467"/>
                <a:gd name="connsiteY2" fmla="*/ 457200 h 1285443"/>
                <a:gd name="connsiteX3" fmla="*/ 191021 w 413467"/>
                <a:gd name="connsiteY3" fmla="*/ 1197279 h 1285443"/>
                <a:gd name="connsiteX4" fmla="*/ 87682 w 413467"/>
                <a:gd name="connsiteY4" fmla="*/ 1284962 h 1285443"/>
                <a:gd name="connsiteX5" fmla="*/ 0 w 413467"/>
                <a:gd name="connsiteY5" fmla="*/ 1175358 h 1285443"/>
                <a:gd name="connsiteX6" fmla="*/ 73069 w 413467"/>
                <a:gd name="connsiteY6" fmla="*/ 460331 h 1285443"/>
                <a:gd name="connsiteX7" fmla="*/ 76200 w 413467"/>
                <a:gd name="connsiteY7" fmla="*/ 0 h 1285443"/>
                <a:gd name="connsiteX0" fmla="*/ 76200 w 413467"/>
                <a:gd name="connsiteY0" fmla="*/ 0 h 1284962"/>
                <a:gd name="connsiteX1" fmla="*/ 413467 w 413467"/>
                <a:gd name="connsiteY1" fmla="*/ 0 h 1284962"/>
                <a:gd name="connsiteX2" fmla="*/ 413467 w 413467"/>
                <a:gd name="connsiteY2" fmla="*/ 457200 h 1284962"/>
                <a:gd name="connsiteX3" fmla="*/ 191021 w 413467"/>
                <a:gd name="connsiteY3" fmla="*/ 1197279 h 1284962"/>
                <a:gd name="connsiteX4" fmla="*/ 87682 w 413467"/>
                <a:gd name="connsiteY4" fmla="*/ 1284962 h 1284962"/>
                <a:gd name="connsiteX5" fmla="*/ 0 w 413467"/>
                <a:gd name="connsiteY5" fmla="*/ 1175358 h 1284962"/>
                <a:gd name="connsiteX6" fmla="*/ 73069 w 413467"/>
                <a:gd name="connsiteY6" fmla="*/ 460331 h 1284962"/>
                <a:gd name="connsiteX7" fmla="*/ 76200 w 413467"/>
                <a:gd name="connsiteY7" fmla="*/ 0 h 1284962"/>
                <a:gd name="connsiteX0" fmla="*/ 76200 w 413467"/>
                <a:gd name="connsiteY0" fmla="*/ 0 h 1284962"/>
                <a:gd name="connsiteX1" fmla="*/ 413467 w 413467"/>
                <a:gd name="connsiteY1" fmla="*/ 0 h 1284962"/>
                <a:gd name="connsiteX2" fmla="*/ 413467 w 413467"/>
                <a:gd name="connsiteY2" fmla="*/ 457200 h 1284962"/>
                <a:gd name="connsiteX3" fmla="*/ 191021 w 413467"/>
                <a:gd name="connsiteY3" fmla="*/ 1197279 h 1284962"/>
                <a:gd name="connsiteX4" fmla="*/ 87682 w 413467"/>
                <a:gd name="connsiteY4" fmla="*/ 1284962 h 1284962"/>
                <a:gd name="connsiteX5" fmla="*/ 0 w 413467"/>
                <a:gd name="connsiteY5" fmla="*/ 1175358 h 1284962"/>
                <a:gd name="connsiteX6" fmla="*/ 73069 w 413467"/>
                <a:gd name="connsiteY6" fmla="*/ 460331 h 1284962"/>
                <a:gd name="connsiteX7" fmla="*/ 76200 w 413467"/>
                <a:gd name="connsiteY7" fmla="*/ 0 h 1284962"/>
                <a:gd name="connsiteX0" fmla="*/ 76200 w 413467"/>
                <a:gd name="connsiteY0" fmla="*/ 0 h 1284962"/>
                <a:gd name="connsiteX1" fmla="*/ 413467 w 413467"/>
                <a:gd name="connsiteY1" fmla="*/ 0 h 1284962"/>
                <a:gd name="connsiteX2" fmla="*/ 413467 w 413467"/>
                <a:gd name="connsiteY2" fmla="*/ 457200 h 1284962"/>
                <a:gd name="connsiteX3" fmla="*/ 191021 w 413467"/>
                <a:gd name="connsiteY3" fmla="*/ 1197279 h 1284962"/>
                <a:gd name="connsiteX4" fmla="*/ 87682 w 413467"/>
                <a:gd name="connsiteY4" fmla="*/ 1284962 h 1284962"/>
                <a:gd name="connsiteX5" fmla="*/ 0 w 413467"/>
                <a:gd name="connsiteY5" fmla="*/ 1175358 h 1284962"/>
                <a:gd name="connsiteX6" fmla="*/ 73069 w 413467"/>
                <a:gd name="connsiteY6" fmla="*/ 460331 h 1284962"/>
                <a:gd name="connsiteX7" fmla="*/ 76200 w 413467"/>
                <a:gd name="connsiteY7" fmla="*/ 0 h 1284962"/>
                <a:gd name="connsiteX0" fmla="*/ 76200 w 413467"/>
                <a:gd name="connsiteY0" fmla="*/ 0 h 1284962"/>
                <a:gd name="connsiteX1" fmla="*/ 413467 w 413467"/>
                <a:gd name="connsiteY1" fmla="*/ 0 h 1284962"/>
                <a:gd name="connsiteX2" fmla="*/ 413467 w 413467"/>
                <a:gd name="connsiteY2" fmla="*/ 457200 h 1284962"/>
                <a:gd name="connsiteX3" fmla="*/ 191021 w 413467"/>
                <a:gd name="connsiteY3" fmla="*/ 1197279 h 1284962"/>
                <a:gd name="connsiteX4" fmla="*/ 87682 w 413467"/>
                <a:gd name="connsiteY4" fmla="*/ 1284962 h 1284962"/>
                <a:gd name="connsiteX5" fmla="*/ 0 w 413467"/>
                <a:gd name="connsiteY5" fmla="*/ 1175358 h 1284962"/>
                <a:gd name="connsiteX6" fmla="*/ 172234 w 413467"/>
                <a:gd name="connsiteY6" fmla="*/ 555320 h 1284962"/>
                <a:gd name="connsiteX7" fmla="*/ 73069 w 413467"/>
                <a:gd name="connsiteY7" fmla="*/ 460331 h 1284962"/>
                <a:gd name="connsiteX8" fmla="*/ 76200 w 413467"/>
                <a:gd name="connsiteY8" fmla="*/ 0 h 1284962"/>
                <a:gd name="connsiteX0" fmla="*/ 76200 w 413467"/>
                <a:gd name="connsiteY0" fmla="*/ 0 h 1284962"/>
                <a:gd name="connsiteX1" fmla="*/ 413467 w 413467"/>
                <a:gd name="connsiteY1" fmla="*/ 0 h 1284962"/>
                <a:gd name="connsiteX2" fmla="*/ 413467 w 413467"/>
                <a:gd name="connsiteY2" fmla="*/ 457200 h 1284962"/>
                <a:gd name="connsiteX3" fmla="*/ 191021 w 413467"/>
                <a:gd name="connsiteY3" fmla="*/ 1197279 h 1284962"/>
                <a:gd name="connsiteX4" fmla="*/ 87682 w 413467"/>
                <a:gd name="connsiteY4" fmla="*/ 1284962 h 1284962"/>
                <a:gd name="connsiteX5" fmla="*/ 0 w 413467"/>
                <a:gd name="connsiteY5" fmla="*/ 1184752 h 1284962"/>
                <a:gd name="connsiteX6" fmla="*/ 172234 w 413467"/>
                <a:gd name="connsiteY6" fmla="*/ 555320 h 1284962"/>
                <a:gd name="connsiteX7" fmla="*/ 73069 w 413467"/>
                <a:gd name="connsiteY7" fmla="*/ 460331 h 1284962"/>
                <a:gd name="connsiteX8" fmla="*/ 76200 w 413467"/>
                <a:gd name="connsiteY8" fmla="*/ 0 h 1284962"/>
                <a:gd name="connsiteX0" fmla="*/ 76200 w 413467"/>
                <a:gd name="connsiteY0" fmla="*/ 0 h 1284962"/>
                <a:gd name="connsiteX1" fmla="*/ 413467 w 413467"/>
                <a:gd name="connsiteY1" fmla="*/ 0 h 1284962"/>
                <a:gd name="connsiteX2" fmla="*/ 413467 w 413467"/>
                <a:gd name="connsiteY2" fmla="*/ 457200 h 1284962"/>
                <a:gd name="connsiteX3" fmla="*/ 191021 w 413467"/>
                <a:gd name="connsiteY3" fmla="*/ 1197279 h 1284962"/>
                <a:gd name="connsiteX4" fmla="*/ 87682 w 413467"/>
                <a:gd name="connsiteY4" fmla="*/ 1284962 h 1284962"/>
                <a:gd name="connsiteX5" fmla="*/ 0 w 413467"/>
                <a:gd name="connsiteY5" fmla="*/ 1184752 h 1284962"/>
                <a:gd name="connsiteX6" fmla="*/ 172234 w 413467"/>
                <a:gd name="connsiteY6" fmla="*/ 555320 h 1284962"/>
                <a:gd name="connsiteX7" fmla="*/ 73069 w 413467"/>
                <a:gd name="connsiteY7" fmla="*/ 460331 h 1284962"/>
                <a:gd name="connsiteX8" fmla="*/ 76200 w 413467"/>
                <a:gd name="connsiteY8" fmla="*/ 0 h 1284962"/>
                <a:gd name="connsiteX0" fmla="*/ 76200 w 413467"/>
                <a:gd name="connsiteY0" fmla="*/ 0 h 1284962"/>
                <a:gd name="connsiteX1" fmla="*/ 413467 w 413467"/>
                <a:gd name="connsiteY1" fmla="*/ 0 h 1284962"/>
                <a:gd name="connsiteX2" fmla="*/ 413467 w 413467"/>
                <a:gd name="connsiteY2" fmla="*/ 457200 h 1284962"/>
                <a:gd name="connsiteX3" fmla="*/ 222338 w 413467"/>
                <a:gd name="connsiteY3" fmla="*/ 567846 h 1284962"/>
                <a:gd name="connsiteX4" fmla="*/ 191021 w 413467"/>
                <a:gd name="connsiteY4" fmla="*/ 1197279 h 1284962"/>
                <a:gd name="connsiteX5" fmla="*/ 87682 w 413467"/>
                <a:gd name="connsiteY5" fmla="*/ 1284962 h 1284962"/>
                <a:gd name="connsiteX6" fmla="*/ 0 w 413467"/>
                <a:gd name="connsiteY6" fmla="*/ 1184752 h 1284962"/>
                <a:gd name="connsiteX7" fmla="*/ 172234 w 413467"/>
                <a:gd name="connsiteY7" fmla="*/ 555320 h 1284962"/>
                <a:gd name="connsiteX8" fmla="*/ 73069 w 413467"/>
                <a:gd name="connsiteY8" fmla="*/ 460331 h 1284962"/>
                <a:gd name="connsiteX9" fmla="*/ 76200 w 413467"/>
                <a:gd name="connsiteY9" fmla="*/ 0 h 1284962"/>
                <a:gd name="connsiteX0" fmla="*/ 76200 w 413467"/>
                <a:gd name="connsiteY0" fmla="*/ 0 h 1284962"/>
                <a:gd name="connsiteX1" fmla="*/ 413467 w 413467"/>
                <a:gd name="connsiteY1" fmla="*/ 0 h 1284962"/>
                <a:gd name="connsiteX2" fmla="*/ 413467 w 413467"/>
                <a:gd name="connsiteY2" fmla="*/ 457200 h 1284962"/>
                <a:gd name="connsiteX3" fmla="*/ 222338 w 413467"/>
                <a:gd name="connsiteY3" fmla="*/ 567846 h 1284962"/>
                <a:gd name="connsiteX4" fmla="*/ 191021 w 413467"/>
                <a:gd name="connsiteY4" fmla="*/ 1197279 h 1284962"/>
                <a:gd name="connsiteX5" fmla="*/ 87682 w 413467"/>
                <a:gd name="connsiteY5" fmla="*/ 1284962 h 1284962"/>
                <a:gd name="connsiteX6" fmla="*/ 0 w 413467"/>
                <a:gd name="connsiteY6" fmla="*/ 1184752 h 1284962"/>
                <a:gd name="connsiteX7" fmla="*/ 172234 w 413467"/>
                <a:gd name="connsiteY7" fmla="*/ 555320 h 1284962"/>
                <a:gd name="connsiteX8" fmla="*/ 73069 w 413467"/>
                <a:gd name="connsiteY8" fmla="*/ 460331 h 1284962"/>
                <a:gd name="connsiteX9" fmla="*/ 76200 w 413467"/>
                <a:gd name="connsiteY9" fmla="*/ 0 h 1284962"/>
                <a:gd name="connsiteX0" fmla="*/ 76200 w 413467"/>
                <a:gd name="connsiteY0" fmla="*/ 0 h 1284962"/>
                <a:gd name="connsiteX1" fmla="*/ 413467 w 413467"/>
                <a:gd name="connsiteY1" fmla="*/ 0 h 1284962"/>
                <a:gd name="connsiteX2" fmla="*/ 413467 w 413467"/>
                <a:gd name="connsiteY2" fmla="*/ 457200 h 1284962"/>
                <a:gd name="connsiteX3" fmla="*/ 222338 w 413467"/>
                <a:gd name="connsiteY3" fmla="*/ 567846 h 1284962"/>
                <a:gd name="connsiteX4" fmla="*/ 191021 w 413467"/>
                <a:gd name="connsiteY4" fmla="*/ 1197279 h 1284962"/>
                <a:gd name="connsiteX5" fmla="*/ 87682 w 413467"/>
                <a:gd name="connsiteY5" fmla="*/ 1284962 h 1284962"/>
                <a:gd name="connsiteX6" fmla="*/ 0 w 413467"/>
                <a:gd name="connsiteY6" fmla="*/ 1184752 h 1284962"/>
                <a:gd name="connsiteX7" fmla="*/ 172234 w 413467"/>
                <a:gd name="connsiteY7" fmla="*/ 555320 h 1284962"/>
                <a:gd name="connsiteX8" fmla="*/ 73069 w 413467"/>
                <a:gd name="connsiteY8" fmla="*/ 460331 h 1284962"/>
                <a:gd name="connsiteX9" fmla="*/ 76200 w 413467"/>
                <a:gd name="connsiteY9" fmla="*/ 0 h 1284962"/>
                <a:gd name="connsiteX0" fmla="*/ 76200 w 413467"/>
                <a:gd name="connsiteY0" fmla="*/ 0 h 1284962"/>
                <a:gd name="connsiteX1" fmla="*/ 413467 w 413467"/>
                <a:gd name="connsiteY1" fmla="*/ 0 h 1284962"/>
                <a:gd name="connsiteX2" fmla="*/ 344574 w 413467"/>
                <a:gd name="connsiteY2" fmla="*/ 454069 h 1284962"/>
                <a:gd name="connsiteX3" fmla="*/ 222338 w 413467"/>
                <a:gd name="connsiteY3" fmla="*/ 567846 h 1284962"/>
                <a:gd name="connsiteX4" fmla="*/ 191021 w 413467"/>
                <a:gd name="connsiteY4" fmla="*/ 1197279 h 1284962"/>
                <a:gd name="connsiteX5" fmla="*/ 87682 w 413467"/>
                <a:gd name="connsiteY5" fmla="*/ 1284962 h 1284962"/>
                <a:gd name="connsiteX6" fmla="*/ 0 w 413467"/>
                <a:gd name="connsiteY6" fmla="*/ 1184752 h 1284962"/>
                <a:gd name="connsiteX7" fmla="*/ 172234 w 413467"/>
                <a:gd name="connsiteY7" fmla="*/ 555320 h 1284962"/>
                <a:gd name="connsiteX8" fmla="*/ 73069 w 413467"/>
                <a:gd name="connsiteY8" fmla="*/ 460331 h 1284962"/>
                <a:gd name="connsiteX9" fmla="*/ 76200 w 413467"/>
                <a:gd name="connsiteY9" fmla="*/ 0 h 1284962"/>
                <a:gd name="connsiteX0" fmla="*/ 76200 w 413467"/>
                <a:gd name="connsiteY0" fmla="*/ 0 h 1284962"/>
                <a:gd name="connsiteX1" fmla="*/ 413467 w 413467"/>
                <a:gd name="connsiteY1" fmla="*/ 0 h 1284962"/>
                <a:gd name="connsiteX2" fmla="*/ 344574 w 413467"/>
                <a:gd name="connsiteY2" fmla="*/ 454069 h 1284962"/>
                <a:gd name="connsiteX3" fmla="*/ 222338 w 413467"/>
                <a:gd name="connsiteY3" fmla="*/ 567846 h 1284962"/>
                <a:gd name="connsiteX4" fmla="*/ 191021 w 413467"/>
                <a:gd name="connsiteY4" fmla="*/ 1197279 h 1284962"/>
                <a:gd name="connsiteX5" fmla="*/ 87682 w 413467"/>
                <a:gd name="connsiteY5" fmla="*/ 1284962 h 1284962"/>
                <a:gd name="connsiteX6" fmla="*/ 0 w 413467"/>
                <a:gd name="connsiteY6" fmla="*/ 1184752 h 1284962"/>
                <a:gd name="connsiteX7" fmla="*/ 172234 w 413467"/>
                <a:gd name="connsiteY7" fmla="*/ 555320 h 1284962"/>
                <a:gd name="connsiteX8" fmla="*/ 73069 w 413467"/>
                <a:gd name="connsiteY8" fmla="*/ 460331 h 1284962"/>
                <a:gd name="connsiteX9" fmla="*/ 76200 w 413467"/>
                <a:gd name="connsiteY9" fmla="*/ 0 h 1284962"/>
                <a:gd name="connsiteX0" fmla="*/ 76200 w 413467"/>
                <a:gd name="connsiteY0" fmla="*/ 0 h 1284962"/>
                <a:gd name="connsiteX1" fmla="*/ 413467 w 413467"/>
                <a:gd name="connsiteY1" fmla="*/ 0 h 1284962"/>
                <a:gd name="connsiteX2" fmla="*/ 353969 w 413467"/>
                <a:gd name="connsiteY2" fmla="*/ 450937 h 1284962"/>
                <a:gd name="connsiteX3" fmla="*/ 222338 w 413467"/>
                <a:gd name="connsiteY3" fmla="*/ 567846 h 1284962"/>
                <a:gd name="connsiteX4" fmla="*/ 191021 w 413467"/>
                <a:gd name="connsiteY4" fmla="*/ 1197279 h 1284962"/>
                <a:gd name="connsiteX5" fmla="*/ 87682 w 413467"/>
                <a:gd name="connsiteY5" fmla="*/ 1284962 h 1284962"/>
                <a:gd name="connsiteX6" fmla="*/ 0 w 413467"/>
                <a:gd name="connsiteY6" fmla="*/ 1184752 h 1284962"/>
                <a:gd name="connsiteX7" fmla="*/ 172234 w 413467"/>
                <a:gd name="connsiteY7" fmla="*/ 555320 h 1284962"/>
                <a:gd name="connsiteX8" fmla="*/ 73069 w 413467"/>
                <a:gd name="connsiteY8" fmla="*/ 460331 h 1284962"/>
                <a:gd name="connsiteX9" fmla="*/ 76200 w 413467"/>
                <a:gd name="connsiteY9" fmla="*/ 0 h 1284962"/>
                <a:gd name="connsiteX0" fmla="*/ 76200 w 413467"/>
                <a:gd name="connsiteY0" fmla="*/ 0 h 1284962"/>
                <a:gd name="connsiteX1" fmla="*/ 413467 w 413467"/>
                <a:gd name="connsiteY1" fmla="*/ 0 h 1284962"/>
                <a:gd name="connsiteX2" fmla="*/ 353969 w 413467"/>
                <a:gd name="connsiteY2" fmla="*/ 450937 h 1284962"/>
                <a:gd name="connsiteX3" fmla="*/ 222338 w 413467"/>
                <a:gd name="connsiteY3" fmla="*/ 567846 h 1284962"/>
                <a:gd name="connsiteX4" fmla="*/ 191021 w 413467"/>
                <a:gd name="connsiteY4" fmla="*/ 1197279 h 1284962"/>
                <a:gd name="connsiteX5" fmla="*/ 87682 w 413467"/>
                <a:gd name="connsiteY5" fmla="*/ 1284962 h 1284962"/>
                <a:gd name="connsiteX6" fmla="*/ 0 w 413467"/>
                <a:gd name="connsiteY6" fmla="*/ 1184752 h 1284962"/>
                <a:gd name="connsiteX7" fmla="*/ 172234 w 413467"/>
                <a:gd name="connsiteY7" fmla="*/ 555320 h 1284962"/>
                <a:gd name="connsiteX8" fmla="*/ 73069 w 413467"/>
                <a:gd name="connsiteY8" fmla="*/ 460331 h 1284962"/>
                <a:gd name="connsiteX9" fmla="*/ 76200 w 413467"/>
                <a:gd name="connsiteY9" fmla="*/ 0 h 1284962"/>
                <a:gd name="connsiteX0" fmla="*/ 76200 w 413467"/>
                <a:gd name="connsiteY0" fmla="*/ 0 h 1284962"/>
                <a:gd name="connsiteX1" fmla="*/ 413467 w 413467"/>
                <a:gd name="connsiteY1" fmla="*/ 0 h 1284962"/>
                <a:gd name="connsiteX2" fmla="*/ 353969 w 413467"/>
                <a:gd name="connsiteY2" fmla="*/ 450937 h 1284962"/>
                <a:gd name="connsiteX3" fmla="*/ 222338 w 413467"/>
                <a:gd name="connsiteY3" fmla="*/ 567846 h 1284962"/>
                <a:gd name="connsiteX4" fmla="*/ 191021 w 413467"/>
                <a:gd name="connsiteY4" fmla="*/ 1197279 h 1284962"/>
                <a:gd name="connsiteX5" fmla="*/ 87682 w 413467"/>
                <a:gd name="connsiteY5" fmla="*/ 1284962 h 1284962"/>
                <a:gd name="connsiteX6" fmla="*/ 0 w 413467"/>
                <a:gd name="connsiteY6" fmla="*/ 1184752 h 1284962"/>
                <a:gd name="connsiteX7" fmla="*/ 172234 w 413467"/>
                <a:gd name="connsiteY7" fmla="*/ 555320 h 1284962"/>
                <a:gd name="connsiteX8" fmla="*/ 82463 w 413467"/>
                <a:gd name="connsiteY8" fmla="*/ 457200 h 1284962"/>
                <a:gd name="connsiteX9" fmla="*/ 76200 w 413467"/>
                <a:gd name="connsiteY9" fmla="*/ 0 h 1284962"/>
                <a:gd name="connsiteX0" fmla="*/ 76200 w 413467"/>
                <a:gd name="connsiteY0" fmla="*/ 0 h 1284962"/>
                <a:gd name="connsiteX1" fmla="*/ 413467 w 413467"/>
                <a:gd name="connsiteY1" fmla="*/ 0 h 1284962"/>
                <a:gd name="connsiteX2" fmla="*/ 353969 w 413467"/>
                <a:gd name="connsiteY2" fmla="*/ 450937 h 1284962"/>
                <a:gd name="connsiteX3" fmla="*/ 222338 w 413467"/>
                <a:gd name="connsiteY3" fmla="*/ 567846 h 1284962"/>
                <a:gd name="connsiteX4" fmla="*/ 191021 w 413467"/>
                <a:gd name="connsiteY4" fmla="*/ 1197279 h 1284962"/>
                <a:gd name="connsiteX5" fmla="*/ 87682 w 413467"/>
                <a:gd name="connsiteY5" fmla="*/ 1284962 h 1284962"/>
                <a:gd name="connsiteX6" fmla="*/ 0 w 413467"/>
                <a:gd name="connsiteY6" fmla="*/ 1184752 h 1284962"/>
                <a:gd name="connsiteX7" fmla="*/ 172234 w 413467"/>
                <a:gd name="connsiteY7" fmla="*/ 555320 h 1284962"/>
                <a:gd name="connsiteX8" fmla="*/ 82463 w 413467"/>
                <a:gd name="connsiteY8" fmla="*/ 457200 h 1284962"/>
                <a:gd name="connsiteX9" fmla="*/ 76200 w 413467"/>
                <a:gd name="connsiteY9" fmla="*/ 0 h 1284962"/>
                <a:gd name="connsiteX0" fmla="*/ 88295 w 413467"/>
                <a:gd name="connsiteY0" fmla="*/ 229810 h 1284962"/>
                <a:gd name="connsiteX1" fmla="*/ 413467 w 413467"/>
                <a:gd name="connsiteY1" fmla="*/ 0 h 1284962"/>
                <a:gd name="connsiteX2" fmla="*/ 353969 w 413467"/>
                <a:gd name="connsiteY2" fmla="*/ 450937 h 1284962"/>
                <a:gd name="connsiteX3" fmla="*/ 222338 w 413467"/>
                <a:gd name="connsiteY3" fmla="*/ 567846 h 1284962"/>
                <a:gd name="connsiteX4" fmla="*/ 191021 w 413467"/>
                <a:gd name="connsiteY4" fmla="*/ 1197279 h 1284962"/>
                <a:gd name="connsiteX5" fmla="*/ 87682 w 413467"/>
                <a:gd name="connsiteY5" fmla="*/ 1284962 h 1284962"/>
                <a:gd name="connsiteX6" fmla="*/ 0 w 413467"/>
                <a:gd name="connsiteY6" fmla="*/ 1184752 h 1284962"/>
                <a:gd name="connsiteX7" fmla="*/ 172234 w 413467"/>
                <a:gd name="connsiteY7" fmla="*/ 555320 h 1284962"/>
                <a:gd name="connsiteX8" fmla="*/ 82463 w 413467"/>
                <a:gd name="connsiteY8" fmla="*/ 457200 h 1284962"/>
                <a:gd name="connsiteX9" fmla="*/ 88295 w 413467"/>
                <a:gd name="connsiteY9" fmla="*/ 229810 h 1284962"/>
                <a:gd name="connsiteX0" fmla="*/ 88295 w 413467"/>
                <a:gd name="connsiteY0" fmla="*/ 229810 h 1284962"/>
                <a:gd name="connsiteX1" fmla="*/ 413467 w 413467"/>
                <a:gd name="connsiteY1" fmla="*/ 0 h 1284962"/>
                <a:gd name="connsiteX2" fmla="*/ 353969 w 413467"/>
                <a:gd name="connsiteY2" fmla="*/ 450937 h 1284962"/>
                <a:gd name="connsiteX3" fmla="*/ 222338 w 413467"/>
                <a:gd name="connsiteY3" fmla="*/ 567846 h 1284962"/>
                <a:gd name="connsiteX4" fmla="*/ 191021 w 413467"/>
                <a:gd name="connsiteY4" fmla="*/ 1197279 h 1284962"/>
                <a:gd name="connsiteX5" fmla="*/ 87682 w 413467"/>
                <a:gd name="connsiteY5" fmla="*/ 1284962 h 1284962"/>
                <a:gd name="connsiteX6" fmla="*/ 0 w 413467"/>
                <a:gd name="connsiteY6" fmla="*/ 1184752 h 1284962"/>
                <a:gd name="connsiteX7" fmla="*/ 172234 w 413467"/>
                <a:gd name="connsiteY7" fmla="*/ 555320 h 1284962"/>
                <a:gd name="connsiteX8" fmla="*/ 82463 w 413467"/>
                <a:gd name="connsiteY8" fmla="*/ 457200 h 1284962"/>
                <a:gd name="connsiteX9" fmla="*/ 88295 w 413467"/>
                <a:gd name="connsiteY9" fmla="*/ 229810 h 1284962"/>
                <a:gd name="connsiteX0" fmla="*/ 88295 w 413467"/>
                <a:gd name="connsiteY0" fmla="*/ 229810 h 1284962"/>
                <a:gd name="connsiteX1" fmla="*/ 413467 w 413467"/>
                <a:gd name="connsiteY1" fmla="*/ 0 h 1284962"/>
                <a:gd name="connsiteX2" fmla="*/ 353969 w 413467"/>
                <a:gd name="connsiteY2" fmla="*/ 450937 h 1284962"/>
                <a:gd name="connsiteX3" fmla="*/ 222338 w 413467"/>
                <a:gd name="connsiteY3" fmla="*/ 567846 h 1284962"/>
                <a:gd name="connsiteX4" fmla="*/ 191021 w 413467"/>
                <a:gd name="connsiteY4" fmla="*/ 1197279 h 1284962"/>
                <a:gd name="connsiteX5" fmla="*/ 87682 w 413467"/>
                <a:gd name="connsiteY5" fmla="*/ 1284962 h 1284962"/>
                <a:gd name="connsiteX6" fmla="*/ 0 w 413467"/>
                <a:gd name="connsiteY6" fmla="*/ 1184752 h 1284962"/>
                <a:gd name="connsiteX7" fmla="*/ 172234 w 413467"/>
                <a:gd name="connsiteY7" fmla="*/ 555320 h 1284962"/>
                <a:gd name="connsiteX8" fmla="*/ 82463 w 413467"/>
                <a:gd name="connsiteY8" fmla="*/ 457200 h 1284962"/>
                <a:gd name="connsiteX9" fmla="*/ 106439 w 413467"/>
                <a:gd name="connsiteY9" fmla="*/ 341085 h 1284962"/>
                <a:gd name="connsiteX10" fmla="*/ 88295 w 413467"/>
                <a:gd name="connsiteY10" fmla="*/ 229810 h 1284962"/>
                <a:gd name="connsiteX0" fmla="*/ 88295 w 413467"/>
                <a:gd name="connsiteY0" fmla="*/ 229810 h 1284962"/>
                <a:gd name="connsiteX1" fmla="*/ 413467 w 413467"/>
                <a:gd name="connsiteY1" fmla="*/ 0 h 1284962"/>
                <a:gd name="connsiteX2" fmla="*/ 353969 w 413467"/>
                <a:gd name="connsiteY2" fmla="*/ 450937 h 1284962"/>
                <a:gd name="connsiteX3" fmla="*/ 222338 w 413467"/>
                <a:gd name="connsiteY3" fmla="*/ 567846 h 1284962"/>
                <a:gd name="connsiteX4" fmla="*/ 191021 w 413467"/>
                <a:gd name="connsiteY4" fmla="*/ 1197279 h 1284962"/>
                <a:gd name="connsiteX5" fmla="*/ 87682 w 413467"/>
                <a:gd name="connsiteY5" fmla="*/ 1284962 h 1284962"/>
                <a:gd name="connsiteX6" fmla="*/ 0 w 413467"/>
                <a:gd name="connsiteY6" fmla="*/ 1184752 h 1284962"/>
                <a:gd name="connsiteX7" fmla="*/ 172234 w 413467"/>
                <a:gd name="connsiteY7" fmla="*/ 555320 h 1284962"/>
                <a:gd name="connsiteX8" fmla="*/ 82463 w 413467"/>
                <a:gd name="connsiteY8" fmla="*/ 457200 h 1284962"/>
                <a:gd name="connsiteX9" fmla="*/ 106439 w 413467"/>
                <a:gd name="connsiteY9" fmla="*/ 341085 h 1284962"/>
                <a:gd name="connsiteX10" fmla="*/ 88295 w 413467"/>
                <a:gd name="connsiteY10" fmla="*/ 229810 h 1284962"/>
                <a:gd name="connsiteX0" fmla="*/ 88295 w 413467"/>
                <a:gd name="connsiteY0" fmla="*/ 229810 h 1284962"/>
                <a:gd name="connsiteX1" fmla="*/ 413467 w 413467"/>
                <a:gd name="connsiteY1" fmla="*/ 0 h 1284962"/>
                <a:gd name="connsiteX2" fmla="*/ 353969 w 413467"/>
                <a:gd name="connsiteY2" fmla="*/ 450937 h 1284962"/>
                <a:gd name="connsiteX3" fmla="*/ 222338 w 413467"/>
                <a:gd name="connsiteY3" fmla="*/ 567846 h 1284962"/>
                <a:gd name="connsiteX4" fmla="*/ 191021 w 413467"/>
                <a:gd name="connsiteY4" fmla="*/ 1197279 h 1284962"/>
                <a:gd name="connsiteX5" fmla="*/ 87682 w 413467"/>
                <a:gd name="connsiteY5" fmla="*/ 1284962 h 1284962"/>
                <a:gd name="connsiteX6" fmla="*/ 0 w 413467"/>
                <a:gd name="connsiteY6" fmla="*/ 1184752 h 1284962"/>
                <a:gd name="connsiteX7" fmla="*/ 172234 w 413467"/>
                <a:gd name="connsiteY7" fmla="*/ 555320 h 1284962"/>
                <a:gd name="connsiteX8" fmla="*/ 82463 w 413467"/>
                <a:gd name="connsiteY8" fmla="*/ 457200 h 1284962"/>
                <a:gd name="connsiteX9" fmla="*/ 106439 w 413467"/>
                <a:gd name="connsiteY9" fmla="*/ 341085 h 1284962"/>
                <a:gd name="connsiteX10" fmla="*/ 88295 w 413467"/>
                <a:gd name="connsiteY10" fmla="*/ 229810 h 1284962"/>
                <a:gd name="connsiteX0" fmla="*/ 88295 w 413467"/>
                <a:gd name="connsiteY0" fmla="*/ 229810 h 1284962"/>
                <a:gd name="connsiteX1" fmla="*/ 413467 w 413467"/>
                <a:gd name="connsiteY1" fmla="*/ 0 h 1284962"/>
                <a:gd name="connsiteX2" fmla="*/ 353969 w 413467"/>
                <a:gd name="connsiteY2" fmla="*/ 450937 h 1284962"/>
                <a:gd name="connsiteX3" fmla="*/ 222338 w 413467"/>
                <a:gd name="connsiteY3" fmla="*/ 567846 h 1284962"/>
                <a:gd name="connsiteX4" fmla="*/ 191021 w 413467"/>
                <a:gd name="connsiteY4" fmla="*/ 1197279 h 1284962"/>
                <a:gd name="connsiteX5" fmla="*/ 87682 w 413467"/>
                <a:gd name="connsiteY5" fmla="*/ 1284962 h 1284962"/>
                <a:gd name="connsiteX6" fmla="*/ 0 w 413467"/>
                <a:gd name="connsiteY6" fmla="*/ 1184752 h 1284962"/>
                <a:gd name="connsiteX7" fmla="*/ 172234 w 413467"/>
                <a:gd name="connsiteY7" fmla="*/ 555320 h 1284962"/>
                <a:gd name="connsiteX8" fmla="*/ 82463 w 413467"/>
                <a:gd name="connsiteY8" fmla="*/ 459619 h 1284962"/>
                <a:gd name="connsiteX9" fmla="*/ 106439 w 413467"/>
                <a:gd name="connsiteY9" fmla="*/ 341085 h 1284962"/>
                <a:gd name="connsiteX10" fmla="*/ 88295 w 413467"/>
                <a:gd name="connsiteY10" fmla="*/ 229810 h 1284962"/>
                <a:gd name="connsiteX0" fmla="*/ 88295 w 413467"/>
                <a:gd name="connsiteY0" fmla="*/ 229810 h 1284962"/>
                <a:gd name="connsiteX1" fmla="*/ 413467 w 413467"/>
                <a:gd name="connsiteY1" fmla="*/ 0 h 1284962"/>
                <a:gd name="connsiteX2" fmla="*/ 353969 w 413467"/>
                <a:gd name="connsiteY2" fmla="*/ 450937 h 1284962"/>
                <a:gd name="connsiteX3" fmla="*/ 222338 w 413467"/>
                <a:gd name="connsiteY3" fmla="*/ 567846 h 1284962"/>
                <a:gd name="connsiteX4" fmla="*/ 191021 w 413467"/>
                <a:gd name="connsiteY4" fmla="*/ 1197279 h 1284962"/>
                <a:gd name="connsiteX5" fmla="*/ 87682 w 413467"/>
                <a:gd name="connsiteY5" fmla="*/ 1284962 h 1284962"/>
                <a:gd name="connsiteX6" fmla="*/ 0 w 413467"/>
                <a:gd name="connsiteY6" fmla="*/ 1184752 h 1284962"/>
                <a:gd name="connsiteX7" fmla="*/ 172234 w 413467"/>
                <a:gd name="connsiteY7" fmla="*/ 555320 h 1284962"/>
                <a:gd name="connsiteX8" fmla="*/ 82463 w 413467"/>
                <a:gd name="connsiteY8" fmla="*/ 459619 h 1284962"/>
                <a:gd name="connsiteX9" fmla="*/ 106439 w 413467"/>
                <a:gd name="connsiteY9" fmla="*/ 341085 h 1284962"/>
                <a:gd name="connsiteX10" fmla="*/ 88295 w 413467"/>
                <a:gd name="connsiteY10" fmla="*/ 229810 h 1284962"/>
                <a:gd name="connsiteX0" fmla="*/ 88295 w 413467"/>
                <a:gd name="connsiteY0" fmla="*/ 229810 h 1284962"/>
                <a:gd name="connsiteX1" fmla="*/ 413467 w 413467"/>
                <a:gd name="connsiteY1" fmla="*/ 0 h 1284962"/>
                <a:gd name="connsiteX2" fmla="*/ 353969 w 413467"/>
                <a:gd name="connsiteY2" fmla="*/ 450937 h 1284962"/>
                <a:gd name="connsiteX3" fmla="*/ 222338 w 413467"/>
                <a:gd name="connsiteY3" fmla="*/ 567846 h 1284962"/>
                <a:gd name="connsiteX4" fmla="*/ 191021 w 413467"/>
                <a:gd name="connsiteY4" fmla="*/ 1197279 h 1284962"/>
                <a:gd name="connsiteX5" fmla="*/ 87682 w 413467"/>
                <a:gd name="connsiteY5" fmla="*/ 1284962 h 1284962"/>
                <a:gd name="connsiteX6" fmla="*/ 0 w 413467"/>
                <a:gd name="connsiteY6" fmla="*/ 1184752 h 1284962"/>
                <a:gd name="connsiteX7" fmla="*/ 172234 w 413467"/>
                <a:gd name="connsiteY7" fmla="*/ 555320 h 1284962"/>
                <a:gd name="connsiteX8" fmla="*/ 82463 w 413467"/>
                <a:gd name="connsiteY8" fmla="*/ 459619 h 1284962"/>
                <a:gd name="connsiteX9" fmla="*/ 106439 w 413467"/>
                <a:gd name="connsiteY9" fmla="*/ 341085 h 1284962"/>
                <a:gd name="connsiteX10" fmla="*/ 88295 w 413467"/>
                <a:gd name="connsiteY10" fmla="*/ 229810 h 1284962"/>
                <a:gd name="connsiteX0" fmla="*/ 88295 w 389277"/>
                <a:gd name="connsiteY0" fmla="*/ 2419 h 1057571"/>
                <a:gd name="connsiteX1" fmla="*/ 389277 w 389277"/>
                <a:gd name="connsiteY1" fmla="*/ 0 h 1057571"/>
                <a:gd name="connsiteX2" fmla="*/ 353969 w 389277"/>
                <a:gd name="connsiteY2" fmla="*/ 223546 h 1057571"/>
                <a:gd name="connsiteX3" fmla="*/ 222338 w 389277"/>
                <a:gd name="connsiteY3" fmla="*/ 340455 h 1057571"/>
                <a:gd name="connsiteX4" fmla="*/ 191021 w 389277"/>
                <a:gd name="connsiteY4" fmla="*/ 969888 h 1057571"/>
                <a:gd name="connsiteX5" fmla="*/ 87682 w 389277"/>
                <a:gd name="connsiteY5" fmla="*/ 1057571 h 1057571"/>
                <a:gd name="connsiteX6" fmla="*/ 0 w 389277"/>
                <a:gd name="connsiteY6" fmla="*/ 957361 h 1057571"/>
                <a:gd name="connsiteX7" fmla="*/ 172234 w 389277"/>
                <a:gd name="connsiteY7" fmla="*/ 327929 h 1057571"/>
                <a:gd name="connsiteX8" fmla="*/ 82463 w 389277"/>
                <a:gd name="connsiteY8" fmla="*/ 232228 h 1057571"/>
                <a:gd name="connsiteX9" fmla="*/ 106439 w 389277"/>
                <a:gd name="connsiteY9" fmla="*/ 113694 h 1057571"/>
                <a:gd name="connsiteX10" fmla="*/ 88295 w 389277"/>
                <a:gd name="connsiteY10" fmla="*/ 2419 h 1057571"/>
                <a:gd name="connsiteX0" fmla="*/ 88295 w 389277"/>
                <a:gd name="connsiteY0" fmla="*/ 2419 h 1057571"/>
                <a:gd name="connsiteX1" fmla="*/ 389277 w 389277"/>
                <a:gd name="connsiteY1" fmla="*/ 0 h 1057571"/>
                <a:gd name="connsiteX2" fmla="*/ 355601 w 389277"/>
                <a:gd name="connsiteY2" fmla="*/ 128208 h 1057571"/>
                <a:gd name="connsiteX3" fmla="*/ 353969 w 389277"/>
                <a:gd name="connsiteY3" fmla="*/ 223546 h 1057571"/>
                <a:gd name="connsiteX4" fmla="*/ 222338 w 389277"/>
                <a:gd name="connsiteY4" fmla="*/ 340455 h 1057571"/>
                <a:gd name="connsiteX5" fmla="*/ 191021 w 389277"/>
                <a:gd name="connsiteY5" fmla="*/ 969888 h 1057571"/>
                <a:gd name="connsiteX6" fmla="*/ 87682 w 389277"/>
                <a:gd name="connsiteY6" fmla="*/ 1057571 h 1057571"/>
                <a:gd name="connsiteX7" fmla="*/ 0 w 389277"/>
                <a:gd name="connsiteY7" fmla="*/ 957361 h 1057571"/>
                <a:gd name="connsiteX8" fmla="*/ 172234 w 389277"/>
                <a:gd name="connsiteY8" fmla="*/ 327929 h 1057571"/>
                <a:gd name="connsiteX9" fmla="*/ 82463 w 389277"/>
                <a:gd name="connsiteY9" fmla="*/ 232228 h 1057571"/>
                <a:gd name="connsiteX10" fmla="*/ 106439 w 389277"/>
                <a:gd name="connsiteY10" fmla="*/ 113694 h 1057571"/>
                <a:gd name="connsiteX11" fmla="*/ 88295 w 389277"/>
                <a:gd name="connsiteY11" fmla="*/ 2419 h 1057571"/>
                <a:gd name="connsiteX0" fmla="*/ 88295 w 389277"/>
                <a:gd name="connsiteY0" fmla="*/ 2419 h 1057571"/>
                <a:gd name="connsiteX1" fmla="*/ 389277 w 389277"/>
                <a:gd name="connsiteY1" fmla="*/ 0 h 1057571"/>
                <a:gd name="connsiteX2" fmla="*/ 355601 w 389277"/>
                <a:gd name="connsiteY2" fmla="*/ 128208 h 1057571"/>
                <a:gd name="connsiteX3" fmla="*/ 353969 w 389277"/>
                <a:gd name="connsiteY3" fmla="*/ 223546 h 1057571"/>
                <a:gd name="connsiteX4" fmla="*/ 222338 w 389277"/>
                <a:gd name="connsiteY4" fmla="*/ 340455 h 1057571"/>
                <a:gd name="connsiteX5" fmla="*/ 191021 w 389277"/>
                <a:gd name="connsiteY5" fmla="*/ 969888 h 1057571"/>
                <a:gd name="connsiteX6" fmla="*/ 87682 w 389277"/>
                <a:gd name="connsiteY6" fmla="*/ 1057571 h 1057571"/>
                <a:gd name="connsiteX7" fmla="*/ 0 w 389277"/>
                <a:gd name="connsiteY7" fmla="*/ 957361 h 1057571"/>
                <a:gd name="connsiteX8" fmla="*/ 172234 w 389277"/>
                <a:gd name="connsiteY8" fmla="*/ 327929 h 1057571"/>
                <a:gd name="connsiteX9" fmla="*/ 82463 w 389277"/>
                <a:gd name="connsiteY9" fmla="*/ 232228 h 1057571"/>
                <a:gd name="connsiteX10" fmla="*/ 106439 w 389277"/>
                <a:gd name="connsiteY10" fmla="*/ 113694 h 1057571"/>
                <a:gd name="connsiteX11" fmla="*/ 88295 w 389277"/>
                <a:gd name="connsiteY11" fmla="*/ 2419 h 1057571"/>
                <a:gd name="connsiteX0" fmla="*/ 88295 w 389277"/>
                <a:gd name="connsiteY0" fmla="*/ 2419 h 1057571"/>
                <a:gd name="connsiteX1" fmla="*/ 389277 w 389277"/>
                <a:gd name="connsiteY1" fmla="*/ 0 h 1057571"/>
                <a:gd name="connsiteX2" fmla="*/ 355601 w 389277"/>
                <a:gd name="connsiteY2" fmla="*/ 128208 h 1057571"/>
                <a:gd name="connsiteX3" fmla="*/ 353969 w 389277"/>
                <a:gd name="connsiteY3" fmla="*/ 223546 h 1057571"/>
                <a:gd name="connsiteX4" fmla="*/ 222338 w 389277"/>
                <a:gd name="connsiteY4" fmla="*/ 340455 h 1057571"/>
                <a:gd name="connsiteX5" fmla="*/ 191021 w 389277"/>
                <a:gd name="connsiteY5" fmla="*/ 969888 h 1057571"/>
                <a:gd name="connsiteX6" fmla="*/ 87682 w 389277"/>
                <a:gd name="connsiteY6" fmla="*/ 1057571 h 1057571"/>
                <a:gd name="connsiteX7" fmla="*/ 0 w 389277"/>
                <a:gd name="connsiteY7" fmla="*/ 957361 h 1057571"/>
                <a:gd name="connsiteX8" fmla="*/ 172234 w 389277"/>
                <a:gd name="connsiteY8" fmla="*/ 327929 h 1057571"/>
                <a:gd name="connsiteX9" fmla="*/ 82463 w 389277"/>
                <a:gd name="connsiteY9" fmla="*/ 232228 h 1057571"/>
                <a:gd name="connsiteX10" fmla="*/ 106439 w 389277"/>
                <a:gd name="connsiteY10" fmla="*/ 113694 h 1057571"/>
                <a:gd name="connsiteX11" fmla="*/ 88295 w 389277"/>
                <a:gd name="connsiteY11" fmla="*/ 2419 h 1057571"/>
                <a:gd name="connsiteX0" fmla="*/ 88295 w 404838"/>
                <a:gd name="connsiteY0" fmla="*/ 2419 h 1057571"/>
                <a:gd name="connsiteX1" fmla="*/ 389277 w 404838"/>
                <a:gd name="connsiteY1" fmla="*/ 0 h 1057571"/>
                <a:gd name="connsiteX2" fmla="*/ 355601 w 404838"/>
                <a:gd name="connsiteY2" fmla="*/ 128208 h 1057571"/>
                <a:gd name="connsiteX3" fmla="*/ 353969 w 404838"/>
                <a:gd name="connsiteY3" fmla="*/ 223546 h 1057571"/>
                <a:gd name="connsiteX4" fmla="*/ 222338 w 404838"/>
                <a:gd name="connsiteY4" fmla="*/ 340455 h 1057571"/>
                <a:gd name="connsiteX5" fmla="*/ 191021 w 404838"/>
                <a:gd name="connsiteY5" fmla="*/ 969888 h 1057571"/>
                <a:gd name="connsiteX6" fmla="*/ 87682 w 404838"/>
                <a:gd name="connsiteY6" fmla="*/ 1057571 h 1057571"/>
                <a:gd name="connsiteX7" fmla="*/ 0 w 404838"/>
                <a:gd name="connsiteY7" fmla="*/ 957361 h 1057571"/>
                <a:gd name="connsiteX8" fmla="*/ 172234 w 404838"/>
                <a:gd name="connsiteY8" fmla="*/ 327929 h 1057571"/>
                <a:gd name="connsiteX9" fmla="*/ 82463 w 404838"/>
                <a:gd name="connsiteY9" fmla="*/ 232228 h 1057571"/>
                <a:gd name="connsiteX10" fmla="*/ 106439 w 404838"/>
                <a:gd name="connsiteY10" fmla="*/ 113694 h 1057571"/>
                <a:gd name="connsiteX11" fmla="*/ 88295 w 404838"/>
                <a:gd name="connsiteY11" fmla="*/ 2419 h 1057571"/>
                <a:gd name="connsiteX0" fmla="*/ 88295 w 404838"/>
                <a:gd name="connsiteY0" fmla="*/ 111277 h 1166429"/>
                <a:gd name="connsiteX1" fmla="*/ 389277 w 404838"/>
                <a:gd name="connsiteY1" fmla="*/ 108858 h 1166429"/>
                <a:gd name="connsiteX2" fmla="*/ 355601 w 404838"/>
                <a:gd name="connsiteY2" fmla="*/ 237066 h 1166429"/>
                <a:gd name="connsiteX3" fmla="*/ 353969 w 404838"/>
                <a:gd name="connsiteY3" fmla="*/ 332404 h 1166429"/>
                <a:gd name="connsiteX4" fmla="*/ 222338 w 404838"/>
                <a:gd name="connsiteY4" fmla="*/ 449313 h 1166429"/>
                <a:gd name="connsiteX5" fmla="*/ 191021 w 404838"/>
                <a:gd name="connsiteY5" fmla="*/ 1078746 h 1166429"/>
                <a:gd name="connsiteX6" fmla="*/ 87682 w 404838"/>
                <a:gd name="connsiteY6" fmla="*/ 1166429 h 1166429"/>
                <a:gd name="connsiteX7" fmla="*/ 0 w 404838"/>
                <a:gd name="connsiteY7" fmla="*/ 1066219 h 1166429"/>
                <a:gd name="connsiteX8" fmla="*/ 172234 w 404838"/>
                <a:gd name="connsiteY8" fmla="*/ 436787 h 1166429"/>
                <a:gd name="connsiteX9" fmla="*/ 82463 w 404838"/>
                <a:gd name="connsiteY9" fmla="*/ 341086 h 1166429"/>
                <a:gd name="connsiteX10" fmla="*/ 106439 w 404838"/>
                <a:gd name="connsiteY10" fmla="*/ 222552 h 1166429"/>
                <a:gd name="connsiteX11" fmla="*/ 88295 w 404838"/>
                <a:gd name="connsiteY11" fmla="*/ 111277 h 1166429"/>
                <a:gd name="connsiteX0" fmla="*/ 88295 w 404838"/>
                <a:gd name="connsiteY0" fmla="*/ 189903 h 1245055"/>
                <a:gd name="connsiteX1" fmla="*/ 389277 w 404838"/>
                <a:gd name="connsiteY1" fmla="*/ 187484 h 1245055"/>
                <a:gd name="connsiteX2" fmla="*/ 355601 w 404838"/>
                <a:gd name="connsiteY2" fmla="*/ 315692 h 1245055"/>
                <a:gd name="connsiteX3" fmla="*/ 353969 w 404838"/>
                <a:gd name="connsiteY3" fmla="*/ 411030 h 1245055"/>
                <a:gd name="connsiteX4" fmla="*/ 222338 w 404838"/>
                <a:gd name="connsiteY4" fmla="*/ 527939 h 1245055"/>
                <a:gd name="connsiteX5" fmla="*/ 191021 w 404838"/>
                <a:gd name="connsiteY5" fmla="*/ 1157372 h 1245055"/>
                <a:gd name="connsiteX6" fmla="*/ 87682 w 404838"/>
                <a:gd name="connsiteY6" fmla="*/ 1245055 h 1245055"/>
                <a:gd name="connsiteX7" fmla="*/ 0 w 404838"/>
                <a:gd name="connsiteY7" fmla="*/ 1144845 h 1245055"/>
                <a:gd name="connsiteX8" fmla="*/ 172234 w 404838"/>
                <a:gd name="connsiteY8" fmla="*/ 515413 h 1245055"/>
                <a:gd name="connsiteX9" fmla="*/ 82463 w 404838"/>
                <a:gd name="connsiteY9" fmla="*/ 419712 h 1245055"/>
                <a:gd name="connsiteX10" fmla="*/ 106439 w 404838"/>
                <a:gd name="connsiteY10" fmla="*/ 301178 h 1245055"/>
                <a:gd name="connsiteX11" fmla="*/ 88295 w 404838"/>
                <a:gd name="connsiteY11" fmla="*/ 189903 h 1245055"/>
                <a:gd name="connsiteX0" fmla="*/ 88295 w 404838"/>
                <a:gd name="connsiteY0" fmla="*/ 188105 h 1243257"/>
                <a:gd name="connsiteX1" fmla="*/ 389277 w 404838"/>
                <a:gd name="connsiteY1" fmla="*/ 185686 h 1243257"/>
                <a:gd name="connsiteX2" fmla="*/ 355601 w 404838"/>
                <a:gd name="connsiteY2" fmla="*/ 313894 h 1243257"/>
                <a:gd name="connsiteX3" fmla="*/ 353969 w 404838"/>
                <a:gd name="connsiteY3" fmla="*/ 409232 h 1243257"/>
                <a:gd name="connsiteX4" fmla="*/ 222338 w 404838"/>
                <a:gd name="connsiteY4" fmla="*/ 526141 h 1243257"/>
                <a:gd name="connsiteX5" fmla="*/ 191021 w 404838"/>
                <a:gd name="connsiteY5" fmla="*/ 1155574 h 1243257"/>
                <a:gd name="connsiteX6" fmla="*/ 87682 w 404838"/>
                <a:gd name="connsiteY6" fmla="*/ 1243257 h 1243257"/>
                <a:gd name="connsiteX7" fmla="*/ 0 w 404838"/>
                <a:gd name="connsiteY7" fmla="*/ 1143047 h 1243257"/>
                <a:gd name="connsiteX8" fmla="*/ 172234 w 404838"/>
                <a:gd name="connsiteY8" fmla="*/ 513615 h 1243257"/>
                <a:gd name="connsiteX9" fmla="*/ 82463 w 404838"/>
                <a:gd name="connsiteY9" fmla="*/ 417914 h 1243257"/>
                <a:gd name="connsiteX10" fmla="*/ 106439 w 404838"/>
                <a:gd name="connsiteY10" fmla="*/ 299380 h 1243257"/>
                <a:gd name="connsiteX11" fmla="*/ 88295 w 404838"/>
                <a:gd name="connsiteY11" fmla="*/ 188105 h 1243257"/>
                <a:gd name="connsiteX0" fmla="*/ 88295 w 404838"/>
                <a:gd name="connsiteY0" fmla="*/ 189943 h 1245095"/>
                <a:gd name="connsiteX1" fmla="*/ 389277 w 404838"/>
                <a:gd name="connsiteY1" fmla="*/ 187524 h 1245095"/>
                <a:gd name="connsiteX2" fmla="*/ 355601 w 404838"/>
                <a:gd name="connsiteY2" fmla="*/ 315732 h 1245095"/>
                <a:gd name="connsiteX3" fmla="*/ 353969 w 404838"/>
                <a:gd name="connsiteY3" fmla="*/ 411070 h 1245095"/>
                <a:gd name="connsiteX4" fmla="*/ 222338 w 404838"/>
                <a:gd name="connsiteY4" fmla="*/ 527979 h 1245095"/>
                <a:gd name="connsiteX5" fmla="*/ 191021 w 404838"/>
                <a:gd name="connsiteY5" fmla="*/ 1157412 h 1245095"/>
                <a:gd name="connsiteX6" fmla="*/ 87682 w 404838"/>
                <a:gd name="connsiteY6" fmla="*/ 1245095 h 1245095"/>
                <a:gd name="connsiteX7" fmla="*/ 0 w 404838"/>
                <a:gd name="connsiteY7" fmla="*/ 1144885 h 1245095"/>
                <a:gd name="connsiteX8" fmla="*/ 172234 w 404838"/>
                <a:gd name="connsiteY8" fmla="*/ 515453 h 1245095"/>
                <a:gd name="connsiteX9" fmla="*/ 82463 w 404838"/>
                <a:gd name="connsiteY9" fmla="*/ 419752 h 1245095"/>
                <a:gd name="connsiteX10" fmla="*/ 106439 w 404838"/>
                <a:gd name="connsiteY10" fmla="*/ 301218 h 1245095"/>
                <a:gd name="connsiteX11" fmla="*/ 88295 w 404838"/>
                <a:gd name="connsiteY11" fmla="*/ 189943 h 1245095"/>
                <a:gd name="connsiteX0" fmla="*/ 88295 w 404838"/>
                <a:gd name="connsiteY0" fmla="*/ 187277 h 1242429"/>
                <a:gd name="connsiteX1" fmla="*/ 389277 w 404838"/>
                <a:gd name="connsiteY1" fmla="*/ 184858 h 1242429"/>
                <a:gd name="connsiteX2" fmla="*/ 355601 w 404838"/>
                <a:gd name="connsiteY2" fmla="*/ 313066 h 1242429"/>
                <a:gd name="connsiteX3" fmla="*/ 353969 w 404838"/>
                <a:gd name="connsiteY3" fmla="*/ 408404 h 1242429"/>
                <a:gd name="connsiteX4" fmla="*/ 222338 w 404838"/>
                <a:gd name="connsiteY4" fmla="*/ 525313 h 1242429"/>
                <a:gd name="connsiteX5" fmla="*/ 191021 w 404838"/>
                <a:gd name="connsiteY5" fmla="*/ 1154746 h 1242429"/>
                <a:gd name="connsiteX6" fmla="*/ 87682 w 404838"/>
                <a:gd name="connsiteY6" fmla="*/ 1242429 h 1242429"/>
                <a:gd name="connsiteX7" fmla="*/ 0 w 404838"/>
                <a:gd name="connsiteY7" fmla="*/ 1142219 h 1242429"/>
                <a:gd name="connsiteX8" fmla="*/ 172234 w 404838"/>
                <a:gd name="connsiteY8" fmla="*/ 512787 h 1242429"/>
                <a:gd name="connsiteX9" fmla="*/ 82463 w 404838"/>
                <a:gd name="connsiteY9" fmla="*/ 417086 h 1242429"/>
                <a:gd name="connsiteX10" fmla="*/ 106439 w 404838"/>
                <a:gd name="connsiteY10" fmla="*/ 298552 h 1242429"/>
                <a:gd name="connsiteX11" fmla="*/ 88295 w 404838"/>
                <a:gd name="connsiteY11" fmla="*/ 187277 h 1242429"/>
                <a:gd name="connsiteX0" fmla="*/ 88295 w 404838"/>
                <a:gd name="connsiteY0" fmla="*/ 187277 h 1242429"/>
                <a:gd name="connsiteX1" fmla="*/ 389277 w 404838"/>
                <a:gd name="connsiteY1" fmla="*/ 184858 h 1242429"/>
                <a:gd name="connsiteX2" fmla="*/ 355601 w 404838"/>
                <a:gd name="connsiteY2" fmla="*/ 313066 h 1242429"/>
                <a:gd name="connsiteX3" fmla="*/ 353969 w 404838"/>
                <a:gd name="connsiteY3" fmla="*/ 408404 h 1242429"/>
                <a:gd name="connsiteX4" fmla="*/ 222338 w 404838"/>
                <a:gd name="connsiteY4" fmla="*/ 525313 h 1242429"/>
                <a:gd name="connsiteX5" fmla="*/ 165369 w 404838"/>
                <a:gd name="connsiteY5" fmla="*/ 1171405 h 1242429"/>
                <a:gd name="connsiteX6" fmla="*/ 87682 w 404838"/>
                <a:gd name="connsiteY6" fmla="*/ 1242429 h 1242429"/>
                <a:gd name="connsiteX7" fmla="*/ 0 w 404838"/>
                <a:gd name="connsiteY7" fmla="*/ 1142219 h 1242429"/>
                <a:gd name="connsiteX8" fmla="*/ 172234 w 404838"/>
                <a:gd name="connsiteY8" fmla="*/ 512787 h 1242429"/>
                <a:gd name="connsiteX9" fmla="*/ 82463 w 404838"/>
                <a:gd name="connsiteY9" fmla="*/ 417086 h 1242429"/>
                <a:gd name="connsiteX10" fmla="*/ 106439 w 404838"/>
                <a:gd name="connsiteY10" fmla="*/ 298552 h 1242429"/>
                <a:gd name="connsiteX11" fmla="*/ 88295 w 404838"/>
                <a:gd name="connsiteY11" fmla="*/ 187277 h 1242429"/>
                <a:gd name="connsiteX0" fmla="*/ 30289 w 346832"/>
                <a:gd name="connsiteY0" fmla="*/ 187277 h 1242429"/>
                <a:gd name="connsiteX1" fmla="*/ 331271 w 346832"/>
                <a:gd name="connsiteY1" fmla="*/ 184858 h 1242429"/>
                <a:gd name="connsiteX2" fmla="*/ 297595 w 346832"/>
                <a:gd name="connsiteY2" fmla="*/ 313066 h 1242429"/>
                <a:gd name="connsiteX3" fmla="*/ 295963 w 346832"/>
                <a:gd name="connsiteY3" fmla="*/ 408404 h 1242429"/>
                <a:gd name="connsiteX4" fmla="*/ 164332 w 346832"/>
                <a:gd name="connsiteY4" fmla="*/ 525313 h 1242429"/>
                <a:gd name="connsiteX5" fmla="*/ 107363 w 346832"/>
                <a:gd name="connsiteY5" fmla="*/ 1171405 h 1242429"/>
                <a:gd name="connsiteX6" fmla="*/ 29676 w 346832"/>
                <a:gd name="connsiteY6" fmla="*/ 1242429 h 1242429"/>
                <a:gd name="connsiteX7" fmla="*/ 0 w 346832"/>
                <a:gd name="connsiteY7" fmla="*/ 1163893 h 1242429"/>
                <a:gd name="connsiteX8" fmla="*/ 114228 w 346832"/>
                <a:gd name="connsiteY8" fmla="*/ 512787 h 1242429"/>
                <a:gd name="connsiteX9" fmla="*/ 24457 w 346832"/>
                <a:gd name="connsiteY9" fmla="*/ 417086 h 1242429"/>
                <a:gd name="connsiteX10" fmla="*/ 48433 w 346832"/>
                <a:gd name="connsiteY10" fmla="*/ 298552 h 1242429"/>
                <a:gd name="connsiteX11" fmla="*/ 30289 w 346832"/>
                <a:gd name="connsiteY11" fmla="*/ 187277 h 1242429"/>
                <a:gd name="connsiteX0" fmla="*/ 30289 w 346832"/>
                <a:gd name="connsiteY0" fmla="*/ 187277 h 1229726"/>
                <a:gd name="connsiteX1" fmla="*/ 331271 w 346832"/>
                <a:gd name="connsiteY1" fmla="*/ 184858 h 1229726"/>
                <a:gd name="connsiteX2" fmla="*/ 297595 w 346832"/>
                <a:gd name="connsiteY2" fmla="*/ 313066 h 1229726"/>
                <a:gd name="connsiteX3" fmla="*/ 295963 w 346832"/>
                <a:gd name="connsiteY3" fmla="*/ 408404 h 1229726"/>
                <a:gd name="connsiteX4" fmla="*/ 164332 w 346832"/>
                <a:gd name="connsiteY4" fmla="*/ 525313 h 1229726"/>
                <a:gd name="connsiteX5" fmla="*/ 107363 w 346832"/>
                <a:gd name="connsiteY5" fmla="*/ 1171405 h 1229726"/>
                <a:gd name="connsiteX6" fmla="*/ 32036 w 346832"/>
                <a:gd name="connsiteY6" fmla="*/ 1229726 h 1229726"/>
                <a:gd name="connsiteX7" fmla="*/ 0 w 346832"/>
                <a:gd name="connsiteY7" fmla="*/ 1163893 h 1229726"/>
                <a:gd name="connsiteX8" fmla="*/ 114228 w 346832"/>
                <a:gd name="connsiteY8" fmla="*/ 512787 h 1229726"/>
                <a:gd name="connsiteX9" fmla="*/ 24457 w 346832"/>
                <a:gd name="connsiteY9" fmla="*/ 417086 h 1229726"/>
                <a:gd name="connsiteX10" fmla="*/ 48433 w 346832"/>
                <a:gd name="connsiteY10" fmla="*/ 298552 h 1229726"/>
                <a:gd name="connsiteX11" fmla="*/ 30289 w 346832"/>
                <a:gd name="connsiteY11" fmla="*/ 187277 h 1229726"/>
                <a:gd name="connsiteX0" fmla="*/ 30289 w 346832"/>
                <a:gd name="connsiteY0" fmla="*/ 187277 h 1229726"/>
                <a:gd name="connsiteX1" fmla="*/ 331271 w 346832"/>
                <a:gd name="connsiteY1" fmla="*/ 184858 h 1229726"/>
                <a:gd name="connsiteX2" fmla="*/ 297595 w 346832"/>
                <a:gd name="connsiteY2" fmla="*/ 313066 h 1229726"/>
                <a:gd name="connsiteX3" fmla="*/ 295963 w 346832"/>
                <a:gd name="connsiteY3" fmla="*/ 408404 h 1229726"/>
                <a:gd name="connsiteX4" fmla="*/ 164332 w 346832"/>
                <a:gd name="connsiteY4" fmla="*/ 525313 h 1229726"/>
                <a:gd name="connsiteX5" fmla="*/ 107363 w 346832"/>
                <a:gd name="connsiteY5" fmla="*/ 1171405 h 1229726"/>
                <a:gd name="connsiteX6" fmla="*/ 32036 w 346832"/>
                <a:gd name="connsiteY6" fmla="*/ 1229726 h 1229726"/>
                <a:gd name="connsiteX7" fmla="*/ 0 w 346832"/>
                <a:gd name="connsiteY7" fmla="*/ 1163893 h 1229726"/>
                <a:gd name="connsiteX8" fmla="*/ 83550 w 346832"/>
                <a:gd name="connsiteY8" fmla="*/ 677928 h 1229726"/>
                <a:gd name="connsiteX9" fmla="*/ 24457 w 346832"/>
                <a:gd name="connsiteY9" fmla="*/ 417086 h 1229726"/>
                <a:gd name="connsiteX10" fmla="*/ 48433 w 346832"/>
                <a:gd name="connsiteY10" fmla="*/ 298552 h 1229726"/>
                <a:gd name="connsiteX11" fmla="*/ 30289 w 346832"/>
                <a:gd name="connsiteY11" fmla="*/ 187277 h 1229726"/>
                <a:gd name="connsiteX0" fmla="*/ 30289 w 346832"/>
                <a:gd name="connsiteY0" fmla="*/ 187277 h 1229726"/>
                <a:gd name="connsiteX1" fmla="*/ 331271 w 346832"/>
                <a:gd name="connsiteY1" fmla="*/ 184858 h 1229726"/>
                <a:gd name="connsiteX2" fmla="*/ 297595 w 346832"/>
                <a:gd name="connsiteY2" fmla="*/ 313066 h 1229726"/>
                <a:gd name="connsiteX3" fmla="*/ 295963 w 346832"/>
                <a:gd name="connsiteY3" fmla="*/ 408404 h 1229726"/>
                <a:gd name="connsiteX4" fmla="*/ 105571 w 346832"/>
                <a:gd name="connsiteY4" fmla="*/ 689839 h 1229726"/>
                <a:gd name="connsiteX5" fmla="*/ 107363 w 346832"/>
                <a:gd name="connsiteY5" fmla="*/ 1171405 h 1229726"/>
                <a:gd name="connsiteX6" fmla="*/ 32036 w 346832"/>
                <a:gd name="connsiteY6" fmla="*/ 1229726 h 1229726"/>
                <a:gd name="connsiteX7" fmla="*/ 0 w 346832"/>
                <a:gd name="connsiteY7" fmla="*/ 1163893 h 1229726"/>
                <a:gd name="connsiteX8" fmla="*/ 83550 w 346832"/>
                <a:gd name="connsiteY8" fmla="*/ 677928 h 1229726"/>
                <a:gd name="connsiteX9" fmla="*/ 24457 w 346832"/>
                <a:gd name="connsiteY9" fmla="*/ 417086 h 1229726"/>
                <a:gd name="connsiteX10" fmla="*/ 48433 w 346832"/>
                <a:gd name="connsiteY10" fmla="*/ 298552 h 1229726"/>
                <a:gd name="connsiteX11" fmla="*/ 30289 w 346832"/>
                <a:gd name="connsiteY11" fmla="*/ 187277 h 1229726"/>
                <a:gd name="connsiteX0" fmla="*/ 30289 w 346832"/>
                <a:gd name="connsiteY0" fmla="*/ 187277 h 1229726"/>
                <a:gd name="connsiteX1" fmla="*/ 331271 w 346832"/>
                <a:gd name="connsiteY1" fmla="*/ 184858 h 1229726"/>
                <a:gd name="connsiteX2" fmla="*/ 297595 w 346832"/>
                <a:gd name="connsiteY2" fmla="*/ 313066 h 1229726"/>
                <a:gd name="connsiteX3" fmla="*/ 295963 w 346832"/>
                <a:gd name="connsiteY3" fmla="*/ 408404 h 1229726"/>
                <a:gd name="connsiteX4" fmla="*/ 105571 w 346832"/>
                <a:gd name="connsiteY4" fmla="*/ 689839 h 1229726"/>
                <a:gd name="connsiteX5" fmla="*/ 107363 w 346832"/>
                <a:gd name="connsiteY5" fmla="*/ 1171405 h 1229726"/>
                <a:gd name="connsiteX6" fmla="*/ 32036 w 346832"/>
                <a:gd name="connsiteY6" fmla="*/ 1229726 h 1229726"/>
                <a:gd name="connsiteX7" fmla="*/ 0 w 346832"/>
                <a:gd name="connsiteY7" fmla="*/ 1163893 h 1229726"/>
                <a:gd name="connsiteX8" fmla="*/ 81780 w 346832"/>
                <a:gd name="connsiteY8" fmla="*/ 687453 h 1229726"/>
                <a:gd name="connsiteX9" fmla="*/ 24457 w 346832"/>
                <a:gd name="connsiteY9" fmla="*/ 417086 h 1229726"/>
                <a:gd name="connsiteX10" fmla="*/ 48433 w 346832"/>
                <a:gd name="connsiteY10" fmla="*/ 298552 h 1229726"/>
                <a:gd name="connsiteX11" fmla="*/ 30289 w 346832"/>
                <a:gd name="connsiteY11" fmla="*/ 187277 h 1229726"/>
                <a:gd name="connsiteX0" fmla="*/ 30289 w 346832"/>
                <a:gd name="connsiteY0" fmla="*/ 187277 h 1229726"/>
                <a:gd name="connsiteX1" fmla="*/ 331271 w 346832"/>
                <a:gd name="connsiteY1" fmla="*/ 184858 h 1229726"/>
                <a:gd name="connsiteX2" fmla="*/ 297595 w 346832"/>
                <a:gd name="connsiteY2" fmla="*/ 313066 h 1229726"/>
                <a:gd name="connsiteX3" fmla="*/ 295963 w 346832"/>
                <a:gd name="connsiteY3" fmla="*/ 408404 h 1229726"/>
                <a:gd name="connsiteX4" fmla="*/ 105571 w 346832"/>
                <a:gd name="connsiteY4" fmla="*/ 689839 h 1229726"/>
                <a:gd name="connsiteX5" fmla="*/ 107363 w 346832"/>
                <a:gd name="connsiteY5" fmla="*/ 1171405 h 1229726"/>
                <a:gd name="connsiteX6" fmla="*/ 32036 w 346832"/>
                <a:gd name="connsiteY6" fmla="*/ 1229726 h 1229726"/>
                <a:gd name="connsiteX7" fmla="*/ 0 w 346832"/>
                <a:gd name="connsiteY7" fmla="*/ 1163893 h 1229726"/>
                <a:gd name="connsiteX8" fmla="*/ 81780 w 346832"/>
                <a:gd name="connsiteY8" fmla="*/ 687453 h 1229726"/>
                <a:gd name="connsiteX9" fmla="*/ 24457 w 346832"/>
                <a:gd name="connsiteY9" fmla="*/ 417086 h 1229726"/>
                <a:gd name="connsiteX10" fmla="*/ 48433 w 346832"/>
                <a:gd name="connsiteY10" fmla="*/ 298552 h 1229726"/>
                <a:gd name="connsiteX11" fmla="*/ 30289 w 346832"/>
                <a:gd name="connsiteY11" fmla="*/ 187277 h 1229726"/>
                <a:gd name="connsiteX0" fmla="*/ 30289 w 346832"/>
                <a:gd name="connsiteY0" fmla="*/ 187277 h 1229726"/>
                <a:gd name="connsiteX1" fmla="*/ 331271 w 346832"/>
                <a:gd name="connsiteY1" fmla="*/ 184858 h 1229726"/>
                <a:gd name="connsiteX2" fmla="*/ 297595 w 346832"/>
                <a:gd name="connsiteY2" fmla="*/ 313066 h 1229726"/>
                <a:gd name="connsiteX3" fmla="*/ 295963 w 346832"/>
                <a:gd name="connsiteY3" fmla="*/ 408404 h 1229726"/>
                <a:gd name="connsiteX4" fmla="*/ 105571 w 346832"/>
                <a:gd name="connsiteY4" fmla="*/ 689839 h 1229726"/>
                <a:gd name="connsiteX5" fmla="*/ 107363 w 346832"/>
                <a:gd name="connsiteY5" fmla="*/ 1171405 h 1229726"/>
                <a:gd name="connsiteX6" fmla="*/ 32036 w 346832"/>
                <a:gd name="connsiteY6" fmla="*/ 1229726 h 1229726"/>
                <a:gd name="connsiteX7" fmla="*/ 0 w 346832"/>
                <a:gd name="connsiteY7" fmla="*/ 1163893 h 1229726"/>
                <a:gd name="connsiteX8" fmla="*/ 81780 w 346832"/>
                <a:gd name="connsiteY8" fmla="*/ 687453 h 1229726"/>
                <a:gd name="connsiteX9" fmla="*/ 24457 w 346832"/>
                <a:gd name="connsiteY9" fmla="*/ 417086 h 1229726"/>
                <a:gd name="connsiteX10" fmla="*/ 48433 w 346832"/>
                <a:gd name="connsiteY10" fmla="*/ 298552 h 1229726"/>
                <a:gd name="connsiteX11" fmla="*/ 30289 w 346832"/>
                <a:gd name="connsiteY11" fmla="*/ 187277 h 1229726"/>
                <a:gd name="connsiteX0" fmla="*/ 30289 w 346832"/>
                <a:gd name="connsiteY0" fmla="*/ 187277 h 1229726"/>
                <a:gd name="connsiteX1" fmla="*/ 331271 w 346832"/>
                <a:gd name="connsiteY1" fmla="*/ 184858 h 1229726"/>
                <a:gd name="connsiteX2" fmla="*/ 297595 w 346832"/>
                <a:gd name="connsiteY2" fmla="*/ 313066 h 1229726"/>
                <a:gd name="connsiteX3" fmla="*/ 224600 w 346832"/>
                <a:gd name="connsiteY3" fmla="*/ 549699 h 1229726"/>
                <a:gd name="connsiteX4" fmla="*/ 105571 w 346832"/>
                <a:gd name="connsiteY4" fmla="*/ 689839 h 1229726"/>
                <a:gd name="connsiteX5" fmla="*/ 107363 w 346832"/>
                <a:gd name="connsiteY5" fmla="*/ 1171405 h 1229726"/>
                <a:gd name="connsiteX6" fmla="*/ 32036 w 346832"/>
                <a:gd name="connsiteY6" fmla="*/ 1229726 h 1229726"/>
                <a:gd name="connsiteX7" fmla="*/ 0 w 346832"/>
                <a:gd name="connsiteY7" fmla="*/ 1163893 h 1229726"/>
                <a:gd name="connsiteX8" fmla="*/ 81780 w 346832"/>
                <a:gd name="connsiteY8" fmla="*/ 687453 h 1229726"/>
                <a:gd name="connsiteX9" fmla="*/ 24457 w 346832"/>
                <a:gd name="connsiteY9" fmla="*/ 417086 h 1229726"/>
                <a:gd name="connsiteX10" fmla="*/ 48433 w 346832"/>
                <a:gd name="connsiteY10" fmla="*/ 298552 h 1229726"/>
                <a:gd name="connsiteX11" fmla="*/ 30289 w 346832"/>
                <a:gd name="connsiteY11" fmla="*/ 187277 h 1229726"/>
                <a:gd name="connsiteX0" fmla="*/ 30289 w 341866"/>
                <a:gd name="connsiteY0" fmla="*/ 187277 h 1229726"/>
                <a:gd name="connsiteX1" fmla="*/ 331271 w 341866"/>
                <a:gd name="connsiteY1" fmla="*/ 184858 h 1229726"/>
                <a:gd name="connsiteX2" fmla="*/ 263237 w 341866"/>
                <a:gd name="connsiteY2" fmla="*/ 437311 h 1229726"/>
                <a:gd name="connsiteX3" fmla="*/ 224600 w 341866"/>
                <a:gd name="connsiteY3" fmla="*/ 549699 h 1229726"/>
                <a:gd name="connsiteX4" fmla="*/ 105571 w 341866"/>
                <a:gd name="connsiteY4" fmla="*/ 689839 h 1229726"/>
                <a:gd name="connsiteX5" fmla="*/ 107363 w 341866"/>
                <a:gd name="connsiteY5" fmla="*/ 1171405 h 1229726"/>
                <a:gd name="connsiteX6" fmla="*/ 32036 w 341866"/>
                <a:gd name="connsiteY6" fmla="*/ 1229726 h 1229726"/>
                <a:gd name="connsiteX7" fmla="*/ 0 w 341866"/>
                <a:gd name="connsiteY7" fmla="*/ 1163893 h 1229726"/>
                <a:gd name="connsiteX8" fmla="*/ 81780 w 341866"/>
                <a:gd name="connsiteY8" fmla="*/ 687453 h 1229726"/>
                <a:gd name="connsiteX9" fmla="*/ 24457 w 341866"/>
                <a:gd name="connsiteY9" fmla="*/ 417086 h 1229726"/>
                <a:gd name="connsiteX10" fmla="*/ 48433 w 341866"/>
                <a:gd name="connsiteY10" fmla="*/ 298552 h 1229726"/>
                <a:gd name="connsiteX11" fmla="*/ 30289 w 341866"/>
                <a:gd name="connsiteY11" fmla="*/ 187277 h 1229726"/>
                <a:gd name="connsiteX0" fmla="*/ 30289 w 317510"/>
                <a:gd name="connsiteY0" fmla="*/ 144242 h 1186691"/>
                <a:gd name="connsiteX1" fmla="*/ 303141 w 317510"/>
                <a:gd name="connsiteY1" fmla="*/ 247711 h 1186691"/>
                <a:gd name="connsiteX2" fmla="*/ 263237 w 317510"/>
                <a:gd name="connsiteY2" fmla="*/ 394276 h 1186691"/>
                <a:gd name="connsiteX3" fmla="*/ 224600 w 317510"/>
                <a:gd name="connsiteY3" fmla="*/ 506664 h 1186691"/>
                <a:gd name="connsiteX4" fmla="*/ 105571 w 317510"/>
                <a:gd name="connsiteY4" fmla="*/ 646804 h 1186691"/>
                <a:gd name="connsiteX5" fmla="*/ 107363 w 317510"/>
                <a:gd name="connsiteY5" fmla="*/ 1128370 h 1186691"/>
                <a:gd name="connsiteX6" fmla="*/ 32036 w 317510"/>
                <a:gd name="connsiteY6" fmla="*/ 1186691 h 1186691"/>
                <a:gd name="connsiteX7" fmla="*/ 0 w 317510"/>
                <a:gd name="connsiteY7" fmla="*/ 1120858 h 1186691"/>
                <a:gd name="connsiteX8" fmla="*/ 81780 w 317510"/>
                <a:gd name="connsiteY8" fmla="*/ 644418 h 1186691"/>
                <a:gd name="connsiteX9" fmla="*/ 24457 w 317510"/>
                <a:gd name="connsiteY9" fmla="*/ 374051 h 1186691"/>
                <a:gd name="connsiteX10" fmla="*/ 48433 w 317510"/>
                <a:gd name="connsiteY10" fmla="*/ 255517 h 1186691"/>
                <a:gd name="connsiteX11" fmla="*/ 30289 w 317510"/>
                <a:gd name="connsiteY11" fmla="*/ 144242 h 1186691"/>
                <a:gd name="connsiteX0" fmla="*/ 30289 w 331227"/>
                <a:gd name="connsiteY0" fmla="*/ 171402 h 1213851"/>
                <a:gd name="connsiteX1" fmla="*/ 303141 w 331227"/>
                <a:gd name="connsiteY1" fmla="*/ 274871 h 1213851"/>
                <a:gd name="connsiteX2" fmla="*/ 263237 w 331227"/>
                <a:gd name="connsiteY2" fmla="*/ 421436 h 1213851"/>
                <a:gd name="connsiteX3" fmla="*/ 224600 w 331227"/>
                <a:gd name="connsiteY3" fmla="*/ 533824 h 1213851"/>
                <a:gd name="connsiteX4" fmla="*/ 105571 w 331227"/>
                <a:gd name="connsiteY4" fmla="*/ 673964 h 1213851"/>
                <a:gd name="connsiteX5" fmla="*/ 107363 w 331227"/>
                <a:gd name="connsiteY5" fmla="*/ 1155530 h 1213851"/>
                <a:gd name="connsiteX6" fmla="*/ 32036 w 331227"/>
                <a:gd name="connsiteY6" fmla="*/ 1213851 h 1213851"/>
                <a:gd name="connsiteX7" fmla="*/ 0 w 331227"/>
                <a:gd name="connsiteY7" fmla="*/ 1148018 h 1213851"/>
                <a:gd name="connsiteX8" fmla="*/ 81780 w 331227"/>
                <a:gd name="connsiteY8" fmla="*/ 671578 h 1213851"/>
                <a:gd name="connsiteX9" fmla="*/ 24457 w 331227"/>
                <a:gd name="connsiteY9" fmla="*/ 401211 h 1213851"/>
                <a:gd name="connsiteX10" fmla="*/ 48433 w 331227"/>
                <a:gd name="connsiteY10" fmla="*/ 282677 h 1213851"/>
                <a:gd name="connsiteX11" fmla="*/ 30289 w 331227"/>
                <a:gd name="connsiteY11" fmla="*/ 171402 h 1213851"/>
                <a:gd name="connsiteX0" fmla="*/ 30289 w 331227"/>
                <a:gd name="connsiteY0" fmla="*/ 171402 h 1213851"/>
                <a:gd name="connsiteX1" fmla="*/ 303141 w 331227"/>
                <a:gd name="connsiteY1" fmla="*/ 274871 h 1213851"/>
                <a:gd name="connsiteX2" fmla="*/ 263237 w 331227"/>
                <a:gd name="connsiteY2" fmla="*/ 421436 h 1213851"/>
                <a:gd name="connsiteX3" fmla="*/ 224600 w 331227"/>
                <a:gd name="connsiteY3" fmla="*/ 533824 h 1213851"/>
                <a:gd name="connsiteX4" fmla="*/ 105571 w 331227"/>
                <a:gd name="connsiteY4" fmla="*/ 673964 h 1213851"/>
                <a:gd name="connsiteX5" fmla="*/ 107363 w 331227"/>
                <a:gd name="connsiteY5" fmla="*/ 1155530 h 1213851"/>
                <a:gd name="connsiteX6" fmla="*/ 32036 w 331227"/>
                <a:gd name="connsiteY6" fmla="*/ 1213851 h 1213851"/>
                <a:gd name="connsiteX7" fmla="*/ 0 w 331227"/>
                <a:gd name="connsiteY7" fmla="*/ 1148018 h 1213851"/>
                <a:gd name="connsiteX8" fmla="*/ 81780 w 331227"/>
                <a:gd name="connsiteY8" fmla="*/ 671578 h 1213851"/>
                <a:gd name="connsiteX9" fmla="*/ 24457 w 331227"/>
                <a:gd name="connsiteY9" fmla="*/ 401211 h 1213851"/>
                <a:gd name="connsiteX10" fmla="*/ 48433 w 331227"/>
                <a:gd name="connsiteY10" fmla="*/ 282677 h 1213851"/>
                <a:gd name="connsiteX11" fmla="*/ 30289 w 331227"/>
                <a:gd name="connsiteY11" fmla="*/ 171402 h 1213851"/>
                <a:gd name="connsiteX0" fmla="*/ 30289 w 331227"/>
                <a:gd name="connsiteY0" fmla="*/ 171402 h 1213851"/>
                <a:gd name="connsiteX1" fmla="*/ 303141 w 331227"/>
                <a:gd name="connsiteY1" fmla="*/ 274871 h 1213851"/>
                <a:gd name="connsiteX2" fmla="*/ 263237 w 331227"/>
                <a:gd name="connsiteY2" fmla="*/ 421436 h 1213851"/>
                <a:gd name="connsiteX3" fmla="*/ 224600 w 331227"/>
                <a:gd name="connsiteY3" fmla="*/ 533824 h 1213851"/>
                <a:gd name="connsiteX4" fmla="*/ 105571 w 331227"/>
                <a:gd name="connsiteY4" fmla="*/ 673964 h 1213851"/>
                <a:gd name="connsiteX5" fmla="*/ 107363 w 331227"/>
                <a:gd name="connsiteY5" fmla="*/ 1155530 h 1213851"/>
                <a:gd name="connsiteX6" fmla="*/ 32036 w 331227"/>
                <a:gd name="connsiteY6" fmla="*/ 1213851 h 1213851"/>
                <a:gd name="connsiteX7" fmla="*/ 0 w 331227"/>
                <a:gd name="connsiteY7" fmla="*/ 1148018 h 1213851"/>
                <a:gd name="connsiteX8" fmla="*/ 81780 w 331227"/>
                <a:gd name="connsiteY8" fmla="*/ 671578 h 1213851"/>
                <a:gd name="connsiteX9" fmla="*/ 24457 w 331227"/>
                <a:gd name="connsiteY9" fmla="*/ 401211 h 1213851"/>
                <a:gd name="connsiteX10" fmla="*/ 48433 w 331227"/>
                <a:gd name="connsiteY10" fmla="*/ 282677 h 1213851"/>
                <a:gd name="connsiteX11" fmla="*/ 30289 w 331227"/>
                <a:gd name="connsiteY11" fmla="*/ 171402 h 1213851"/>
                <a:gd name="connsiteX0" fmla="*/ 55626 w 356564"/>
                <a:gd name="connsiteY0" fmla="*/ 171402 h 1213851"/>
                <a:gd name="connsiteX1" fmla="*/ 328478 w 356564"/>
                <a:gd name="connsiteY1" fmla="*/ 274871 h 1213851"/>
                <a:gd name="connsiteX2" fmla="*/ 288574 w 356564"/>
                <a:gd name="connsiteY2" fmla="*/ 421436 h 1213851"/>
                <a:gd name="connsiteX3" fmla="*/ 249937 w 356564"/>
                <a:gd name="connsiteY3" fmla="*/ 533824 h 1213851"/>
                <a:gd name="connsiteX4" fmla="*/ 130908 w 356564"/>
                <a:gd name="connsiteY4" fmla="*/ 673964 h 1213851"/>
                <a:gd name="connsiteX5" fmla="*/ 132700 w 356564"/>
                <a:gd name="connsiteY5" fmla="*/ 1155530 h 1213851"/>
                <a:gd name="connsiteX6" fmla="*/ 57373 w 356564"/>
                <a:gd name="connsiteY6" fmla="*/ 1213851 h 1213851"/>
                <a:gd name="connsiteX7" fmla="*/ 25337 w 356564"/>
                <a:gd name="connsiteY7" fmla="*/ 1148018 h 1213851"/>
                <a:gd name="connsiteX8" fmla="*/ 107117 w 356564"/>
                <a:gd name="connsiteY8" fmla="*/ 671578 h 1213851"/>
                <a:gd name="connsiteX9" fmla="*/ 0 w 356564"/>
                <a:gd name="connsiteY9" fmla="*/ 441578 h 1213851"/>
                <a:gd name="connsiteX10" fmla="*/ 73770 w 356564"/>
                <a:gd name="connsiteY10" fmla="*/ 282677 h 1213851"/>
                <a:gd name="connsiteX11" fmla="*/ 55626 w 356564"/>
                <a:gd name="connsiteY11" fmla="*/ 171402 h 1213851"/>
                <a:gd name="connsiteX0" fmla="*/ 55778 w 356716"/>
                <a:gd name="connsiteY0" fmla="*/ 171402 h 1213851"/>
                <a:gd name="connsiteX1" fmla="*/ 328630 w 356716"/>
                <a:gd name="connsiteY1" fmla="*/ 274871 h 1213851"/>
                <a:gd name="connsiteX2" fmla="*/ 288726 w 356716"/>
                <a:gd name="connsiteY2" fmla="*/ 421436 h 1213851"/>
                <a:gd name="connsiteX3" fmla="*/ 250089 w 356716"/>
                <a:gd name="connsiteY3" fmla="*/ 533824 h 1213851"/>
                <a:gd name="connsiteX4" fmla="*/ 131060 w 356716"/>
                <a:gd name="connsiteY4" fmla="*/ 673964 h 1213851"/>
                <a:gd name="connsiteX5" fmla="*/ 132852 w 356716"/>
                <a:gd name="connsiteY5" fmla="*/ 1155530 h 1213851"/>
                <a:gd name="connsiteX6" fmla="*/ 57525 w 356716"/>
                <a:gd name="connsiteY6" fmla="*/ 1213851 h 1213851"/>
                <a:gd name="connsiteX7" fmla="*/ 25489 w 356716"/>
                <a:gd name="connsiteY7" fmla="*/ 1148018 h 1213851"/>
                <a:gd name="connsiteX8" fmla="*/ 107269 w 356716"/>
                <a:gd name="connsiteY8" fmla="*/ 671578 h 1213851"/>
                <a:gd name="connsiteX9" fmla="*/ 71062 w 356716"/>
                <a:gd name="connsiteY9" fmla="*/ 543233 h 1213851"/>
                <a:gd name="connsiteX10" fmla="*/ 152 w 356716"/>
                <a:gd name="connsiteY10" fmla="*/ 441578 h 1213851"/>
                <a:gd name="connsiteX11" fmla="*/ 73922 w 356716"/>
                <a:gd name="connsiteY11" fmla="*/ 282677 h 1213851"/>
                <a:gd name="connsiteX12" fmla="*/ 55778 w 356716"/>
                <a:gd name="connsiteY12" fmla="*/ 171402 h 1213851"/>
                <a:gd name="connsiteX0" fmla="*/ 55778 w 356716"/>
                <a:gd name="connsiteY0" fmla="*/ 171402 h 1213851"/>
                <a:gd name="connsiteX1" fmla="*/ 328630 w 356716"/>
                <a:gd name="connsiteY1" fmla="*/ 274871 h 1213851"/>
                <a:gd name="connsiteX2" fmla="*/ 288726 w 356716"/>
                <a:gd name="connsiteY2" fmla="*/ 421436 h 1213851"/>
                <a:gd name="connsiteX3" fmla="*/ 250089 w 356716"/>
                <a:gd name="connsiteY3" fmla="*/ 533824 h 1213851"/>
                <a:gd name="connsiteX4" fmla="*/ 131060 w 356716"/>
                <a:gd name="connsiteY4" fmla="*/ 673964 h 1213851"/>
                <a:gd name="connsiteX5" fmla="*/ 132852 w 356716"/>
                <a:gd name="connsiteY5" fmla="*/ 1155530 h 1213851"/>
                <a:gd name="connsiteX6" fmla="*/ 57525 w 356716"/>
                <a:gd name="connsiteY6" fmla="*/ 1213851 h 1213851"/>
                <a:gd name="connsiteX7" fmla="*/ 25489 w 356716"/>
                <a:gd name="connsiteY7" fmla="*/ 1148018 h 1213851"/>
                <a:gd name="connsiteX8" fmla="*/ 107269 w 356716"/>
                <a:gd name="connsiteY8" fmla="*/ 671578 h 1213851"/>
                <a:gd name="connsiteX9" fmla="*/ 71062 w 356716"/>
                <a:gd name="connsiteY9" fmla="*/ 543233 h 1213851"/>
                <a:gd name="connsiteX10" fmla="*/ 152 w 356716"/>
                <a:gd name="connsiteY10" fmla="*/ 441578 h 1213851"/>
                <a:gd name="connsiteX11" fmla="*/ 73922 w 356716"/>
                <a:gd name="connsiteY11" fmla="*/ 282677 h 1213851"/>
                <a:gd name="connsiteX12" fmla="*/ 55778 w 356716"/>
                <a:gd name="connsiteY12" fmla="*/ 171402 h 1213851"/>
                <a:gd name="connsiteX0" fmla="*/ 55778 w 356716"/>
                <a:gd name="connsiteY0" fmla="*/ 171402 h 1213851"/>
                <a:gd name="connsiteX1" fmla="*/ 328630 w 356716"/>
                <a:gd name="connsiteY1" fmla="*/ 274871 h 1213851"/>
                <a:gd name="connsiteX2" fmla="*/ 288726 w 356716"/>
                <a:gd name="connsiteY2" fmla="*/ 421436 h 1213851"/>
                <a:gd name="connsiteX3" fmla="*/ 250089 w 356716"/>
                <a:gd name="connsiteY3" fmla="*/ 533824 h 1213851"/>
                <a:gd name="connsiteX4" fmla="*/ 172444 w 356716"/>
                <a:gd name="connsiteY4" fmla="*/ 589450 h 1213851"/>
                <a:gd name="connsiteX5" fmla="*/ 131060 w 356716"/>
                <a:gd name="connsiteY5" fmla="*/ 673964 h 1213851"/>
                <a:gd name="connsiteX6" fmla="*/ 132852 w 356716"/>
                <a:gd name="connsiteY6" fmla="*/ 1155530 h 1213851"/>
                <a:gd name="connsiteX7" fmla="*/ 57525 w 356716"/>
                <a:gd name="connsiteY7" fmla="*/ 1213851 h 1213851"/>
                <a:gd name="connsiteX8" fmla="*/ 25489 w 356716"/>
                <a:gd name="connsiteY8" fmla="*/ 1148018 h 1213851"/>
                <a:gd name="connsiteX9" fmla="*/ 107269 w 356716"/>
                <a:gd name="connsiteY9" fmla="*/ 671578 h 1213851"/>
                <a:gd name="connsiteX10" fmla="*/ 71062 w 356716"/>
                <a:gd name="connsiteY10" fmla="*/ 543233 h 1213851"/>
                <a:gd name="connsiteX11" fmla="*/ 152 w 356716"/>
                <a:gd name="connsiteY11" fmla="*/ 441578 h 1213851"/>
                <a:gd name="connsiteX12" fmla="*/ 73922 w 356716"/>
                <a:gd name="connsiteY12" fmla="*/ 282677 h 1213851"/>
                <a:gd name="connsiteX13" fmla="*/ 55778 w 356716"/>
                <a:gd name="connsiteY13" fmla="*/ 171402 h 1213851"/>
                <a:gd name="connsiteX0" fmla="*/ 55778 w 356716"/>
                <a:gd name="connsiteY0" fmla="*/ 171402 h 1213851"/>
                <a:gd name="connsiteX1" fmla="*/ 328630 w 356716"/>
                <a:gd name="connsiteY1" fmla="*/ 274871 h 1213851"/>
                <a:gd name="connsiteX2" fmla="*/ 288726 w 356716"/>
                <a:gd name="connsiteY2" fmla="*/ 421436 h 1213851"/>
                <a:gd name="connsiteX3" fmla="*/ 250089 w 356716"/>
                <a:gd name="connsiteY3" fmla="*/ 533824 h 1213851"/>
                <a:gd name="connsiteX4" fmla="*/ 172444 w 356716"/>
                <a:gd name="connsiteY4" fmla="*/ 589450 h 1213851"/>
                <a:gd name="connsiteX5" fmla="*/ 131060 w 356716"/>
                <a:gd name="connsiteY5" fmla="*/ 673964 h 1213851"/>
                <a:gd name="connsiteX6" fmla="*/ 132852 w 356716"/>
                <a:gd name="connsiteY6" fmla="*/ 1155530 h 1213851"/>
                <a:gd name="connsiteX7" fmla="*/ 57525 w 356716"/>
                <a:gd name="connsiteY7" fmla="*/ 1213851 h 1213851"/>
                <a:gd name="connsiteX8" fmla="*/ 25489 w 356716"/>
                <a:gd name="connsiteY8" fmla="*/ 1148018 h 1213851"/>
                <a:gd name="connsiteX9" fmla="*/ 107269 w 356716"/>
                <a:gd name="connsiteY9" fmla="*/ 671578 h 1213851"/>
                <a:gd name="connsiteX10" fmla="*/ 71062 w 356716"/>
                <a:gd name="connsiteY10" fmla="*/ 543233 h 1213851"/>
                <a:gd name="connsiteX11" fmla="*/ 152 w 356716"/>
                <a:gd name="connsiteY11" fmla="*/ 441578 h 1213851"/>
                <a:gd name="connsiteX12" fmla="*/ 73922 w 356716"/>
                <a:gd name="connsiteY12" fmla="*/ 282677 h 1213851"/>
                <a:gd name="connsiteX13" fmla="*/ 55778 w 356716"/>
                <a:gd name="connsiteY13" fmla="*/ 171402 h 1213851"/>
                <a:gd name="connsiteX0" fmla="*/ 55778 w 356716"/>
                <a:gd name="connsiteY0" fmla="*/ 171402 h 1213851"/>
                <a:gd name="connsiteX1" fmla="*/ 328630 w 356716"/>
                <a:gd name="connsiteY1" fmla="*/ 274871 h 1213851"/>
                <a:gd name="connsiteX2" fmla="*/ 288726 w 356716"/>
                <a:gd name="connsiteY2" fmla="*/ 421436 h 1213851"/>
                <a:gd name="connsiteX3" fmla="*/ 250089 w 356716"/>
                <a:gd name="connsiteY3" fmla="*/ 533824 h 1213851"/>
                <a:gd name="connsiteX4" fmla="*/ 172444 w 356716"/>
                <a:gd name="connsiteY4" fmla="*/ 589450 h 1213851"/>
                <a:gd name="connsiteX5" fmla="*/ 131060 w 356716"/>
                <a:gd name="connsiteY5" fmla="*/ 673964 h 1213851"/>
                <a:gd name="connsiteX6" fmla="*/ 132852 w 356716"/>
                <a:gd name="connsiteY6" fmla="*/ 1155530 h 1213851"/>
                <a:gd name="connsiteX7" fmla="*/ 57525 w 356716"/>
                <a:gd name="connsiteY7" fmla="*/ 1213851 h 1213851"/>
                <a:gd name="connsiteX8" fmla="*/ 25489 w 356716"/>
                <a:gd name="connsiteY8" fmla="*/ 1148018 h 1213851"/>
                <a:gd name="connsiteX9" fmla="*/ 107269 w 356716"/>
                <a:gd name="connsiteY9" fmla="*/ 671578 h 1213851"/>
                <a:gd name="connsiteX10" fmla="*/ 71062 w 356716"/>
                <a:gd name="connsiteY10" fmla="*/ 543233 h 1213851"/>
                <a:gd name="connsiteX11" fmla="*/ 152 w 356716"/>
                <a:gd name="connsiteY11" fmla="*/ 441578 h 1213851"/>
                <a:gd name="connsiteX12" fmla="*/ 44801 w 356716"/>
                <a:gd name="connsiteY12" fmla="*/ 348365 h 1213851"/>
                <a:gd name="connsiteX13" fmla="*/ 55778 w 356716"/>
                <a:gd name="connsiteY13" fmla="*/ 171402 h 1213851"/>
                <a:gd name="connsiteX0" fmla="*/ 46268 w 356232"/>
                <a:gd name="connsiteY0" fmla="*/ 180172 h 1201784"/>
                <a:gd name="connsiteX1" fmla="*/ 328630 w 356232"/>
                <a:gd name="connsiteY1" fmla="*/ 262804 h 1201784"/>
                <a:gd name="connsiteX2" fmla="*/ 288726 w 356232"/>
                <a:gd name="connsiteY2" fmla="*/ 409369 h 1201784"/>
                <a:gd name="connsiteX3" fmla="*/ 250089 w 356232"/>
                <a:gd name="connsiteY3" fmla="*/ 521757 h 1201784"/>
                <a:gd name="connsiteX4" fmla="*/ 172444 w 356232"/>
                <a:gd name="connsiteY4" fmla="*/ 577383 h 1201784"/>
                <a:gd name="connsiteX5" fmla="*/ 131060 w 356232"/>
                <a:gd name="connsiteY5" fmla="*/ 661897 h 1201784"/>
                <a:gd name="connsiteX6" fmla="*/ 132852 w 356232"/>
                <a:gd name="connsiteY6" fmla="*/ 1143463 h 1201784"/>
                <a:gd name="connsiteX7" fmla="*/ 57525 w 356232"/>
                <a:gd name="connsiteY7" fmla="*/ 1201784 h 1201784"/>
                <a:gd name="connsiteX8" fmla="*/ 25489 w 356232"/>
                <a:gd name="connsiteY8" fmla="*/ 1135951 h 1201784"/>
                <a:gd name="connsiteX9" fmla="*/ 107269 w 356232"/>
                <a:gd name="connsiteY9" fmla="*/ 659511 h 1201784"/>
                <a:gd name="connsiteX10" fmla="*/ 71062 w 356232"/>
                <a:gd name="connsiteY10" fmla="*/ 531166 h 1201784"/>
                <a:gd name="connsiteX11" fmla="*/ 152 w 356232"/>
                <a:gd name="connsiteY11" fmla="*/ 429511 h 1201784"/>
                <a:gd name="connsiteX12" fmla="*/ 44801 w 356232"/>
                <a:gd name="connsiteY12" fmla="*/ 336298 h 1201784"/>
                <a:gd name="connsiteX13" fmla="*/ 46268 w 356232"/>
                <a:gd name="connsiteY13" fmla="*/ 180172 h 1201784"/>
                <a:gd name="connsiteX0" fmla="*/ 46268 w 356901"/>
                <a:gd name="connsiteY0" fmla="*/ 229753 h 1251365"/>
                <a:gd name="connsiteX1" fmla="*/ 328630 w 356901"/>
                <a:gd name="connsiteY1" fmla="*/ 312385 h 1251365"/>
                <a:gd name="connsiteX2" fmla="*/ 288726 w 356901"/>
                <a:gd name="connsiteY2" fmla="*/ 458950 h 1251365"/>
                <a:gd name="connsiteX3" fmla="*/ 250089 w 356901"/>
                <a:gd name="connsiteY3" fmla="*/ 571338 h 1251365"/>
                <a:gd name="connsiteX4" fmla="*/ 172444 w 356901"/>
                <a:gd name="connsiteY4" fmla="*/ 626964 h 1251365"/>
                <a:gd name="connsiteX5" fmla="*/ 131060 w 356901"/>
                <a:gd name="connsiteY5" fmla="*/ 711478 h 1251365"/>
                <a:gd name="connsiteX6" fmla="*/ 132852 w 356901"/>
                <a:gd name="connsiteY6" fmla="*/ 1193044 h 1251365"/>
                <a:gd name="connsiteX7" fmla="*/ 57525 w 356901"/>
                <a:gd name="connsiteY7" fmla="*/ 1251365 h 1251365"/>
                <a:gd name="connsiteX8" fmla="*/ 25489 w 356901"/>
                <a:gd name="connsiteY8" fmla="*/ 1185532 h 1251365"/>
                <a:gd name="connsiteX9" fmla="*/ 107269 w 356901"/>
                <a:gd name="connsiteY9" fmla="*/ 709092 h 1251365"/>
                <a:gd name="connsiteX10" fmla="*/ 71062 w 356901"/>
                <a:gd name="connsiteY10" fmla="*/ 580747 h 1251365"/>
                <a:gd name="connsiteX11" fmla="*/ 152 w 356901"/>
                <a:gd name="connsiteY11" fmla="*/ 479092 h 1251365"/>
                <a:gd name="connsiteX12" fmla="*/ 44801 w 356901"/>
                <a:gd name="connsiteY12" fmla="*/ 385879 h 1251365"/>
                <a:gd name="connsiteX13" fmla="*/ 46268 w 356901"/>
                <a:gd name="connsiteY13" fmla="*/ 229753 h 1251365"/>
                <a:gd name="connsiteX0" fmla="*/ 46268 w 360271"/>
                <a:gd name="connsiteY0" fmla="*/ 228891 h 1250503"/>
                <a:gd name="connsiteX1" fmla="*/ 328630 w 360271"/>
                <a:gd name="connsiteY1" fmla="*/ 311523 h 1250503"/>
                <a:gd name="connsiteX2" fmla="*/ 288726 w 360271"/>
                <a:gd name="connsiteY2" fmla="*/ 458088 h 1250503"/>
                <a:gd name="connsiteX3" fmla="*/ 250089 w 360271"/>
                <a:gd name="connsiteY3" fmla="*/ 570476 h 1250503"/>
                <a:gd name="connsiteX4" fmla="*/ 172444 w 360271"/>
                <a:gd name="connsiteY4" fmla="*/ 626102 h 1250503"/>
                <a:gd name="connsiteX5" fmla="*/ 131060 w 360271"/>
                <a:gd name="connsiteY5" fmla="*/ 710616 h 1250503"/>
                <a:gd name="connsiteX6" fmla="*/ 132852 w 360271"/>
                <a:gd name="connsiteY6" fmla="*/ 1192182 h 1250503"/>
                <a:gd name="connsiteX7" fmla="*/ 57525 w 360271"/>
                <a:gd name="connsiteY7" fmla="*/ 1250503 h 1250503"/>
                <a:gd name="connsiteX8" fmla="*/ 25489 w 360271"/>
                <a:gd name="connsiteY8" fmla="*/ 1184670 h 1250503"/>
                <a:gd name="connsiteX9" fmla="*/ 107269 w 360271"/>
                <a:gd name="connsiteY9" fmla="*/ 708230 h 1250503"/>
                <a:gd name="connsiteX10" fmla="*/ 71062 w 360271"/>
                <a:gd name="connsiteY10" fmla="*/ 579885 h 1250503"/>
                <a:gd name="connsiteX11" fmla="*/ 152 w 360271"/>
                <a:gd name="connsiteY11" fmla="*/ 478230 h 1250503"/>
                <a:gd name="connsiteX12" fmla="*/ 44801 w 360271"/>
                <a:gd name="connsiteY12" fmla="*/ 385017 h 1250503"/>
                <a:gd name="connsiteX13" fmla="*/ 46268 w 360271"/>
                <a:gd name="connsiteY13" fmla="*/ 228891 h 1250503"/>
                <a:gd name="connsiteX0" fmla="*/ 44498 w 360171"/>
                <a:gd name="connsiteY0" fmla="*/ 232601 h 1244686"/>
                <a:gd name="connsiteX1" fmla="*/ 328630 w 360171"/>
                <a:gd name="connsiteY1" fmla="*/ 305706 h 1244686"/>
                <a:gd name="connsiteX2" fmla="*/ 288726 w 360171"/>
                <a:gd name="connsiteY2" fmla="*/ 452271 h 1244686"/>
                <a:gd name="connsiteX3" fmla="*/ 250089 w 360171"/>
                <a:gd name="connsiteY3" fmla="*/ 564659 h 1244686"/>
                <a:gd name="connsiteX4" fmla="*/ 172444 w 360171"/>
                <a:gd name="connsiteY4" fmla="*/ 620285 h 1244686"/>
                <a:gd name="connsiteX5" fmla="*/ 131060 w 360171"/>
                <a:gd name="connsiteY5" fmla="*/ 704799 h 1244686"/>
                <a:gd name="connsiteX6" fmla="*/ 132852 w 360171"/>
                <a:gd name="connsiteY6" fmla="*/ 1186365 h 1244686"/>
                <a:gd name="connsiteX7" fmla="*/ 57525 w 360171"/>
                <a:gd name="connsiteY7" fmla="*/ 1244686 h 1244686"/>
                <a:gd name="connsiteX8" fmla="*/ 25489 w 360171"/>
                <a:gd name="connsiteY8" fmla="*/ 1178853 h 1244686"/>
                <a:gd name="connsiteX9" fmla="*/ 107269 w 360171"/>
                <a:gd name="connsiteY9" fmla="*/ 702413 h 1244686"/>
                <a:gd name="connsiteX10" fmla="*/ 71062 w 360171"/>
                <a:gd name="connsiteY10" fmla="*/ 574068 h 1244686"/>
                <a:gd name="connsiteX11" fmla="*/ 152 w 360171"/>
                <a:gd name="connsiteY11" fmla="*/ 472413 h 1244686"/>
                <a:gd name="connsiteX12" fmla="*/ 44801 w 360171"/>
                <a:gd name="connsiteY12" fmla="*/ 379200 h 1244686"/>
                <a:gd name="connsiteX13" fmla="*/ 44498 w 360171"/>
                <a:gd name="connsiteY13" fmla="*/ 232601 h 1244686"/>
                <a:gd name="connsiteX0" fmla="*/ 44498 w 360171"/>
                <a:gd name="connsiteY0" fmla="*/ 232601 h 1244686"/>
                <a:gd name="connsiteX1" fmla="*/ 328630 w 360171"/>
                <a:gd name="connsiteY1" fmla="*/ 305706 h 1244686"/>
                <a:gd name="connsiteX2" fmla="*/ 288726 w 360171"/>
                <a:gd name="connsiteY2" fmla="*/ 452271 h 1244686"/>
                <a:gd name="connsiteX3" fmla="*/ 250089 w 360171"/>
                <a:gd name="connsiteY3" fmla="*/ 564659 h 1244686"/>
                <a:gd name="connsiteX4" fmla="*/ 172444 w 360171"/>
                <a:gd name="connsiteY4" fmla="*/ 620285 h 1244686"/>
                <a:gd name="connsiteX5" fmla="*/ 131060 w 360171"/>
                <a:gd name="connsiteY5" fmla="*/ 704799 h 1244686"/>
                <a:gd name="connsiteX6" fmla="*/ 132852 w 360171"/>
                <a:gd name="connsiteY6" fmla="*/ 1186365 h 1244686"/>
                <a:gd name="connsiteX7" fmla="*/ 57525 w 360171"/>
                <a:gd name="connsiteY7" fmla="*/ 1244686 h 1244686"/>
                <a:gd name="connsiteX8" fmla="*/ 25489 w 360171"/>
                <a:gd name="connsiteY8" fmla="*/ 1178853 h 1244686"/>
                <a:gd name="connsiteX9" fmla="*/ 107269 w 360171"/>
                <a:gd name="connsiteY9" fmla="*/ 702413 h 1244686"/>
                <a:gd name="connsiteX10" fmla="*/ 71062 w 360171"/>
                <a:gd name="connsiteY10" fmla="*/ 574068 h 1244686"/>
                <a:gd name="connsiteX11" fmla="*/ 152 w 360171"/>
                <a:gd name="connsiteY11" fmla="*/ 472413 h 1244686"/>
                <a:gd name="connsiteX12" fmla="*/ 44801 w 360171"/>
                <a:gd name="connsiteY12" fmla="*/ 379200 h 1244686"/>
                <a:gd name="connsiteX13" fmla="*/ 44498 w 360171"/>
                <a:gd name="connsiteY13" fmla="*/ 232601 h 1244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0171" h="1244686">
                  <a:moveTo>
                    <a:pt x="44498" y="232601"/>
                  </a:moveTo>
                  <a:cubicBezTo>
                    <a:pt x="25534" y="-149055"/>
                    <a:pt x="481943" y="-15523"/>
                    <a:pt x="328630" y="305706"/>
                  </a:cubicBezTo>
                  <a:cubicBezTo>
                    <a:pt x="361541" y="331421"/>
                    <a:pt x="320916" y="416792"/>
                    <a:pt x="288726" y="452271"/>
                  </a:cubicBezTo>
                  <a:cubicBezTo>
                    <a:pt x="266411" y="505821"/>
                    <a:pt x="217098" y="500899"/>
                    <a:pt x="250089" y="564659"/>
                  </a:cubicBezTo>
                  <a:cubicBezTo>
                    <a:pt x="232656" y="594829"/>
                    <a:pt x="192282" y="596928"/>
                    <a:pt x="172444" y="620285"/>
                  </a:cubicBezTo>
                  <a:cubicBezTo>
                    <a:pt x="152606" y="643642"/>
                    <a:pt x="144138" y="633765"/>
                    <a:pt x="131060" y="704799"/>
                  </a:cubicBezTo>
                  <a:cubicBezTo>
                    <a:pt x="122170" y="825013"/>
                    <a:pt x="139637" y="1060061"/>
                    <a:pt x="132852" y="1186365"/>
                  </a:cubicBezTo>
                  <a:cubicBezTo>
                    <a:pt x="109870" y="1224117"/>
                    <a:pt x="76835" y="1235292"/>
                    <a:pt x="57525" y="1244686"/>
                  </a:cubicBezTo>
                  <a:cubicBezTo>
                    <a:pt x="37692" y="1211283"/>
                    <a:pt x="39059" y="1221651"/>
                    <a:pt x="25489" y="1178853"/>
                  </a:cubicBezTo>
                  <a:cubicBezTo>
                    <a:pt x="40754" y="1027458"/>
                    <a:pt x="64719" y="953639"/>
                    <a:pt x="107269" y="702413"/>
                  </a:cubicBezTo>
                  <a:cubicBezTo>
                    <a:pt x="89838" y="630086"/>
                    <a:pt x="88915" y="612401"/>
                    <a:pt x="71062" y="574068"/>
                  </a:cubicBezTo>
                  <a:cubicBezTo>
                    <a:pt x="53209" y="535735"/>
                    <a:pt x="-3310" y="516731"/>
                    <a:pt x="152" y="472413"/>
                  </a:cubicBezTo>
                  <a:cubicBezTo>
                    <a:pt x="2089" y="439933"/>
                    <a:pt x="65600" y="448545"/>
                    <a:pt x="44801" y="379200"/>
                  </a:cubicBezTo>
                  <a:cubicBezTo>
                    <a:pt x="28025" y="348888"/>
                    <a:pt x="-10705" y="246712"/>
                    <a:pt x="44498" y="232601"/>
                  </a:cubicBezTo>
                  <a:close/>
                </a:path>
              </a:pathLst>
            </a:cu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a:solidFill>
                  <a:prstClr val="white"/>
                </a:solidFill>
                <a:latin typeface="Arial" panose="020B0604020202020204" pitchFamily="34" charset="0"/>
                <a:cs typeface="Arial" panose="020B0604020202020204" pitchFamily="34" charset="0"/>
              </a:endParaRPr>
            </a:p>
          </p:txBody>
        </p:sp>
        <p:sp>
          <p:nvSpPr>
            <p:cNvPr id="129" name="Rectangle 114">
              <a:extLst>
                <a:ext uri="{FF2B5EF4-FFF2-40B4-BE49-F238E27FC236}">
                  <a16:creationId xmlns:a16="http://schemas.microsoft.com/office/drawing/2014/main" id="{133E8E8E-71AA-B6EB-DCC2-31988F558904}"/>
                </a:ext>
              </a:extLst>
            </p:cNvPr>
            <p:cNvSpPr/>
            <p:nvPr/>
          </p:nvSpPr>
          <p:spPr>
            <a:xfrm>
              <a:off x="1061739" y="3473975"/>
              <a:ext cx="1262892" cy="2931047"/>
            </a:xfrm>
            <a:custGeom>
              <a:avLst/>
              <a:gdLst/>
              <a:ahLst/>
              <a:cxnLst/>
              <a:rect l="l" t="t" r="r" b="b"/>
              <a:pathLst>
                <a:path w="1249991" h="2903121">
                  <a:moveTo>
                    <a:pt x="934338" y="1350949"/>
                  </a:moveTo>
                  <a:cubicBezTo>
                    <a:pt x="913583" y="1353646"/>
                    <a:pt x="912531" y="1378665"/>
                    <a:pt x="915343" y="1397341"/>
                  </a:cubicBezTo>
                  <a:cubicBezTo>
                    <a:pt x="943530" y="1413824"/>
                    <a:pt x="944667" y="1434982"/>
                    <a:pt x="997808" y="1434264"/>
                  </a:cubicBezTo>
                  <a:cubicBezTo>
                    <a:pt x="1000760" y="1413823"/>
                    <a:pt x="1013348" y="1387335"/>
                    <a:pt x="962247" y="1356753"/>
                  </a:cubicBezTo>
                  <a:cubicBezTo>
                    <a:pt x="950364" y="1351630"/>
                    <a:pt x="941256" y="1350049"/>
                    <a:pt x="934338" y="1350949"/>
                  </a:cubicBezTo>
                  <a:close/>
                  <a:moveTo>
                    <a:pt x="897382" y="1208517"/>
                  </a:moveTo>
                  <a:cubicBezTo>
                    <a:pt x="885741" y="1210518"/>
                    <a:pt x="884800" y="1226374"/>
                    <a:pt x="886108" y="1238160"/>
                  </a:cubicBezTo>
                  <a:cubicBezTo>
                    <a:pt x="901633" y="1248199"/>
                    <a:pt x="901970" y="1261580"/>
                    <a:pt x="931687" y="1260375"/>
                  </a:cubicBezTo>
                  <a:cubicBezTo>
                    <a:pt x="933626" y="1247390"/>
                    <a:pt x="941037" y="1230440"/>
                    <a:pt x="912902" y="1211798"/>
                  </a:cubicBezTo>
                  <a:cubicBezTo>
                    <a:pt x="906331" y="1208722"/>
                    <a:pt x="901262" y="1207850"/>
                    <a:pt x="897382" y="1208517"/>
                  </a:cubicBezTo>
                  <a:close/>
                  <a:moveTo>
                    <a:pt x="223789" y="829027"/>
                  </a:moveTo>
                  <a:cubicBezTo>
                    <a:pt x="218059" y="828656"/>
                    <a:pt x="212105" y="829662"/>
                    <a:pt x="206152" y="831710"/>
                  </a:cubicBezTo>
                  <a:cubicBezTo>
                    <a:pt x="195040" y="862413"/>
                    <a:pt x="191071" y="878828"/>
                    <a:pt x="201390" y="930962"/>
                  </a:cubicBezTo>
                  <a:cubicBezTo>
                    <a:pt x="222028" y="930168"/>
                    <a:pt x="230759" y="936518"/>
                    <a:pt x="263303" y="878574"/>
                  </a:cubicBezTo>
                  <a:cubicBezTo>
                    <a:pt x="256159" y="843641"/>
                    <a:pt x="240979" y="830138"/>
                    <a:pt x="223789" y="829027"/>
                  </a:cubicBezTo>
                  <a:close/>
                  <a:moveTo>
                    <a:pt x="418085" y="0"/>
                  </a:moveTo>
                  <a:cubicBezTo>
                    <a:pt x="422054" y="84921"/>
                    <a:pt x="522463" y="486967"/>
                    <a:pt x="553816" y="588169"/>
                  </a:cubicBezTo>
                  <a:cubicBezTo>
                    <a:pt x="603426" y="569914"/>
                    <a:pt x="595093" y="615949"/>
                    <a:pt x="630017" y="616743"/>
                  </a:cubicBezTo>
                  <a:cubicBezTo>
                    <a:pt x="657798" y="612774"/>
                    <a:pt x="657798" y="561182"/>
                    <a:pt x="720504" y="564356"/>
                  </a:cubicBezTo>
                  <a:cubicBezTo>
                    <a:pt x="739156" y="475842"/>
                    <a:pt x="689150" y="64283"/>
                    <a:pt x="706216" y="38100"/>
                  </a:cubicBezTo>
                  <a:cubicBezTo>
                    <a:pt x="771303" y="55584"/>
                    <a:pt x="848297" y="89737"/>
                    <a:pt x="889572" y="147702"/>
                  </a:cubicBezTo>
                  <a:cubicBezTo>
                    <a:pt x="900685" y="200068"/>
                    <a:pt x="928467" y="445314"/>
                    <a:pt x="915767" y="583405"/>
                  </a:cubicBezTo>
                  <a:cubicBezTo>
                    <a:pt x="960217" y="743742"/>
                    <a:pt x="1007048" y="999330"/>
                    <a:pt x="1030067" y="1142999"/>
                  </a:cubicBezTo>
                  <a:cubicBezTo>
                    <a:pt x="1030067" y="1164430"/>
                    <a:pt x="1001491" y="1140617"/>
                    <a:pt x="1001491" y="1173955"/>
                  </a:cubicBezTo>
                  <a:cubicBezTo>
                    <a:pt x="993553" y="1201737"/>
                    <a:pt x="1047530" y="1196180"/>
                    <a:pt x="1032448" y="1243011"/>
                  </a:cubicBezTo>
                  <a:cubicBezTo>
                    <a:pt x="1018160" y="1285874"/>
                    <a:pt x="1075309" y="1297780"/>
                    <a:pt x="1015778" y="1338262"/>
                  </a:cubicBezTo>
                  <a:cubicBezTo>
                    <a:pt x="1029272" y="1368822"/>
                    <a:pt x="1051100" y="1370806"/>
                    <a:pt x="1051497" y="1388268"/>
                  </a:cubicBezTo>
                  <a:cubicBezTo>
                    <a:pt x="1061021" y="1445020"/>
                    <a:pt x="1154685" y="1426765"/>
                    <a:pt x="1194372" y="1483518"/>
                  </a:cubicBezTo>
                  <a:cubicBezTo>
                    <a:pt x="1200325" y="1531936"/>
                    <a:pt x="1204691" y="1537890"/>
                    <a:pt x="1203896" y="1576387"/>
                  </a:cubicBezTo>
                  <a:cubicBezTo>
                    <a:pt x="1206675" y="1612105"/>
                    <a:pt x="1168177" y="1579562"/>
                    <a:pt x="1168178" y="1612105"/>
                  </a:cubicBezTo>
                  <a:cubicBezTo>
                    <a:pt x="1161431" y="1693464"/>
                    <a:pt x="1169368" y="1847452"/>
                    <a:pt x="1158652" y="1955005"/>
                  </a:cubicBezTo>
                  <a:cubicBezTo>
                    <a:pt x="1149920" y="1981200"/>
                    <a:pt x="1132061" y="1956990"/>
                    <a:pt x="1113408" y="1957387"/>
                  </a:cubicBezTo>
                  <a:cubicBezTo>
                    <a:pt x="1094755" y="1964928"/>
                    <a:pt x="1075308" y="1979216"/>
                    <a:pt x="1051496" y="1964531"/>
                  </a:cubicBezTo>
                  <a:cubicBezTo>
                    <a:pt x="1032446" y="1964134"/>
                    <a:pt x="1027286" y="1997074"/>
                    <a:pt x="1001489" y="1981199"/>
                  </a:cubicBezTo>
                  <a:cubicBezTo>
                    <a:pt x="951879" y="1967705"/>
                    <a:pt x="964183" y="1831577"/>
                    <a:pt x="908621" y="1895474"/>
                  </a:cubicBezTo>
                  <a:cubicBezTo>
                    <a:pt x="922512" y="1965324"/>
                    <a:pt x="892745" y="2103039"/>
                    <a:pt x="901476" y="2209798"/>
                  </a:cubicBezTo>
                  <a:cubicBezTo>
                    <a:pt x="938782" y="2321319"/>
                    <a:pt x="907826" y="2450304"/>
                    <a:pt x="961008" y="2536029"/>
                  </a:cubicBezTo>
                  <a:cubicBezTo>
                    <a:pt x="1073720" y="2795585"/>
                    <a:pt x="1278114" y="2686052"/>
                    <a:pt x="1246760" y="2771775"/>
                  </a:cubicBezTo>
                  <a:cubicBezTo>
                    <a:pt x="1149128" y="2771775"/>
                    <a:pt x="1030066" y="2786061"/>
                    <a:pt x="911003" y="2743198"/>
                  </a:cubicBezTo>
                  <a:cubicBezTo>
                    <a:pt x="879253" y="2743198"/>
                    <a:pt x="904653" y="2769391"/>
                    <a:pt x="872903" y="2769391"/>
                  </a:cubicBezTo>
                  <a:cubicBezTo>
                    <a:pt x="820516" y="2767803"/>
                    <a:pt x="777653" y="2766216"/>
                    <a:pt x="739553" y="2747959"/>
                  </a:cubicBezTo>
                  <a:cubicBezTo>
                    <a:pt x="683197" y="2720971"/>
                    <a:pt x="764953" y="2470147"/>
                    <a:pt x="684784" y="2466972"/>
                  </a:cubicBezTo>
                  <a:cubicBezTo>
                    <a:pt x="656209" y="2404265"/>
                    <a:pt x="699072" y="1646234"/>
                    <a:pt x="584772" y="1683541"/>
                  </a:cubicBezTo>
                  <a:cubicBezTo>
                    <a:pt x="537543" y="1658538"/>
                    <a:pt x="408162" y="2373706"/>
                    <a:pt x="391890" y="2695572"/>
                  </a:cubicBezTo>
                  <a:cubicBezTo>
                    <a:pt x="392287" y="2750737"/>
                    <a:pt x="363712" y="2704700"/>
                    <a:pt x="358553" y="2743197"/>
                  </a:cubicBezTo>
                  <a:cubicBezTo>
                    <a:pt x="339503" y="2763438"/>
                    <a:pt x="391889" y="2809872"/>
                    <a:pt x="341884" y="2890835"/>
                  </a:cubicBezTo>
                  <a:cubicBezTo>
                    <a:pt x="297435" y="2909092"/>
                    <a:pt x="248222" y="2905919"/>
                    <a:pt x="215679" y="2888457"/>
                  </a:cubicBezTo>
                  <a:cubicBezTo>
                    <a:pt x="170436" y="2855516"/>
                    <a:pt x="235918" y="2787252"/>
                    <a:pt x="160909" y="2731291"/>
                  </a:cubicBezTo>
                  <a:cubicBezTo>
                    <a:pt x="136303" y="2566587"/>
                    <a:pt x="210121" y="2370531"/>
                    <a:pt x="220440" y="2131216"/>
                  </a:cubicBezTo>
                  <a:cubicBezTo>
                    <a:pt x="192659" y="1727595"/>
                    <a:pt x="213695" y="1416048"/>
                    <a:pt x="222823" y="1295399"/>
                  </a:cubicBezTo>
                  <a:cubicBezTo>
                    <a:pt x="182738" y="1233883"/>
                    <a:pt x="152577" y="1314846"/>
                    <a:pt x="165674" y="1362074"/>
                  </a:cubicBezTo>
                  <a:cubicBezTo>
                    <a:pt x="154958" y="1380728"/>
                    <a:pt x="134319" y="1401364"/>
                    <a:pt x="108523" y="1390648"/>
                  </a:cubicBezTo>
                  <a:cubicBezTo>
                    <a:pt x="85108" y="1389457"/>
                    <a:pt x="22402" y="1347390"/>
                    <a:pt x="13274" y="1323974"/>
                  </a:cubicBezTo>
                  <a:cubicBezTo>
                    <a:pt x="4146" y="1300558"/>
                    <a:pt x="-12523" y="1220775"/>
                    <a:pt x="15654" y="1171574"/>
                  </a:cubicBezTo>
                  <a:cubicBezTo>
                    <a:pt x="7716" y="851714"/>
                    <a:pt x="92648" y="565193"/>
                    <a:pt x="106141" y="204852"/>
                  </a:cubicBezTo>
                  <a:cubicBezTo>
                    <a:pt x="104158" y="92140"/>
                    <a:pt x="306563" y="93673"/>
                    <a:pt x="418085" y="0"/>
                  </a:cubicBezTo>
                  <a:close/>
                </a:path>
              </a:pathLst>
            </a:cu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a:solidFill>
                  <a:prstClr val="white"/>
                </a:solidFill>
                <a:latin typeface="Arial" panose="020B0604020202020204" pitchFamily="34" charset="0"/>
                <a:cs typeface="Arial" panose="020B0604020202020204" pitchFamily="34" charset="0"/>
              </a:endParaRPr>
            </a:p>
          </p:txBody>
        </p:sp>
      </p:grpSp>
      <p:grpSp>
        <p:nvGrpSpPr>
          <p:cNvPr id="10256" name="Group 129">
            <a:extLst>
              <a:ext uri="{FF2B5EF4-FFF2-40B4-BE49-F238E27FC236}">
                <a16:creationId xmlns:a16="http://schemas.microsoft.com/office/drawing/2014/main" id="{77C254EB-5BCD-9503-DCC4-C21DF9724BBD}"/>
              </a:ext>
            </a:extLst>
          </p:cNvPr>
          <p:cNvGrpSpPr>
            <a:grpSpLocks/>
          </p:cNvGrpSpPr>
          <p:nvPr/>
        </p:nvGrpSpPr>
        <p:grpSpPr bwMode="auto">
          <a:xfrm>
            <a:off x="4862514" y="4403726"/>
            <a:ext cx="327025" cy="1090613"/>
            <a:chOff x="4855849" y="1442633"/>
            <a:chExt cx="528215" cy="1811425"/>
          </a:xfrm>
        </p:grpSpPr>
        <p:sp>
          <p:nvSpPr>
            <p:cNvPr id="131" name="Rectangle 4099">
              <a:extLst>
                <a:ext uri="{FF2B5EF4-FFF2-40B4-BE49-F238E27FC236}">
                  <a16:creationId xmlns:a16="http://schemas.microsoft.com/office/drawing/2014/main" id="{5C4A6892-2F13-5786-2989-8315B6C2315E}"/>
                </a:ext>
              </a:extLst>
            </p:cNvPr>
            <p:cNvSpPr/>
            <p:nvPr/>
          </p:nvSpPr>
          <p:spPr>
            <a:xfrm>
              <a:off x="4855849" y="1442633"/>
              <a:ext cx="528215" cy="1811425"/>
            </a:xfrm>
            <a:custGeom>
              <a:avLst/>
              <a:gdLst>
                <a:gd name="connsiteX0" fmla="*/ 0 w 304800"/>
                <a:gd name="connsiteY0" fmla="*/ 0 h 1143000"/>
                <a:gd name="connsiteX1" fmla="*/ 304800 w 304800"/>
                <a:gd name="connsiteY1" fmla="*/ 0 h 1143000"/>
                <a:gd name="connsiteX2" fmla="*/ 304800 w 304800"/>
                <a:gd name="connsiteY2" fmla="*/ 1143000 h 1143000"/>
                <a:gd name="connsiteX3" fmla="*/ 0 w 304800"/>
                <a:gd name="connsiteY3" fmla="*/ 1143000 h 1143000"/>
                <a:gd name="connsiteX4" fmla="*/ 0 w 304800"/>
                <a:gd name="connsiteY4" fmla="*/ 0 h 1143000"/>
                <a:gd name="connsiteX0" fmla="*/ 0 w 304800"/>
                <a:gd name="connsiteY0" fmla="*/ 3 h 1143003"/>
                <a:gd name="connsiteX1" fmla="*/ 245269 w 304800"/>
                <a:gd name="connsiteY1" fmla="*/ 142878 h 1143003"/>
                <a:gd name="connsiteX2" fmla="*/ 304800 w 304800"/>
                <a:gd name="connsiteY2" fmla="*/ 3 h 1143003"/>
                <a:gd name="connsiteX3" fmla="*/ 304800 w 304800"/>
                <a:gd name="connsiteY3" fmla="*/ 1143003 h 1143003"/>
                <a:gd name="connsiteX4" fmla="*/ 0 w 304800"/>
                <a:gd name="connsiteY4" fmla="*/ 1143003 h 1143003"/>
                <a:gd name="connsiteX5" fmla="*/ 0 w 304800"/>
                <a:gd name="connsiteY5" fmla="*/ 3 h 1143003"/>
                <a:gd name="connsiteX0" fmla="*/ 0 w 373857"/>
                <a:gd name="connsiteY0" fmla="*/ 3 h 1143003"/>
                <a:gd name="connsiteX1" fmla="*/ 245269 w 373857"/>
                <a:gd name="connsiteY1" fmla="*/ 142878 h 1143003"/>
                <a:gd name="connsiteX2" fmla="*/ 373857 w 373857"/>
                <a:gd name="connsiteY2" fmla="*/ 228603 h 1143003"/>
                <a:gd name="connsiteX3" fmla="*/ 304800 w 373857"/>
                <a:gd name="connsiteY3" fmla="*/ 1143003 h 1143003"/>
                <a:gd name="connsiteX4" fmla="*/ 0 w 373857"/>
                <a:gd name="connsiteY4" fmla="*/ 1143003 h 1143003"/>
                <a:gd name="connsiteX5" fmla="*/ 0 w 373857"/>
                <a:gd name="connsiteY5" fmla="*/ 3 h 1143003"/>
                <a:gd name="connsiteX0" fmla="*/ 0 w 373857"/>
                <a:gd name="connsiteY0" fmla="*/ 3 h 1143003"/>
                <a:gd name="connsiteX1" fmla="*/ 230982 w 373857"/>
                <a:gd name="connsiteY1" fmla="*/ 133353 h 1143003"/>
                <a:gd name="connsiteX2" fmla="*/ 373857 w 373857"/>
                <a:gd name="connsiteY2" fmla="*/ 228603 h 1143003"/>
                <a:gd name="connsiteX3" fmla="*/ 304800 w 373857"/>
                <a:gd name="connsiteY3" fmla="*/ 1143003 h 1143003"/>
                <a:gd name="connsiteX4" fmla="*/ 0 w 373857"/>
                <a:gd name="connsiteY4" fmla="*/ 1143003 h 1143003"/>
                <a:gd name="connsiteX5" fmla="*/ 0 w 373857"/>
                <a:gd name="connsiteY5" fmla="*/ 3 h 1143003"/>
                <a:gd name="connsiteX0" fmla="*/ 0 w 373857"/>
                <a:gd name="connsiteY0" fmla="*/ 49092 h 1192092"/>
                <a:gd name="connsiteX1" fmla="*/ 192881 w 373857"/>
                <a:gd name="connsiteY1" fmla="*/ 246737 h 1192092"/>
                <a:gd name="connsiteX2" fmla="*/ 230982 w 373857"/>
                <a:gd name="connsiteY2" fmla="*/ 182442 h 1192092"/>
                <a:gd name="connsiteX3" fmla="*/ 373857 w 373857"/>
                <a:gd name="connsiteY3" fmla="*/ 277692 h 1192092"/>
                <a:gd name="connsiteX4" fmla="*/ 304800 w 373857"/>
                <a:gd name="connsiteY4" fmla="*/ 1192092 h 1192092"/>
                <a:gd name="connsiteX5" fmla="*/ 0 w 373857"/>
                <a:gd name="connsiteY5" fmla="*/ 1192092 h 1192092"/>
                <a:gd name="connsiteX6" fmla="*/ 0 w 373857"/>
                <a:gd name="connsiteY6" fmla="*/ 49092 h 1192092"/>
                <a:gd name="connsiteX0" fmla="*/ 0 w 373857"/>
                <a:gd name="connsiteY0" fmla="*/ 49092 h 1192092"/>
                <a:gd name="connsiteX1" fmla="*/ 192881 w 373857"/>
                <a:gd name="connsiteY1" fmla="*/ 246737 h 1192092"/>
                <a:gd name="connsiteX2" fmla="*/ 238126 w 373857"/>
                <a:gd name="connsiteY2" fmla="*/ 191967 h 1192092"/>
                <a:gd name="connsiteX3" fmla="*/ 373857 w 373857"/>
                <a:gd name="connsiteY3" fmla="*/ 277692 h 1192092"/>
                <a:gd name="connsiteX4" fmla="*/ 304800 w 373857"/>
                <a:gd name="connsiteY4" fmla="*/ 1192092 h 1192092"/>
                <a:gd name="connsiteX5" fmla="*/ 0 w 373857"/>
                <a:gd name="connsiteY5" fmla="*/ 1192092 h 1192092"/>
                <a:gd name="connsiteX6" fmla="*/ 0 w 373857"/>
                <a:gd name="connsiteY6" fmla="*/ 49092 h 1192092"/>
                <a:gd name="connsiteX0" fmla="*/ 0 w 373857"/>
                <a:gd name="connsiteY0" fmla="*/ 49092 h 1192092"/>
                <a:gd name="connsiteX1" fmla="*/ 192881 w 373857"/>
                <a:gd name="connsiteY1" fmla="*/ 246737 h 1192092"/>
                <a:gd name="connsiteX2" fmla="*/ 238126 w 373857"/>
                <a:gd name="connsiteY2" fmla="*/ 191967 h 1192092"/>
                <a:gd name="connsiteX3" fmla="*/ 373857 w 373857"/>
                <a:gd name="connsiteY3" fmla="*/ 277692 h 1192092"/>
                <a:gd name="connsiteX4" fmla="*/ 304800 w 373857"/>
                <a:gd name="connsiteY4" fmla="*/ 1192092 h 1192092"/>
                <a:gd name="connsiteX5" fmla="*/ 0 w 373857"/>
                <a:gd name="connsiteY5" fmla="*/ 1192092 h 1192092"/>
                <a:gd name="connsiteX6" fmla="*/ 0 w 373857"/>
                <a:gd name="connsiteY6" fmla="*/ 49092 h 1192092"/>
                <a:gd name="connsiteX0" fmla="*/ 0 w 383382"/>
                <a:gd name="connsiteY0" fmla="*/ 49092 h 1192092"/>
                <a:gd name="connsiteX1" fmla="*/ 192881 w 383382"/>
                <a:gd name="connsiteY1" fmla="*/ 246737 h 1192092"/>
                <a:gd name="connsiteX2" fmla="*/ 238126 w 383382"/>
                <a:gd name="connsiteY2" fmla="*/ 191967 h 1192092"/>
                <a:gd name="connsiteX3" fmla="*/ 383382 w 383382"/>
                <a:gd name="connsiteY3" fmla="*/ 280073 h 1192092"/>
                <a:gd name="connsiteX4" fmla="*/ 304800 w 383382"/>
                <a:gd name="connsiteY4" fmla="*/ 1192092 h 1192092"/>
                <a:gd name="connsiteX5" fmla="*/ 0 w 383382"/>
                <a:gd name="connsiteY5" fmla="*/ 1192092 h 1192092"/>
                <a:gd name="connsiteX6" fmla="*/ 0 w 383382"/>
                <a:gd name="connsiteY6" fmla="*/ 49092 h 1192092"/>
                <a:gd name="connsiteX0" fmla="*/ 0 w 383382"/>
                <a:gd name="connsiteY0" fmla="*/ 49092 h 1192092"/>
                <a:gd name="connsiteX1" fmla="*/ 192881 w 383382"/>
                <a:gd name="connsiteY1" fmla="*/ 246737 h 1192092"/>
                <a:gd name="connsiteX2" fmla="*/ 238126 w 383382"/>
                <a:gd name="connsiteY2" fmla="*/ 191967 h 1192092"/>
                <a:gd name="connsiteX3" fmla="*/ 383382 w 383382"/>
                <a:gd name="connsiteY3" fmla="*/ 280073 h 1192092"/>
                <a:gd name="connsiteX4" fmla="*/ 304800 w 383382"/>
                <a:gd name="connsiteY4" fmla="*/ 1192092 h 1192092"/>
                <a:gd name="connsiteX5" fmla="*/ 0 w 383382"/>
                <a:gd name="connsiteY5" fmla="*/ 1192092 h 1192092"/>
                <a:gd name="connsiteX6" fmla="*/ 0 w 383382"/>
                <a:gd name="connsiteY6" fmla="*/ 49092 h 1192092"/>
                <a:gd name="connsiteX0" fmla="*/ 0 w 383382"/>
                <a:gd name="connsiteY0" fmla="*/ 49092 h 1192092"/>
                <a:gd name="connsiteX1" fmla="*/ 183356 w 383382"/>
                <a:gd name="connsiteY1" fmla="*/ 246737 h 1192092"/>
                <a:gd name="connsiteX2" fmla="*/ 238126 w 383382"/>
                <a:gd name="connsiteY2" fmla="*/ 191967 h 1192092"/>
                <a:gd name="connsiteX3" fmla="*/ 383382 w 383382"/>
                <a:gd name="connsiteY3" fmla="*/ 280073 h 1192092"/>
                <a:gd name="connsiteX4" fmla="*/ 304800 w 383382"/>
                <a:gd name="connsiteY4" fmla="*/ 1192092 h 1192092"/>
                <a:gd name="connsiteX5" fmla="*/ 0 w 383382"/>
                <a:gd name="connsiteY5" fmla="*/ 1192092 h 1192092"/>
                <a:gd name="connsiteX6" fmla="*/ 0 w 383382"/>
                <a:gd name="connsiteY6" fmla="*/ 49092 h 1192092"/>
                <a:gd name="connsiteX0" fmla="*/ 0 w 383382"/>
                <a:gd name="connsiteY0" fmla="*/ 102514 h 1245514"/>
                <a:gd name="connsiteX1" fmla="*/ 252412 w 383382"/>
                <a:gd name="connsiteY1" fmla="*/ 47746 h 1245514"/>
                <a:gd name="connsiteX2" fmla="*/ 238126 w 383382"/>
                <a:gd name="connsiteY2" fmla="*/ 245389 h 1245514"/>
                <a:gd name="connsiteX3" fmla="*/ 383382 w 383382"/>
                <a:gd name="connsiteY3" fmla="*/ 333495 h 1245514"/>
                <a:gd name="connsiteX4" fmla="*/ 304800 w 383382"/>
                <a:gd name="connsiteY4" fmla="*/ 1245514 h 1245514"/>
                <a:gd name="connsiteX5" fmla="*/ 0 w 383382"/>
                <a:gd name="connsiteY5" fmla="*/ 1245514 h 1245514"/>
                <a:gd name="connsiteX6" fmla="*/ 0 w 383382"/>
                <a:gd name="connsiteY6" fmla="*/ 102514 h 1245514"/>
                <a:gd name="connsiteX0" fmla="*/ 0 w 383382"/>
                <a:gd name="connsiteY0" fmla="*/ 58325 h 1201325"/>
                <a:gd name="connsiteX1" fmla="*/ 185737 w 383382"/>
                <a:gd name="connsiteY1" fmla="*/ 260732 h 1201325"/>
                <a:gd name="connsiteX2" fmla="*/ 252412 w 383382"/>
                <a:gd name="connsiteY2" fmla="*/ 3557 h 1201325"/>
                <a:gd name="connsiteX3" fmla="*/ 238126 w 383382"/>
                <a:gd name="connsiteY3" fmla="*/ 201200 h 1201325"/>
                <a:gd name="connsiteX4" fmla="*/ 383382 w 383382"/>
                <a:gd name="connsiteY4" fmla="*/ 289306 h 1201325"/>
                <a:gd name="connsiteX5" fmla="*/ 304800 w 383382"/>
                <a:gd name="connsiteY5" fmla="*/ 1201325 h 1201325"/>
                <a:gd name="connsiteX6" fmla="*/ 0 w 383382"/>
                <a:gd name="connsiteY6" fmla="*/ 1201325 h 1201325"/>
                <a:gd name="connsiteX7" fmla="*/ 0 w 383382"/>
                <a:gd name="connsiteY7" fmla="*/ 58325 h 1201325"/>
                <a:gd name="connsiteX0" fmla="*/ 0 w 383382"/>
                <a:gd name="connsiteY0" fmla="*/ 57501 h 1200501"/>
                <a:gd name="connsiteX1" fmla="*/ 185737 w 383382"/>
                <a:gd name="connsiteY1" fmla="*/ 259908 h 1200501"/>
                <a:gd name="connsiteX2" fmla="*/ 252412 w 383382"/>
                <a:gd name="connsiteY2" fmla="*/ 2733 h 1200501"/>
                <a:gd name="connsiteX3" fmla="*/ 261937 w 383382"/>
                <a:gd name="connsiteY3" fmla="*/ 128940 h 1200501"/>
                <a:gd name="connsiteX4" fmla="*/ 238126 w 383382"/>
                <a:gd name="connsiteY4" fmla="*/ 200376 h 1200501"/>
                <a:gd name="connsiteX5" fmla="*/ 383382 w 383382"/>
                <a:gd name="connsiteY5" fmla="*/ 288482 h 1200501"/>
                <a:gd name="connsiteX6" fmla="*/ 304800 w 383382"/>
                <a:gd name="connsiteY6" fmla="*/ 1200501 h 1200501"/>
                <a:gd name="connsiteX7" fmla="*/ 0 w 383382"/>
                <a:gd name="connsiteY7" fmla="*/ 1200501 h 1200501"/>
                <a:gd name="connsiteX8" fmla="*/ 0 w 383382"/>
                <a:gd name="connsiteY8" fmla="*/ 57501 h 1200501"/>
                <a:gd name="connsiteX0" fmla="*/ 0 w 383382"/>
                <a:gd name="connsiteY0" fmla="*/ 109581 h 1252581"/>
                <a:gd name="connsiteX1" fmla="*/ 157162 w 383382"/>
                <a:gd name="connsiteY1" fmla="*/ 42907 h 1252581"/>
                <a:gd name="connsiteX2" fmla="*/ 252412 w 383382"/>
                <a:gd name="connsiteY2" fmla="*/ 54813 h 1252581"/>
                <a:gd name="connsiteX3" fmla="*/ 261937 w 383382"/>
                <a:gd name="connsiteY3" fmla="*/ 181020 h 1252581"/>
                <a:gd name="connsiteX4" fmla="*/ 238126 w 383382"/>
                <a:gd name="connsiteY4" fmla="*/ 252456 h 1252581"/>
                <a:gd name="connsiteX5" fmla="*/ 383382 w 383382"/>
                <a:gd name="connsiteY5" fmla="*/ 340562 h 1252581"/>
                <a:gd name="connsiteX6" fmla="*/ 304800 w 383382"/>
                <a:gd name="connsiteY6" fmla="*/ 1252581 h 1252581"/>
                <a:gd name="connsiteX7" fmla="*/ 0 w 383382"/>
                <a:gd name="connsiteY7" fmla="*/ 1252581 h 1252581"/>
                <a:gd name="connsiteX8" fmla="*/ 0 w 383382"/>
                <a:gd name="connsiteY8" fmla="*/ 109581 h 1252581"/>
                <a:gd name="connsiteX0" fmla="*/ 26194 w 383382"/>
                <a:gd name="connsiteY0" fmla="*/ 256089 h 1210970"/>
                <a:gd name="connsiteX1" fmla="*/ 157162 w 383382"/>
                <a:gd name="connsiteY1" fmla="*/ 1296 h 1210970"/>
                <a:gd name="connsiteX2" fmla="*/ 252412 w 383382"/>
                <a:gd name="connsiteY2" fmla="*/ 13202 h 1210970"/>
                <a:gd name="connsiteX3" fmla="*/ 261937 w 383382"/>
                <a:gd name="connsiteY3" fmla="*/ 139409 h 1210970"/>
                <a:gd name="connsiteX4" fmla="*/ 238126 w 383382"/>
                <a:gd name="connsiteY4" fmla="*/ 210845 h 1210970"/>
                <a:gd name="connsiteX5" fmla="*/ 383382 w 383382"/>
                <a:gd name="connsiteY5" fmla="*/ 298951 h 1210970"/>
                <a:gd name="connsiteX6" fmla="*/ 304800 w 383382"/>
                <a:gd name="connsiteY6" fmla="*/ 1210970 h 1210970"/>
                <a:gd name="connsiteX7" fmla="*/ 0 w 383382"/>
                <a:gd name="connsiteY7" fmla="*/ 1210970 h 1210970"/>
                <a:gd name="connsiteX8" fmla="*/ 26194 w 383382"/>
                <a:gd name="connsiteY8" fmla="*/ 256089 h 1210970"/>
                <a:gd name="connsiteX0" fmla="*/ 26194 w 383382"/>
                <a:gd name="connsiteY0" fmla="*/ 245620 h 1200501"/>
                <a:gd name="connsiteX1" fmla="*/ 92869 w 383382"/>
                <a:gd name="connsiteY1" fmla="*/ 136083 h 1200501"/>
                <a:gd name="connsiteX2" fmla="*/ 252412 w 383382"/>
                <a:gd name="connsiteY2" fmla="*/ 2733 h 1200501"/>
                <a:gd name="connsiteX3" fmla="*/ 261937 w 383382"/>
                <a:gd name="connsiteY3" fmla="*/ 128940 h 1200501"/>
                <a:gd name="connsiteX4" fmla="*/ 238126 w 383382"/>
                <a:gd name="connsiteY4" fmla="*/ 200376 h 1200501"/>
                <a:gd name="connsiteX5" fmla="*/ 383382 w 383382"/>
                <a:gd name="connsiteY5" fmla="*/ 288482 h 1200501"/>
                <a:gd name="connsiteX6" fmla="*/ 304800 w 383382"/>
                <a:gd name="connsiteY6" fmla="*/ 1200501 h 1200501"/>
                <a:gd name="connsiteX7" fmla="*/ 0 w 383382"/>
                <a:gd name="connsiteY7" fmla="*/ 1200501 h 1200501"/>
                <a:gd name="connsiteX8" fmla="*/ 26194 w 383382"/>
                <a:gd name="connsiteY8" fmla="*/ 245620 h 1200501"/>
                <a:gd name="connsiteX0" fmla="*/ 26194 w 383382"/>
                <a:gd name="connsiteY0" fmla="*/ 245620 h 1200501"/>
                <a:gd name="connsiteX1" fmla="*/ 92869 w 383382"/>
                <a:gd name="connsiteY1" fmla="*/ 136083 h 1200501"/>
                <a:gd name="connsiteX2" fmla="*/ 252412 w 383382"/>
                <a:gd name="connsiteY2" fmla="*/ 2733 h 1200501"/>
                <a:gd name="connsiteX3" fmla="*/ 261937 w 383382"/>
                <a:gd name="connsiteY3" fmla="*/ 128940 h 1200501"/>
                <a:gd name="connsiteX4" fmla="*/ 238126 w 383382"/>
                <a:gd name="connsiteY4" fmla="*/ 200376 h 1200501"/>
                <a:gd name="connsiteX5" fmla="*/ 383382 w 383382"/>
                <a:gd name="connsiteY5" fmla="*/ 288482 h 1200501"/>
                <a:gd name="connsiteX6" fmla="*/ 304800 w 383382"/>
                <a:gd name="connsiteY6" fmla="*/ 1200501 h 1200501"/>
                <a:gd name="connsiteX7" fmla="*/ 0 w 383382"/>
                <a:gd name="connsiteY7" fmla="*/ 1200501 h 1200501"/>
                <a:gd name="connsiteX8" fmla="*/ 26194 w 383382"/>
                <a:gd name="connsiteY8" fmla="*/ 245620 h 1200501"/>
                <a:gd name="connsiteX0" fmla="*/ 26194 w 383382"/>
                <a:gd name="connsiteY0" fmla="*/ 245620 h 1200501"/>
                <a:gd name="connsiteX1" fmla="*/ 92869 w 383382"/>
                <a:gd name="connsiteY1" fmla="*/ 136083 h 1200501"/>
                <a:gd name="connsiteX2" fmla="*/ 252412 w 383382"/>
                <a:gd name="connsiteY2" fmla="*/ 2733 h 1200501"/>
                <a:gd name="connsiteX3" fmla="*/ 261937 w 383382"/>
                <a:gd name="connsiteY3" fmla="*/ 128940 h 1200501"/>
                <a:gd name="connsiteX4" fmla="*/ 238126 w 383382"/>
                <a:gd name="connsiteY4" fmla="*/ 200376 h 1200501"/>
                <a:gd name="connsiteX5" fmla="*/ 383382 w 383382"/>
                <a:gd name="connsiteY5" fmla="*/ 288482 h 1200501"/>
                <a:gd name="connsiteX6" fmla="*/ 304800 w 383382"/>
                <a:gd name="connsiteY6" fmla="*/ 1200501 h 1200501"/>
                <a:gd name="connsiteX7" fmla="*/ 0 w 383382"/>
                <a:gd name="connsiteY7" fmla="*/ 1200501 h 1200501"/>
                <a:gd name="connsiteX8" fmla="*/ 26194 w 383382"/>
                <a:gd name="connsiteY8" fmla="*/ 245620 h 1200501"/>
                <a:gd name="connsiteX0" fmla="*/ 26194 w 383382"/>
                <a:gd name="connsiteY0" fmla="*/ 267612 h 1222493"/>
                <a:gd name="connsiteX1" fmla="*/ 92869 w 383382"/>
                <a:gd name="connsiteY1" fmla="*/ 158075 h 1222493"/>
                <a:gd name="connsiteX2" fmla="*/ 252412 w 383382"/>
                <a:gd name="connsiteY2" fmla="*/ 24725 h 1222493"/>
                <a:gd name="connsiteX3" fmla="*/ 261937 w 383382"/>
                <a:gd name="connsiteY3" fmla="*/ 150932 h 1222493"/>
                <a:gd name="connsiteX4" fmla="*/ 238126 w 383382"/>
                <a:gd name="connsiteY4" fmla="*/ 222368 h 1222493"/>
                <a:gd name="connsiteX5" fmla="*/ 383382 w 383382"/>
                <a:gd name="connsiteY5" fmla="*/ 310474 h 1222493"/>
                <a:gd name="connsiteX6" fmla="*/ 304800 w 383382"/>
                <a:gd name="connsiteY6" fmla="*/ 1222493 h 1222493"/>
                <a:gd name="connsiteX7" fmla="*/ 0 w 383382"/>
                <a:gd name="connsiteY7" fmla="*/ 1222493 h 1222493"/>
                <a:gd name="connsiteX8" fmla="*/ 26194 w 383382"/>
                <a:gd name="connsiteY8" fmla="*/ 267612 h 1222493"/>
                <a:gd name="connsiteX0" fmla="*/ 26194 w 383382"/>
                <a:gd name="connsiteY0" fmla="*/ 267612 h 1222493"/>
                <a:gd name="connsiteX1" fmla="*/ 92869 w 383382"/>
                <a:gd name="connsiteY1" fmla="*/ 158075 h 1222493"/>
                <a:gd name="connsiteX2" fmla="*/ 252412 w 383382"/>
                <a:gd name="connsiteY2" fmla="*/ 24725 h 1222493"/>
                <a:gd name="connsiteX3" fmla="*/ 261937 w 383382"/>
                <a:gd name="connsiteY3" fmla="*/ 150932 h 1222493"/>
                <a:gd name="connsiteX4" fmla="*/ 238126 w 383382"/>
                <a:gd name="connsiteY4" fmla="*/ 222368 h 1222493"/>
                <a:gd name="connsiteX5" fmla="*/ 383382 w 383382"/>
                <a:gd name="connsiteY5" fmla="*/ 310474 h 1222493"/>
                <a:gd name="connsiteX6" fmla="*/ 304800 w 383382"/>
                <a:gd name="connsiteY6" fmla="*/ 1222493 h 1222493"/>
                <a:gd name="connsiteX7" fmla="*/ 0 w 383382"/>
                <a:gd name="connsiteY7" fmla="*/ 1222493 h 1222493"/>
                <a:gd name="connsiteX8" fmla="*/ 26194 w 383382"/>
                <a:gd name="connsiteY8" fmla="*/ 267612 h 1222493"/>
                <a:gd name="connsiteX0" fmla="*/ 26194 w 383382"/>
                <a:gd name="connsiteY0" fmla="*/ 267612 h 1222493"/>
                <a:gd name="connsiteX1" fmla="*/ 92869 w 383382"/>
                <a:gd name="connsiteY1" fmla="*/ 158075 h 1222493"/>
                <a:gd name="connsiteX2" fmla="*/ 252412 w 383382"/>
                <a:gd name="connsiteY2" fmla="*/ 24725 h 1222493"/>
                <a:gd name="connsiteX3" fmla="*/ 261937 w 383382"/>
                <a:gd name="connsiteY3" fmla="*/ 150932 h 1222493"/>
                <a:gd name="connsiteX4" fmla="*/ 238126 w 383382"/>
                <a:gd name="connsiteY4" fmla="*/ 222368 h 1222493"/>
                <a:gd name="connsiteX5" fmla="*/ 383382 w 383382"/>
                <a:gd name="connsiteY5" fmla="*/ 310474 h 1222493"/>
                <a:gd name="connsiteX6" fmla="*/ 304800 w 383382"/>
                <a:gd name="connsiteY6" fmla="*/ 1222493 h 1222493"/>
                <a:gd name="connsiteX7" fmla="*/ 0 w 383382"/>
                <a:gd name="connsiteY7" fmla="*/ 1222493 h 1222493"/>
                <a:gd name="connsiteX8" fmla="*/ 26194 w 383382"/>
                <a:gd name="connsiteY8" fmla="*/ 267612 h 1222493"/>
                <a:gd name="connsiteX0" fmla="*/ 26194 w 383382"/>
                <a:gd name="connsiteY0" fmla="*/ 269489 h 1224370"/>
                <a:gd name="connsiteX1" fmla="*/ 92869 w 383382"/>
                <a:gd name="connsiteY1" fmla="*/ 159952 h 1224370"/>
                <a:gd name="connsiteX2" fmla="*/ 252412 w 383382"/>
                <a:gd name="connsiteY2" fmla="*/ 26602 h 1224370"/>
                <a:gd name="connsiteX3" fmla="*/ 261937 w 383382"/>
                <a:gd name="connsiteY3" fmla="*/ 152809 h 1224370"/>
                <a:gd name="connsiteX4" fmla="*/ 238126 w 383382"/>
                <a:gd name="connsiteY4" fmla="*/ 224245 h 1224370"/>
                <a:gd name="connsiteX5" fmla="*/ 383382 w 383382"/>
                <a:gd name="connsiteY5" fmla="*/ 312351 h 1224370"/>
                <a:gd name="connsiteX6" fmla="*/ 304800 w 383382"/>
                <a:gd name="connsiteY6" fmla="*/ 1224370 h 1224370"/>
                <a:gd name="connsiteX7" fmla="*/ 0 w 383382"/>
                <a:gd name="connsiteY7" fmla="*/ 1224370 h 1224370"/>
                <a:gd name="connsiteX8" fmla="*/ 26194 w 383382"/>
                <a:gd name="connsiteY8" fmla="*/ 269489 h 1224370"/>
                <a:gd name="connsiteX0" fmla="*/ 79018 w 436206"/>
                <a:gd name="connsiteY0" fmla="*/ 269489 h 1224370"/>
                <a:gd name="connsiteX1" fmla="*/ 145693 w 436206"/>
                <a:gd name="connsiteY1" fmla="*/ 159952 h 1224370"/>
                <a:gd name="connsiteX2" fmla="*/ 305236 w 436206"/>
                <a:gd name="connsiteY2" fmla="*/ 26602 h 1224370"/>
                <a:gd name="connsiteX3" fmla="*/ 314761 w 436206"/>
                <a:gd name="connsiteY3" fmla="*/ 152809 h 1224370"/>
                <a:gd name="connsiteX4" fmla="*/ 290950 w 436206"/>
                <a:gd name="connsiteY4" fmla="*/ 224245 h 1224370"/>
                <a:gd name="connsiteX5" fmla="*/ 436206 w 436206"/>
                <a:gd name="connsiteY5" fmla="*/ 312351 h 1224370"/>
                <a:gd name="connsiteX6" fmla="*/ 357624 w 436206"/>
                <a:gd name="connsiteY6" fmla="*/ 1224370 h 1224370"/>
                <a:gd name="connsiteX7" fmla="*/ 52824 w 436206"/>
                <a:gd name="connsiteY7" fmla="*/ 1224370 h 1224370"/>
                <a:gd name="connsiteX8" fmla="*/ 436 w 436206"/>
                <a:gd name="connsiteY8" fmla="*/ 305208 h 1224370"/>
                <a:gd name="connsiteX9" fmla="*/ 79018 w 436206"/>
                <a:gd name="connsiteY9" fmla="*/ 269489 h 1224370"/>
                <a:gd name="connsiteX0" fmla="*/ 79018 w 436206"/>
                <a:gd name="connsiteY0" fmla="*/ 269489 h 1224370"/>
                <a:gd name="connsiteX1" fmla="*/ 145693 w 436206"/>
                <a:gd name="connsiteY1" fmla="*/ 159952 h 1224370"/>
                <a:gd name="connsiteX2" fmla="*/ 305236 w 436206"/>
                <a:gd name="connsiteY2" fmla="*/ 26602 h 1224370"/>
                <a:gd name="connsiteX3" fmla="*/ 314761 w 436206"/>
                <a:gd name="connsiteY3" fmla="*/ 152809 h 1224370"/>
                <a:gd name="connsiteX4" fmla="*/ 290950 w 436206"/>
                <a:gd name="connsiteY4" fmla="*/ 224245 h 1224370"/>
                <a:gd name="connsiteX5" fmla="*/ 436206 w 436206"/>
                <a:gd name="connsiteY5" fmla="*/ 312351 h 1224370"/>
                <a:gd name="connsiteX6" fmla="*/ 357624 w 436206"/>
                <a:gd name="connsiteY6" fmla="*/ 1224370 h 1224370"/>
                <a:gd name="connsiteX7" fmla="*/ 52824 w 436206"/>
                <a:gd name="connsiteY7" fmla="*/ 1224370 h 1224370"/>
                <a:gd name="connsiteX8" fmla="*/ 436 w 436206"/>
                <a:gd name="connsiteY8" fmla="*/ 305208 h 1224370"/>
                <a:gd name="connsiteX9" fmla="*/ 79018 w 436206"/>
                <a:gd name="connsiteY9" fmla="*/ 269489 h 1224370"/>
                <a:gd name="connsiteX0" fmla="*/ 100225 w 457413"/>
                <a:gd name="connsiteY0" fmla="*/ 269489 h 1224370"/>
                <a:gd name="connsiteX1" fmla="*/ 166900 w 457413"/>
                <a:gd name="connsiteY1" fmla="*/ 159952 h 1224370"/>
                <a:gd name="connsiteX2" fmla="*/ 326443 w 457413"/>
                <a:gd name="connsiteY2" fmla="*/ 26602 h 1224370"/>
                <a:gd name="connsiteX3" fmla="*/ 335968 w 457413"/>
                <a:gd name="connsiteY3" fmla="*/ 152809 h 1224370"/>
                <a:gd name="connsiteX4" fmla="*/ 312157 w 457413"/>
                <a:gd name="connsiteY4" fmla="*/ 224245 h 1224370"/>
                <a:gd name="connsiteX5" fmla="*/ 457413 w 457413"/>
                <a:gd name="connsiteY5" fmla="*/ 312351 h 1224370"/>
                <a:gd name="connsiteX6" fmla="*/ 378831 w 457413"/>
                <a:gd name="connsiteY6" fmla="*/ 1224370 h 1224370"/>
                <a:gd name="connsiteX7" fmla="*/ 74031 w 457413"/>
                <a:gd name="connsiteY7" fmla="*/ 1224370 h 1224370"/>
                <a:gd name="connsiteX8" fmla="*/ 2593 w 457413"/>
                <a:gd name="connsiteY8" fmla="*/ 419508 h 1224370"/>
                <a:gd name="connsiteX9" fmla="*/ 21643 w 457413"/>
                <a:gd name="connsiteY9" fmla="*/ 305208 h 1224370"/>
                <a:gd name="connsiteX10" fmla="*/ 100225 w 457413"/>
                <a:gd name="connsiteY10" fmla="*/ 269489 h 1224370"/>
                <a:gd name="connsiteX0" fmla="*/ 97632 w 454820"/>
                <a:gd name="connsiteY0" fmla="*/ 269489 h 1224370"/>
                <a:gd name="connsiteX1" fmla="*/ 164307 w 454820"/>
                <a:gd name="connsiteY1" fmla="*/ 159952 h 1224370"/>
                <a:gd name="connsiteX2" fmla="*/ 323850 w 454820"/>
                <a:gd name="connsiteY2" fmla="*/ 26602 h 1224370"/>
                <a:gd name="connsiteX3" fmla="*/ 333375 w 454820"/>
                <a:gd name="connsiteY3" fmla="*/ 152809 h 1224370"/>
                <a:gd name="connsiteX4" fmla="*/ 309564 w 454820"/>
                <a:gd name="connsiteY4" fmla="*/ 224245 h 1224370"/>
                <a:gd name="connsiteX5" fmla="*/ 454820 w 454820"/>
                <a:gd name="connsiteY5" fmla="*/ 312351 h 1224370"/>
                <a:gd name="connsiteX6" fmla="*/ 376238 w 454820"/>
                <a:gd name="connsiteY6" fmla="*/ 1224370 h 1224370"/>
                <a:gd name="connsiteX7" fmla="*/ 71438 w 454820"/>
                <a:gd name="connsiteY7" fmla="*/ 1224370 h 1224370"/>
                <a:gd name="connsiteX8" fmla="*/ 0 w 454820"/>
                <a:gd name="connsiteY8" fmla="*/ 419508 h 1224370"/>
                <a:gd name="connsiteX9" fmla="*/ 19050 w 454820"/>
                <a:gd name="connsiteY9" fmla="*/ 305208 h 1224370"/>
                <a:gd name="connsiteX10" fmla="*/ 97632 w 454820"/>
                <a:gd name="connsiteY10" fmla="*/ 269489 h 1224370"/>
                <a:gd name="connsiteX0" fmla="*/ 97833 w 455021"/>
                <a:gd name="connsiteY0" fmla="*/ 269489 h 1224370"/>
                <a:gd name="connsiteX1" fmla="*/ 164508 w 455021"/>
                <a:gd name="connsiteY1" fmla="*/ 159952 h 1224370"/>
                <a:gd name="connsiteX2" fmla="*/ 324051 w 455021"/>
                <a:gd name="connsiteY2" fmla="*/ 26602 h 1224370"/>
                <a:gd name="connsiteX3" fmla="*/ 333576 w 455021"/>
                <a:gd name="connsiteY3" fmla="*/ 152809 h 1224370"/>
                <a:gd name="connsiteX4" fmla="*/ 309765 w 455021"/>
                <a:gd name="connsiteY4" fmla="*/ 224245 h 1224370"/>
                <a:gd name="connsiteX5" fmla="*/ 455021 w 455021"/>
                <a:gd name="connsiteY5" fmla="*/ 312351 h 1224370"/>
                <a:gd name="connsiteX6" fmla="*/ 376439 w 455021"/>
                <a:gd name="connsiteY6" fmla="*/ 1224370 h 1224370"/>
                <a:gd name="connsiteX7" fmla="*/ 71639 w 455021"/>
                <a:gd name="connsiteY7" fmla="*/ 1224370 h 1224370"/>
                <a:gd name="connsiteX8" fmla="*/ 201 w 455021"/>
                <a:gd name="connsiteY8" fmla="*/ 419508 h 1224370"/>
                <a:gd name="connsiteX9" fmla="*/ 19251 w 455021"/>
                <a:gd name="connsiteY9" fmla="*/ 305208 h 1224370"/>
                <a:gd name="connsiteX10" fmla="*/ 97833 w 455021"/>
                <a:gd name="connsiteY10" fmla="*/ 269489 h 1224370"/>
                <a:gd name="connsiteX0" fmla="*/ 97749 w 454937"/>
                <a:gd name="connsiteY0" fmla="*/ 269489 h 1224370"/>
                <a:gd name="connsiteX1" fmla="*/ 164424 w 454937"/>
                <a:gd name="connsiteY1" fmla="*/ 159952 h 1224370"/>
                <a:gd name="connsiteX2" fmla="*/ 323967 w 454937"/>
                <a:gd name="connsiteY2" fmla="*/ 26602 h 1224370"/>
                <a:gd name="connsiteX3" fmla="*/ 333492 w 454937"/>
                <a:gd name="connsiteY3" fmla="*/ 152809 h 1224370"/>
                <a:gd name="connsiteX4" fmla="*/ 309681 w 454937"/>
                <a:gd name="connsiteY4" fmla="*/ 224245 h 1224370"/>
                <a:gd name="connsiteX5" fmla="*/ 454937 w 454937"/>
                <a:gd name="connsiteY5" fmla="*/ 312351 h 1224370"/>
                <a:gd name="connsiteX6" fmla="*/ 376355 w 454937"/>
                <a:gd name="connsiteY6" fmla="*/ 1224370 h 1224370"/>
                <a:gd name="connsiteX7" fmla="*/ 71555 w 454937"/>
                <a:gd name="connsiteY7" fmla="*/ 1224370 h 1224370"/>
                <a:gd name="connsiteX8" fmla="*/ 117 w 454937"/>
                <a:gd name="connsiteY8" fmla="*/ 419508 h 1224370"/>
                <a:gd name="connsiteX9" fmla="*/ 19167 w 454937"/>
                <a:gd name="connsiteY9" fmla="*/ 305208 h 1224370"/>
                <a:gd name="connsiteX10" fmla="*/ 97749 w 454937"/>
                <a:gd name="connsiteY10" fmla="*/ 269489 h 1224370"/>
                <a:gd name="connsiteX0" fmla="*/ 121830 w 479018"/>
                <a:gd name="connsiteY0" fmla="*/ 269489 h 1224370"/>
                <a:gd name="connsiteX1" fmla="*/ 188505 w 479018"/>
                <a:gd name="connsiteY1" fmla="*/ 159952 h 1224370"/>
                <a:gd name="connsiteX2" fmla="*/ 348048 w 479018"/>
                <a:gd name="connsiteY2" fmla="*/ 26602 h 1224370"/>
                <a:gd name="connsiteX3" fmla="*/ 357573 w 479018"/>
                <a:gd name="connsiteY3" fmla="*/ 152809 h 1224370"/>
                <a:gd name="connsiteX4" fmla="*/ 333762 w 479018"/>
                <a:gd name="connsiteY4" fmla="*/ 224245 h 1224370"/>
                <a:gd name="connsiteX5" fmla="*/ 479018 w 479018"/>
                <a:gd name="connsiteY5" fmla="*/ 312351 h 1224370"/>
                <a:gd name="connsiteX6" fmla="*/ 400436 w 479018"/>
                <a:gd name="connsiteY6" fmla="*/ 1224370 h 1224370"/>
                <a:gd name="connsiteX7" fmla="*/ 95636 w 479018"/>
                <a:gd name="connsiteY7" fmla="*/ 1224370 h 1224370"/>
                <a:gd name="connsiteX8" fmla="*/ 2767 w 479018"/>
                <a:gd name="connsiteY8" fmla="*/ 555239 h 1224370"/>
                <a:gd name="connsiteX9" fmla="*/ 24198 w 479018"/>
                <a:gd name="connsiteY9" fmla="*/ 419508 h 1224370"/>
                <a:gd name="connsiteX10" fmla="*/ 43248 w 479018"/>
                <a:gd name="connsiteY10" fmla="*/ 305208 h 1224370"/>
                <a:gd name="connsiteX11" fmla="*/ 121830 w 479018"/>
                <a:gd name="connsiteY11" fmla="*/ 269489 h 1224370"/>
                <a:gd name="connsiteX0" fmla="*/ 119710 w 476898"/>
                <a:gd name="connsiteY0" fmla="*/ 269489 h 1224370"/>
                <a:gd name="connsiteX1" fmla="*/ 186385 w 476898"/>
                <a:gd name="connsiteY1" fmla="*/ 159952 h 1224370"/>
                <a:gd name="connsiteX2" fmla="*/ 345928 w 476898"/>
                <a:gd name="connsiteY2" fmla="*/ 26602 h 1224370"/>
                <a:gd name="connsiteX3" fmla="*/ 355453 w 476898"/>
                <a:gd name="connsiteY3" fmla="*/ 152809 h 1224370"/>
                <a:gd name="connsiteX4" fmla="*/ 331642 w 476898"/>
                <a:gd name="connsiteY4" fmla="*/ 224245 h 1224370"/>
                <a:gd name="connsiteX5" fmla="*/ 476898 w 476898"/>
                <a:gd name="connsiteY5" fmla="*/ 312351 h 1224370"/>
                <a:gd name="connsiteX6" fmla="*/ 398316 w 476898"/>
                <a:gd name="connsiteY6" fmla="*/ 1224370 h 1224370"/>
                <a:gd name="connsiteX7" fmla="*/ 93516 w 476898"/>
                <a:gd name="connsiteY7" fmla="*/ 1224370 h 1224370"/>
                <a:gd name="connsiteX8" fmla="*/ 647 w 476898"/>
                <a:gd name="connsiteY8" fmla="*/ 555239 h 1224370"/>
                <a:gd name="connsiteX9" fmla="*/ 22078 w 476898"/>
                <a:gd name="connsiteY9" fmla="*/ 419508 h 1224370"/>
                <a:gd name="connsiteX10" fmla="*/ 41128 w 476898"/>
                <a:gd name="connsiteY10" fmla="*/ 305208 h 1224370"/>
                <a:gd name="connsiteX11" fmla="*/ 119710 w 476898"/>
                <a:gd name="connsiteY11" fmla="*/ 269489 h 1224370"/>
                <a:gd name="connsiteX0" fmla="*/ 119658 w 476846"/>
                <a:gd name="connsiteY0" fmla="*/ 269489 h 1224370"/>
                <a:gd name="connsiteX1" fmla="*/ 186333 w 476846"/>
                <a:gd name="connsiteY1" fmla="*/ 159952 h 1224370"/>
                <a:gd name="connsiteX2" fmla="*/ 345876 w 476846"/>
                <a:gd name="connsiteY2" fmla="*/ 26602 h 1224370"/>
                <a:gd name="connsiteX3" fmla="*/ 355401 w 476846"/>
                <a:gd name="connsiteY3" fmla="*/ 152809 h 1224370"/>
                <a:gd name="connsiteX4" fmla="*/ 331590 w 476846"/>
                <a:gd name="connsiteY4" fmla="*/ 224245 h 1224370"/>
                <a:gd name="connsiteX5" fmla="*/ 476846 w 476846"/>
                <a:gd name="connsiteY5" fmla="*/ 312351 h 1224370"/>
                <a:gd name="connsiteX6" fmla="*/ 398264 w 476846"/>
                <a:gd name="connsiteY6" fmla="*/ 1224370 h 1224370"/>
                <a:gd name="connsiteX7" fmla="*/ 93464 w 476846"/>
                <a:gd name="connsiteY7" fmla="*/ 1224370 h 1224370"/>
                <a:gd name="connsiteX8" fmla="*/ 595 w 476846"/>
                <a:gd name="connsiteY8" fmla="*/ 555239 h 1224370"/>
                <a:gd name="connsiteX9" fmla="*/ 22026 w 476846"/>
                <a:gd name="connsiteY9" fmla="*/ 419508 h 1224370"/>
                <a:gd name="connsiteX10" fmla="*/ 41076 w 476846"/>
                <a:gd name="connsiteY10" fmla="*/ 305208 h 1224370"/>
                <a:gd name="connsiteX11" fmla="*/ 119658 w 476846"/>
                <a:gd name="connsiteY11" fmla="*/ 269489 h 1224370"/>
                <a:gd name="connsiteX0" fmla="*/ 123345 w 480533"/>
                <a:gd name="connsiteY0" fmla="*/ 269489 h 1224370"/>
                <a:gd name="connsiteX1" fmla="*/ 190020 w 480533"/>
                <a:gd name="connsiteY1" fmla="*/ 159952 h 1224370"/>
                <a:gd name="connsiteX2" fmla="*/ 349563 w 480533"/>
                <a:gd name="connsiteY2" fmla="*/ 26602 h 1224370"/>
                <a:gd name="connsiteX3" fmla="*/ 359088 w 480533"/>
                <a:gd name="connsiteY3" fmla="*/ 152809 h 1224370"/>
                <a:gd name="connsiteX4" fmla="*/ 335277 w 480533"/>
                <a:gd name="connsiteY4" fmla="*/ 224245 h 1224370"/>
                <a:gd name="connsiteX5" fmla="*/ 480533 w 480533"/>
                <a:gd name="connsiteY5" fmla="*/ 312351 h 1224370"/>
                <a:gd name="connsiteX6" fmla="*/ 401951 w 480533"/>
                <a:gd name="connsiteY6" fmla="*/ 1224370 h 1224370"/>
                <a:gd name="connsiteX7" fmla="*/ 97151 w 480533"/>
                <a:gd name="connsiteY7" fmla="*/ 1224370 h 1224370"/>
                <a:gd name="connsiteX8" fmla="*/ 4282 w 480533"/>
                <a:gd name="connsiteY8" fmla="*/ 555239 h 1224370"/>
                <a:gd name="connsiteX9" fmla="*/ 25713 w 480533"/>
                <a:gd name="connsiteY9" fmla="*/ 419508 h 1224370"/>
                <a:gd name="connsiteX10" fmla="*/ 44763 w 480533"/>
                <a:gd name="connsiteY10" fmla="*/ 305208 h 1224370"/>
                <a:gd name="connsiteX11" fmla="*/ 123345 w 480533"/>
                <a:gd name="connsiteY11" fmla="*/ 269489 h 1224370"/>
                <a:gd name="connsiteX0" fmla="*/ 123345 w 480533"/>
                <a:gd name="connsiteY0" fmla="*/ 269489 h 1224370"/>
                <a:gd name="connsiteX1" fmla="*/ 190020 w 480533"/>
                <a:gd name="connsiteY1" fmla="*/ 159952 h 1224370"/>
                <a:gd name="connsiteX2" fmla="*/ 349563 w 480533"/>
                <a:gd name="connsiteY2" fmla="*/ 26602 h 1224370"/>
                <a:gd name="connsiteX3" fmla="*/ 359088 w 480533"/>
                <a:gd name="connsiteY3" fmla="*/ 152809 h 1224370"/>
                <a:gd name="connsiteX4" fmla="*/ 335277 w 480533"/>
                <a:gd name="connsiteY4" fmla="*/ 224245 h 1224370"/>
                <a:gd name="connsiteX5" fmla="*/ 480533 w 480533"/>
                <a:gd name="connsiteY5" fmla="*/ 312351 h 1224370"/>
                <a:gd name="connsiteX6" fmla="*/ 401951 w 480533"/>
                <a:gd name="connsiteY6" fmla="*/ 1224370 h 1224370"/>
                <a:gd name="connsiteX7" fmla="*/ 97151 w 480533"/>
                <a:gd name="connsiteY7" fmla="*/ 1224370 h 1224370"/>
                <a:gd name="connsiteX8" fmla="*/ 113821 w 480533"/>
                <a:gd name="connsiteY8" fmla="*/ 605245 h 1224370"/>
                <a:gd name="connsiteX9" fmla="*/ 4282 w 480533"/>
                <a:gd name="connsiteY9" fmla="*/ 555239 h 1224370"/>
                <a:gd name="connsiteX10" fmla="*/ 25713 w 480533"/>
                <a:gd name="connsiteY10" fmla="*/ 419508 h 1224370"/>
                <a:gd name="connsiteX11" fmla="*/ 44763 w 480533"/>
                <a:gd name="connsiteY11" fmla="*/ 305208 h 1224370"/>
                <a:gd name="connsiteX12" fmla="*/ 123345 w 480533"/>
                <a:gd name="connsiteY12" fmla="*/ 269489 h 1224370"/>
                <a:gd name="connsiteX0" fmla="*/ 123345 w 480533"/>
                <a:gd name="connsiteY0" fmla="*/ 269489 h 1224370"/>
                <a:gd name="connsiteX1" fmla="*/ 190020 w 480533"/>
                <a:gd name="connsiteY1" fmla="*/ 159952 h 1224370"/>
                <a:gd name="connsiteX2" fmla="*/ 349563 w 480533"/>
                <a:gd name="connsiteY2" fmla="*/ 26602 h 1224370"/>
                <a:gd name="connsiteX3" fmla="*/ 359088 w 480533"/>
                <a:gd name="connsiteY3" fmla="*/ 152809 h 1224370"/>
                <a:gd name="connsiteX4" fmla="*/ 335277 w 480533"/>
                <a:gd name="connsiteY4" fmla="*/ 224245 h 1224370"/>
                <a:gd name="connsiteX5" fmla="*/ 480533 w 480533"/>
                <a:gd name="connsiteY5" fmla="*/ 312351 h 1224370"/>
                <a:gd name="connsiteX6" fmla="*/ 401951 w 480533"/>
                <a:gd name="connsiteY6" fmla="*/ 1224370 h 1224370"/>
                <a:gd name="connsiteX7" fmla="*/ 97151 w 480533"/>
                <a:gd name="connsiteY7" fmla="*/ 1224370 h 1224370"/>
                <a:gd name="connsiteX8" fmla="*/ 113821 w 480533"/>
                <a:gd name="connsiteY8" fmla="*/ 605245 h 1224370"/>
                <a:gd name="connsiteX9" fmla="*/ 4282 w 480533"/>
                <a:gd name="connsiteY9" fmla="*/ 555239 h 1224370"/>
                <a:gd name="connsiteX10" fmla="*/ 25713 w 480533"/>
                <a:gd name="connsiteY10" fmla="*/ 419508 h 1224370"/>
                <a:gd name="connsiteX11" fmla="*/ 44763 w 480533"/>
                <a:gd name="connsiteY11" fmla="*/ 305208 h 1224370"/>
                <a:gd name="connsiteX12" fmla="*/ 123345 w 480533"/>
                <a:gd name="connsiteY12" fmla="*/ 269489 h 1224370"/>
                <a:gd name="connsiteX0" fmla="*/ 123345 w 480533"/>
                <a:gd name="connsiteY0" fmla="*/ 269489 h 1224370"/>
                <a:gd name="connsiteX1" fmla="*/ 190020 w 480533"/>
                <a:gd name="connsiteY1" fmla="*/ 159952 h 1224370"/>
                <a:gd name="connsiteX2" fmla="*/ 349563 w 480533"/>
                <a:gd name="connsiteY2" fmla="*/ 26602 h 1224370"/>
                <a:gd name="connsiteX3" fmla="*/ 359088 w 480533"/>
                <a:gd name="connsiteY3" fmla="*/ 152809 h 1224370"/>
                <a:gd name="connsiteX4" fmla="*/ 335277 w 480533"/>
                <a:gd name="connsiteY4" fmla="*/ 224245 h 1224370"/>
                <a:gd name="connsiteX5" fmla="*/ 480533 w 480533"/>
                <a:gd name="connsiteY5" fmla="*/ 312351 h 1224370"/>
                <a:gd name="connsiteX6" fmla="*/ 401951 w 480533"/>
                <a:gd name="connsiteY6" fmla="*/ 1224370 h 1224370"/>
                <a:gd name="connsiteX7" fmla="*/ 97151 w 480533"/>
                <a:gd name="connsiteY7" fmla="*/ 1224370 h 1224370"/>
                <a:gd name="connsiteX8" fmla="*/ 113821 w 480533"/>
                <a:gd name="connsiteY8" fmla="*/ 605245 h 1224370"/>
                <a:gd name="connsiteX9" fmla="*/ 4282 w 480533"/>
                <a:gd name="connsiteY9" fmla="*/ 555239 h 1224370"/>
                <a:gd name="connsiteX10" fmla="*/ 25713 w 480533"/>
                <a:gd name="connsiteY10" fmla="*/ 419508 h 1224370"/>
                <a:gd name="connsiteX11" fmla="*/ 44763 w 480533"/>
                <a:gd name="connsiteY11" fmla="*/ 305208 h 1224370"/>
                <a:gd name="connsiteX12" fmla="*/ 123345 w 480533"/>
                <a:gd name="connsiteY12" fmla="*/ 269489 h 1224370"/>
                <a:gd name="connsiteX0" fmla="*/ 123345 w 480533"/>
                <a:gd name="connsiteY0" fmla="*/ 269489 h 1224370"/>
                <a:gd name="connsiteX1" fmla="*/ 190020 w 480533"/>
                <a:gd name="connsiteY1" fmla="*/ 159952 h 1224370"/>
                <a:gd name="connsiteX2" fmla="*/ 349563 w 480533"/>
                <a:gd name="connsiteY2" fmla="*/ 26602 h 1224370"/>
                <a:gd name="connsiteX3" fmla="*/ 359088 w 480533"/>
                <a:gd name="connsiteY3" fmla="*/ 152809 h 1224370"/>
                <a:gd name="connsiteX4" fmla="*/ 335277 w 480533"/>
                <a:gd name="connsiteY4" fmla="*/ 224245 h 1224370"/>
                <a:gd name="connsiteX5" fmla="*/ 480533 w 480533"/>
                <a:gd name="connsiteY5" fmla="*/ 312351 h 1224370"/>
                <a:gd name="connsiteX6" fmla="*/ 401951 w 480533"/>
                <a:gd name="connsiteY6" fmla="*/ 1224370 h 1224370"/>
                <a:gd name="connsiteX7" fmla="*/ 97151 w 480533"/>
                <a:gd name="connsiteY7" fmla="*/ 1224370 h 1224370"/>
                <a:gd name="connsiteX8" fmla="*/ 44765 w 480533"/>
                <a:gd name="connsiteY8" fmla="*/ 988626 h 1224370"/>
                <a:gd name="connsiteX9" fmla="*/ 113821 w 480533"/>
                <a:gd name="connsiteY9" fmla="*/ 605245 h 1224370"/>
                <a:gd name="connsiteX10" fmla="*/ 4282 w 480533"/>
                <a:gd name="connsiteY10" fmla="*/ 555239 h 1224370"/>
                <a:gd name="connsiteX11" fmla="*/ 25713 w 480533"/>
                <a:gd name="connsiteY11" fmla="*/ 419508 h 1224370"/>
                <a:gd name="connsiteX12" fmla="*/ 44763 w 480533"/>
                <a:gd name="connsiteY12" fmla="*/ 305208 h 1224370"/>
                <a:gd name="connsiteX13" fmla="*/ 123345 w 480533"/>
                <a:gd name="connsiteY13" fmla="*/ 269489 h 1224370"/>
                <a:gd name="connsiteX0" fmla="*/ 123345 w 480533"/>
                <a:gd name="connsiteY0" fmla="*/ 269489 h 1224370"/>
                <a:gd name="connsiteX1" fmla="*/ 190020 w 480533"/>
                <a:gd name="connsiteY1" fmla="*/ 159952 h 1224370"/>
                <a:gd name="connsiteX2" fmla="*/ 349563 w 480533"/>
                <a:gd name="connsiteY2" fmla="*/ 26602 h 1224370"/>
                <a:gd name="connsiteX3" fmla="*/ 359088 w 480533"/>
                <a:gd name="connsiteY3" fmla="*/ 152809 h 1224370"/>
                <a:gd name="connsiteX4" fmla="*/ 335277 w 480533"/>
                <a:gd name="connsiteY4" fmla="*/ 224245 h 1224370"/>
                <a:gd name="connsiteX5" fmla="*/ 480533 w 480533"/>
                <a:gd name="connsiteY5" fmla="*/ 312351 h 1224370"/>
                <a:gd name="connsiteX6" fmla="*/ 401951 w 480533"/>
                <a:gd name="connsiteY6" fmla="*/ 1224370 h 1224370"/>
                <a:gd name="connsiteX7" fmla="*/ 97151 w 480533"/>
                <a:gd name="connsiteY7" fmla="*/ 1224370 h 1224370"/>
                <a:gd name="connsiteX8" fmla="*/ 44765 w 480533"/>
                <a:gd name="connsiteY8" fmla="*/ 988626 h 1224370"/>
                <a:gd name="connsiteX9" fmla="*/ 113821 w 480533"/>
                <a:gd name="connsiteY9" fmla="*/ 605245 h 1224370"/>
                <a:gd name="connsiteX10" fmla="*/ 4282 w 480533"/>
                <a:gd name="connsiteY10" fmla="*/ 555239 h 1224370"/>
                <a:gd name="connsiteX11" fmla="*/ 25713 w 480533"/>
                <a:gd name="connsiteY11" fmla="*/ 419508 h 1224370"/>
                <a:gd name="connsiteX12" fmla="*/ 44763 w 480533"/>
                <a:gd name="connsiteY12" fmla="*/ 305208 h 1224370"/>
                <a:gd name="connsiteX13" fmla="*/ 123345 w 480533"/>
                <a:gd name="connsiteY13" fmla="*/ 269489 h 1224370"/>
                <a:gd name="connsiteX0" fmla="*/ 123345 w 480533"/>
                <a:gd name="connsiteY0" fmla="*/ 269489 h 1224370"/>
                <a:gd name="connsiteX1" fmla="*/ 190020 w 480533"/>
                <a:gd name="connsiteY1" fmla="*/ 159952 h 1224370"/>
                <a:gd name="connsiteX2" fmla="*/ 349563 w 480533"/>
                <a:gd name="connsiteY2" fmla="*/ 26602 h 1224370"/>
                <a:gd name="connsiteX3" fmla="*/ 359088 w 480533"/>
                <a:gd name="connsiteY3" fmla="*/ 152809 h 1224370"/>
                <a:gd name="connsiteX4" fmla="*/ 335277 w 480533"/>
                <a:gd name="connsiteY4" fmla="*/ 224245 h 1224370"/>
                <a:gd name="connsiteX5" fmla="*/ 480533 w 480533"/>
                <a:gd name="connsiteY5" fmla="*/ 312351 h 1224370"/>
                <a:gd name="connsiteX6" fmla="*/ 401951 w 480533"/>
                <a:gd name="connsiteY6" fmla="*/ 1224370 h 1224370"/>
                <a:gd name="connsiteX7" fmla="*/ 97151 w 480533"/>
                <a:gd name="connsiteY7" fmla="*/ 1224370 h 1224370"/>
                <a:gd name="connsiteX8" fmla="*/ 106677 w 480533"/>
                <a:gd name="connsiteY8" fmla="*/ 1038633 h 1224370"/>
                <a:gd name="connsiteX9" fmla="*/ 44765 w 480533"/>
                <a:gd name="connsiteY9" fmla="*/ 988626 h 1224370"/>
                <a:gd name="connsiteX10" fmla="*/ 113821 w 480533"/>
                <a:gd name="connsiteY10" fmla="*/ 605245 h 1224370"/>
                <a:gd name="connsiteX11" fmla="*/ 4282 w 480533"/>
                <a:gd name="connsiteY11" fmla="*/ 555239 h 1224370"/>
                <a:gd name="connsiteX12" fmla="*/ 25713 w 480533"/>
                <a:gd name="connsiteY12" fmla="*/ 419508 h 1224370"/>
                <a:gd name="connsiteX13" fmla="*/ 44763 w 480533"/>
                <a:gd name="connsiteY13" fmla="*/ 305208 h 1224370"/>
                <a:gd name="connsiteX14" fmla="*/ 123345 w 480533"/>
                <a:gd name="connsiteY14" fmla="*/ 269489 h 1224370"/>
                <a:gd name="connsiteX0" fmla="*/ 123345 w 480533"/>
                <a:gd name="connsiteY0" fmla="*/ 269489 h 1224370"/>
                <a:gd name="connsiteX1" fmla="*/ 190020 w 480533"/>
                <a:gd name="connsiteY1" fmla="*/ 159952 h 1224370"/>
                <a:gd name="connsiteX2" fmla="*/ 349563 w 480533"/>
                <a:gd name="connsiteY2" fmla="*/ 26602 h 1224370"/>
                <a:gd name="connsiteX3" fmla="*/ 359088 w 480533"/>
                <a:gd name="connsiteY3" fmla="*/ 152809 h 1224370"/>
                <a:gd name="connsiteX4" fmla="*/ 335277 w 480533"/>
                <a:gd name="connsiteY4" fmla="*/ 224245 h 1224370"/>
                <a:gd name="connsiteX5" fmla="*/ 480533 w 480533"/>
                <a:gd name="connsiteY5" fmla="*/ 312351 h 1224370"/>
                <a:gd name="connsiteX6" fmla="*/ 401951 w 480533"/>
                <a:gd name="connsiteY6" fmla="*/ 1224370 h 1224370"/>
                <a:gd name="connsiteX7" fmla="*/ 97151 w 480533"/>
                <a:gd name="connsiteY7" fmla="*/ 1224370 h 1224370"/>
                <a:gd name="connsiteX8" fmla="*/ 106677 w 480533"/>
                <a:gd name="connsiteY8" fmla="*/ 1038633 h 1224370"/>
                <a:gd name="connsiteX9" fmla="*/ 44765 w 480533"/>
                <a:gd name="connsiteY9" fmla="*/ 988626 h 1224370"/>
                <a:gd name="connsiteX10" fmla="*/ 113821 w 480533"/>
                <a:gd name="connsiteY10" fmla="*/ 605245 h 1224370"/>
                <a:gd name="connsiteX11" fmla="*/ 4282 w 480533"/>
                <a:gd name="connsiteY11" fmla="*/ 555239 h 1224370"/>
                <a:gd name="connsiteX12" fmla="*/ 25713 w 480533"/>
                <a:gd name="connsiteY12" fmla="*/ 419508 h 1224370"/>
                <a:gd name="connsiteX13" fmla="*/ 44763 w 480533"/>
                <a:gd name="connsiteY13" fmla="*/ 305208 h 1224370"/>
                <a:gd name="connsiteX14" fmla="*/ 123345 w 480533"/>
                <a:gd name="connsiteY14" fmla="*/ 269489 h 1224370"/>
                <a:gd name="connsiteX0" fmla="*/ 123345 w 526500"/>
                <a:gd name="connsiteY0" fmla="*/ 269489 h 1224370"/>
                <a:gd name="connsiteX1" fmla="*/ 190020 w 526500"/>
                <a:gd name="connsiteY1" fmla="*/ 159952 h 1224370"/>
                <a:gd name="connsiteX2" fmla="*/ 349563 w 526500"/>
                <a:gd name="connsiteY2" fmla="*/ 26602 h 1224370"/>
                <a:gd name="connsiteX3" fmla="*/ 359088 w 526500"/>
                <a:gd name="connsiteY3" fmla="*/ 152809 h 1224370"/>
                <a:gd name="connsiteX4" fmla="*/ 335277 w 526500"/>
                <a:gd name="connsiteY4" fmla="*/ 224245 h 1224370"/>
                <a:gd name="connsiteX5" fmla="*/ 480533 w 526500"/>
                <a:gd name="connsiteY5" fmla="*/ 312351 h 1224370"/>
                <a:gd name="connsiteX6" fmla="*/ 523396 w 526500"/>
                <a:gd name="connsiteY6" fmla="*/ 1002914 h 1224370"/>
                <a:gd name="connsiteX7" fmla="*/ 401951 w 526500"/>
                <a:gd name="connsiteY7" fmla="*/ 1224370 h 1224370"/>
                <a:gd name="connsiteX8" fmla="*/ 97151 w 526500"/>
                <a:gd name="connsiteY8" fmla="*/ 1224370 h 1224370"/>
                <a:gd name="connsiteX9" fmla="*/ 106677 w 526500"/>
                <a:gd name="connsiteY9" fmla="*/ 1038633 h 1224370"/>
                <a:gd name="connsiteX10" fmla="*/ 44765 w 526500"/>
                <a:gd name="connsiteY10" fmla="*/ 988626 h 1224370"/>
                <a:gd name="connsiteX11" fmla="*/ 113821 w 526500"/>
                <a:gd name="connsiteY11" fmla="*/ 605245 h 1224370"/>
                <a:gd name="connsiteX12" fmla="*/ 4282 w 526500"/>
                <a:gd name="connsiteY12" fmla="*/ 555239 h 1224370"/>
                <a:gd name="connsiteX13" fmla="*/ 25713 w 526500"/>
                <a:gd name="connsiteY13" fmla="*/ 419508 h 1224370"/>
                <a:gd name="connsiteX14" fmla="*/ 44763 w 526500"/>
                <a:gd name="connsiteY14" fmla="*/ 305208 h 1224370"/>
                <a:gd name="connsiteX15" fmla="*/ 123345 w 526500"/>
                <a:gd name="connsiteY15" fmla="*/ 269489 h 1224370"/>
                <a:gd name="connsiteX0" fmla="*/ 123345 w 528215"/>
                <a:gd name="connsiteY0" fmla="*/ 269489 h 1224370"/>
                <a:gd name="connsiteX1" fmla="*/ 190020 w 528215"/>
                <a:gd name="connsiteY1" fmla="*/ 159952 h 1224370"/>
                <a:gd name="connsiteX2" fmla="*/ 349563 w 528215"/>
                <a:gd name="connsiteY2" fmla="*/ 26602 h 1224370"/>
                <a:gd name="connsiteX3" fmla="*/ 359088 w 528215"/>
                <a:gd name="connsiteY3" fmla="*/ 152809 h 1224370"/>
                <a:gd name="connsiteX4" fmla="*/ 335277 w 528215"/>
                <a:gd name="connsiteY4" fmla="*/ 224245 h 1224370"/>
                <a:gd name="connsiteX5" fmla="*/ 480533 w 528215"/>
                <a:gd name="connsiteY5" fmla="*/ 312351 h 1224370"/>
                <a:gd name="connsiteX6" fmla="*/ 523396 w 528215"/>
                <a:gd name="connsiteY6" fmla="*/ 1002914 h 1224370"/>
                <a:gd name="connsiteX7" fmla="*/ 401951 w 528215"/>
                <a:gd name="connsiteY7" fmla="*/ 1224370 h 1224370"/>
                <a:gd name="connsiteX8" fmla="*/ 97151 w 528215"/>
                <a:gd name="connsiteY8" fmla="*/ 1224370 h 1224370"/>
                <a:gd name="connsiteX9" fmla="*/ 106677 w 528215"/>
                <a:gd name="connsiteY9" fmla="*/ 1038633 h 1224370"/>
                <a:gd name="connsiteX10" fmla="*/ 44765 w 528215"/>
                <a:gd name="connsiteY10" fmla="*/ 988626 h 1224370"/>
                <a:gd name="connsiteX11" fmla="*/ 113821 w 528215"/>
                <a:gd name="connsiteY11" fmla="*/ 605245 h 1224370"/>
                <a:gd name="connsiteX12" fmla="*/ 4282 w 528215"/>
                <a:gd name="connsiteY12" fmla="*/ 555239 h 1224370"/>
                <a:gd name="connsiteX13" fmla="*/ 25713 w 528215"/>
                <a:gd name="connsiteY13" fmla="*/ 419508 h 1224370"/>
                <a:gd name="connsiteX14" fmla="*/ 44763 w 528215"/>
                <a:gd name="connsiteY14" fmla="*/ 305208 h 1224370"/>
                <a:gd name="connsiteX15" fmla="*/ 123345 w 528215"/>
                <a:gd name="connsiteY15" fmla="*/ 269489 h 1224370"/>
                <a:gd name="connsiteX0" fmla="*/ 123345 w 528215"/>
                <a:gd name="connsiteY0" fmla="*/ 269489 h 1769677"/>
                <a:gd name="connsiteX1" fmla="*/ 190020 w 528215"/>
                <a:gd name="connsiteY1" fmla="*/ 159952 h 1769677"/>
                <a:gd name="connsiteX2" fmla="*/ 349563 w 528215"/>
                <a:gd name="connsiteY2" fmla="*/ 26602 h 1769677"/>
                <a:gd name="connsiteX3" fmla="*/ 359088 w 528215"/>
                <a:gd name="connsiteY3" fmla="*/ 152809 h 1769677"/>
                <a:gd name="connsiteX4" fmla="*/ 335277 w 528215"/>
                <a:gd name="connsiteY4" fmla="*/ 224245 h 1769677"/>
                <a:gd name="connsiteX5" fmla="*/ 480533 w 528215"/>
                <a:gd name="connsiteY5" fmla="*/ 312351 h 1769677"/>
                <a:gd name="connsiteX6" fmla="*/ 523396 w 528215"/>
                <a:gd name="connsiteY6" fmla="*/ 1002914 h 1769677"/>
                <a:gd name="connsiteX7" fmla="*/ 499582 w 528215"/>
                <a:gd name="connsiteY7" fmla="*/ 1769677 h 1769677"/>
                <a:gd name="connsiteX8" fmla="*/ 97151 w 528215"/>
                <a:gd name="connsiteY8" fmla="*/ 1224370 h 1769677"/>
                <a:gd name="connsiteX9" fmla="*/ 106677 w 528215"/>
                <a:gd name="connsiteY9" fmla="*/ 1038633 h 1769677"/>
                <a:gd name="connsiteX10" fmla="*/ 44765 w 528215"/>
                <a:gd name="connsiteY10" fmla="*/ 988626 h 1769677"/>
                <a:gd name="connsiteX11" fmla="*/ 113821 w 528215"/>
                <a:gd name="connsiteY11" fmla="*/ 605245 h 1769677"/>
                <a:gd name="connsiteX12" fmla="*/ 4282 w 528215"/>
                <a:gd name="connsiteY12" fmla="*/ 555239 h 1769677"/>
                <a:gd name="connsiteX13" fmla="*/ 25713 w 528215"/>
                <a:gd name="connsiteY13" fmla="*/ 419508 h 1769677"/>
                <a:gd name="connsiteX14" fmla="*/ 44763 w 528215"/>
                <a:gd name="connsiteY14" fmla="*/ 305208 h 1769677"/>
                <a:gd name="connsiteX15" fmla="*/ 123345 w 528215"/>
                <a:gd name="connsiteY15" fmla="*/ 269489 h 1769677"/>
                <a:gd name="connsiteX0" fmla="*/ 123345 w 528215"/>
                <a:gd name="connsiteY0" fmla="*/ 269489 h 1788726"/>
                <a:gd name="connsiteX1" fmla="*/ 190020 w 528215"/>
                <a:gd name="connsiteY1" fmla="*/ 159952 h 1788726"/>
                <a:gd name="connsiteX2" fmla="*/ 349563 w 528215"/>
                <a:gd name="connsiteY2" fmla="*/ 26602 h 1788726"/>
                <a:gd name="connsiteX3" fmla="*/ 359088 w 528215"/>
                <a:gd name="connsiteY3" fmla="*/ 152809 h 1788726"/>
                <a:gd name="connsiteX4" fmla="*/ 335277 w 528215"/>
                <a:gd name="connsiteY4" fmla="*/ 224245 h 1788726"/>
                <a:gd name="connsiteX5" fmla="*/ 480533 w 528215"/>
                <a:gd name="connsiteY5" fmla="*/ 312351 h 1788726"/>
                <a:gd name="connsiteX6" fmla="*/ 523396 w 528215"/>
                <a:gd name="connsiteY6" fmla="*/ 1002914 h 1788726"/>
                <a:gd name="connsiteX7" fmla="*/ 499582 w 528215"/>
                <a:gd name="connsiteY7" fmla="*/ 1769677 h 1788726"/>
                <a:gd name="connsiteX8" fmla="*/ 154301 w 528215"/>
                <a:gd name="connsiteY8" fmla="*/ 1788726 h 1788726"/>
                <a:gd name="connsiteX9" fmla="*/ 106677 w 528215"/>
                <a:gd name="connsiteY9" fmla="*/ 1038633 h 1788726"/>
                <a:gd name="connsiteX10" fmla="*/ 44765 w 528215"/>
                <a:gd name="connsiteY10" fmla="*/ 988626 h 1788726"/>
                <a:gd name="connsiteX11" fmla="*/ 113821 w 528215"/>
                <a:gd name="connsiteY11" fmla="*/ 605245 h 1788726"/>
                <a:gd name="connsiteX12" fmla="*/ 4282 w 528215"/>
                <a:gd name="connsiteY12" fmla="*/ 555239 h 1788726"/>
                <a:gd name="connsiteX13" fmla="*/ 25713 w 528215"/>
                <a:gd name="connsiteY13" fmla="*/ 419508 h 1788726"/>
                <a:gd name="connsiteX14" fmla="*/ 44763 w 528215"/>
                <a:gd name="connsiteY14" fmla="*/ 305208 h 1788726"/>
                <a:gd name="connsiteX15" fmla="*/ 123345 w 528215"/>
                <a:gd name="connsiteY15" fmla="*/ 269489 h 1788726"/>
                <a:gd name="connsiteX0" fmla="*/ 123345 w 528215"/>
                <a:gd name="connsiteY0" fmla="*/ 269489 h 1788726"/>
                <a:gd name="connsiteX1" fmla="*/ 190020 w 528215"/>
                <a:gd name="connsiteY1" fmla="*/ 159952 h 1788726"/>
                <a:gd name="connsiteX2" fmla="*/ 349563 w 528215"/>
                <a:gd name="connsiteY2" fmla="*/ 26602 h 1788726"/>
                <a:gd name="connsiteX3" fmla="*/ 359088 w 528215"/>
                <a:gd name="connsiteY3" fmla="*/ 152809 h 1788726"/>
                <a:gd name="connsiteX4" fmla="*/ 335277 w 528215"/>
                <a:gd name="connsiteY4" fmla="*/ 224245 h 1788726"/>
                <a:gd name="connsiteX5" fmla="*/ 480533 w 528215"/>
                <a:gd name="connsiteY5" fmla="*/ 312351 h 1788726"/>
                <a:gd name="connsiteX6" fmla="*/ 523396 w 528215"/>
                <a:gd name="connsiteY6" fmla="*/ 1002914 h 1788726"/>
                <a:gd name="connsiteX7" fmla="*/ 499582 w 528215"/>
                <a:gd name="connsiteY7" fmla="*/ 1769677 h 1788726"/>
                <a:gd name="connsiteX8" fmla="*/ 273364 w 528215"/>
                <a:gd name="connsiteY8" fmla="*/ 1083875 h 1788726"/>
                <a:gd name="connsiteX9" fmla="*/ 154301 w 528215"/>
                <a:gd name="connsiteY9" fmla="*/ 1788726 h 1788726"/>
                <a:gd name="connsiteX10" fmla="*/ 106677 w 528215"/>
                <a:gd name="connsiteY10" fmla="*/ 1038633 h 1788726"/>
                <a:gd name="connsiteX11" fmla="*/ 44765 w 528215"/>
                <a:gd name="connsiteY11" fmla="*/ 988626 h 1788726"/>
                <a:gd name="connsiteX12" fmla="*/ 113821 w 528215"/>
                <a:gd name="connsiteY12" fmla="*/ 605245 h 1788726"/>
                <a:gd name="connsiteX13" fmla="*/ 4282 w 528215"/>
                <a:gd name="connsiteY13" fmla="*/ 555239 h 1788726"/>
                <a:gd name="connsiteX14" fmla="*/ 25713 w 528215"/>
                <a:gd name="connsiteY14" fmla="*/ 419508 h 1788726"/>
                <a:gd name="connsiteX15" fmla="*/ 44763 w 528215"/>
                <a:gd name="connsiteY15" fmla="*/ 305208 h 1788726"/>
                <a:gd name="connsiteX16" fmla="*/ 123345 w 528215"/>
                <a:gd name="connsiteY16" fmla="*/ 269489 h 1788726"/>
                <a:gd name="connsiteX0" fmla="*/ 123345 w 528215"/>
                <a:gd name="connsiteY0" fmla="*/ 269489 h 1837827"/>
                <a:gd name="connsiteX1" fmla="*/ 190020 w 528215"/>
                <a:gd name="connsiteY1" fmla="*/ 159952 h 1837827"/>
                <a:gd name="connsiteX2" fmla="*/ 349563 w 528215"/>
                <a:gd name="connsiteY2" fmla="*/ 26602 h 1837827"/>
                <a:gd name="connsiteX3" fmla="*/ 359088 w 528215"/>
                <a:gd name="connsiteY3" fmla="*/ 152809 h 1837827"/>
                <a:gd name="connsiteX4" fmla="*/ 335277 w 528215"/>
                <a:gd name="connsiteY4" fmla="*/ 224245 h 1837827"/>
                <a:gd name="connsiteX5" fmla="*/ 480533 w 528215"/>
                <a:gd name="connsiteY5" fmla="*/ 312351 h 1837827"/>
                <a:gd name="connsiteX6" fmla="*/ 523396 w 528215"/>
                <a:gd name="connsiteY6" fmla="*/ 1002914 h 1837827"/>
                <a:gd name="connsiteX7" fmla="*/ 499582 w 528215"/>
                <a:gd name="connsiteY7" fmla="*/ 1769677 h 1837827"/>
                <a:gd name="connsiteX8" fmla="*/ 297176 w 528215"/>
                <a:gd name="connsiteY8" fmla="*/ 1745863 h 1837827"/>
                <a:gd name="connsiteX9" fmla="*/ 273364 w 528215"/>
                <a:gd name="connsiteY9" fmla="*/ 1083875 h 1837827"/>
                <a:gd name="connsiteX10" fmla="*/ 154301 w 528215"/>
                <a:gd name="connsiteY10" fmla="*/ 1788726 h 1837827"/>
                <a:gd name="connsiteX11" fmla="*/ 106677 w 528215"/>
                <a:gd name="connsiteY11" fmla="*/ 1038633 h 1837827"/>
                <a:gd name="connsiteX12" fmla="*/ 44765 w 528215"/>
                <a:gd name="connsiteY12" fmla="*/ 988626 h 1837827"/>
                <a:gd name="connsiteX13" fmla="*/ 113821 w 528215"/>
                <a:gd name="connsiteY13" fmla="*/ 605245 h 1837827"/>
                <a:gd name="connsiteX14" fmla="*/ 4282 w 528215"/>
                <a:gd name="connsiteY14" fmla="*/ 555239 h 1837827"/>
                <a:gd name="connsiteX15" fmla="*/ 25713 w 528215"/>
                <a:gd name="connsiteY15" fmla="*/ 419508 h 1837827"/>
                <a:gd name="connsiteX16" fmla="*/ 44763 w 528215"/>
                <a:gd name="connsiteY16" fmla="*/ 305208 h 1837827"/>
                <a:gd name="connsiteX17" fmla="*/ 123345 w 528215"/>
                <a:gd name="connsiteY17" fmla="*/ 269489 h 1837827"/>
                <a:gd name="connsiteX0" fmla="*/ 123345 w 528215"/>
                <a:gd name="connsiteY0" fmla="*/ 269489 h 1837827"/>
                <a:gd name="connsiteX1" fmla="*/ 190020 w 528215"/>
                <a:gd name="connsiteY1" fmla="*/ 159952 h 1837827"/>
                <a:gd name="connsiteX2" fmla="*/ 349563 w 528215"/>
                <a:gd name="connsiteY2" fmla="*/ 26602 h 1837827"/>
                <a:gd name="connsiteX3" fmla="*/ 359088 w 528215"/>
                <a:gd name="connsiteY3" fmla="*/ 152809 h 1837827"/>
                <a:gd name="connsiteX4" fmla="*/ 335277 w 528215"/>
                <a:gd name="connsiteY4" fmla="*/ 224245 h 1837827"/>
                <a:gd name="connsiteX5" fmla="*/ 480533 w 528215"/>
                <a:gd name="connsiteY5" fmla="*/ 312351 h 1837827"/>
                <a:gd name="connsiteX6" fmla="*/ 523396 w 528215"/>
                <a:gd name="connsiteY6" fmla="*/ 1002914 h 1837827"/>
                <a:gd name="connsiteX7" fmla="*/ 449576 w 528215"/>
                <a:gd name="connsiteY7" fmla="*/ 960050 h 1837827"/>
                <a:gd name="connsiteX8" fmla="*/ 499582 w 528215"/>
                <a:gd name="connsiteY8" fmla="*/ 1769677 h 1837827"/>
                <a:gd name="connsiteX9" fmla="*/ 297176 w 528215"/>
                <a:gd name="connsiteY9" fmla="*/ 1745863 h 1837827"/>
                <a:gd name="connsiteX10" fmla="*/ 273364 w 528215"/>
                <a:gd name="connsiteY10" fmla="*/ 1083875 h 1837827"/>
                <a:gd name="connsiteX11" fmla="*/ 154301 w 528215"/>
                <a:gd name="connsiteY11" fmla="*/ 1788726 h 1837827"/>
                <a:gd name="connsiteX12" fmla="*/ 106677 w 528215"/>
                <a:gd name="connsiteY12" fmla="*/ 1038633 h 1837827"/>
                <a:gd name="connsiteX13" fmla="*/ 44765 w 528215"/>
                <a:gd name="connsiteY13" fmla="*/ 988626 h 1837827"/>
                <a:gd name="connsiteX14" fmla="*/ 113821 w 528215"/>
                <a:gd name="connsiteY14" fmla="*/ 605245 h 1837827"/>
                <a:gd name="connsiteX15" fmla="*/ 4282 w 528215"/>
                <a:gd name="connsiteY15" fmla="*/ 555239 h 1837827"/>
                <a:gd name="connsiteX16" fmla="*/ 25713 w 528215"/>
                <a:gd name="connsiteY16" fmla="*/ 419508 h 1837827"/>
                <a:gd name="connsiteX17" fmla="*/ 44763 w 528215"/>
                <a:gd name="connsiteY17" fmla="*/ 305208 h 1837827"/>
                <a:gd name="connsiteX18" fmla="*/ 123345 w 528215"/>
                <a:gd name="connsiteY18" fmla="*/ 269489 h 1837827"/>
                <a:gd name="connsiteX0" fmla="*/ 123345 w 528215"/>
                <a:gd name="connsiteY0" fmla="*/ 269489 h 1837827"/>
                <a:gd name="connsiteX1" fmla="*/ 190020 w 528215"/>
                <a:gd name="connsiteY1" fmla="*/ 159952 h 1837827"/>
                <a:gd name="connsiteX2" fmla="*/ 349563 w 528215"/>
                <a:gd name="connsiteY2" fmla="*/ 26602 h 1837827"/>
                <a:gd name="connsiteX3" fmla="*/ 359088 w 528215"/>
                <a:gd name="connsiteY3" fmla="*/ 152809 h 1837827"/>
                <a:gd name="connsiteX4" fmla="*/ 335277 w 528215"/>
                <a:gd name="connsiteY4" fmla="*/ 224245 h 1837827"/>
                <a:gd name="connsiteX5" fmla="*/ 480533 w 528215"/>
                <a:gd name="connsiteY5" fmla="*/ 312351 h 1837827"/>
                <a:gd name="connsiteX6" fmla="*/ 523396 w 528215"/>
                <a:gd name="connsiteY6" fmla="*/ 1002914 h 1837827"/>
                <a:gd name="connsiteX7" fmla="*/ 449576 w 528215"/>
                <a:gd name="connsiteY7" fmla="*/ 960050 h 1837827"/>
                <a:gd name="connsiteX8" fmla="*/ 499582 w 528215"/>
                <a:gd name="connsiteY8" fmla="*/ 1769677 h 1837827"/>
                <a:gd name="connsiteX9" fmla="*/ 297176 w 528215"/>
                <a:gd name="connsiteY9" fmla="*/ 1745863 h 1837827"/>
                <a:gd name="connsiteX10" fmla="*/ 273364 w 528215"/>
                <a:gd name="connsiteY10" fmla="*/ 1083875 h 1837827"/>
                <a:gd name="connsiteX11" fmla="*/ 154301 w 528215"/>
                <a:gd name="connsiteY11" fmla="*/ 1788726 h 1837827"/>
                <a:gd name="connsiteX12" fmla="*/ 106677 w 528215"/>
                <a:gd name="connsiteY12" fmla="*/ 1038633 h 1837827"/>
                <a:gd name="connsiteX13" fmla="*/ 44765 w 528215"/>
                <a:gd name="connsiteY13" fmla="*/ 988626 h 1837827"/>
                <a:gd name="connsiteX14" fmla="*/ 113821 w 528215"/>
                <a:gd name="connsiteY14" fmla="*/ 605245 h 1837827"/>
                <a:gd name="connsiteX15" fmla="*/ 4282 w 528215"/>
                <a:gd name="connsiteY15" fmla="*/ 555239 h 1837827"/>
                <a:gd name="connsiteX16" fmla="*/ 25713 w 528215"/>
                <a:gd name="connsiteY16" fmla="*/ 419508 h 1837827"/>
                <a:gd name="connsiteX17" fmla="*/ 44763 w 528215"/>
                <a:gd name="connsiteY17" fmla="*/ 305208 h 1837827"/>
                <a:gd name="connsiteX18" fmla="*/ 123345 w 528215"/>
                <a:gd name="connsiteY18" fmla="*/ 269489 h 1837827"/>
                <a:gd name="connsiteX0" fmla="*/ 123345 w 528215"/>
                <a:gd name="connsiteY0" fmla="*/ 269489 h 1837827"/>
                <a:gd name="connsiteX1" fmla="*/ 190020 w 528215"/>
                <a:gd name="connsiteY1" fmla="*/ 159952 h 1837827"/>
                <a:gd name="connsiteX2" fmla="*/ 349563 w 528215"/>
                <a:gd name="connsiteY2" fmla="*/ 26602 h 1837827"/>
                <a:gd name="connsiteX3" fmla="*/ 359088 w 528215"/>
                <a:gd name="connsiteY3" fmla="*/ 152809 h 1837827"/>
                <a:gd name="connsiteX4" fmla="*/ 335277 w 528215"/>
                <a:gd name="connsiteY4" fmla="*/ 224245 h 1837827"/>
                <a:gd name="connsiteX5" fmla="*/ 480533 w 528215"/>
                <a:gd name="connsiteY5" fmla="*/ 312351 h 1837827"/>
                <a:gd name="connsiteX6" fmla="*/ 523396 w 528215"/>
                <a:gd name="connsiteY6" fmla="*/ 1002914 h 1837827"/>
                <a:gd name="connsiteX7" fmla="*/ 449576 w 528215"/>
                <a:gd name="connsiteY7" fmla="*/ 960050 h 1837827"/>
                <a:gd name="connsiteX8" fmla="*/ 499582 w 528215"/>
                <a:gd name="connsiteY8" fmla="*/ 1769677 h 1837827"/>
                <a:gd name="connsiteX9" fmla="*/ 297176 w 528215"/>
                <a:gd name="connsiteY9" fmla="*/ 1745863 h 1837827"/>
                <a:gd name="connsiteX10" fmla="*/ 273364 w 528215"/>
                <a:gd name="connsiteY10" fmla="*/ 1083875 h 1837827"/>
                <a:gd name="connsiteX11" fmla="*/ 154301 w 528215"/>
                <a:gd name="connsiteY11" fmla="*/ 1788726 h 1837827"/>
                <a:gd name="connsiteX12" fmla="*/ 106677 w 528215"/>
                <a:gd name="connsiteY12" fmla="*/ 1038633 h 1837827"/>
                <a:gd name="connsiteX13" fmla="*/ 44765 w 528215"/>
                <a:gd name="connsiteY13" fmla="*/ 988626 h 1837827"/>
                <a:gd name="connsiteX14" fmla="*/ 113821 w 528215"/>
                <a:gd name="connsiteY14" fmla="*/ 605245 h 1837827"/>
                <a:gd name="connsiteX15" fmla="*/ 4282 w 528215"/>
                <a:gd name="connsiteY15" fmla="*/ 555239 h 1837827"/>
                <a:gd name="connsiteX16" fmla="*/ 25713 w 528215"/>
                <a:gd name="connsiteY16" fmla="*/ 419508 h 1837827"/>
                <a:gd name="connsiteX17" fmla="*/ 44763 w 528215"/>
                <a:gd name="connsiteY17" fmla="*/ 305208 h 1837827"/>
                <a:gd name="connsiteX18" fmla="*/ 123345 w 528215"/>
                <a:gd name="connsiteY18" fmla="*/ 269489 h 1837827"/>
                <a:gd name="connsiteX0" fmla="*/ 123345 w 528215"/>
                <a:gd name="connsiteY0" fmla="*/ 269489 h 1837827"/>
                <a:gd name="connsiteX1" fmla="*/ 190020 w 528215"/>
                <a:gd name="connsiteY1" fmla="*/ 159952 h 1837827"/>
                <a:gd name="connsiteX2" fmla="*/ 349563 w 528215"/>
                <a:gd name="connsiteY2" fmla="*/ 26602 h 1837827"/>
                <a:gd name="connsiteX3" fmla="*/ 359088 w 528215"/>
                <a:gd name="connsiteY3" fmla="*/ 152809 h 1837827"/>
                <a:gd name="connsiteX4" fmla="*/ 335277 w 528215"/>
                <a:gd name="connsiteY4" fmla="*/ 224245 h 1837827"/>
                <a:gd name="connsiteX5" fmla="*/ 480533 w 528215"/>
                <a:gd name="connsiteY5" fmla="*/ 312351 h 1837827"/>
                <a:gd name="connsiteX6" fmla="*/ 523396 w 528215"/>
                <a:gd name="connsiteY6" fmla="*/ 1002914 h 1837827"/>
                <a:gd name="connsiteX7" fmla="*/ 449576 w 528215"/>
                <a:gd name="connsiteY7" fmla="*/ 960050 h 1837827"/>
                <a:gd name="connsiteX8" fmla="*/ 421001 w 528215"/>
                <a:gd name="connsiteY8" fmla="*/ 1588700 h 1837827"/>
                <a:gd name="connsiteX9" fmla="*/ 499582 w 528215"/>
                <a:gd name="connsiteY9" fmla="*/ 1769677 h 1837827"/>
                <a:gd name="connsiteX10" fmla="*/ 297176 w 528215"/>
                <a:gd name="connsiteY10" fmla="*/ 1745863 h 1837827"/>
                <a:gd name="connsiteX11" fmla="*/ 273364 w 528215"/>
                <a:gd name="connsiteY11" fmla="*/ 1083875 h 1837827"/>
                <a:gd name="connsiteX12" fmla="*/ 154301 w 528215"/>
                <a:gd name="connsiteY12" fmla="*/ 1788726 h 1837827"/>
                <a:gd name="connsiteX13" fmla="*/ 106677 w 528215"/>
                <a:gd name="connsiteY13" fmla="*/ 1038633 h 1837827"/>
                <a:gd name="connsiteX14" fmla="*/ 44765 w 528215"/>
                <a:gd name="connsiteY14" fmla="*/ 988626 h 1837827"/>
                <a:gd name="connsiteX15" fmla="*/ 113821 w 528215"/>
                <a:gd name="connsiteY15" fmla="*/ 605245 h 1837827"/>
                <a:gd name="connsiteX16" fmla="*/ 4282 w 528215"/>
                <a:gd name="connsiteY16" fmla="*/ 555239 h 1837827"/>
                <a:gd name="connsiteX17" fmla="*/ 25713 w 528215"/>
                <a:gd name="connsiteY17" fmla="*/ 419508 h 1837827"/>
                <a:gd name="connsiteX18" fmla="*/ 44763 w 528215"/>
                <a:gd name="connsiteY18" fmla="*/ 305208 h 1837827"/>
                <a:gd name="connsiteX19" fmla="*/ 123345 w 528215"/>
                <a:gd name="connsiteY19" fmla="*/ 269489 h 1837827"/>
                <a:gd name="connsiteX0" fmla="*/ 123345 w 528215"/>
                <a:gd name="connsiteY0" fmla="*/ 269489 h 1837827"/>
                <a:gd name="connsiteX1" fmla="*/ 190020 w 528215"/>
                <a:gd name="connsiteY1" fmla="*/ 159952 h 1837827"/>
                <a:gd name="connsiteX2" fmla="*/ 349563 w 528215"/>
                <a:gd name="connsiteY2" fmla="*/ 26602 h 1837827"/>
                <a:gd name="connsiteX3" fmla="*/ 359088 w 528215"/>
                <a:gd name="connsiteY3" fmla="*/ 152809 h 1837827"/>
                <a:gd name="connsiteX4" fmla="*/ 335277 w 528215"/>
                <a:gd name="connsiteY4" fmla="*/ 224245 h 1837827"/>
                <a:gd name="connsiteX5" fmla="*/ 480533 w 528215"/>
                <a:gd name="connsiteY5" fmla="*/ 312351 h 1837827"/>
                <a:gd name="connsiteX6" fmla="*/ 523396 w 528215"/>
                <a:gd name="connsiteY6" fmla="*/ 1002914 h 1837827"/>
                <a:gd name="connsiteX7" fmla="*/ 449576 w 528215"/>
                <a:gd name="connsiteY7" fmla="*/ 960050 h 1837827"/>
                <a:gd name="connsiteX8" fmla="*/ 421001 w 528215"/>
                <a:gd name="connsiteY8" fmla="*/ 1588700 h 1837827"/>
                <a:gd name="connsiteX9" fmla="*/ 509107 w 528215"/>
                <a:gd name="connsiteY9" fmla="*/ 1769677 h 1837827"/>
                <a:gd name="connsiteX10" fmla="*/ 297176 w 528215"/>
                <a:gd name="connsiteY10" fmla="*/ 1745863 h 1837827"/>
                <a:gd name="connsiteX11" fmla="*/ 273364 w 528215"/>
                <a:gd name="connsiteY11" fmla="*/ 1083875 h 1837827"/>
                <a:gd name="connsiteX12" fmla="*/ 154301 w 528215"/>
                <a:gd name="connsiteY12" fmla="*/ 1788726 h 1837827"/>
                <a:gd name="connsiteX13" fmla="*/ 106677 w 528215"/>
                <a:gd name="connsiteY13" fmla="*/ 1038633 h 1837827"/>
                <a:gd name="connsiteX14" fmla="*/ 44765 w 528215"/>
                <a:gd name="connsiteY14" fmla="*/ 988626 h 1837827"/>
                <a:gd name="connsiteX15" fmla="*/ 113821 w 528215"/>
                <a:gd name="connsiteY15" fmla="*/ 605245 h 1837827"/>
                <a:gd name="connsiteX16" fmla="*/ 4282 w 528215"/>
                <a:gd name="connsiteY16" fmla="*/ 555239 h 1837827"/>
                <a:gd name="connsiteX17" fmla="*/ 25713 w 528215"/>
                <a:gd name="connsiteY17" fmla="*/ 419508 h 1837827"/>
                <a:gd name="connsiteX18" fmla="*/ 44763 w 528215"/>
                <a:gd name="connsiteY18" fmla="*/ 305208 h 1837827"/>
                <a:gd name="connsiteX19" fmla="*/ 123345 w 528215"/>
                <a:gd name="connsiteY19" fmla="*/ 269489 h 1837827"/>
                <a:gd name="connsiteX0" fmla="*/ 123345 w 528215"/>
                <a:gd name="connsiteY0" fmla="*/ 269489 h 1815539"/>
                <a:gd name="connsiteX1" fmla="*/ 190020 w 528215"/>
                <a:gd name="connsiteY1" fmla="*/ 159952 h 1815539"/>
                <a:gd name="connsiteX2" fmla="*/ 349563 w 528215"/>
                <a:gd name="connsiteY2" fmla="*/ 26602 h 1815539"/>
                <a:gd name="connsiteX3" fmla="*/ 359088 w 528215"/>
                <a:gd name="connsiteY3" fmla="*/ 152809 h 1815539"/>
                <a:gd name="connsiteX4" fmla="*/ 335277 w 528215"/>
                <a:gd name="connsiteY4" fmla="*/ 224245 h 1815539"/>
                <a:gd name="connsiteX5" fmla="*/ 480533 w 528215"/>
                <a:gd name="connsiteY5" fmla="*/ 312351 h 1815539"/>
                <a:gd name="connsiteX6" fmla="*/ 523396 w 528215"/>
                <a:gd name="connsiteY6" fmla="*/ 1002914 h 1815539"/>
                <a:gd name="connsiteX7" fmla="*/ 449576 w 528215"/>
                <a:gd name="connsiteY7" fmla="*/ 960050 h 1815539"/>
                <a:gd name="connsiteX8" fmla="*/ 421001 w 528215"/>
                <a:gd name="connsiteY8" fmla="*/ 1588700 h 1815539"/>
                <a:gd name="connsiteX9" fmla="*/ 509107 w 528215"/>
                <a:gd name="connsiteY9" fmla="*/ 1769677 h 1815539"/>
                <a:gd name="connsiteX10" fmla="*/ 297176 w 528215"/>
                <a:gd name="connsiteY10" fmla="*/ 1745863 h 1815539"/>
                <a:gd name="connsiteX11" fmla="*/ 273364 w 528215"/>
                <a:gd name="connsiteY11" fmla="*/ 1083875 h 1815539"/>
                <a:gd name="connsiteX12" fmla="*/ 154301 w 528215"/>
                <a:gd name="connsiteY12" fmla="*/ 1788726 h 1815539"/>
                <a:gd name="connsiteX13" fmla="*/ 106677 w 528215"/>
                <a:gd name="connsiteY13" fmla="*/ 1038633 h 1815539"/>
                <a:gd name="connsiteX14" fmla="*/ 44765 w 528215"/>
                <a:gd name="connsiteY14" fmla="*/ 988626 h 1815539"/>
                <a:gd name="connsiteX15" fmla="*/ 113821 w 528215"/>
                <a:gd name="connsiteY15" fmla="*/ 605245 h 1815539"/>
                <a:gd name="connsiteX16" fmla="*/ 4282 w 528215"/>
                <a:gd name="connsiteY16" fmla="*/ 555239 h 1815539"/>
                <a:gd name="connsiteX17" fmla="*/ 25713 w 528215"/>
                <a:gd name="connsiteY17" fmla="*/ 419508 h 1815539"/>
                <a:gd name="connsiteX18" fmla="*/ 44763 w 528215"/>
                <a:gd name="connsiteY18" fmla="*/ 305208 h 1815539"/>
                <a:gd name="connsiteX19" fmla="*/ 123345 w 528215"/>
                <a:gd name="connsiteY19" fmla="*/ 269489 h 1815539"/>
                <a:gd name="connsiteX0" fmla="*/ 123345 w 528215"/>
                <a:gd name="connsiteY0" fmla="*/ 269489 h 1819689"/>
                <a:gd name="connsiteX1" fmla="*/ 190020 w 528215"/>
                <a:gd name="connsiteY1" fmla="*/ 159952 h 1819689"/>
                <a:gd name="connsiteX2" fmla="*/ 349563 w 528215"/>
                <a:gd name="connsiteY2" fmla="*/ 26602 h 1819689"/>
                <a:gd name="connsiteX3" fmla="*/ 359088 w 528215"/>
                <a:gd name="connsiteY3" fmla="*/ 152809 h 1819689"/>
                <a:gd name="connsiteX4" fmla="*/ 335277 w 528215"/>
                <a:gd name="connsiteY4" fmla="*/ 224245 h 1819689"/>
                <a:gd name="connsiteX5" fmla="*/ 480533 w 528215"/>
                <a:gd name="connsiteY5" fmla="*/ 312351 h 1819689"/>
                <a:gd name="connsiteX6" fmla="*/ 523396 w 528215"/>
                <a:gd name="connsiteY6" fmla="*/ 1002914 h 1819689"/>
                <a:gd name="connsiteX7" fmla="*/ 449576 w 528215"/>
                <a:gd name="connsiteY7" fmla="*/ 960050 h 1819689"/>
                <a:gd name="connsiteX8" fmla="*/ 421001 w 528215"/>
                <a:gd name="connsiteY8" fmla="*/ 1588700 h 1819689"/>
                <a:gd name="connsiteX9" fmla="*/ 509107 w 528215"/>
                <a:gd name="connsiteY9" fmla="*/ 1769677 h 1819689"/>
                <a:gd name="connsiteX10" fmla="*/ 294794 w 528215"/>
                <a:gd name="connsiteY10" fmla="*/ 1753007 h 1819689"/>
                <a:gd name="connsiteX11" fmla="*/ 273364 w 528215"/>
                <a:gd name="connsiteY11" fmla="*/ 1083875 h 1819689"/>
                <a:gd name="connsiteX12" fmla="*/ 154301 w 528215"/>
                <a:gd name="connsiteY12" fmla="*/ 1788726 h 1819689"/>
                <a:gd name="connsiteX13" fmla="*/ 106677 w 528215"/>
                <a:gd name="connsiteY13" fmla="*/ 1038633 h 1819689"/>
                <a:gd name="connsiteX14" fmla="*/ 44765 w 528215"/>
                <a:gd name="connsiteY14" fmla="*/ 988626 h 1819689"/>
                <a:gd name="connsiteX15" fmla="*/ 113821 w 528215"/>
                <a:gd name="connsiteY15" fmla="*/ 605245 h 1819689"/>
                <a:gd name="connsiteX16" fmla="*/ 4282 w 528215"/>
                <a:gd name="connsiteY16" fmla="*/ 555239 h 1819689"/>
                <a:gd name="connsiteX17" fmla="*/ 25713 w 528215"/>
                <a:gd name="connsiteY17" fmla="*/ 419508 h 1819689"/>
                <a:gd name="connsiteX18" fmla="*/ 44763 w 528215"/>
                <a:gd name="connsiteY18" fmla="*/ 305208 h 1819689"/>
                <a:gd name="connsiteX19" fmla="*/ 123345 w 528215"/>
                <a:gd name="connsiteY19" fmla="*/ 269489 h 1819689"/>
                <a:gd name="connsiteX0" fmla="*/ 123345 w 528215"/>
                <a:gd name="connsiteY0" fmla="*/ 269489 h 1796611"/>
                <a:gd name="connsiteX1" fmla="*/ 190020 w 528215"/>
                <a:gd name="connsiteY1" fmla="*/ 159952 h 1796611"/>
                <a:gd name="connsiteX2" fmla="*/ 349563 w 528215"/>
                <a:gd name="connsiteY2" fmla="*/ 26602 h 1796611"/>
                <a:gd name="connsiteX3" fmla="*/ 359088 w 528215"/>
                <a:gd name="connsiteY3" fmla="*/ 152809 h 1796611"/>
                <a:gd name="connsiteX4" fmla="*/ 335277 w 528215"/>
                <a:gd name="connsiteY4" fmla="*/ 224245 h 1796611"/>
                <a:gd name="connsiteX5" fmla="*/ 480533 w 528215"/>
                <a:gd name="connsiteY5" fmla="*/ 312351 h 1796611"/>
                <a:gd name="connsiteX6" fmla="*/ 523396 w 528215"/>
                <a:gd name="connsiteY6" fmla="*/ 1002914 h 1796611"/>
                <a:gd name="connsiteX7" fmla="*/ 449576 w 528215"/>
                <a:gd name="connsiteY7" fmla="*/ 960050 h 1796611"/>
                <a:gd name="connsiteX8" fmla="*/ 421001 w 528215"/>
                <a:gd name="connsiteY8" fmla="*/ 1588700 h 1796611"/>
                <a:gd name="connsiteX9" fmla="*/ 509107 w 528215"/>
                <a:gd name="connsiteY9" fmla="*/ 1769677 h 1796611"/>
                <a:gd name="connsiteX10" fmla="*/ 294794 w 528215"/>
                <a:gd name="connsiteY10" fmla="*/ 1753007 h 1796611"/>
                <a:gd name="connsiteX11" fmla="*/ 273364 w 528215"/>
                <a:gd name="connsiteY11" fmla="*/ 1083875 h 1796611"/>
                <a:gd name="connsiteX12" fmla="*/ 154301 w 528215"/>
                <a:gd name="connsiteY12" fmla="*/ 1788726 h 1796611"/>
                <a:gd name="connsiteX13" fmla="*/ 106677 w 528215"/>
                <a:gd name="connsiteY13" fmla="*/ 1038633 h 1796611"/>
                <a:gd name="connsiteX14" fmla="*/ 44765 w 528215"/>
                <a:gd name="connsiteY14" fmla="*/ 988626 h 1796611"/>
                <a:gd name="connsiteX15" fmla="*/ 113821 w 528215"/>
                <a:gd name="connsiteY15" fmla="*/ 605245 h 1796611"/>
                <a:gd name="connsiteX16" fmla="*/ 4282 w 528215"/>
                <a:gd name="connsiteY16" fmla="*/ 555239 h 1796611"/>
                <a:gd name="connsiteX17" fmla="*/ 25713 w 528215"/>
                <a:gd name="connsiteY17" fmla="*/ 419508 h 1796611"/>
                <a:gd name="connsiteX18" fmla="*/ 44763 w 528215"/>
                <a:gd name="connsiteY18" fmla="*/ 305208 h 1796611"/>
                <a:gd name="connsiteX19" fmla="*/ 123345 w 528215"/>
                <a:gd name="connsiteY19" fmla="*/ 269489 h 1796611"/>
                <a:gd name="connsiteX0" fmla="*/ 123345 w 528215"/>
                <a:gd name="connsiteY0" fmla="*/ 269489 h 1796611"/>
                <a:gd name="connsiteX1" fmla="*/ 190020 w 528215"/>
                <a:gd name="connsiteY1" fmla="*/ 159952 h 1796611"/>
                <a:gd name="connsiteX2" fmla="*/ 349563 w 528215"/>
                <a:gd name="connsiteY2" fmla="*/ 26602 h 1796611"/>
                <a:gd name="connsiteX3" fmla="*/ 359088 w 528215"/>
                <a:gd name="connsiteY3" fmla="*/ 152809 h 1796611"/>
                <a:gd name="connsiteX4" fmla="*/ 335277 w 528215"/>
                <a:gd name="connsiteY4" fmla="*/ 224245 h 1796611"/>
                <a:gd name="connsiteX5" fmla="*/ 480533 w 528215"/>
                <a:gd name="connsiteY5" fmla="*/ 312351 h 1796611"/>
                <a:gd name="connsiteX6" fmla="*/ 523396 w 528215"/>
                <a:gd name="connsiteY6" fmla="*/ 1002914 h 1796611"/>
                <a:gd name="connsiteX7" fmla="*/ 449576 w 528215"/>
                <a:gd name="connsiteY7" fmla="*/ 960050 h 1796611"/>
                <a:gd name="connsiteX8" fmla="*/ 416239 w 528215"/>
                <a:gd name="connsiteY8" fmla="*/ 1598225 h 1796611"/>
                <a:gd name="connsiteX9" fmla="*/ 509107 w 528215"/>
                <a:gd name="connsiteY9" fmla="*/ 1769677 h 1796611"/>
                <a:gd name="connsiteX10" fmla="*/ 294794 w 528215"/>
                <a:gd name="connsiteY10" fmla="*/ 1753007 h 1796611"/>
                <a:gd name="connsiteX11" fmla="*/ 273364 w 528215"/>
                <a:gd name="connsiteY11" fmla="*/ 1083875 h 1796611"/>
                <a:gd name="connsiteX12" fmla="*/ 154301 w 528215"/>
                <a:gd name="connsiteY12" fmla="*/ 1788726 h 1796611"/>
                <a:gd name="connsiteX13" fmla="*/ 106677 w 528215"/>
                <a:gd name="connsiteY13" fmla="*/ 1038633 h 1796611"/>
                <a:gd name="connsiteX14" fmla="*/ 44765 w 528215"/>
                <a:gd name="connsiteY14" fmla="*/ 988626 h 1796611"/>
                <a:gd name="connsiteX15" fmla="*/ 113821 w 528215"/>
                <a:gd name="connsiteY15" fmla="*/ 605245 h 1796611"/>
                <a:gd name="connsiteX16" fmla="*/ 4282 w 528215"/>
                <a:gd name="connsiteY16" fmla="*/ 555239 h 1796611"/>
                <a:gd name="connsiteX17" fmla="*/ 25713 w 528215"/>
                <a:gd name="connsiteY17" fmla="*/ 419508 h 1796611"/>
                <a:gd name="connsiteX18" fmla="*/ 44763 w 528215"/>
                <a:gd name="connsiteY18" fmla="*/ 305208 h 1796611"/>
                <a:gd name="connsiteX19" fmla="*/ 123345 w 528215"/>
                <a:gd name="connsiteY19" fmla="*/ 269489 h 1796611"/>
                <a:gd name="connsiteX0" fmla="*/ 123345 w 528215"/>
                <a:gd name="connsiteY0" fmla="*/ 269489 h 1796611"/>
                <a:gd name="connsiteX1" fmla="*/ 190020 w 528215"/>
                <a:gd name="connsiteY1" fmla="*/ 159952 h 1796611"/>
                <a:gd name="connsiteX2" fmla="*/ 349563 w 528215"/>
                <a:gd name="connsiteY2" fmla="*/ 26602 h 1796611"/>
                <a:gd name="connsiteX3" fmla="*/ 359088 w 528215"/>
                <a:gd name="connsiteY3" fmla="*/ 152809 h 1796611"/>
                <a:gd name="connsiteX4" fmla="*/ 335277 w 528215"/>
                <a:gd name="connsiteY4" fmla="*/ 224245 h 1796611"/>
                <a:gd name="connsiteX5" fmla="*/ 480533 w 528215"/>
                <a:gd name="connsiteY5" fmla="*/ 312351 h 1796611"/>
                <a:gd name="connsiteX6" fmla="*/ 523396 w 528215"/>
                <a:gd name="connsiteY6" fmla="*/ 1002914 h 1796611"/>
                <a:gd name="connsiteX7" fmla="*/ 449576 w 528215"/>
                <a:gd name="connsiteY7" fmla="*/ 960050 h 1796611"/>
                <a:gd name="connsiteX8" fmla="*/ 416239 w 528215"/>
                <a:gd name="connsiteY8" fmla="*/ 1598225 h 1796611"/>
                <a:gd name="connsiteX9" fmla="*/ 409095 w 528215"/>
                <a:gd name="connsiteY9" fmla="*/ 1698238 h 1796611"/>
                <a:gd name="connsiteX10" fmla="*/ 509107 w 528215"/>
                <a:gd name="connsiteY10" fmla="*/ 1769677 h 1796611"/>
                <a:gd name="connsiteX11" fmla="*/ 294794 w 528215"/>
                <a:gd name="connsiteY11" fmla="*/ 1753007 h 1796611"/>
                <a:gd name="connsiteX12" fmla="*/ 273364 w 528215"/>
                <a:gd name="connsiteY12" fmla="*/ 1083875 h 1796611"/>
                <a:gd name="connsiteX13" fmla="*/ 154301 w 528215"/>
                <a:gd name="connsiteY13" fmla="*/ 1788726 h 1796611"/>
                <a:gd name="connsiteX14" fmla="*/ 106677 w 528215"/>
                <a:gd name="connsiteY14" fmla="*/ 1038633 h 1796611"/>
                <a:gd name="connsiteX15" fmla="*/ 44765 w 528215"/>
                <a:gd name="connsiteY15" fmla="*/ 988626 h 1796611"/>
                <a:gd name="connsiteX16" fmla="*/ 113821 w 528215"/>
                <a:gd name="connsiteY16" fmla="*/ 605245 h 1796611"/>
                <a:gd name="connsiteX17" fmla="*/ 4282 w 528215"/>
                <a:gd name="connsiteY17" fmla="*/ 555239 h 1796611"/>
                <a:gd name="connsiteX18" fmla="*/ 25713 w 528215"/>
                <a:gd name="connsiteY18" fmla="*/ 419508 h 1796611"/>
                <a:gd name="connsiteX19" fmla="*/ 44763 w 528215"/>
                <a:gd name="connsiteY19" fmla="*/ 305208 h 1796611"/>
                <a:gd name="connsiteX20" fmla="*/ 123345 w 528215"/>
                <a:gd name="connsiteY20" fmla="*/ 269489 h 1796611"/>
                <a:gd name="connsiteX0" fmla="*/ 123345 w 528215"/>
                <a:gd name="connsiteY0" fmla="*/ 269489 h 1796611"/>
                <a:gd name="connsiteX1" fmla="*/ 190020 w 528215"/>
                <a:gd name="connsiteY1" fmla="*/ 159952 h 1796611"/>
                <a:gd name="connsiteX2" fmla="*/ 349563 w 528215"/>
                <a:gd name="connsiteY2" fmla="*/ 26602 h 1796611"/>
                <a:gd name="connsiteX3" fmla="*/ 359088 w 528215"/>
                <a:gd name="connsiteY3" fmla="*/ 152809 h 1796611"/>
                <a:gd name="connsiteX4" fmla="*/ 335277 w 528215"/>
                <a:gd name="connsiteY4" fmla="*/ 224245 h 1796611"/>
                <a:gd name="connsiteX5" fmla="*/ 480533 w 528215"/>
                <a:gd name="connsiteY5" fmla="*/ 312351 h 1796611"/>
                <a:gd name="connsiteX6" fmla="*/ 523396 w 528215"/>
                <a:gd name="connsiteY6" fmla="*/ 1002914 h 1796611"/>
                <a:gd name="connsiteX7" fmla="*/ 449576 w 528215"/>
                <a:gd name="connsiteY7" fmla="*/ 960050 h 1796611"/>
                <a:gd name="connsiteX8" fmla="*/ 416239 w 528215"/>
                <a:gd name="connsiteY8" fmla="*/ 1598225 h 1796611"/>
                <a:gd name="connsiteX9" fmla="*/ 409095 w 528215"/>
                <a:gd name="connsiteY9" fmla="*/ 1698238 h 1796611"/>
                <a:gd name="connsiteX10" fmla="*/ 509107 w 528215"/>
                <a:gd name="connsiteY10" fmla="*/ 1769677 h 1796611"/>
                <a:gd name="connsiteX11" fmla="*/ 294794 w 528215"/>
                <a:gd name="connsiteY11" fmla="*/ 1753007 h 1796611"/>
                <a:gd name="connsiteX12" fmla="*/ 273364 w 528215"/>
                <a:gd name="connsiteY12" fmla="*/ 1083875 h 1796611"/>
                <a:gd name="connsiteX13" fmla="*/ 154301 w 528215"/>
                <a:gd name="connsiteY13" fmla="*/ 1788726 h 1796611"/>
                <a:gd name="connsiteX14" fmla="*/ 106677 w 528215"/>
                <a:gd name="connsiteY14" fmla="*/ 1038633 h 1796611"/>
                <a:gd name="connsiteX15" fmla="*/ 44765 w 528215"/>
                <a:gd name="connsiteY15" fmla="*/ 988626 h 1796611"/>
                <a:gd name="connsiteX16" fmla="*/ 113821 w 528215"/>
                <a:gd name="connsiteY16" fmla="*/ 605245 h 1796611"/>
                <a:gd name="connsiteX17" fmla="*/ 4282 w 528215"/>
                <a:gd name="connsiteY17" fmla="*/ 555239 h 1796611"/>
                <a:gd name="connsiteX18" fmla="*/ 25713 w 528215"/>
                <a:gd name="connsiteY18" fmla="*/ 419508 h 1796611"/>
                <a:gd name="connsiteX19" fmla="*/ 44763 w 528215"/>
                <a:gd name="connsiteY19" fmla="*/ 305208 h 1796611"/>
                <a:gd name="connsiteX20" fmla="*/ 123345 w 528215"/>
                <a:gd name="connsiteY20" fmla="*/ 269489 h 1796611"/>
                <a:gd name="connsiteX0" fmla="*/ 123345 w 528215"/>
                <a:gd name="connsiteY0" fmla="*/ 269489 h 1796611"/>
                <a:gd name="connsiteX1" fmla="*/ 190020 w 528215"/>
                <a:gd name="connsiteY1" fmla="*/ 159952 h 1796611"/>
                <a:gd name="connsiteX2" fmla="*/ 349563 w 528215"/>
                <a:gd name="connsiteY2" fmla="*/ 26602 h 1796611"/>
                <a:gd name="connsiteX3" fmla="*/ 359088 w 528215"/>
                <a:gd name="connsiteY3" fmla="*/ 152809 h 1796611"/>
                <a:gd name="connsiteX4" fmla="*/ 335277 w 528215"/>
                <a:gd name="connsiteY4" fmla="*/ 224245 h 1796611"/>
                <a:gd name="connsiteX5" fmla="*/ 480533 w 528215"/>
                <a:gd name="connsiteY5" fmla="*/ 312351 h 1796611"/>
                <a:gd name="connsiteX6" fmla="*/ 523396 w 528215"/>
                <a:gd name="connsiteY6" fmla="*/ 1002914 h 1796611"/>
                <a:gd name="connsiteX7" fmla="*/ 449576 w 528215"/>
                <a:gd name="connsiteY7" fmla="*/ 960050 h 1796611"/>
                <a:gd name="connsiteX8" fmla="*/ 416239 w 528215"/>
                <a:gd name="connsiteY8" fmla="*/ 1598225 h 1796611"/>
                <a:gd name="connsiteX9" fmla="*/ 409095 w 528215"/>
                <a:gd name="connsiteY9" fmla="*/ 1698238 h 1796611"/>
                <a:gd name="connsiteX10" fmla="*/ 509107 w 528215"/>
                <a:gd name="connsiteY10" fmla="*/ 1769677 h 1796611"/>
                <a:gd name="connsiteX11" fmla="*/ 294794 w 528215"/>
                <a:gd name="connsiteY11" fmla="*/ 1753007 h 1796611"/>
                <a:gd name="connsiteX12" fmla="*/ 273364 w 528215"/>
                <a:gd name="connsiteY12" fmla="*/ 1083875 h 1796611"/>
                <a:gd name="connsiteX13" fmla="*/ 154301 w 528215"/>
                <a:gd name="connsiteY13" fmla="*/ 1788726 h 1796611"/>
                <a:gd name="connsiteX14" fmla="*/ 106677 w 528215"/>
                <a:gd name="connsiteY14" fmla="*/ 1038633 h 1796611"/>
                <a:gd name="connsiteX15" fmla="*/ 44765 w 528215"/>
                <a:gd name="connsiteY15" fmla="*/ 988626 h 1796611"/>
                <a:gd name="connsiteX16" fmla="*/ 113821 w 528215"/>
                <a:gd name="connsiteY16" fmla="*/ 605245 h 1796611"/>
                <a:gd name="connsiteX17" fmla="*/ 4282 w 528215"/>
                <a:gd name="connsiteY17" fmla="*/ 555239 h 1796611"/>
                <a:gd name="connsiteX18" fmla="*/ 25713 w 528215"/>
                <a:gd name="connsiteY18" fmla="*/ 419508 h 1796611"/>
                <a:gd name="connsiteX19" fmla="*/ 44763 w 528215"/>
                <a:gd name="connsiteY19" fmla="*/ 305208 h 1796611"/>
                <a:gd name="connsiteX20" fmla="*/ 123345 w 528215"/>
                <a:gd name="connsiteY20" fmla="*/ 269489 h 1796611"/>
                <a:gd name="connsiteX0" fmla="*/ 123345 w 528215"/>
                <a:gd name="connsiteY0" fmla="*/ 269489 h 1796611"/>
                <a:gd name="connsiteX1" fmla="*/ 190020 w 528215"/>
                <a:gd name="connsiteY1" fmla="*/ 159952 h 1796611"/>
                <a:gd name="connsiteX2" fmla="*/ 349563 w 528215"/>
                <a:gd name="connsiteY2" fmla="*/ 26602 h 1796611"/>
                <a:gd name="connsiteX3" fmla="*/ 359088 w 528215"/>
                <a:gd name="connsiteY3" fmla="*/ 152809 h 1796611"/>
                <a:gd name="connsiteX4" fmla="*/ 335277 w 528215"/>
                <a:gd name="connsiteY4" fmla="*/ 224245 h 1796611"/>
                <a:gd name="connsiteX5" fmla="*/ 480533 w 528215"/>
                <a:gd name="connsiteY5" fmla="*/ 312351 h 1796611"/>
                <a:gd name="connsiteX6" fmla="*/ 523396 w 528215"/>
                <a:gd name="connsiteY6" fmla="*/ 1002914 h 1796611"/>
                <a:gd name="connsiteX7" fmla="*/ 449576 w 528215"/>
                <a:gd name="connsiteY7" fmla="*/ 960050 h 1796611"/>
                <a:gd name="connsiteX8" fmla="*/ 411476 w 528215"/>
                <a:gd name="connsiteY8" fmla="*/ 1255325 h 1796611"/>
                <a:gd name="connsiteX9" fmla="*/ 416239 w 528215"/>
                <a:gd name="connsiteY9" fmla="*/ 1598225 h 1796611"/>
                <a:gd name="connsiteX10" fmla="*/ 409095 w 528215"/>
                <a:gd name="connsiteY10" fmla="*/ 1698238 h 1796611"/>
                <a:gd name="connsiteX11" fmla="*/ 509107 w 528215"/>
                <a:gd name="connsiteY11" fmla="*/ 1769677 h 1796611"/>
                <a:gd name="connsiteX12" fmla="*/ 294794 w 528215"/>
                <a:gd name="connsiteY12" fmla="*/ 1753007 h 1796611"/>
                <a:gd name="connsiteX13" fmla="*/ 273364 w 528215"/>
                <a:gd name="connsiteY13" fmla="*/ 1083875 h 1796611"/>
                <a:gd name="connsiteX14" fmla="*/ 154301 w 528215"/>
                <a:gd name="connsiteY14" fmla="*/ 1788726 h 1796611"/>
                <a:gd name="connsiteX15" fmla="*/ 106677 w 528215"/>
                <a:gd name="connsiteY15" fmla="*/ 1038633 h 1796611"/>
                <a:gd name="connsiteX16" fmla="*/ 44765 w 528215"/>
                <a:gd name="connsiteY16" fmla="*/ 988626 h 1796611"/>
                <a:gd name="connsiteX17" fmla="*/ 113821 w 528215"/>
                <a:gd name="connsiteY17" fmla="*/ 605245 h 1796611"/>
                <a:gd name="connsiteX18" fmla="*/ 4282 w 528215"/>
                <a:gd name="connsiteY18" fmla="*/ 555239 h 1796611"/>
                <a:gd name="connsiteX19" fmla="*/ 25713 w 528215"/>
                <a:gd name="connsiteY19" fmla="*/ 419508 h 1796611"/>
                <a:gd name="connsiteX20" fmla="*/ 44763 w 528215"/>
                <a:gd name="connsiteY20" fmla="*/ 305208 h 1796611"/>
                <a:gd name="connsiteX21" fmla="*/ 123345 w 528215"/>
                <a:gd name="connsiteY21" fmla="*/ 269489 h 1796611"/>
                <a:gd name="connsiteX0" fmla="*/ 123345 w 528215"/>
                <a:gd name="connsiteY0" fmla="*/ 269489 h 1796611"/>
                <a:gd name="connsiteX1" fmla="*/ 190020 w 528215"/>
                <a:gd name="connsiteY1" fmla="*/ 159952 h 1796611"/>
                <a:gd name="connsiteX2" fmla="*/ 349563 w 528215"/>
                <a:gd name="connsiteY2" fmla="*/ 26602 h 1796611"/>
                <a:gd name="connsiteX3" fmla="*/ 359088 w 528215"/>
                <a:gd name="connsiteY3" fmla="*/ 152809 h 1796611"/>
                <a:gd name="connsiteX4" fmla="*/ 335277 w 528215"/>
                <a:gd name="connsiteY4" fmla="*/ 224245 h 1796611"/>
                <a:gd name="connsiteX5" fmla="*/ 480533 w 528215"/>
                <a:gd name="connsiteY5" fmla="*/ 312351 h 1796611"/>
                <a:gd name="connsiteX6" fmla="*/ 523396 w 528215"/>
                <a:gd name="connsiteY6" fmla="*/ 1002914 h 1796611"/>
                <a:gd name="connsiteX7" fmla="*/ 449576 w 528215"/>
                <a:gd name="connsiteY7" fmla="*/ 960050 h 1796611"/>
                <a:gd name="connsiteX8" fmla="*/ 411476 w 528215"/>
                <a:gd name="connsiteY8" fmla="*/ 1255325 h 1796611"/>
                <a:gd name="connsiteX9" fmla="*/ 416239 w 528215"/>
                <a:gd name="connsiteY9" fmla="*/ 1598225 h 1796611"/>
                <a:gd name="connsiteX10" fmla="*/ 409095 w 528215"/>
                <a:gd name="connsiteY10" fmla="*/ 1698238 h 1796611"/>
                <a:gd name="connsiteX11" fmla="*/ 509107 w 528215"/>
                <a:gd name="connsiteY11" fmla="*/ 1769677 h 1796611"/>
                <a:gd name="connsiteX12" fmla="*/ 294794 w 528215"/>
                <a:gd name="connsiteY12" fmla="*/ 1753007 h 1796611"/>
                <a:gd name="connsiteX13" fmla="*/ 273364 w 528215"/>
                <a:gd name="connsiteY13" fmla="*/ 1083875 h 1796611"/>
                <a:gd name="connsiteX14" fmla="*/ 154301 w 528215"/>
                <a:gd name="connsiteY14" fmla="*/ 1788726 h 1796611"/>
                <a:gd name="connsiteX15" fmla="*/ 106677 w 528215"/>
                <a:gd name="connsiteY15" fmla="*/ 1038633 h 1796611"/>
                <a:gd name="connsiteX16" fmla="*/ 44765 w 528215"/>
                <a:gd name="connsiteY16" fmla="*/ 988626 h 1796611"/>
                <a:gd name="connsiteX17" fmla="*/ 113821 w 528215"/>
                <a:gd name="connsiteY17" fmla="*/ 605245 h 1796611"/>
                <a:gd name="connsiteX18" fmla="*/ 4282 w 528215"/>
                <a:gd name="connsiteY18" fmla="*/ 555239 h 1796611"/>
                <a:gd name="connsiteX19" fmla="*/ 25713 w 528215"/>
                <a:gd name="connsiteY19" fmla="*/ 419508 h 1796611"/>
                <a:gd name="connsiteX20" fmla="*/ 44763 w 528215"/>
                <a:gd name="connsiteY20" fmla="*/ 305208 h 1796611"/>
                <a:gd name="connsiteX21" fmla="*/ 123345 w 528215"/>
                <a:gd name="connsiteY21" fmla="*/ 269489 h 1796611"/>
                <a:gd name="connsiteX0" fmla="*/ 123345 w 528215"/>
                <a:gd name="connsiteY0" fmla="*/ 269489 h 1796611"/>
                <a:gd name="connsiteX1" fmla="*/ 190020 w 528215"/>
                <a:gd name="connsiteY1" fmla="*/ 159952 h 1796611"/>
                <a:gd name="connsiteX2" fmla="*/ 349563 w 528215"/>
                <a:gd name="connsiteY2" fmla="*/ 26602 h 1796611"/>
                <a:gd name="connsiteX3" fmla="*/ 359088 w 528215"/>
                <a:gd name="connsiteY3" fmla="*/ 152809 h 1796611"/>
                <a:gd name="connsiteX4" fmla="*/ 335277 w 528215"/>
                <a:gd name="connsiteY4" fmla="*/ 224245 h 1796611"/>
                <a:gd name="connsiteX5" fmla="*/ 480533 w 528215"/>
                <a:gd name="connsiteY5" fmla="*/ 312351 h 1796611"/>
                <a:gd name="connsiteX6" fmla="*/ 523396 w 528215"/>
                <a:gd name="connsiteY6" fmla="*/ 1002914 h 1796611"/>
                <a:gd name="connsiteX7" fmla="*/ 449576 w 528215"/>
                <a:gd name="connsiteY7" fmla="*/ 960050 h 1796611"/>
                <a:gd name="connsiteX8" fmla="*/ 411476 w 528215"/>
                <a:gd name="connsiteY8" fmla="*/ 1255325 h 1796611"/>
                <a:gd name="connsiteX9" fmla="*/ 416239 w 528215"/>
                <a:gd name="connsiteY9" fmla="*/ 1598225 h 1796611"/>
                <a:gd name="connsiteX10" fmla="*/ 409095 w 528215"/>
                <a:gd name="connsiteY10" fmla="*/ 1698238 h 1796611"/>
                <a:gd name="connsiteX11" fmla="*/ 509107 w 528215"/>
                <a:gd name="connsiteY11" fmla="*/ 1769677 h 1796611"/>
                <a:gd name="connsiteX12" fmla="*/ 294794 w 528215"/>
                <a:gd name="connsiteY12" fmla="*/ 1753007 h 1796611"/>
                <a:gd name="connsiteX13" fmla="*/ 273364 w 528215"/>
                <a:gd name="connsiteY13" fmla="*/ 1083875 h 1796611"/>
                <a:gd name="connsiteX14" fmla="*/ 154301 w 528215"/>
                <a:gd name="connsiteY14" fmla="*/ 1788726 h 1796611"/>
                <a:gd name="connsiteX15" fmla="*/ 106677 w 528215"/>
                <a:gd name="connsiteY15" fmla="*/ 1038633 h 1796611"/>
                <a:gd name="connsiteX16" fmla="*/ 44765 w 528215"/>
                <a:gd name="connsiteY16" fmla="*/ 988626 h 1796611"/>
                <a:gd name="connsiteX17" fmla="*/ 113821 w 528215"/>
                <a:gd name="connsiteY17" fmla="*/ 605245 h 1796611"/>
                <a:gd name="connsiteX18" fmla="*/ 4282 w 528215"/>
                <a:gd name="connsiteY18" fmla="*/ 555239 h 1796611"/>
                <a:gd name="connsiteX19" fmla="*/ 25713 w 528215"/>
                <a:gd name="connsiteY19" fmla="*/ 419508 h 1796611"/>
                <a:gd name="connsiteX20" fmla="*/ 44763 w 528215"/>
                <a:gd name="connsiteY20" fmla="*/ 305208 h 1796611"/>
                <a:gd name="connsiteX21" fmla="*/ 123345 w 528215"/>
                <a:gd name="connsiteY21" fmla="*/ 269489 h 1796611"/>
                <a:gd name="connsiteX0" fmla="*/ 123345 w 528215"/>
                <a:gd name="connsiteY0" fmla="*/ 269489 h 1796611"/>
                <a:gd name="connsiteX1" fmla="*/ 190020 w 528215"/>
                <a:gd name="connsiteY1" fmla="*/ 159952 h 1796611"/>
                <a:gd name="connsiteX2" fmla="*/ 349563 w 528215"/>
                <a:gd name="connsiteY2" fmla="*/ 26602 h 1796611"/>
                <a:gd name="connsiteX3" fmla="*/ 359088 w 528215"/>
                <a:gd name="connsiteY3" fmla="*/ 152809 h 1796611"/>
                <a:gd name="connsiteX4" fmla="*/ 335277 w 528215"/>
                <a:gd name="connsiteY4" fmla="*/ 224245 h 1796611"/>
                <a:gd name="connsiteX5" fmla="*/ 480533 w 528215"/>
                <a:gd name="connsiteY5" fmla="*/ 312351 h 1796611"/>
                <a:gd name="connsiteX6" fmla="*/ 523396 w 528215"/>
                <a:gd name="connsiteY6" fmla="*/ 1002914 h 1796611"/>
                <a:gd name="connsiteX7" fmla="*/ 449576 w 528215"/>
                <a:gd name="connsiteY7" fmla="*/ 960050 h 1796611"/>
                <a:gd name="connsiteX8" fmla="*/ 411476 w 528215"/>
                <a:gd name="connsiteY8" fmla="*/ 1255325 h 1796611"/>
                <a:gd name="connsiteX9" fmla="*/ 416239 w 528215"/>
                <a:gd name="connsiteY9" fmla="*/ 1598225 h 1796611"/>
                <a:gd name="connsiteX10" fmla="*/ 409095 w 528215"/>
                <a:gd name="connsiteY10" fmla="*/ 1698238 h 1796611"/>
                <a:gd name="connsiteX11" fmla="*/ 509107 w 528215"/>
                <a:gd name="connsiteY11" fmla="*/ 1769677 h 1796611"/>
                <a:gd name="connsiteX12" fmla="*/ 294794 w 528215"/>
                <a:gd name="connsiteY12" fmla="*/ 1753007 h 1796611"/>
                <a:gd name="connsiteX13" fmla="*/ 273364 w 528215"/>
                <a:gd name="connsiteY13" fmla="*/ 1083875 h 1796611"/>
                <a:gd name="connsiteX14" fmla="*/ 154301 w 528215"/>
                <a:gd name="connsiteY14" fmla="*/ 1788726 h 1796611"/>
                <a:gd name="connsiteX15" fmla="*/ 106677 w 528215"/>
                <a:gd name="connsiteY15" fmla="*/ 1038633 h 1796611"/>
                <a:gd name="connsiteX16" fmla="*/ 44765 w 528215"/>
                <a:gd name="connsiteY16" fmla="*/ 988626 h 1796611"/>
                <a:gd name="connsiteX17" fmla="*/ 113821 w 528215"/>
                <a:gd name="connsiteY17" fmla="*/ 605245 h 1796611"/>
                <a:gd name="connsiteX18" fmla="*/ 4282 w 528215"/>
                <a:gd name="connsiteY18" fmla="*/ 555239 h 1796611"/>
                <a:gd name="connsiteX19" fmla="*/ 25713 w 528215"/>
                <a:gd name="connsiteY19" fmla="*/ 419508 h 1796611"/>
                <a:gd name="connsiteX20" fmla="*/ 44763 w 528215"/>
                <a:gd name="connsiteY20" fmla="*/ 305208 h 1796611"/>
                <a:gd name="connsiteX21" fmla="*/ 123345 w 528215"/>
                <a:gd name="connsiteY21" fmla="*/ 269489 h 1796611"/>
                <a:gd name="connsiteX0" fmla="*/ 123345 w 528215"/>
                <a:gd name="connsiteY0" fmla="*/ 269489 h 1796611"/>
                <a:gd name="connsiteX1" fmla="*/ 190020 w 528215"/>
                <a:gd name="connsiteY1" fmla="*/ 159952 h 1796611"/>
                <a:gd name="connsiteX2" fmla="*/ 349563 w 528215"/>
                <a:gd name="connsiteY2" fmla="*/ 26602 h 1796611"/>
                <a:gd name="connsiteX3" fmla="*/ 359088 w 528215"/>
                <a:gd name="connsiteY3" fmla="*/ 152809 h 1796611"/>
                <a:gd name="connsiteX4" fmla="*/ 335277 w 528215"/>
                <a:gd name="connsiteY4" fmla="*/ 224245 h 1796611"/>
                <a:gd name="connsiteX5" fmla="*/ 480533 w 528215"/>
                <a:gd name="connsiteY5" fmla="*/ 312351 h 1796611"/>
                <a:gd name="connsiteX6" fmla="*/ 523396 w 528215"/>
                <a:gd name="connsiteY6" fmla="*/ 1002914 h 1796611"/>
                <a:gd name="connsiteX7" fmla="*/ 449576 w 528215"/>
                <a:gd name="connsiteY7" fmla="*/ 960050 h 1796611"/>
                <a:gd name="connsiteX8" fmla="*/ 411476 w 528215"/>
                <a:gd name="connsiteY8" fmla="*/ 1255325 h 1796611"/>
                <a:gd name="connsiteX9" fmla="*/ 416239 w 528215"/>
                <a:gd name="connsiteY9" fmla="*/ 1598225 h 1796611"/>
                <a:gd name="connsiteX10" fmla="*/ 409095 w 528215"/>
                <a:gd name="connsiteY10" fmla="*/ 1698238 h 1796611"/>
                <a:gd name="connsiteX11" fmla="*/ 509107 w 528215"/>
                <a:gd name="connsiteY11" fmla="*/ 1769677 h 1796611"/>
                <a:gd name="connsiteX12" fmla="*/ 304319 w 528215"/>
                <a:gd name="connsiteY12" fmla="*/ 1753007 h 1796611"/>
                <a:gd name="connsiteX13" fmla="*/ 273364 w 528215"/>
                <a:gd name="connsiteY13" fmla="*/ 1083875 h 1796611"/>
                <a:gd name="connsiteX14" fmla="*/ 154301 w 528215"/>
                <a:gd name="connsiteY14" fmla="*/ 1788726 h 1796611"/>
                <a:gd name="connsiteX15" fmla="*/ 106677 w 528215"/>
                <a:gd name="connsiteY15" fmla="*/ 1038633 h 1796611"/>
                <a:gd name="connsiteX16" fmla="*/ 44765 w 528215"/>
                <a:gd name="connsiteY16" fmla="*/ 988626 h 1796611"/>
                <a:gd name="connsiteX17" fmla="*/ 113821 w 528215"/>
                <a:gd name="connsiteY17" fmla="*/ 605245 h 1796611"/>
                <a:gd name="connsiteX18" fmla="*/ 4282 w 528215"/>
                <a:gd name="connsiteY18" fmla="*/ 555239 h 1796611"/>
                <a:gd name="connsiteX19" fmla="*/ 25713 w 528215"/>
                <a:gd name="connsiteY19" fmla="*/ 419508 h 1796611"/>
                <a:gd name="connsiteX20" fmla="*/ 44763 w 528215"/>
                <a:gd name="connsiteY20" fmla="*/ 305208 h 1796611"/>
                <a:gd name="connsiteX21" fmla="*/ 123345 w 528215"/>
                <a:gd name="connsiteY21" fmla="*/ 269489 h 1796611"/>
                <a:gd name="connsiteX0" fmla="*/ 123345 w 528215"/>
                <a:gd name="connsiteY0" fmla="*/ 269489 h 1796611"/>
                <a:gd name="connsiteX1" fmla="*/ 190020 w 528215"/>
                <a:gd name="connsiteY1" fmla="*/ 159952 h 1796611"/>
                <a:gd name="connsiteX2" fmla="*/ 349563 w 528215"/>
                <a:gd name="connsiteY2" fmla="*/ 26602 h 1796611"/>
                <a:gd name="connsiteX3" fmla="*/ 359088 w 528215"/>
                <a:gd name="connsiteY3" fmla="*/ 152809 h 1796611"/>
                <a:gd name="connsiteX4" fmla="*/ 335277 w 528215"/>
                <a:gd name="connsiteY4" fmla="*/ 224245 h 1796611"/>
                <a:gd name="connsiteX5" fmla="*/ 480533 w 528215"/>
                <a:gd name="connsiteY5" fmla="*/ 312351 h 1796611"/>
                <a:gd name="connsiteX6" fmla="*/ 523396 w 528215"/>
                <a:gd name="connsiteY6" fmla="*/ 1002914 h 1796611"/>
                <a:gd name="connsiteX7" fmla="*/ 449576 w 528215"/>
                <a:gd name="connsiteY7" fmla="*/ 960050 h 1796611"/>
                <a:gd name="connsiteX8" fmla="*/ 411476 w 528215"/>
                <a:gd name="connsiteY8" fmla="*/ 1255325 h 1796611"/>
                <a:gd name="connsiteX9" fmla="*/ 416239 w 528215"/>
                <a:gd name="connsiteY9" fmla="*/ 1598225 h 1796611"/>
                <a:gd name="connsiteX10" fmla="*/ 409095 w 528215"/>
                <a:gd name="connsiteY10" fmla="*/ 1698238 h 1796611"/>
                <a:gd name="connsiteX11" fmla="*/ 509107 w 528215"/>
                <a:gd name="connsiteY11" fmla="*/ 1769677 h 1796611"/>
                <a:gd name="connsiteX12" fmla="*/ 304319 w 528215"/>
                <a:gd name="connsiteY12" fmla="*/ 1753007 h 1796611"/>
                <a:gd name="connsiteX13" fmla="*/ 309082 w 528215"/>
                <a:gd name="connsiteY13" fmla="*/ 1567269 h 1796611"/>
                <a:gd name="connsiteX14" fmla="*/ 273364 w 528215"/>
                <a:gd name="connsiteY14" fmla="*/ 1083875 h 1796611"/>
                <a:gd name="connsiteX15" fmla="*/ 154301 w 528215"/>
                <a:gd name="connsiteY15" fmla="*/ 1788726 h 1796611"/>
                <a:gd name="connsiteX16" fmla="*/ 106677 w 528215"/>
                <a:gd name="connsiteY16" fmla="*/ 1038633 h 1796611"/>
                <a:gd name="connsiteX17" fmla="*/ 44765 w 528215"/>
                <a:gd name="connsiteY17" fmla="*/ 988626 h 1796611"/>
                <a:gd name="connsiteX18" fmla="*/ 113821 w 528215"/>
                <a:gd name="connsiteY18" fmla="*/ 605245 h 1796611"/>
                <a:gd name="connsiteX19" fmla="*/ 4282 w 528215"/>
                <a:gd name="connsiteY19" fmla="*/ 555239 h 1796611"/>
                <a:gd name="connsiteX20" fmla="*/ 25713 w 528215"/>
                <a:gd name="connsiteY20" fmla="*/ 419508 h 1796611"/>
                <a:gd name="connsiteX21" fmla="*/ 44763 w 528215"/>
                <a:gd name="connsiteY21" fmla="*/ 305208 h 1796611"/>
                <a:gd name="connsiteX22" fmla="*/ 123345 w 528215"/>
                <a:gd name="connsiteY22" fmla="*/ 269489 h 1796611"/>
                <a:gd name="connsiteX0" fmla="*/ 123345 w 528215"/>
                <a:gd name="connsiteY0" fmla="*/ 269489 h 1796611"/>
                <a:gd name="connsiteX1" fmla="*/ 190020 w 528215"/>
                <a:gd name="connsiteY1" fmla="*/ 159952 h 1796611"/>
                <a:gd name="connsiteX2" fmla="*/ 349563 w 528215"/>
                <a:gd name="connsiteY2" fmla="*/ 26602 h 1796611"/>
                <a:gd name="connsiteX3" fmla="*/ 359088 w 528215"/>
                <a:gd name="connsiteY3" fmla="*/ 152809 h 1796611"/>
                <a:gd name="connsiteX4" fmla="*/ 335277 w 528215"/>
                <a:gd name="connsiteY4" fmla="*/ 224245 h 1796611"/>
                <a:gd name="connsiteX5" fmla="*/ 480533 w 528215"/>
                <a:gd name="connsiteY5" fmla="*/ 312351 h 1796611"/>
                <a:gd name="connsiteX6" fmla="*/ 523396 w 528215"/>
                <a:gd name="connsiteY6" fmla="*/ 1002914 h 1796611"/>
                <a:gd name="connsiteX7" fmla="*/ 449576 w 528215"/>
                <a:gd name="connsiteY7" fmla="*/ 960050 h 1796611"/>
                <a:gd name="connsiteX8" fmla="*/ 411476 w 528215"/>
                <a:gd name="connsiteY8" fmla="*/ 1255325 h 1796611"/>
                <a:gd name="connsiteX9" fmla="*/ 416239 w 528215"/>
                <a:gd name="connsiteY9" fmla="*/ 1598225 h 1796611"/>
                <a:gd name="connsiteX10" fmla="*/ 409095 w 528215"/>
                <a:gd name="connsiteY10" fmla="*/ 1698238 h 1796611"/>
                <a:gd name="connsiteX11" fmla="*/ 509107 w 528215"/>
                <a:gd name="connsiteY11" fmla="*/ 1769677 h 1796611"/>
                <a:gd name="connsiteX12" fmla="*/ 304319 w 528215"/>
                <a:gd name="connsiteY12" fmla="*/ 1753007 h 1796611"/>
                <a:gd name="connsiteX13" fmla="*/ 309082 w 528215"/>
                <a:gd name="connsiteY13" fmla="*/ 1567269 h 1796611"/>
                <a:gd name="connsiteX14" fmla="*/ 273364 w 528215"/>
                <a:gd name="connsiteY14" fmla="*/ 1083875 h 1796611"/>
                <a:gd name="connsiteX15" fmla="*/ 154301 w 528215"/>
                <a:gd name="connsiteY15" fmla="*/ 1788726 h 1796611"/>
                <a:gd name="connsiteX16" fmla="*/ 106677 w 528215"/>
                <a:gd name="connsiteY16" fmla="*/ 1038633 h 1796611"/>
                <a:gd name="connsiteX17" fmla="*/ 44765 w 528215"/>
                <a:gd name="connsiteY17" fmla="*/ 988626 h 1796611"/>
                <a:gd name="connsiteX18" fmla="*/ 113821 w 528215"/>
                <a:gd name="connsiteY18" fmla="*/ 605245 h 1796611"/>
                <a:gd name="connsiteX19" fmla="*/ 4282 w 528215"/>
                <a:gd name="connsiteY19" fmla="*/ 555239 h 1796611"/>
                <a:gd name="connsiteX20" fmla="*/ 25713 w 528215"/>
                <a:gd name="connsiteY20" fmla="*/ 419508 h 1796611"/>
                <a:gd name="connsiteX21" fmla="*/ 44763 w 528215"/>
                <a:gd name="connsiteY21" fmla="*/ 305208 h 1796611"/>
                <a:gd name="connsiteX22" fmla="*/ 123345 w 528215"/>
                <a:gd name="connsiteY22" fmla="*/ 269489 h 1796611"/>
                <a:gd name="connsiteX0" fmla="*/ 123345 w 528215"/>
                <a:gd name="connsiteY0" fmla="*/ 269489 h 1796611"/>
                <a:gd name="connsiteX1" fmla="*/ 190020 w 528215"/>
                <a:gd name="connsiteY1" fmla="*/ 159952 h 1796611"/>
                <a:gd name="connsiteX2" fmla="*/ 349563 w 528215"/>
                <a:gd name="connsiteY2" fmla="*/ 26602 h 1796611"/>
                <a:gd name="connsiteX3" fmla="*/ 359088 w 528215"/>
                <a:gd name="connsiteY3" fmla="*/ 152809 h 1796611"/>
                <a:gd name="connsiteX4" fmla="*/ 335277 w 528215"/>
                <a:gd name="connsiteY4" fmla="*/ 224245 h 1796611"/>
                <a:gd name="connsiteX5" fmla="*/ 480533 w 528215"/>
                <a:gd name="connsiteY5" fmla="*/ 312351 h 1796611"/>
                <a:gd name="connsiteX6" fmla="*/ 523396 w 528215"/>
                <a:gd name="connsiteY6" fmla="*/ 1002914 h 1796611"/>
                <a:gd name="connsiteX7" fmla="*/ 449576 w 528215"/>
                <a:gd name="connsiteY7" fmla="*/ 960050 h 1796611"/>
                <a:gd name="connsiteX8" fmla="*/ 411476 w 528215"/>
                <a:gd name="connsiteY8" fmla="*/ 1255325 h 1796611"/>
                <a:gd name="connsiteX9" fmla="*/ 416239 w 528215"/>
                <a:gd name="connsiteY9" fmla="*/ 1598225 h 1796611"/>
                <a:gd name="connsiteX10" fmla="*/ 409095 w 528215"/>
                <a:gd name="connsiteY10" fmla="*/ 1698238 h 1796611"/>
                <a:gd name="connsiteX11" fmla="*/ 509107 w 528215"/>
                <a:gd name="connsiteY11" fmla="*/ 1769677 h 1796611"/>
                <a:gd name="connsiteX12" fmla="*/ 304319 w 528215"/>
                <a:gd name="connsiteY12" fmla="*/ 1753007 h 1796611"/>
                <a:gd name="connsiteX13" fmla="*/ 309082 w 528215"/>
                <a:gd name="connsiteY13" fmla="*/ 1567269 h 1796611"/>
                <a:gd name="connsiteX14" fmla="*/ 273364 w 528215"/>
                <a:gd name="connsiteY14" fmla="*/ 1083875 h 1796611"/>
                <a:gd name="connsiteX15" fmla="*/ 154301 w 528215"/>
                <a:gd name="connsiteY15" fmla="*/ 1788726 h 1796611"/>
                <a:gd name="connsiteX16" fmla="*/ 106677 w 528215"/>
                <a:gd name="connsiteY16" fmla="*/ 1038633 h 1796611"/>
                <a:gd name="connsiteX17" fmla="*/ 44765 w 528215"/>
                <a:gd name="connsiteY17" fmla="*/ 988626 h 1796611"/>
                <a:gd name="connsiteX18" fmla="*/ 113821 w 528215"/>
                <a:gd name="connsiteY18" fmla="*/ 605245 h 1796611"/>
                <a:gd name="connsiteX19" fmla="*/ 4282 w 528215"/>
                <a:gd name="connsiteY19" fmla="*/ 555239 h 1796611"/>
                <a:gd name="connsiteX20" fmla="*/ 25713 w 528215"/>
                <a:gd name="connsiteY20" fmla="*/ 419508 h 1796611"/>
                <a:gd name="connsiteX21" fmla="*/ 44763 w 528215"/>
                <a:gd name="connsiteY21" fmla="*/ 305208 h 1796611"/>
                <a:gd name="connsiteX22" fmla="*/ 123345 w 528215"/>
                <a:gd name="connsiteY22" fmla="*/ 269489 h 1796611"/>
                <a:gd name="connsiteX0" fmla="*/ 123345 w 528215"/>
                <a:gd name="connsiteY0" fmla="*/ 269489 h 1796611"/>
                <a:gd name="connsiteX1" fmla="*/ 190020 w 528215"/>
                <a:gd name="connsiteY1" fmla="*/ 159952 h 1796611"/>
                <a:gd name="connsiteX2" fmla="*/ 349563 w 528215"/>
                <a:gd name="connsiteY2" fmla="*/ 26602 h 1796611"/>
                <a:gd name="connsiteX3" fmla="*/ 359088 w 528215"/>
                <a:gd name="connsiteY3" fmla="*/ 152809 h 1796611"/>
                <a:gd name="connsiteX4" fmla="*/ 335277 w 528215"/>
                <a:gd name="connsiteY4" fmla="*/ 224245 h 1796611"/>
                <a:gd name="connsiteX5" fmla="*/ 480533 w 528215"/>
                <a:gd name="connsiteY5" fmla="*/ 312351 h 1796611"/>
                <a:gd name="connsiteX6" fmla="*/ 523396 w 528215"/>
                <a:gd name="connsiteY6" fmla="*/ 1002914 h 1796611"/>
                <a:gd name="connsiteX7" fmla="*/ 449576 w 528215"/>
                <a:gd name="connsiteY7" fmla="*/ 960050 h 1796611"/>
                <a:gd name="connsiteX8" fmla="*/ 411476 w 528215"/>
                <a:gd name="connsiteY8" fmla="*/ 1255325 h 1796611"/>
                <a:gd name="connsiteX9" fmla="*/ 416239 w 528215"/>
                <a:gd name="connsiteY9" fmla="*/ 1598225 h 1796611"/>
                <a:gd name="connsiteX10" fmla="*/ 409095 w 528215"/>
                <a:gd name="connsiteY10" fmla="*/ 1698238 h 1796611"/>
                <a:gd name="connsiteX11" fmla="*/ 509107 w 528215"/>
                <a:gd name="connsiteY11" fmla="*/ 1769677 h 1796611"/>
                <a:gd name="connsiteX12" fmla="*/ 304319 w 528215"/>
                <a:gd name="connsiteY12" fmla="*/ 1753007 h 1796611"/>
                <a:gd name="connsiteX13" fmla="*/ 299557 w 528215"/>
                <a:gd name="connsiteY13" fmla="*/ 1567269 h 1796611"/>
                <a:gd name="connsiteX14" fmla="*/ 273364 w 528215"/>
                <a:gd name="connsiteY14" fmla="*/ 1083875 h 1796611"/>
                <a:gd name="connsiteX15" fmla="*/ 154301 w 528215"/>
                <a:gd name="connsiteY15" fmla="*/ 1788726 h 1796611"/>
                <a:gd name="connsiteX16" fmla="*/ 106677 w 528215"/>
                <a:gd name="connsiteY16" fmla="*/ 1038633 h 1796611"/>
                <a:gd name="connsiteX17" fmla="*/ 44765 w 528215"/>
                <a:gd name="connsiteY17" fmla="*/ 988626 h 1796611"/>
                <a:gd name="connsiteX18" fmla="*/ 113821 w 528215"/>
                <a:gd name="connsiteY18" fmla="*/ 605245 h 1796611"/>
                <a:gd name="connsiteX19" fmla="*/ 4282 w 528215"/>
                <a:gd name="connsiteY19" fmla="*/ 555239 h 1796611"/>
                <a:gd name="connsiteX20" fmla="*/ 25713 w 528215"/>
                <a:gd name="connsiteY20" fmla="*/ 419508 h 1796611"/>
                <a:gd name="connsiteX21" fmla="*/ 44763 w 528215"/>
                <a:gd name="connsiteY21" fmla="*/ 305208 h 1796611"/>
                <a:gd name="connsiteX22" fmla="*/ 123345 w 528215"/>
                <a:gd name="connsiteY22" fmla="*/ 269489 h 1796611"/>
                <a:gd name="connsiteX0" fmla="*/ 123345 w 528215"/>
                <a:gd name="connsiteY0" fmla="*/ 269489 h 1796611"/>
                <a:gd name="connsiteX1" fmla="*/ 190020 w 528215"/>
                <a:gd name="connsiteY1" fmla="*/ 159952 h 1796611"/>
                <a:gd name="connsiteX2" fmla="*/ 349563 w 528215"/>
                <a:gd name="connsiteY2" fmla="*/ 26602 h 1796611"/>
                <a:gd name="connsiteX3" fmla="*/ 359088 w 528215"/>
                <a:gd name="connsiteY3" fmla="*/ 152809 h 1796611"/>
                <a:gd name="connsiteX4" fmla="*/ 335277 w 528215"/>
                <a:gd name="connsiteY4" fmla="*/ 224245 h 1796611"/>
                <a:gd name="connsiteX5" fmla="*/ 480533 w 528215"/>
                <a:gd name="connsiteY5" fmla="*/ 312351 h 1796611"/>
                <a:gd name="connsiteX6" fmla="*/ 523396 w 528215"/>
                <a:gd name="connsiteY6" fmla="*/ 1002914 h 1796611"/>
                <a:gd name="connsiteX7" fmla="*/ 449576 w 528215"/>
                <a:gd name="connsiteY7" fmla="*/ 960050 h 1796611"/>
                <a:gd name="connsiteX8" fmla="*/ 411476 w 528215"/>
                <a:gd name="connsiteY8" fmla="*/ 1255325 h 1796611"/>
                <a:gd name="connsiteX9" fmla="*/ 416239 w 528215"/>
                <a:gd name="connsiteY9" fmla="*/ 1598225 h 1796611"/>
                <a:gd name="connsiteX10" fmla="*/ 409095 w 528215"/>
                <a:gd name="connsiteY10" fmla="*/ 1698238 h 1796611"/>
                <a:gd name="connsiteX11" fmla="*/ 509107 w 528215"/>
                <a:gd name="connsiteY11" fmla="*/ 1769677 h 1796611"/>
                <a:gd name="connsiteX12" fmla="*/ 304319 w 528215"/>
                <a:gd name="connsiteY12" fmla="*/ 1753007 h 1796611"/>
                <a:gd name="connsiteX13" fmla="*/ 280507 w 528215"/>
                <a:gd name="connsiteY13" fmla="*/ 1624419 h 1796611"/>
                <a:gd name="connsiteX14" fmla="*/ 273364 w 528215"/>
                <a:gd name="connsiteY14" fmla="*/ 1083875 h 1796611"/>
                <a:gd name="connsiteX15" fmla="*/ 154301 w 528215"/>
                <a:gd name="connsiteY15" fmla="*/ 1788726 h 1796611"/>
                <a:gd name="connsiteX16" fmla="*/ 106677 w 528215"/>
                <a:gd name="connsiteY16" fmla="*/ 1038633 h 1796611"/>
                <a:gd name="connsiteX17" fmla="*/ 44765 w 528215"/>
                <a:gd name="connsiteY17" fmla="*/ 988626 h 1796611"/>
                <a:gd name="connsiteX18" fmla="*/ 113821 w 528215"/>
                <a:gd name="connsiteY18" fmla="*/ 605245 h 1796611"/>
                <a:gd name="connsiteX19" fmla="*/ 4282 w 528215"/>
                <a:gd name="connsiteY19" fmla="*/ 555239 h 1796611"/>
                <a:gd name="connsiteX20" fmla="*/ 25713 w 528215"/>
                <a:gd name="connsiteY20" fmla="*/ 419508 h 1796611"/>
                <a:gd name="connsiteX21" fmla="*/ 44763 w 528215"/>
                <a:gd name="connsiteY21" fmla="*/ 305208 h 1796611"/>
                <a:gd name="connsiteX22" fmla="*/ 123345 w 528215"/>
                <a:gd name="connsiteY22" fmla="*/ 269489 h 1796611"/>
                <a:gd name="connsiteX0" fmla="*/ 123345 w 528215"/>
                <a:gd name="connsiteY0" fmla="*/ 269489 h 1796611"/>
                <a:gd name="connsiteX1" fmla="*/ 190020 w 528215"/>
                <a:gd name="connsiteY1" fmla="*/ 159952 h 1796611"/>
                <a:gd name="connsiteX2" fmla="*/ 349563 w 528215"/>
                <a:gd name="connsiteY2" fmla="*/ 26602 h 1796611"/>
                <a:gd name="connsiteX3" fmla="*/ 359088 w 528215"/>
                <a:gd name="connsiteY3" fmla="*/ 152809 h 1796611"/>
                <a:gd name="connsiteX4" fmla="*/ 335277 w 528215"/>
                <a:gd name="connsiteY4" fmla="*/ 224245 h 1796611"/>
                <a:gd name="connsiteX5" fmla="*/ 480533 w 528215"/>
                <a:gd name="connsiteY5" fmla="*/ 312351 h 1796611"/>
                <a:gd name="connsiteX6" fmla="*/ 523396 w 528215"/>
                <a:gd name="connsiteY6" fmla="*/ 1002914 h 1796611"/>
                <a:gd name="connsiteX7" fmla="*/ 449576 w 528215"/>
                <a:gd name="connsiteY7" fmla="*/ 960050 h 1796611"/>
                <a:gd name="connsiteX8" fmla="*/ 411476 w 528215"/>
                <a:gd name="connsiteY8" fmla="*/ 1255325 h 1796611"/>
                <a:gd name="connsiteX9" fmla="*/ 416239 w 528215"/>
                <a:gd name="connsiteY9" fmla="*/ 1598225 h 1796611"/>
                <a:gd name="connsiteX10" fmla="*/ 409095 w 528215"/>
                <a:gd name="connsiteY10" fmla="*/ 1698238 h 1796611"/>
                <a:gd name="connsiteX11" fmla="*/ 509107 w 528215"/>
                <a:gd name="connsiteY11" fmla="*/ 1769677 h 1796611"/>
                <a:gd name="connsiteX12" fmla="*/ 304319 w 528215"/>
                <a:gd name="connsiteY12" fmla="*/ 1753007 h 1796611"/>
                <a:gd name="connsiteX13" fmla="*/ 280507 w 528215"/>
                <a:gd name="connsiteY13" fmla="*/ 1624419 h 1796611"/>
                <a:gd name="connsiteX14" fmla="*/ 273364 w 528215"/>
                <a:gd name="connsiteY14" fmla="*/ 1083875 h 1796611"/>
                <a:gd name="connsiteX15" fmla="*/ 154301 w 528215"/>
                <a:gd name="connsiteY15" fmla="*/ 1788726 h 1796611"/>
                <a:gd name="connsiteX16" fmla="*/ 106677 w 528215"/>
                <a:gd name="connsiteY16" fmla="*/ 1038633 h 1796611"/>
                <a:gd name="connsiteX17" fmla="*/ 44765 w 528215"/>
                <a:gd name="connsiteY17" fmla="*/ 988626 h 1796611"/>
                <a:gd name="connsiteX18" fmla="*/ 113821 w 528215"/>
                <a:gd name="connsiteY18" fmla="*/ 605245 h 1796611"/>
                <a:gd name="connsiteX19" fmla="*/ 4282 w 528215"/>
                <a:gd name="connsiteY19" fmla="*/ 555239 h 1796611"/>
                <a:gd name="connsiteX20" fmla="*/ 25713 w 528215"/>
                <a:gd name="connsiteY20" fmla="*/ 419508 h 1796611"/>
                <a:gd name="connsiteX21" fmla="*/ 44763 w 528215"/>
                <a:gd name="connsiteY21" fmla="*/ 305208 h 1796611"/>
                <a:gd name="connsiteX22" fmla="*/ 123345 w 528215"/>
                <a:gd name="connsiteY22" fmla="*/ 269489 h 1796611"/>
                <a:gd name="connsiteX0" fmla="*/ 123345 w 528215"/>
                <a:gd name="connsiteY0" fmla="*/ 269489 h 1796611"/>
                <a:gd name="connsiteX1" fmla="*/ 190020 w 528215"/>
                <a:gd name="connsiteY1" fmla="*/ 159952 h 1796611"/>
                <a:gd name="connsiteX2" fmla="*/ 349563 w 528215"/>
                <a:gd name="connsiteY2" fmla="*/ 26602 h 1796611"/>
                <a:gd name="connsiteX3" fmla="*/ 359088 w 528215"/>
                <a:gd name="connsiteY3" fmla="*/ 152809 h 1796611"/>
                <a:gd name="connsiteX4" fmla="*/ 335277 w 528215"/>
                <a:gd name="connsiteY4" fmla="*/ 224245 h 1796611"/>
                <a:gd name="connsiteX5" fmla="*/ 480533 w 528215"/>
                <a:gd name="connsiteY5" fmla="*/ 312351 h 1796611"/>
                <a:gd name="connsiteX6" fmla="*/ 523396 w 528215"/>
                <a:gd name="connsiteY6" fmla="*/ 1002914 h 1796611"/>
                <a:gd name="connsiteX7" fmla="*/ 449576 w 528215"/>
                <a:gd name="connsiteY7" fmla="*/ 960050 h 1796611"/>
                <a:gd name="connsiteX8" fmla="*/ 411476 w 528215"/>
                <a:gd name="connsiteY8" fmla="*/ 1255325 h 1796611"/>
                <a:gd name="connsiteX9" fmla="*/ 416239 w 528215"/>
                <a:gd name="connsiteY9" fmla="*/ 1598225 h 1796611"/>
                <a:gd name="connsiteX10" fmla="*/ 409095 w 528215"/>
                <a:gd name="connsiteY10" fmla="*/ 1698238 h 1796611"/>
                <a:gd name="connsiteX11" fmla="*/ 509107 w 528215"/>
                <a:gd name="connsiteY11" fmla="*/ 1769677 h 1796611"/>
                <a:gd name="connsiteX12" fmla="*/ 304319 w 528215"/>
                <a:gd name="connsiteY12" fmla="*/ 1753007 h 1796611"/>
                <a:gd name="connsiteX13" fmla="*/ 280507 w 528215"/>
                <a:gd name="connsiteY13" fmla="*/ 1624419 h 1796611"/>
                <a:gd name="connsiteX14" fmla="*/ 273364 w 528215"/>
                <a:gd name="connsiteY14" fmla="*/ 1083875 h 1796611"/>
                <a:gd name="connsiteX15" fmla="*/ 154301 w 528215"/>
                <a:gd name="connsiteY15" fmla="*/ 1788726 h 1796611"/>
                <a:gd name="connsiteX16" fmla="*/ 106677 w 528215"/>
                <a:gd name="connsiteY16" fmla="*/ 1038633 h 1796611"/>
                <a:gd name="connsiteX17" fmla="*/ 44765 w 528215"/>
                <a:gd name="connsiteY17" fmla="*/ 988626 h 1796611"/>
                <a:gd name="connsiteX18" fmla="*/ 113821 w 528215"/>
                <a:gd name="connsiteY18" fmla="*/ 605245 h 1796611"/>
                <a:gd name="connsiteX19" fmla="*/ 4282 w 528215"/>
                <a:gd name="connsiteY19" fmla="*/ 555239 h 1796611"/>
                <a:gd name="connsiteX20" fmla="*/ 25713 w 528215"/>
                <a:gd name="connsiteY20" fmla="*/ 419508 h 1796611"/>
                <a:gd name="connsiteX21" fmla="*/ 44763 w 528215"/>
                <a:gd name="connsiteY21" fmla="*/ 305208 h 1796611"/>
                <a:gd name="connsiteX22" fmla="*/ 123345 w 528215"/>
                <a:gd name="connsiteY22" fmla="*/ 269489 h 1796611"/>
                <a:gd name="connsiteX0" fmla="*/ 123345 w 528215"/>
                <a:gd name="connsiteY0" fmla="*/ 269489 h 1796611"/>
                <a:gd name="connsiteX1" fmla="*/ 190020 w 528215"/>
                <a:gd name="connsiteY1" fmla="*/ 159952 h 1796611"/>
                <a:gd name="connsiteX2" fmla="*/ 349563 w 528215"/>
                <a:gd name="connsiteY2" fmla="*/ 26602 h 1796611"/>
                <a:gd name="connsiteX3" fmla="*/ 359088 w 528215"/>
                <a:gd name="connsiteY3" fmla="*/ 152809 h 1796611"/>
                <a:gd name="connsiteX4" fmla="*/ 335277 w 528215"/>
                <a:gd name="connsiteY4" fmla="*/ 224245 h 1796611"/>
                <a:gd name="connsiteX5" fmla="*/ 480533 w 528215"/>
                <a:gd name="connsiteY5" fmla="*/ 312351 h 1796611"/>
                <a:gd name="connsiteX6" fmla="*/ 523396 w 528215"/>
                <a:gd name="connsiteY6" fmla="*/ 1002914 h 1796611"/>
                <a:gd name="connsiteX7" fmla="*/ 449576 w 528215"/>
                <a:gd name="connsiteY7" fmla="*/ 960050 h 1796611"/>
                <a:gd name="connsiteX8" fmla="*/ 411476 w 528215"/>
                <a:gd name="connsiteY8" fmla="*/ 1255325 h 1796611"/>
                <a:gd name="connsiteX9" fmla="*/ 416239 w 528215"/>
                <a:gd name="connsiteY9" fmla="*/ 1598225 h 1796611"/>
                <a:gd name="connsiteX10" fmla="*/ 409095 w 528215"/>
                <a:gd name="connsiteY10" fmla="*/ 1698238 h 1796611"/>
                <a:gd name="connsiteX11" fmla="*/ 509107 w 528215"/>
                <a:gd name="connsiteY11" fmla="*/ 1769677 h 1796611"/>
                <a:gd name="connsiteX12" fmla="*/ 304319 w 528215"/>
                <a:gd name="connsiteY12" fmla="*/ 1753007 h 1796611"/>
                <a:gd name="connsiteX13" fmla="*/ 280507 w 528215"/>
                <a:gd name="connsiteY13" fmla="*/ 1624419 h 1796611"/>
                <a:gd name="connsiteX14" fmla="*/ 273364 w 528215"/>
                <a:gd name="connsiteY14" fmla="*/ 1083875 h 1796611"/>
                <a:gd name="connsiteX15" fmla="*/ 154301 w 528215"/>
                <a:gd name="connsiteY15" fmla="*/ 1788726 h 1796611"/>
                <a:gd name="connsiteX16" fmla="*/ 106677 w 528215"/>
                <a:gd name="connsiteY16" fmla="*/ 1038633 h 1796611"/>
                <a:gd name="connsiteX17" fmla="*/ 44765 w 528215"/>
                <a:gd name="connsiteY17" fmla="*/ 988626 h 1796611"/>
                <a:gd name="connsiteX18" fmla="*/ 113821 w 528215"/>
                <a:gd name="connsiteY18" fmla="*/ 605245 h 1796611"/>
                <a:gd name="connsiteX19" fmla="*/ 4282 w 528215"/>
                <a:gd name="connsiteY19" fmla="*/ 555239 h 1796611"/>
                <a:gd name="connsiteX20" fmla="*/ 25713 w 528215"/>
                <a:gd name="connsiteY20" fmla="*/ 419508 h 1796611"/>
                <a:gd name="connsiteX21" fmla="*/ 44763 w 528215"/>
                <a:gd name="connsiteY21" fmla="*/ 305208 h 1796611"/>
                <a:gd name="connsiteX22" fmla="*/ 123345 w 528215"/>
                <a:gd name="connsiteY22" fmla="*/ 269489 h 1796611"/>
                <a:gd name="connsiteX0" fmla="*/ 123345 w 528215"/>
                <a:gd name="connsiteY0" fmla="*/ 269489 h 1796611"/>
                <a:gd name="connsiteX1" fmla="*/ 190020 w 528215"/>
                <a:gd name="connsiteY1" fmla="*/ 159952 h 1796611"/>
                <a:gd name="connsiteX2" fmla="*/ 349563 w 528215"/>
                <a:gd name="connsiteY2" fmla="*/ 26602 h 1796611"/>
                <a:gd name="connsiteX3" fmla="*/ 359088 w 528215"/>
                <a:gd name="connsiteY3" fmla="*/ 152809 h 1796611"/>
                <a:gd name="connsiteX4" fmla="*/ 335277 w 528215"/>
                <a:gd name="connsiteY4" fmla="*/ 224245 h 1796611"/>
                <a:gd name="connsiteX5" fmla="*/ 480533 w 528215"/>
                <a:gd name="connsiteY5" fmla="*/ 312351 h 1796611"/>
                <a:gd name="connsiteX6" fmla="*/ 523396 w 528215"/>
                <a:gd name="connsiteY6" fmla="*/ 1002914 h 1796611"/>
                <a:gd name="connsiteX7" fmla="*/ 449576 w 528215"/>
                <a:gd name="connsiteY7" fmla="*/ 960050 h 1796611"/>
                <a:gd name="connsiteX8" fmla="*/ 411476 w 528215"/>
                <a:gd name="connsiteY8" fmla="*/ 1255325 h 1796611"/>
                <a:gd name="connsiteX9" fmla="*/ 416239 w 528215"/>
                <a:gd name="connsiteY9" fmla="*/ 1598225 h 1796611"/>
                <a:gd name="connsiteX10" fmla="*/ 409095 w 528215"/>
                <a:gd name="connsiteY10" fmla="*/ 1698238 h 1796611"/>
                <a:gd name="connsiteX11" fmla="*/ 509107 w 528215"/>
                <a:gd name="connsiteY11" fmla="*/ 1769677 h 1796611"/>
                <a:gd name="connsiteX12" fmla="*/ 304319 w 528215"/>
                <a:gd name="connsiteY12" fmla="*/ 1753007 h 1796611"/>
                <a:gd name="connsiteX13" fmla="*/ 285270 w 528215"/>
                <a:gd name="connsiteY13" fmla="*/ 1629182 h 1796611"/>
                <a:gd name="connsiteX14" fmla="*/ 273364 w 528215"/>
                <a:gd name="connsiteY14" fmla="*/ 1083875 h 1796611"/>
                <a:gd name="connsiteX15" fmla="*/ 154301 w 528215"/>
                <a:gd name="connsiteY15" fmla="*/ 1788726 h 1796611"/>
                <a:gd name="connsiteX16" fmla="*/ 106677 w 528215"/>
                <a:gd name="connsiteY16" fmla="*/ 1038633 h 1796611"/>
                <a:gd name="connsiteX17" fmla="*/ 44765 w 528215"/>
                <a:gd name="connsiteY17" fmla="*/ 988626 h 1796611"/>
                <a:gd name="connsiteX18" fmla="*/ 113821 w 528215"/>
                <a:gd name="connsiteY18" fmla="*/ 605245 h 1796611"/>
                <a:gd name="connsiteX19" fmla="*/ 4282 w 528215"/>
                <a:gd name="connsiteY19" fmla="*/ 555239 h 1796611"/>
                <a:gd name="connsiteX20" fmla="*/ 25713 w 528215"/>
                <a:gd name="connsiteY20" fmla="*/ 419508 h 1796611"/>
                <a:gd name="connsiteX21" fmla="*/ 44763 w 528215"/>
                <a:gd name="connsiteY21" fmla="*/ 305208 h 1796611"/>
                <a:gd name="connsiteX22" fmla="*/ 123345 w 528215"/>
                <a:gd name="connsiteY22" fmla="*/ 269489 h 1796611"/>
                <a:gd name="connsiteX0" fmla="*/ 123345 w 528215"/>
                <a:gd name="connsiteY0" fmla="*/ 269489 h 1796611"/>
                <a:gd name="connsiteX1" fmla="*/ 190020 w 528215"/>
                <a:gd name="connsiteY1" fmla="*/ 159952 h 1796611"/>
                <a:gd name="connsiteX2" fmla="*/ 349563 w 528215"/>
                <a:gd name="connsiteY2" fmla="*/ 26602 h 1796611"/>
                <a:gd name="connsiteX3" fmla="*/ 359088 w 528215"/>
                <a:gd name="connsiteY3" fmla="*/ 152809 h 1796611"/>
                <a:gd name="connsiteX4" fmla="*/ 335277 w 528215"/>
                <a:gd name="connsiteY4" fmla="*/ 224245 h 1796611"/>
                <a:gd name="connsiteX5" fmla="*/ 480533 w 528215"/>
                <a:gd name="connsiteY5" fmla="*/ 312351 h 1796611"/>
                <a:gd name="connsiteX6" fmla="*/ 523396 w 528215"/>
                <a:gd name="connsiteY6" fmla="*/ 1002914 h 1796611"/>
                <a:gd name="connsiteX7" fmla="*/ 449576 w 528215"/>
                <a:gd name="connsiteY7" fmla="*/ 960050 h 1796611"/>
                <a:gd name="connsiteX8" fmla="*/ 411476 w 528215"/>
                <a:gd name="connsiteY8" fmla="*/ 1255325 h 1796611"/>
                <a:gd name="connsiteX9" fmla="*/ 416239 w 528215"/>
                <a:gd name="connsiteY9" fmla="*/ 1598225 h 1796611"/>
                <a:gd name="connsiteX10" fmla="*/ 409095 w 528215"/>
                <a:gd name="connsiteY10" fmla="*/ 1698238 h 1796611"/>
                <a:gd name="connsiteX11" fmla="*/ 509107 w 528215"/>
                <a:gd name="connsiteY11" fmla="*/ 1769677 h 1796611"/>
                <a:gd name="connsiteX12" fmla="*/ 304319 w 528215"/>
                <a:gd name="connsiteY12" fmla="*/ 1753007 h 1796611"/>
                <a:gd name="connsiteX13" fmla="*/ 285270 w 528215"/>
                <a:gd name="connsiteY13" fmla="*/ 1629182 h 1796611"/>
                <a:gd name="connsiteX14" fmla="*/ 273364 w 528215"/>
                <a:gd name="connsiteY14" fmla="*/ 1083875 h 1796611"/>
                <a:gd name="connsiteX15" fmla="*/ 154301 w 528215"/>
                <a:gd name="connsiteY15" fmla="*/ 1788726 h 1796611"/>
                <a:gd name="connsiteX16" fmla="*/ 106677 w 528215"/>
                <a:gd name="connsiteY16" fmla="*/ 1038633 h 1796611"/>
                <a:gd name="connsiteX17" fmla="*/ 44765 w 528215"/>
                <a:gd name="connsiteY17" fmla="*/ 988626 h 1796611"/>
                <a:gd name="connsiteX18" fmla="*/ 113821 w 528215"/>
                <a:gd name="connsiteY18" fmla="*/ 605245 h 1796611"/>
                <a:gd name="connsiteX19" fmla="*/ 4282 w 528215"/>
                <a:gd name="connsiteY19" fmla="*/ 555239 h 1796611"/>
                <a:gd name="connsiteX20" fmla="*/ 25713 w 528215"/>
                <a:gd name="connsiteY20" fmla="*/ 419508 h 1796611"/>
                <a:gd name="connsiteX21" fmla="*/ 44763 w 528215"/>
                <a:gd name="connsiteY21" fmla="*/ 305208 h 1796611"/>
                <a:gd name="connsiteX22" fmla="*/ 123345 w 528215"/>
                <a:gd name="connsiteY22" fmla="*/ 269489 h 1796611"/>
                <a:gd name="connsiteX0" fmla="*/ 123345 w 528215"/>
                <a:gd name="connsiteY0" fmla="*/ 269489 h 1796611"/>
                <a:gd name="connsiteX1" fmla="*/ 190020 w 528215"/>
                <a:gd name="connsiteY1" fmla="*/ 159952 h 1796611"/>
                <a:gd name="connsiteX2" fmla="*/ 349563 w 528215"/>
                <a:gd name="connsiteY2" fmla="*/ 26602 h 1796611"/>
                <a:gd name="connsiteX3" fmla="*/ 359088 w 528215"/>
                <a:gd name="connsiteY3" fmla="*/ 152809 h 1796611"/>
                <a:gd name="connsiteX4" fmla="*/ 335277 w 528215"/>
                <a:gd name="connsiteY4" fmla="*/ 224245 h 1796611"/>
                <a:gd name="connsiteX5" fmla="*/ 480533 w 528215"/>
                <a:gd name="connsiteY5" fmla="*/ 312351 h 1796611"/>
                <a:gd name="connsiteX6" fmla="*/ 523396 w 528215"/>
                <a:gd name="connsiteY6" fmla="*/ 1002914 h 1796611"/>
                <a:gd name="connsiteX7" fmla="*/ 449576 w 528215"/>
                <a:gd name="connsiteY7" fmla="*/ 960050 h 1796611"/>
                <a:gd name="connsiteX8" fmla="*/ 411476 w 528215"/>
                <a:gd name="connsiteY8" fmla="*/ 1255325 h 1796611"/>
                <a:gd name="connsiteX9" fmla="*/ 416239 w 528215"/>
                <a:gd name="connsiteY9" fmla="*/ 1598225 h 1796611"/>
                <a:gd name="connsiteX10" fmla="*/ 409095 w 528215"/>
                <a:gd name="connsiteY10" fmla="*/ 1698238 h 1796611"/>
                <a:gd name="connsiteX11" fmla="*/ 509107 w 528215"/>
                <a:gd name="connsiteY11" fmla="*/ 1769677 h 1796611"/>
                <a:gd name="connsiteX12" fmla="*/ 304319 w 528215"/>
                <a:gd name="connsiteY12" fmla="*/ 1753007 h 1796611"/>
                <a:gd name="connsiteX13" fmla="*/ 285270 w 528215"/>
                <a:gd name="connsiteY13" fmla="*/ 1629182 h 1796611"/>
                <a:gd name="connsiteX14" fmla="*/ 273364 w 528215"/>
                <a:gd name="connsiteY14" fmla="*/ 1083875 h 1796611"/>
                <a:gd name="connsiteX15" fmla="*/ 154301 w 528215"/>
                <a:gd name="connsiteY15" fmla="*/ 1788726 h 1796611"/>
                <a:gd name="connsiteX16" fmla="*/ 106677 w 528215"/>
                <a:gd name="connsiteY16" fmla="*/ 1038633 h 1796611"/>
                <a:gd name="connsiteX17" fmla="*/ 44765 w 528215"/>
                <a:gd name="connsiteY17" fmla="*/ 988626 h 1796611"/>
                <a:gd name="connsiteX18" fmla="*/ 113821 w 528215"/>
                <a:gd name="connsiteY18" fmla="*/ 605245 h 1796611"/>
                <a:gd name="connsiteX19" fmla="*/ 4282 w 528215"/>
                <a:gd name="connsiteY19" fmla="*/ 555239 h 1796611"/>
                <a:gd name="connsiteX20" fmla="*/ 25713 w 528215"/>
                <a:gd name="connsiteY20" fmla="*/ 419508 h 1796611"/>
                <a:gd name="connsiteX21" fmla="*/ 44763 w 528215"/>
                <a:gd name="connsiteY21" fmla="*/ 305208 h 1796611"/>
                <a:gd name="connsiteX22" fmla="*/ 123345 w 528215"/>
                <a:gd name="connsiteY22" fmla="*/ 269489 h 1796611"/>
                <a:gd name="connsiteX0" fmla="*/ 123345 w 528215"/>
                <a:gd name="connsiteY0" fmla="*/ 269489 h 1807775"/>
                <a:gd name="connsiteX1" fmla="*/ 190020 w 528215"/>
                <a:gd name="connsiteY1" fmla="*/ 159952 h 1807775"/>
                <a:gd name="connsiteX2" fmla="*/ 349563 w 528215"/>
                <a:gd name="connsiteY2" fmla="*/ 26602 h 1807775"/>
                <a:gd name="connsiteX3" fmla="*/ 359088 w 528215"/>
                <a:gd name="connsiteY3" fmla="*/ 152809 h 1807775"/>
                <a:gd name="connsiteX4" fmla="*/ 335277 w 528215"/>
                <a:gd name="connsiteY4" fmla="*/ 224245 h 1807775"/>
                <a:gd name="connsiteX5" fmla="*/ 480533 w 528215"/>
                <a:gd name="connsiteY5" fmla="*/ 312351 h 1807775"/>
                <a:gd name="connsiteX6" fmla="*/ 523396 w 528215"/>
                <a:gd name="connsiteY6" fmla="*/ 1002914 h 1807775"/>
                <a:gd name="connsiteX7" fmla="*/ 449576 w 528215"/>
                <a:gd name="connsiteY7" fmla="*/ 960050 h 1807775"/>
                <a:gd name="connsiteX8" fmla="*/ 411476 w 528215"/>
                <a:gd name="connsiteY8" fmla="*/ 1255325 h 1807775"/>
                <a:gd name="connsiteX9" fmla="*/ 416239 w 528215"/>
                <a:gd name="connsiteY9" fmla="*/ 1598225 h 1807775"/>
                <a:gd name="connsiteX10" fmla="*/ 409095 w 528215"/>
                <a:gd name="connsiteY10" fmla="*/ 1698238 h 1807775"/>
                <a:gd name="connsiteX11" fmla="*/ 509107 w 528215"/>
                <a:gd name="connsiteY11" fmla="*/ 1769677 h 1807775"/>
                <a:gd name="connsiteX12" fmla="*/ 304319 w 528215"/>
                <a:gd name="connsiteY12" fmla="*/ 1753007 h 1807775"/>
                <a:gd name="connsiteX13" fmla="*/ 285270 w 528215"/>
                <a:gd name="connsiteY13" fmla="*/ 1629182 h 1807775"/>
                <a:gd name="connsiteX14" fmla="*/ 273364 w 528215"/>
                <a:gd name="connsiteY14" fmla="*/ 1083875 h 1807775"/>
                <a:gd name="connsiteX15" fmla="*/ 251932 w 528215"/>
                <a:gd name="connsiteY15" fmla="*/ 1807775 h 1807775"/>
                <a:gd name="connsiteX16" fmla="*/ 154301 w 528215"/>
                <a:gd name="connsiteY16" fmla="*/ 1788726 h 1807775"/>
                <a:gd name="connsiteX17" fmla="*/ 106677 w 528215"/>
                <a:gd name="connsiteY17" fmla="*/ 1038633 h 1807775"/>
                <a:gd name="connsiteX18" fmla="*/ 44765 w 528215"/>
                <a:gd name="connsiteY18" fmla="*/ 988626 h 1807775"/>
                <a:gd name="connsiteX19" fmla="*/ 113821 w 528215"/>
                <a:gd name="connsiteY19" fmla="*/ 605245 h 1807775"/>
                <a:gd name="connsiteX20" fmla="*/ 4282 w 528215"/>
                <a:gd name="connsiteY20" fmla="*/ 555239 h 1807775"/>
                <a:gd name="connsiteX21" fmla="*/ 25713 w 528215"/>
                <a:gd name="connsiteY21" fmla="*/ 419508 h 1807775"/>
                <a:gd name="connsiteX22" fmla="*/ 44763 w 528215"/>
                <a:gd name="connsiteY22" fmla="*/ 305208 h 1807775"/>
                <a:gd name="connsiteX23" fmla="*/ 123345 w 528215"/>
                <a:gd name="connsiteY23" fmla="*/ 269489 h 1807775"/>
                <a:gd name="connsiteX0" fmla="*/ 123345 w 528215"/>
                <a:gd name="connsiteY0" fmla="*/ 269489 h 1807775"/>
                <a:gd name="connsiteX1" fmla="*/ 190020 w 528215"/>
                <a:gd name="connsiteY1" fmla="*/ 159952 h 1807775"/>
                <a:gd name="connsiteX2" fmla="*/ 349563 w 528215"/>
                <a:gd name="connsiteY2" fmla="*/ 26602 h 1807775"/>
                <a:gd name="connsiteX3" fmla="*/ 359088 w 528215"/>
                <a:gd name="connsiteY3" fmla="*/ 152809 h 1807775"/>
                <a:gd name="connsiteX4" fmla="*/ 335277 w 528215"/>
                <a:gd name="connsiteY4" fmla="*/ 224245 h 1807775"/>
                <a:gd name="connsiteX5" fmla="*/ 480533 w 528215"/>
                <a:gd name="connsiteY5" fmla="*/ 312351 h 1807775"/>
                <a:gd name="connsiteX6" fmla="*/ 523396 w 528215"/>
                <a:gd name="connsiteY6" fmla="*/ 1002914 h 1807775"/>
                <a:gd name="connsiteX7" fmla="*/ 449576 w 528215"/>
                <a:gd name="connsiteY7" fmla="*/ 960050 h 1807775"/>
                <a:gd name="connsiteX8" fmla="*/ 411476 w 528215"/>
                <a:gd name="connsiteY8" fmla="*/ 1255325 h 1807775"/>
                <a:gd name="connsiteX9" fmla="*/ 416239 w 528215"/>
                <a:gd name="connsiteY9" fmla="*/ 1598225 h 1807775"/>
                <a:gd name="connsiteX10" fmla="*/ 409095 w 528215"/>
                <a:gd name="connsiteY10" fmla="*/ 1698238 h 1807775"/>
                <a:gd name="connsiteX11" fmla="*/ 509107 w 528215"/>
                <a:gd name="connsiteY11" fmla="*/ 1769677 h 1807775"/>
                <a:gd name="connsiteX12" fmla="*/ 304319 w 528215"/>
                <a:gd name="connsiteY12" fmla="*/ 1753007 h 1807775"/>
                <a:gd name="connsiteX13" fmla="*/ 285270 w 528215"/>
                <a:gd name="connsiteY13" fmla="*/ 1629182 h 1807775"/>
                <a:gd name="connsiteX14" fmla="*/ 273364 w 528215"/>
                <a:gd name="connsiteY14" fmla="*/ 1083875 h 1807775"/>
                <a:gd name="connsiteX15" fmla="*/ 256695 w 528215"/>
                <a:gd name="connsiteY15" fmla="*/ 1674425 h 1807775"/>
                <a:gd name="connsiteX16" fmla="*/ 251932 w 528215"/>
                <a:gd name="connsiteY16" fmla="*/ 1807775 h 1807775"/>
                <a:gd name="connsiteX17" fmla="*/ 154301 w 528215"/>
                <a:gd name="connsiteY17" fmla="*/ 1788726 h 1807775"/>
                <a:gd name="connsiteX18" fmla="*/ 106677 w 528215"/>
                <a:gd name="connsiteY18" fmla="*/ 1038633 h 1807775"/>
                <a:gd name="connsiteX19" fmla="*/ 44765 w 528215"/>
                <a:gd name="connsiteY19" fmla="*/ 988626 h 1807775"/>
                <a:gd name="connsiteX20" fmla="*/ 113821 w 528215"/>
                <a:gd name="connsiteY20" fmla="*/ 605245 h 1807775"/>
                <a:gd name="connsiteX21" fmla="*/ 4282 w 528215"/>
                <a:gd name="connsiteY21" fmla="*/ 555239 h 1807775"/>
                <a:gd name="connsiteX22" fmla="*/ 25713 w 528215"/>
                <a:gd name="connsiteY22" fmla="*/ 419508 h 1807775"/>
                <a:gd name="connsiteX23" fmla="*/ 44763 w 528215"/>
                <a:gd name="connsiteY23" fmla="*/ 305208 h 1807775"/>
                <a:gd name="connsiteX24" fmla="*/ 123345 w 528215"/>
                <a:gd name="connsiteY24" fmla="*/ 269489 h 1807775"/>
                <a:gd name="connsiteX0" fmla="*/ 123345 w 528215"/>
                <a:gd name="connsiteY0" fmla="*/ 269489 h 1807775"/>
                <a:gd name="connsiteX1" fmla="*/ 190020 w 528215"/>
                <a:gd name="connsiteY1" fmla="*/ 159952 h 1807775"/>
                <a:gd name="connsiteX2" fmla="*/ 349563 w 528215"/>
                <a:gd name="connsiteY2" fmla="*/ 26602 h 1807775"/>
                <a:gd name="connsiteX3" fmla="*/ 359088 w 528215"/>
                <a:gd name="connsiteY3" fmla="*/ 152809 h 1807775"/>
                <a:gd name="connsiteX4" fmla="*/ 335277 w 528215"/>
                <a:gd name="connsiteY4" fmla="*/ 224245 h 1807775"/>
                <a:gd name="connsiteX5" fmla="*/ 480533 w 528215"/>
                <a:gd name="connsiteY5" fmla="*/ 312351 h 1807775"/>
                <a:gd name="connsiteX6" fmla="*/ 523396 w 528215"/>
                <a:gd name="connsiteY6" fmla="*/ 1002914 h 1807775"/>
                <a:gd name="connsiteX7" fmla="*/ 449576 w 528215"/>
                <a:gd name="connsiteY7" fmla="*/ 960050 h 1807775"/>
                <a:gd name="connsiteX8" fmla="*/ 411476 w 528215"/>
                <a:gd name="connsiteY8" fmla="*/ 1255325 h 1807775"/>
                <a:gd name="connsiteX9" fmla="*/ 416239 w 528215"/>
                <a:gd name="connsiteY9" fmla="*/ 1598225 h 1807775"/>
                <a:gd name="connsiteX10" fmla="*/ 409095 w 528215"/>
                <a:gd name="connsiteY10" fmla="*/ 1698238 h 1807775"/>
                <a:gd name="connsiteX11" fmla="*/ 509107 w 528215"/>
                <a:gd name="connsiteY11" fmla="*/ 1769677 h 1807775"/>
                <a:gd name="connsiteX12" fmla="*/ 304319 w 528215"/>
                <a:gd name="connsiteY12" fmla="*/ 1753007 h 1807775"/>
                <a:gd name="connsiteX13" fmla="*/ 285270 w 528215"/>
                <a:gd name="connsiteY13" fmla="*/ 1629182 h 1807775"/>
                <a:gd name="connsiteX14" fmla="*/ 273364 w 528215"/>
                <a:gd name="connsiteY14" fmla="*/ 1083875 h 1807775"/>
                <a:gd name="connsiteX15" fmla="*/ 256695 w 528215"/>
                <a:gd name="connsiteY15" fmla="*/ 1674425 h 1807775"/>
                <a:gd name="connsiteX16" fmla="*/ 251932 w 528215"/>
                <a:gd name="connsiteY16" fmla="*/ 1807775 h 1807775"/>
                <a:gd name="connsiteX17" fmla="*/ 154301 w 528215"/>
                <a:gd name="connsiteY17" fmla="*/ 1788726 h 1807775"/>
                <a:gd name="connsiteX18" fmla="*/ 106677 w 528215"/>
                <a:gd name="connsiteY18" fmla="*/ 1038633 h 1807775"/>
                <a:gd name="connsiteX19" fmla="*/ 44765 w 528215"/>
                <a:gd name="connsiteY19" fmla="*/ 988626 h 1807775"/>
                <a:gd name="connsiteX20" fmla="*/ 113821 w 528215"/>
                <a:gd name="connsiteY20" fmla="*/ 605245 h 1807775"/>
                <a:gd name="connsiteX21" fmla="*/ 4282 w 528215"/>
                <a:gd name="connsiteY21" fmla="*/ 555239 h 1807775"/>
                <a:gd name="connsiteX22" fmla="*/ 25713 w 528215"/>
                <a:gd name="connsiteY22" fmla="*/ 419508 h 1807775"/>
                <a:gd name="connsiteX23" fmla="*/ 44763 w 528215"/>
                <a:gd name="connsiteY23" fmla="*/ 305208 h 1807775"/>
                <a:gd name="connsiteX24" fmla="*/ 123345 w 528215"/>
                <a:gd name="connsiteY24" fmla="*/ 269489 h 1807775"/>
                <a:gd name="connsiteX0" fmla="*/ 123345 w 528215"/>
                <a:gd name="connsiteY0" fmla="*/ 269489 h 1807780"/>
                <a:gd name="connsiteX1" fmla="*/ 190020 w 528215"/>
                <a:gd name="connsiteY1" fmla="*/ 159952 h 1807780"/>
                <a:gd name="connsiteX2" fmla="*/ 349563 w 528215"/>
                <a:gd name="connsiteY2" fmla="*/ 26602 h 1807780"/>
                <a:gd name="connsiteX3" fmla="*/ 359088 w 528215"/>
                <a:gd name="connsiteY3" fmla="*/ 152809 h 1807780"/>
                <a:gd name="connsiteX4" fmla="*/ 335277 w 528215"/>
                <a:gd name="connsiteY4" fmla="*/ 224245 h 1807780"/>
                <a:gd name="connsiteX5" fmla="*/ 480533 w 528215"/>
                <a:gd name="connsiteY5" fmla="*/ 312351 h 1807780"/>
                <a:gd name="connsiteX6" fmla="*/ 523396 w 528215"/>
                <a:gd name="connsiteY6" fmla="*/ 1002914 h 1807780"/>
                <a:gd name="connsiteX7" fmla="*/ 449576 w 528215"/>
                <a:gd name="connsiteY7" fmla="*/ 960050 h 1807780"/>
                <a:gd name="connsiteX8" fmla="*/ 411476 w 528215"/>
                <a:gd name="connsiteY8" fmla="*/ 1255325 h 1807780"/>
                <a:gd name="connsiteX9" fmla="*/ 416239 w 528215"/>
                <a:gd name="connsiteY9" fmla="*/ 1598225 h 1807780"/>
                <a:gd name="connsiteX10" fmla="*/ 409095 w 528215"/>
                <a:gd name="connsiteY10" fmla="*/ 1698238 h 1807780"/>
                <a:gd name="connsiteX11" fmla="*/ 509107 w 528215"/>
                <a:gd name="connsiteY11" fmla="*/ 1769677 h 1807780"/>
                <a:gd name="connsiteX12" fmla="*/ 304319 w 528215"/>
                <a:gd name="connsiteY12" fmla="*/ 1753007 h 1807780"/>
                <a:gd name="connsiteX13" fmla="*/ 285270 w 528215"/>
                <a:gd name="connsiteY13" fmla="*/ 1629182 h 1807780"/>
                <a:gd name="connsiteX14" fmla="*/ 273364 w 528215"/>
                <a:gd name="connsiteY14" fmla="*/ 1083875 h 1807780"/>
                <a:gd name="connsiteX15" fmla="*/ 256695 w 528215"/>
                <a:gd name="connsiteY15" fmla="*/ 1674425 h 1807780"/>
                <a:gd name="connsiteX16" fmla="*/ 251932 w 528215"/>
                <a:gd name="connsiteY16" fmla="*/ 1807775 h 1807780"/>
                <a:gd name="connsiteX17" fmla="*/ 154301 w 528215"/>
                <a:gd name="connsiteY17" fmla="*/ 1788726 h 1807780"/>
                <a:gd name="connsiteX18" fmla="*/ 106677 w 528215"/>
                <a:gd name="connsiteY18" fmla="*/ 1038633 h 1807780"/>
                <a:gd name="connsiteX19" fmla="*/ 44765 w 528215"/>
                <a:gd name="connsiteY19" fmla="*/ 988626 h 1807780"/>
                <a:gd name="connsiteX20" fmla="*/ 113821 w 528215"/>
                <a:gd name="connsiteY20" fmla="*/ 605245 h 1807780"/>
                <a:gd name="connsiteX21" fmla="*/ 4282 w 528215"/>
                <a:gd name="connsiteY21" fmla="*/ 555239 h 1807780"/>
                <a:gd name="connsiteX22" fmla="*/ 25713 w 528215"/>
                <a:gd name="connsiteY22" fmla="*/ 419508 h 1807780"/>
                <a:gd name="connsiteX23" fmla="*/ 44763 w 528215"/>
                <a:gd name="connsiteY23" fmla="*/ 305208 h 1807780"/>
                <a:gd name="connsiteX24" fmla="*/ 123345 w 528215"/>
                <a:gd name="connsiteY24" fmla="*/ 269489 h 1807780"/>
                <a:gd name="connsiteX0" fmla="*/ 123345 w 528215"/>
                <a:gd name="connsiteY0" fmla="*/ 269489 h 1807784"/>
                <a:gd name="connsiteX1" fmla="*/ 190020 w 528215"/>
                <a:gd name="connsiteY1" fmla="*/ 159952 h 1807784"/>
                <a:gd name="connsiteX2" fmla="*/ 349563 w 528215"/>
                <a:gd name="connsiteY2" fmla="*/ 26602 h 1807784"/>
                <a:gd name="connsiteX3" fmla="*/ 359088 w 528215"/>
                <a:gd name="connsiteY3" fmla="*/ 152809 h 1807784"/>
                <a:gd name="connsiteX4" fmla="*/ 335277 w 528215"/>
                <a:gd name="connsiteY4" fmla="*/ 224245 h 1807784"/>
                <a:gd name="connsiteX5" fmla="*/ 480533 w 528215"/>
                <a:gd name="connsiteY5" fmla="*/ 312351 h 1807784"/>
                <a:gd name="connsiteX6" fmla="*/ 523396 w 528215"/>
                <a:gd name="connsiteY6" fmla="*/ 1002914 h 1807784"/>
                <a:gd name="connsiteX7" fmla="*/ 449576 w 528215"/>
                <a:gd name="connsiteY7" fmla="*/ 960050 h 1807784"/>
                <a:gd name="connsiteX8" fmla="*/ 411476 w 528215"/>
                <a:gd name="connsiteY8" fmla="*/ 1255325 h 1807784"/>
                <a:gd name="connsiteX9" fmla="*/ 416239 w 528215"/>
                <a:gd name="connsiteY9" fmla="*/ 1598225 h 1807784"/>
                <a:gd name="connsiteX10" fmla="*/ 409095 w 528215"/>
                <a:gd name="connsiteY10" fmla="*/ 1698238 h 1807784"/>
                <a:gd name="connsiteX11" fmla="*/ 509107 w 528215"/>
                <a:gd name="connsiteY11" fmla="*/ 1769677 h 1807784"/>
                <a:gd name="connsiteX12" fmla="*/ 304319 w 528215"/>
                <a:gd name="connsiteY12" fmla="*/ 1753007 h 1807784"/>
                <a:gd name="connsiteX13" fmla="*/ 285270 w 528215"/>
                <a:gd name="connsiteY13" fmla="*/ 1629182 h 1807784"/>
                <a:gd name="connsiteX14" fmla="*/ 273364 w 528215"/>
                <a:gd name="connsiteY14" fmla="*/ 1083875 h 1807784"/>
                <a:gd name="connsiteX15" fmla="*/ 256695 w 528215"/>
                <a:gd name="connsiteY15" fmla="*/ 1674425 h 1807784"/>
                <a:gd name="connsiteX16" fmla="*/ 251932 w 528215"/>
                <a:gd name="connsiteY16" fmla="*/ 1807775 h 1807784"/>
                <a:gd name="connsiteX17" fmla="*/ 154301 w 528215"/>
                <a:gd name="connsiteY17" fmla="*/ 1788726 h 1807784"/>
                <a:gd name="connsiteX18" fmla="*/ 106677 w 528215"/>
                <a:gd name="connsiteY18" fmla="*/ 1038633 h 1807784"/>
                <a:gd name="connsiteX19" fmla="*/ 44765 w 528215"/>
                <a:gd name="connsiteY19" fmla="*/ 988626 h 1807784"/>
                <a:gd name="connsiteX20" fmla="*/ 113821 w 528215"/>
                <a:gd name="connsiteY20" fmla="*/ 605245 h 1807784"/>
                <a:gd name="connsiteX21" fmla="*/ 4282 w 528215"/>
                <a:gd name="connsiteY21" fmla="*/ 555239 h 1807784"/>
                <a:gd name="connsiteX22" fmla="*/ 25713 w 528215"/>
                <a:gd name="connsiteY22" fmla="*/ 419508 h 1807784"/>
                <a:gd name="connsiteX23" fmla="*/ 44763 w 528215"/>
                <a:gd name="connsiteY23" fmla="*/ 305208 h 1807784"/>
                <a:gd name="connsiteX24" fmla="*/ 123345 w 528215"/>
                <a:gd name="connsiteY24" fmla="*/ 269489 h 1807784"/>
                <a:gd name="connsiteX0" fmla="*/ 123345 w 528215"/>
                <a:gd name="connsiteY0" fmla="*/ 269489 h 1807787"/>
                <a:gd name="connsiteX1" fmla="*/ 190020 w 528215"/>
                <a:gd name="connsiteY1" fmla="*/ 159952 h 1807787"/>
                <a:gd name="connsiteX2" fmla="*/ 349563 w 528215"/>
                <a:gd name="connsiteY2" fmla="*/ 26602 h 1807787"/>
                <a:gd name="connsiteX3" fmla="*/ 359088 w 528215"/>
                <a:gd name="connsiteY3" fmla="*/ 152809 h 1807787"/>
                <a:gd name="connsiteX4" fmla="*/ 335277 w 528215"/>
                <a:gd name="connsiteY4" fmla="*/ 224245 h 1807787"/>
                <a:gd name="connsiteX5" fmla="*/ 480533 w 528215"/>
                <a:gd name="connsiteY5" fmla="*/ 312351 h 1807787"/>
                <a:gd name="connsiteX6" fmla="*/ 523396 w 528215"/>
                <a:gd name="connsiteY6" fmla="*/ 1002914 h 1807787"/>
                <a:gd name="connsiteX7" fmla="*/ 449576 w 528215"/>
                <a:gd name="connsiteY7" fmla="*/ 960050 h 1807787"/>
                <a:gd name="connsiteX8" fmla="*/ 411476 w 528215"/>
                <a:gd name="connsiteY8" fmla="*/ 1255325 h 1807787"/>
                <a:gd name="connsiteX9" fmla="*/ 416239 w 528215"/>
                <a:gd name="connsiteY9" fmla="*/ 1598225 h 1807787"/>
                <a:gd name="connsiteX10" fmla="*/ 409095 w 528215"/>
                <a:gd name="connsiteY10" fmla="*/ 1698238 h 1807787"/>
                <a:gd name="connsiteX11" fmla="*/ 509107 w 528215"/>
                <a:gd name="connsiteY11" fmla="*/ 1769677 h 1807787"/>
                <a:gd name="connsiteX12" fmla="*/ 304319 w 528215"/>
                <a:gd name="connsiteY12" fmla="*/ 1753007 h 1807787"/>
                <a:gd name="connsiteX13" fmla="*/ 285270 w 528215"/>
                <a:gd name="connsiteY13" fmla="*/ 1629182 h 1807787"/>
                <a:gd name="connsiteX14" fmla="*/ 273364 w 528215"/>
                <a:gd name="connsiteY14" fmla="*/ 1083875 h 1807787"/>
                <a:gd name="connsiteX15" fmla="*/ 259077 w 528215"/>
                <a:gd name="connsiteY15" fmla="*/ 1688713 h 1807787"/>
                <a:gd name="connsiteX16" fmla="*/ 251932 w 528215"/>
                <a:gd name="connsiteY16" fmla="*/ 1807775 h 1807787"/>
                <a:gd name="connsiteX17" fmla="*/ 154301 w 528215"/>
                <a:gd name="connsiteY17" fmla="*/ 1788726 h 1807787"/>
                <a:gd name="connsiteX18" fmla="*/ 106677 w 528215"/>
                <a:gd name="connsiteY18" fmla="*/ 1038633 h 1807787"/>
                <a:gd name="connsiteX19" fmla="*/ 44765 w 528215"/>
                <a:gd name="connsiteY19" fmla="*/ 988626 h 1807787"/>
                <a:gd name="connsiteX20" fmla="*/ 113821 w 528215"/>
                <a:gd name="connsiteY20" fmla="*/ 605245 h 1807787"/>
                <a:gd name="connsiteX21" fmla="*/ 4282 w 528215"/>
                <a:gd name="connsiteY21" fmla="*/ 555239 h 1807787"/>
                <a:gd name="connsiteX22" fmla="*/ 25713 w 528215"/>
                <a:gd name="connsiteY22" fmla="*/ 419508 h 1807787"/>
                <a:gd name="connsiteX23" fmla="*/ 44763 w 528215"/>
                <a:gd name="connsiteY23" fmla="*/ 305208 h 1807787"/>
                <a:gd name="connsiteX24" fmla="*/ 123345 w 528215"/>
                <a:gd name="connsiteY24" fmla="*/ 269489 h 1807787"/>
                <a:gd name="connsiteX0" fmla="*/ 123345 w 528215"/>
                <a:gd name="connsiteY0" fmla="*/ 269489 h 1807787"/>
                <a:gd name="connsiteX1" fmla="*/ 190020 w 528215"/>
                <a:gd name="connsiteY1" fmla="*/ 159952 h 1807787"/>
                <a:gd name="connsiteX2" fmla="*/ 349563 w 528215"/>
                <a:gd name="connsiteY2" fmla="*/ 26602 h 1807787"/>
                <a:gd name="connsiteX3" fmla="*/ 359088 w 528215"/>
                <a:gd name="connsiteY3" fmla="*/ 152809 h 1807787"/>
                <a:gd name="connsiteX4" fmla="*/ 335277 w 528215"/>
                <a:gd name="connsiteY4" fmla="*/ 224245 h 1807787"/>
                <a:gd name="connsiteX5" fmla="*/ 480533 w 528215"/>
                <a:gd name="connsiteY5" fmla="*/ 312351 h 1807787"/>
                <a:gd name="connsiteX6" fmla="*/ 523396 w 528215"/>
                <a:gd name="connsiteY6" fmla="*/ 1002914 h 1807787"/>
                <a:gd name="connsiteX7" fmla="*/ 449576 w 528215"/>
                <a:gd name="connsiteY7" fmla="*/ 960050 h 1807787"/>
                <a:gd name="connsiteX8" fmla="*/ 411476 w 528215"/>
                <a:gd name="connsiteY8" fmla="*/ 1255325 h 1807787"/>
                <a:gd name="connsiteX9" fmla="*/ 416239 w 528215"/>
                <a:gd name="connsiteY9" fmla="*/ 1598225 h 1807787"/>
                <a:gd name="connsiteX10" fmla="*/ 409095 w 528215"/>
                <a:gd name="connsiteY10" fmla="*/ 1698238 h 1807787"/>
                <a:gd name="connsiteX11" fmla="*/ 509107 w 528215"/>
                <a:gd name="connsiteY11" fmla="*/ 1769677 h 1807787"/>
                <a:gd name="connsiteX12" fmla="*/ 304319 w 528215"/>
                <a:gd name="connsiteY12" fmla="*/ 1753007 h 1807787"/>
                <a:gd name="connsiteX13" fmla="*/ 285270 w 528215"/>
                <a:gd name="connsiteY13" fmla="*/ 1629182 h 1807787"/>
                <a:gd name="connsiteX14" fmla="*/ 273364 w 528215"/>
                <a:gd name="connsiteY14" fmla="*/ 1083875 h 1807787"/>
                <a:gd name="connsiteX15" fmla="*/ 259077 w 528215"/>
                <a:gd name="connsiteY15" fmla="*/ 1688713 h 1807787"/>
                <a:gd name="connsiteX16" fmla="*/ 251932 w 528215"/>
                <a:gd name="connsiteY16" fmla="*/ 1807775 h 1807787"/>
                <a:gd name="connsiteX17" fmla="*/ 147158 w 528215"/>
                <a:gd name="connsiteY17" fmla="*/ 1793489 h 1807787"/>
                <a:gd name="connsiteX18" fmla="*/ 106677 w 528215"/>
                <a:gd name="connsiteY18" fmla="*/ 1038633 h 1807787"/>
                <a:gd name="connsiteX19" fmla="*/ 44765 w 528215"/>
                <a:gd name="connsiteY19" fmla="*/ 988626 h 1807787"/>
                <a:gd name="connsiteX20" fmla="*/ 113821 w 528215"/>
                <a:gd name="connsiteY20" fmla="*/ 605245 h 1807787"/>
                <a:gd name="connsiteX21" fmla="*/ 4282 w 528215"/>
                <a:gd name="connsiteY21" fmla="*/ 555239 h 1807787"/>
                <a:gd name="connsiteX22" fmla="*/ 25713 w 528215"/>
                <a:gd name="connsiteY22" fmla="*/ 419508 h 1807787"/>
                <a:gd name="connsiteX23" fmla="*/ 44763 w 528215"/>
                <a:gd name="connsiteY23" fmla="*/ 305208 h 1807787"/>
                <a:gd name="connsiteX24" fmla="*/ 123345 w 528215"/>
                <a:gd name="connsiteY24" fmla="*/ 269489 h 1807787"/>
                <a:gd name="connsiteX0" fmla="*/ 123345 w 528215"/>
                <a:gd name="connsiteY0" fmla="*/ 269489 h 1808692"/>
                <a:gd name="connsiteX1" fmla="*/ 190020 w 528215"/>
                <a:gd name="connsiteY1" fmla="*/ 159952 h 1808692"/>
                <a:gd name="connsiteX2" fmla="*/ 349563 w 528215"/>
                <a:gd name="connsiteY2" fmla="*/ 26602 h 1808692"/>
                <a:gd name="connsiteX3" fmla="*/ 359088 w 528215"/>
                <a:gd name="connsiteY3" fmla="*/ 152809 h 1808692"/>
                <a:gd name="connsiteX4" fmla="*/ 335277 w 528215"/>
                <a:gd name="connsiteY4" fmla="*/ 224245 h 1808692"/>
                <a:gd name="connsiteX5" fmla="*/ 480533 w 528215"/>
                <a:gd name="connsiteY5" fmla="*/ 312351 h 1808692"/>
                <a:gd name="connsiteX6" fmla="*/ 523396 w 528215"/>
                <a:gd name="connsiteY6" fmla="*/ 1002914 h 1808692"/>
                <a:gd name="connsiteX7" fmla="*/ 449576 w 528215"/>
                <a:gd name="connsiteY7" fmla="*/ 960050 h 1808692"/>
                <a:gd name="connsiteX8" fmla="*/ 411476 w 528215"/>
                <a:gd name="connsiteY8" fmla="*/ 1255325 h 1808692"/>
                <a:gd name="connsiteX9" fmla="*/ 416239 w 528215"/>
                <a:gd name="connsiteY9" fmla="*/ 1598225 h 1808692"/>
                <a:gd name="connsiteX10" fmla="*/ 409095 w 528215"/>
                <a:gd name="connsiteY10" fmla="*/ 1698238 h 1808692"/>
                <a:gd name="connsiteX11" fmla="*/ 509107 w 528215"/>
                <a:gd name="connsiteY11" fmla="*/ 1769677 h 1808692"/>
                <a:gd name="connsiteX12" fmla="*/ 304319 w 528215"/>
                <a:gd name="connsiteY12" fmla="*/ 1753007 h 1808692"/>
                <a:gd name="connsiteX13" fmla="*/ 285270 w 528215"/>
                <a:gd name="connsiteY13" fmla="*/ 1629182 h 1808692"/>
                <a:gd name="connsiteX14" fmla="*/ 273364 w 528215"/>
                <a:gd name="connsiteY14" fmla="*/ 1083875 h 1808692"/>
                <a:gd name="connsiteX15" fmla="*/ 259077 w 528215"/>
                <a:gd name="connsiteY15" fmla="*/ 1688713 h 1808692"/>
                <a:gd name="connsiteX16" fmla="*/ 251932 w 528215"/>
                <a:gd name="connsiteY16" fmla="*/ 1807775 h 1808692"/>
                <a:gd name="connsiteX17" fmla="*/ 147158 w 528215"/>
                <a:gd name="connsiteY17" fmla="*/ 1793489 h 1808692"/>
                <a:gd name="connsiteX18" fmla="*/ 106677 w 528215"/>
                <a:gd name="connsiteY18" fmla="*/ 1038633 h 1808692"/>
                <a:gd name="connsiteX19" fmla="*/ 44765 w 528215"/>
                <a:gd name="connsiteY19" fmla="*/ 988626 h 1808692"/>
                <a:gd name="connsiteX20" fmla="*/ 113821 w 528215"/>
                <a:gd name="connsiteY20" fmla="*/ 605245 h 1808692"/>
                <a:gd name="connsiteX21" fmla="*/ 4282 w 528215"/>
                <a:gd name="connsiteY21" fmla="*/ 555239 h 1808692"/>
                <a:gd name="connsiteX22" fmla="*/ 25713 w 528215"/>
                <a:gd name="connsiteY22" fmla="*/ 419508 h 1808692"/>
                <a:gd name="connsiteX23" fmla="*/ 44763 w 528215"/>
                <a:gd name="connsiteY23" fmla="*/ 305208 h 1808692"/>
                <a:gd name="connsiteX24" fmla="*/ 123345 w 528215"/>
                <a:gd name="connsiteY24" fmla="*/ 269489 h 1808692"/>
                <a:gd name="connsiteX0" fmla="*/ 123345 w 528215"/>
                <a:gd name="connsiteY0" fmla="*/ 269489 h 1811425"/>
                <a:gd name="connsiteX1" fmla="*/ 190020 w 528215"/>
                <a:gd name="connsiteY1" fmla="*/ 159952 h 1811425"/>
                <a:gd name="connsiteX2" fmla="*/ 349563 w 528215"/>
                <a:gd name="connsiteY2" fmla="*/ 26602 h 1811425"/>
                <a:gd name="connsiteX3" fmla="*/ 359088 w 528215"/>
                <a:gd name="connsiteY3" fmla="*/ 152809 h 1811425"/>
                <a:gd name="connsiteX4" fmla="*/ 335277 w 528215"/>
                <a:gd name="connsiteY4" fmla="*/ 224245 h 1811425"/>
                <a:gd name="connsiteX5" fmla="*/ 480533 w 528215"/>
                <a:gd name="connsiteY5" fmla="*/ 312351 h 1811425"/>
                <a:gd name="connsiteX6" fmla="*/ 523396 w 528215"/>
                <a:gd name="connsiteY6" fmla="*/ 1002914 h 1811425"/>
                <a:gd name="connsiteX7" fmla="*/ 449576 w 528215"/>
                <a:gd name="connsiteY7" fmla="*/ 960050 h 1811425"/>
                <a:gd name="connsiteX8" fmla="*/ 411476 w 528215"/>
                <a:gd name="connsiteY8" fmla="*/ 1255325 h 1811425"/>
                <a:gd name="connsiteX9" fmla="*/ 416239 w 528215"/>
                <a:gd name="connsiteY9" fmla="*/ 1598225 h 1811425"/>
                <a:gd name="connsiteX10" fmla="*/ 409095 w 528215"/>
                <a:gd name="connsiteY10" fmla="*/ 1698238 h 1811425"/>
                <a:gd name="connsiteX11" fmla="*/ 509107 w 528215"/>
                <a:gd name="connsiteY11" fmla="*/ 1769677 h 1811425"/>
                <a:gd name="connsiteX12" fmla="*/ 304319 w 528215"/>
                <a:gd name="connsiteY12" fmla="*/ 1753007 h 1811425"/>
                <a:gd name="connsiteX13" fmla="*/ 285270 w 528215"/>
                <a:gd name="connsiteY13" fmla="*/ 1629182 h 1811425"/>
                <a:gd name="connsiteX14" fmla="*/ 273364 w 528215"/>
                <a:gd name="connsiteY14" fmla="*/ 1083875 h 1811425"/>
                <a:gd name="connsiteX15" fmla="*/ 259077 w 528215"/>
                <a:gd name="connsiteY15" fmla="*/ 1688713 h 1811425"/>
                <a:gd name="connsiteX16" fmla="*/ 251932 w 528215"/>
                <a:gd name="connsiteY16" fmla="*/ 1807775 h 1811425"/>
                <a:gd name="connsiteX17" fmla="*/ 147158 w 528215"/>
                <a:gd name="connsiteY17" fmla="*/ 1793489 h 1811425"/>
                <a:gd name="connsiteX18" fmla="*/ 106677 w 528215"/>
                <a:gd name="connsiteY18" fmla="*/ 1038633 h 1811425"/>
                <a:gd name="connsiteX19" fmla="*/ 44765 w 528215"/>
                <a:gd name="connsiteY19" fmla="*/ 988626 h 1811425"/>
                <a:gd name="connsiteX20" fmla="*/ 113821 w 528215"/>
                <a:gd name="connsiteY20" fmla="*/ 605245 h 1811425"/>
                <a:gd name="connsiteX21" fmla="*/ 4282 w 528215"/>
                <a:gd name="connsiteY21" fmla="*/ 555239 h 1811425"/>
                <a:gd name="connsiteX22" fmla="*/ 25713 w 528215"/>
                <a:gd name="connsiteY22" fmla="*/ 419508 h 1811425"/>
                <a:gd name="connsiteX23" fmla="*/ 44763 w 528215"/>
                <a:gd name="connsiteY23" fmla="*/ 305208 h 1811425"/>
                <a:gd name="connsiteX24" fmla="*/ 123345 w 528215"/>
                <a:gd name="connsiteY24" fmla="*/ 269489 h 1811425"/>
                <a:gd name="connsiteX0" fmla="*/ 123345 w 528215"/>
                <a:gd name="connsiteY0" fmla="*/ 269489 h 1811425"/>
                <a:gd name="connsiteX1" fmla="*/ 190020 w 528215"/>
                <a:gd name="connsiteY1" fmla="*/ 159952 h 1811425"/>
                <a:gd name="connsiteX2" fmla="*/ 349563 w 528215"/>
                <a:gd name="connsiteY2" fmla="*/ 26602 h 1811425"/>
                <a:gd name="connsiteX3" fmla="*/ 359088 w 528215"/>
                <a:gd name="connsiteY3" fmla="*/ 152809 h 1811425"/>
                <a:gd name="connsiteX4" fmla="*/ 335277 w 528215"/>
                <a:gd name="connsiteY4" fmla="*/ 224245 h 1811425"/>
                <a:gd name="connsiteX5" fmla="*/ 480533 w 528215"/>
                <a:gd name="connsiteY5" fmla="*/ 312351 h 1811425"/>
                <a:gd name="connsiteX6" fmla="*/ 523396 w 528215"/>
                <a:gd name="connsiteY6" fmla="*/ 1002914 h 1811425"/>
                <a:gd name="connsiteX7" fmla="*/ 449576 w 528215"/>
                <a:gd name="connsiteY7" fmla="*/ 960050 h 1811425"/>
                <a:gd name="connsiteX8" fmla="*/ 411476 w 528215"/>
                <a:gd name="connsiteY8" fmla="*/ 1255325 h 1811425"/>
                <a:gd name="connsiteX9" fmla="*/ 416239 w 528215"/>
                <a:gd name="connsiteY9" fmla="*/ 1598225 h 1811425"/>
                <a:gd name="connsiteX10" fmla="*/ 409095 w 528215"/>
                <a:gd name="connsiteY10" fmla="*/ 1698238 h 1811425"/>
                <a:gd name="connsiteX11" fmla="*/ 509107 w 528215"/>
                <a:gd name="connsiteY11" fmla="*/ 1769677 h 1811425"/>
                <a:gd name="connsiteX12" fmla="*/ 304319 w 528215"/>
                <a:gd name="connsiteY12" fmla="*/ 1753007 h 1811425"/>
                <a:gd name="connsiteX13" fmla="*/ 285270 w 528215"/>
                <a:gd name="connsiteY13" fmla="*/ 1629182 h 1811425"/>
                <a:gd name="connsiteX14" fmla="*/ 273364 w 528215"/>
                <a:gd name="connsiteY14" fmla="*/ 1083875 h 1811425"/>
                <a:gd name="connsiteX15" fmla="*/ 259077 w 528215"/>
                <a:gd name="connsiteY15" fmla="*/ 1688713 h 1811425"/>
                <a:gd name="connsiteX16" fmla="*/ 251932 w 528215"/>
                <a:gd name="connsiteY16" fmla="*/ 1807775 h 1811425"/>
                <a:gd name="connsiteX17" fmla="*/ 147158 w 528215"/>
                <a:gd name="connsiteY17" fmla="*/ 1793489 h 1811425"/>
                <a:gd name="connsiteX18" fmla="*/ 106677 w 528215"/>
                <a:gd name="connsiteY18" fmla="*/ 1038633 h 1811425"/>
                <a:gd name="connsiteX19" fmla="*/ 44765 w 528215"/>
                <a:gd name="connsiteY19" fmla="*/ 988626 h 1811425"/>
                <a:gd name="connsiteX20" fmla="*/ 113821 w 528215"/>
                <a:gd name="connsiteY20" fmla="*/ 605245 h 1811425"/>
                <a:gd name="connsiteX21" fmla="*/ 4282 w 528215"/>
                <a:gd name="connsiteY21" fmla="*/ 555239 h 1811425"/>
                <a:gd name="connsiteX22" fmla="*/ 25713 w 528215"/>
                <a:gd name="connsiteY22" fmla="*/ 419508 h 1811425"/>
                <a:gd name="connsiteX23" fmla="*/ 44763 w 528215"/>
                <a:gd name="connsiteY23" fmla="*/ 305208 h 1811425"/>
                <a:gd name="connsiteX24" fmla="*/ 123345 w 528215"/>
                <a:gd name="connsiteY24" fmla="*/ 269489 h 1811425"/>
                <a:gd name="connsiteX0" fmla="*/ 123345 w 528215"/>
                <a:gd name="connsiteY0" fmla="*/ 269489 h 1811425"/>
                <a:gd name="connsiteX1" fmla="*/ 190020 w 528215"/>
                <a:gd name="connsiteY1" fmla="*/ 159952 h 1811425"/>
                <a:gd name="connsiteX2" fmla="*/ 349563 w 528215"/>
                <a:gd name="connsiteY2" fmla="*/ 26602 h 1811425"/>
                <a:gd name="connsiteX3" fmla="*/ 359088 w 528215"/>
                <a:gd name="connsiteY3" fmla="*/ 152809 h 1811425"/>
                <a:gd name="connsiteX4" fmla="*/ 335277 w 528215"/>
                <a:gd name="connsiteY4" fmla="*/ 224245 h 1811425"/>
                <a:gd name="connsiteX5" fmla="*/ 480533 w 528215"/>
                <a:gd name="connsiteY5" fmla="*/ 312351 h 1811425"/>
                <a:gd name="connsiteX6" fmla="*/ 523396 w 528215"/>
                <a:gd name="connsiteY6" fmla="*/ 1002914 h 1811425"/>
                <a:gd name="connsiteX7" fmla="*/ 449576 w 528215"/>
                <a:gd name="connsiteY7" fmla="*/ 960050 h 1811425"/>
                <a:gd name="connsiteX8" fmla="*/ 411476 w 528215"/>
                <a:gd name="connsiteY8" fmla="*/ 1255325 h 1811425"/>
                <a:gd name="connsiteX9" fmla="*/ 416239 w 528215"/>
                <a:gd name="connsiteY9" fmla="*/ 1598225 h 1811425"/>
                <a:gd name="connsiteX10" fmla="*/ 409095 w 528215"/>
                <a:gd name="connsiteY10" fmla="*/ 1698238 h 1811425"/>
                <a:gd name="connsiteX11" fmla="*/ 509107 w 528215"/>
                <a:gd name="connsiteY11" fmla="*/ 1769677 h 1811425"/>
                <a:gd name="connsiteX12" fmla="*/ 304319 w 528215"/>
                <a:gd name="connsiteY12" fmla="*/ 1753007 h 1811425"/>
                <a:gd name="connsiteX13" fmla="*/ 285270 w 528215"/>
                <a:gd name="connsiteY13" fmla="*/ 1629182 h 1811425"/>
                <a:gd name="connsiteX14" fmla="*/ 273364 w 528215"/>
                <a:gd name="connsiteY14" fmla="*/ 1083875 h 1811425"/>
                <a:gd name="connsiteX15" fmla="*/ 259077 w 528215"/>
                <a:gd name="connsiteY15" fmla="*/ 1688713 h 1811425"/>
                <a:gd name="connsiteX16" fmla="*/ 251932 w 528215"/>
                <a:gd name="connsiteY16" fmla="*/ 1807775 h 1811425"/>
                <a:gd name="connsiteX17" fmla="*/ 147158 w 528215"/>
                <a:gd name="connsiteY17" fmla="*/ 1793489 h 1811425"/>
                <a:gd name="connsiteX18" fmla="*/ 99532 w 528215"/>
                <a:gd name="connsiteY18" fmla="*/ 1650611 h 1811425"/>
                <a:gd name="connsiteX19" fmla="*/ 106677 w 528215"/>
                <a:gd name="connsiteY19" fmla="*/ 1038633 h 1811425"/>
                <a:gd name="connsiteX20" fmla="*/ 44765 w 528215"/>
                <a:gd name="connsiteY20" fmla="*/ 988626 h 1811425"/>
                <a:gd name="connsiteX21" fmla="*/ 113821 w 528215"/>
                <a:gd name="connsiteY21" fmla="*/ 605245 h 1811425"/>
                <a:gd name="connsiteX22" fmla="*/ 4282 w 528215"/>
                <a:gd name="connsiteY22" fmla="*/ 555239 h 1811425"/>
                <a:gd name="connsiteX23" fmla="*/ 25713 w 528215"/>
                <a:gd name="connsiteY23" fmla="*/ 419508 h 1811425"/>
                <a:gd name="connsiteX24" fmla="*/ 44763 w 528215"/>
                <a:gd name="connsiteY24" fmla="*/ 305208 h 1811425"/>
                <a:gd name="connsiteX25" fmla="*/ 123345 w 528215"/>
                <a:gd name="connsiteY25" fmla="*/ 269489 h 1811425"/>
                <a:gd name="connsiteX0" fmla="*/ 123345 w 528215"/>
                <a:gd name="connsiteY0" fmla="*/ 269489 h 1811425"/>
                <a:gd name="connsiteX1" fmla="*/ 190020 w 528215"/>
                <a:gd name="connsiteY1" fmla="*/ 159952 h 1811425"/>
                <a:gd name="connsiteX2" fmla="*/ 349563 w 528215"/>
                <a:gd name="connsiteY2" fmla="*/ 26602 h 1811425"/>
                <a:gd name="connsiteX3" fmla="*/ 359088 w 528215"/>
                <a:gd name="connsiteY3" fmla="*/ 152809 h 1811425"/>
                <a:gd name="connsiteX4" fmla="*/ 335277 w 528215"/>
                <a:gd name="connsiteY4" fmla="*/ 224245 h 1811425"/>
                <a:gd name="connsiteX5" fmla="*/ 480533 w 528215"/>
                <a:gd name="connsiteY5" fmla="*/ 312351 h 1811425"/>
                <a:gd name="connsiteX6" fmla="*/ 523396 w 528215"/>
                <a:gd name="connsiteY6" fmla="*/ 1002914 h 1811425"/>
                <a:gd name="connsiteX7" fmla="*/ 449576 w 528215"/>
                <a:gd name="connsiteY7" fmla="*/ 960050 h 1811425"/>
                <a:gd name="connsiteX8" fmla="*/ 411476 w 528215"/>
                <a:gd name="connsiteY8" fmla="*/ 1255325 h 1811425"/>
                <a:gd name="connsiteX9" fmla="*/ 416239 w 528215"/>
                <a:gd name="connsiteY9" fmla="*/ 1598225 h 1811425"/>
                <a:gd name="connsiteX10" fmla="*/ 409095 w 528215"/>
                <a:gd name="connsiteY10" fmla="*/ 1698238 h 1811425"/>
                <a:gd name="connsiteX11" fmla="*/ 509107 w 528215"/>
                <a:gd name="connsiteY11" fmla="*/ 1769677 h 1811425"/>
                <a:gd name="connsiteX12" fmla="*/ 304319 w 528215"/>
                <a:gd name="connsiteY12" fmla="*/ 1753007 h 1811425"/>
                <a:gd name="connsiteX13" fmla="*/ 285270 w 528215"/>
                <a:gd name="connsiteY13" fmla="*/ 1629182 h 1811425"/>
                <a:gd name="connsiteX14" fmla="*/ 273364 w 528215"/>
                <a:gd name="connsiteY14" fmla="*/ 1083875 h 1811425"/>
                <a:gd name="connsiteX15" fmla="*/ 259077 w 528215"/>
                <a:gd name="connsiteY15" fmla="*/ 1688713 h 1811425"/>
                <a:gd name="connsiteX16" fmla="*/ 251932 w 528215"/>
                <a:gd name="connsiteY16" fmla="*/ 1807775 h 1811425"/>
                <a:gd name="connsiteX17" fmla="*/ 147158 w 528215"/>
                <a:gd name="connsiteY17" fmla="*/ 1793489 h 1811425"/>
                <a:gd name="connsiteX18" fmla="*/ 99532 w 528215"/>
                <a:gd name="connsiteY18" fmla="*/ 1650611 h 1811425"/>
                <a:gd name="connsiteX19" fmla="*/ 106677 w 528215"/>
                <a:gd name="connsiteY19" fmla="*/ 1038633 h 1811425"/>
                <a:gd name="connsiteX20" fmla="*/ 44765 w 528215"/>
                <a:gd name="connsiteY20" fmla="*/ 988626 h 1811425"/>
                <a:gd name="connsiteX21" fmla="*/ 113821 w 528215"/>
                <a:gd name="connsiteY21" fmla="*/ 605245 h 1811425"/>
                <a:gd name="connsiteX22" fmla="*/ 4282 w 528215"/>
                <a:gd name="connsiteY22" fmla="*/ 555239 h 1811425"/>
                <a:gd name="connsiteX23" fmla="*/ 25713 w 528215"/>
                <a:gd name="connsiteY23" fmla="*/ 419508 h 1811425"/>
                <a:gd name="connsiteX24" fmla="*/ 44763 w 528215"/>
                <a:gd name="connsiteY24" fmla="*/ 305208 h 1811425"/>
                <a:gd name="connsiteX25" fmla="*/ 123345 w 528215"/>
                <a:gd name="connsiteY25" fmla="*/ 269489 h 1811425"/>
                <a:gd name="connsiteX0" fmla="*/ 123345 w 528215"/>
                <a:gd name="connsiteY0" fmla="*/ 269489 h 1811425"/>
                <a:gd name="connsiteX1" fmla="*/ 190020 w 528215"/>
                <a:gd name="connsiteY1" fmla="*/ 159952 h 1811425"/>
                <a:gd name="connsiteX2" fmla="*/ 349563 w 528215"/>
                <a:gd name="connsiteY2" fmla="*/ 26602 h 1811425"/>
                <a:gd name="connsiteX3" fmla="*/ 359088 w 528215"/>
                <a:gd name="connsiteY3" fmla="*/ 152809 h 1811425"/>
                <a:gd name="connsiteX4" fmla="*/ 335277 w 528215"/>
                <a:gd name="connsiteY4" fmla="*/ 224245 h 1811425"/>
                <a:gd name="connsiteX5" fmla="*/ 480533 w 528215"/>
                <a:gd name="connsiteY5" fmla="*/ 312351 h 1811425"/>
                <a:gd name="connsiteX6" fmla="*/ 523396 w 528215"/>
                <a:gd name="connsiteY6" fmla="*/ 1002914 h 1811425"/>
                <a:gd name="connsiteX7" fmla="*/ 449576 w 528215"/>
                <a:gd name="connsiteY7" fmla="*/ 960050 h 1811425"/>
                <a:gd name="connsiteX8" fmla="*/ 411476 w 528215"/>
                <a:gd name="connsiteY8" fmla="*/ 1255325 h 1811425"/>
                <a:gd name="connsiteX9" fmla="*/ 416239 w 528215"/>
                <a:gd name="connsiteY9" fmla="*/ 1598225 h 1811425"/>
                <a:gd name="connsiteX10" fmla="*/ 409095 w 528215"/>
                <a:gd name="connsiteY10" fmla="*/ 1698238 h 1811425"/>
                <a:gd name="connsiteX11" fmla="*/ 509107 w 528215"/>
                <a:gd name="connsiteY11" fmla="*/ 1769677 h 1811425"/>
                <a:gd name="connsiteX12" fmla="*/ 304319 w 528215"/>
                <a:gd name="connsiteY12" fmla="*/ 1753007 h 1811425"/>
                <a:gd name="connsiteX13" fmla="*/ 285270 w 528215"/>
                <a:gd name="connsiteY13" fmla="*/ 1629182 h 1811425"/>
                <a:gd name="connsiteX14" fmla="*/ 273364 w 528215"/>
                <a:gd name="connsiteY14" fmla="*/ 1083875 h 1811425"/>
                <a:gd name="connsiteX15" fmla="*/ 259077 w 528215"/>
                <a:gd name="connsiteY15" fmla="*/ 1688713 h 1811425"/>
                <a:gd name="connsiteX16" fmla="*/ 251932 w 528215"/>
                <a:gd name="connsiteY16" fmla="*/ 1807775 h 1811425"/>
                <a:gd name="connsiteX17" fmla="*/ 147158 w 528215"/>
                <a:gd name="connsiteY17" fmla="*/ 1793489 h 1811425"/>
                <a:gd name="connsiteX18" fmla="*/ 99532 w 528215"/>
                <a:gd name="connsiteY18" fmla="*/ 1650611 h 1811425"/>
                <a:gd name="connsiteX19" fmla="*/ 106677 w 528215"/>
                <a:gd name="connsiteY19" fmla="*/ 1038633 h 1811425"/>
                <a:gd name="connsiteX20" fmla="*/ 44765 w 528215"/>
                <a:gd name="connsiteY20" fmla="*/ 988626 h 1811425"/>
                <a:gd name="connsiteX21" fmla="*/ 113821 w 528215"/>
                <a:gd name="connsiteY21" fmla="*/ 605245 h 1811425"/>
                <a:gd name="connsiteX22" fmla="*/ 4282 w 528215"/>
                <a:gd name="connsiteY22" fmla="*/ 555239 h 1811425"/>
                <a:gd name="connsiteX23" fmla="*/ 25713 w 528215"/>
                <a:gd name="connsiteY23" fmla="*/ 419508 h 1811425"/>
                <a:gd name="connsiteX24" fmla="*/ 44763 w 528215"/>
                <a:gd name="connsiteY24" fmla="*/ 305208 h 1811425"/>
                <a:gd name="connsiteX25" fmla="*/ 123345 w 528215"/>
                <a:gd name="connsiteY25" fmla="*/ 269489 h 1811425"/>
                <a:gd name="connsiteX0" fmla="*/ 123345 w 528215"/>
                <a:gd name="connsiteY0" fmla="*/ 269489 h 1811425"/>
                <a:gd name="connsiteX1" fmla="*/ 190020 w 528215"/>
                <a:gd name="connsiteY1" fmla="*/ 159952 h 1811425"/>
                <a:gd name="connsiteX2" fmla="*/ 349563 w 528215"/>
                <a:gd name="connsiteY2" fmla="*/ 26602 h 1811425"/>
                <a:gd name="connsiteX3" fmla="*/ 359088 w 528215"/>
                <a:gd name="connsiteY3" fmla="*/ 152809 h 1811425"/>
                <a:gd name="connsiteX4" fmla="*/ 335277 w 528215"/>
                <a:gd name="connsiteY4" fmla="*/ 224245 h 1811425"/>
                <a:gd name="connsiteX5" fmla="*/ 480533 w 528215"/>
                <a:gd name="connsiteY5" fmla="*/ 312351 h 1811425"/>
                <a:gd name="connsiteX6" fmla="*/ 523396 w 528215"/>
                <a:gd name="connsiteY6" fmla="*/ 1002914 h 1811425"/>
                <a:gd name="connsiteX7" fmla="*/ 449576 w 528215"/>
                <a:gd name="connsiteY7" fmla="*/ 960050 h 1811425"/>
                <a:gd name="connsiteX8" fmla="*/ 411476 w 528215"/>
                <a:gd name="connsiteY8" fmla="*/ 1255325 h 1811425"/>
                <a:gd name="connsiteX9" fmla="*/ 416239 w 528215"/>
                <a:gd name="connsiteY9" fmla="*/ 1598225 h 1811425"/>
                <a:gd name="connsiteX10" fmla="*/ 409095 w 528215"/>
                <a:gd name="connsiteY10" fmla="*/ 1698238 h 1811425"/>
                <a:gd name="connsiteX11" fmla="*/ 509107 w 528215"/>
                <a:gd name="connsiteY11" fmla="*/ 1769677 h 1811425"/>
                <a:gd name="connsiteX12" fmla="*/ 304319 w 528215"/>
                <a:gd name="connsiteY12" fmla="*/ 1753007 h 1811425"/>
                <a:gd name="connsiteX13" fmla="*/ 285270 w 528215"/>
                <a:gd name="connsiteY13" fmla="*/ 1629182 h 1811425"/>
                <a:gd name="connsiteX14" fmla="*/ 273364 w 528215"/>
                <a:gd name="connsiteY14" fmla="*/ 1083875 h 1811425"/>
                <a:gd name="connsiteX15" fmla="*/ 259077 w 528215"/>
                <a:gd name="connsiteY15" fmla="*/ 1688713 h 1811425"/>
                <a:gd name="connsiteX16" fmla="*/ 251932 w 528215"/>
                <a:gd name="connsiteY16" fmla="*/ 1807775 h 1811425"/>
                <a:gd name="connsiteX17" fmla="*/ 147158 w 528215"/>
                <a:gd name="connsiteY17" fmla="*/ 1793489 h 1811425"/>
                <a:gd name="connsiteX18" fmla="*/ 99532 w 528215"/>
                <a:gd name="connsiteY18" fmla="*/ 1650611 h 1811425"/>
                <a:gd name="connsiteX19" fmla="*/ 123345 w 528215"/>
                <a:gd name="connsiteY19" fmla="*/ 1526786 h 1811425"/>
                <a:gd name="connsiteX20" fmla="*/ 106677 w 528215"/>
                <a:gd name="connsiteY20" fmla="*/ 1038633 h 1811425"/>
                <a:gd name="connsiteX21" fmla="*/ 44765 w 528215"/>
                <a:gd name="connsiteY21" fmla="*/ 988626 h 1811425"/>
                <a:gd name="connsiteX22" fmla="*/ 113821 w 528215"/>
                <a:gd name="connsiteY22" fmla="*/ 605245 h 1811425"/>
                <a:gd name="connsiteX23" fmla="*/ 4282 w 528215"/>
                <a:gd name="connsiteY23" fmla="*/ 555239 h 1811425"/>
                <a:gd name="connsiteX24" fmla="*/ 25713 w 528215"/>
                <a:gd name="connsiteY24" fmla="*/ 419508 h 1811425"/>
                <a:gd name="connsiteX25" fmla="*/ 44763 w 528215"/>
                <a:gd name="connsiteY25" fmla="*/ 305208 h 1811425"/>
                <a:gd name="connsiteX26" fmla="*/ 123345 w 528215"/>
                <a:gd name="connsiteY26" fmla="*/ 269489 h 1811425"/>
                <a:gd name="connsiteX0" fmla="*/ 123345 w 528215"/>
                <a:gd name="connsiteY0" fmla="*/ 269489 h 1811425"/>
                <a:gd name="connsiteX1" fmla="*/ 190020 w 528215"/>
                <a:gd name="connsiteY1" fmla="*/ 159952 h 1811425"/>
                <a:gd name="connsiteX2" fmla="*/ 349563 w 528215"/>
                <a:gd name="connsiteY2" fmla="*/ 26602 h 1811425"/>
                <a:gd name="connsiteX3" fmla="*/ 359088 w 528215"/>
                <a:gd name="connsiteY3" fmla="*/ 152809 h 1811425"/>
                <a:gd name="connsiteX4" fmla="*/ 335277 w 528215"/>
                <a:gd name="connsiteY4" fmla="*/ 224245 h 1811425"/>
                <a:gd name="connsiteX5" fmla="*/ 480533 w 528215"/>
                <a:gd name="connsiteY5" fmla="*/ 312351 h 1811425"/>
                <a:gd name="connsiteX6" fmla="*/ 523396 w 528215"/>
                <a:gd name="connsiteY6" fmla="*/ 1002914 h 1811425"/>
                <a:gd name="connsiteX7" fmla="*/ 449576 w 528215"/>
                <a:gd name="connsiteY7" fmla="*/ 960050 h 1811425"/>
                <a:gd name="connsiteX8" fmla="*/ 411476 w 528215"/>
                <a:gd name="connsiteY8" fmla="*/ 1255325 h 1811425"/>
                <a:gd name="connsiteX9" fmla="*/ 416239 w 528215"/>
                <a:gd name="connsiteY9" fmla="*/ 1598225 h 1811425"/>
                <a:gd name="connsiteX10" fmla="*/ 409095 w 528215"/>
                <a:gd name="connsiteY10" fmla="*/ 1698238 h 1811425"/>
                <a:gd name="connsiteX11" fmla="*/ 509107 w 528215"/>
                <a:gd name="connsiteY11" fmla="*/ 1769677 h 1811425"/>
                <a:gd name="connsiteX12" fmla="*/ 304319 w 528215"/>
                <a:gd name="connsiteY12" fmla="*/ 1753007 h 1811425"/>
                <a:gd name="connsiteX13" fmla="*/ 285270 w 528215"/>
                <a:gd name="connsiteY13" fmla="*/ 1629182 h 1811425"/>
                <a:gd name="connsiteX14" fmla="*/ 273364 w 528215"/>
                <a:gd name="connsiteY14" fmla="*/ 1083875 h 1811425"/>
                <a:gd name="connsiteX15" fmla="*/ 259077 w 528215"/>
                <a:gd name="connsiteY15" fmla="*/ 1688713 h 1811425"/>
                <a:gd name="connsiteX16" fmla="*/ 251932 w 528215"/>
                <a:gd name="connsiteY16" fmla="*/ 1807775 h 1811425"/>
                <a:gd name="connsiteX17" fmla="*/ 147158 w 528215"/>
                <a:gd name="connsiteY17" fmla="*/ 1793489 h 1811425"/>
                <a:gd name="connsiteX18" fmla="*/ 106676 w 528215"/>
                <a:gd name="connsiteY18" fmla="*/ 1655373 h 1811425"/>
                <a:gd name="connsiteX19" fmla="*/ 123345 w 528215"/>
                <a:gd name="connsiteY19" fmla="*/ 1526786 h 1811425"/>
                <a:gd name="connsiteX20" fmla="*/ 106677 w 528215"/>
                <a:gd name="connsiteY20" fmla="*/ 1038633 h 1811425"/>
                <a:gd name="connsiteX21" fmla="*/ 44765 w 528215"/>
                <a:gd name="connsiteY21" fmla="*/ 988626 h 1811425"/>
                <a:gd name="connsiteX22" fmla="*/ 113821 w 528215"/>
                <a:gd name="connsiteY22" fmla="*/ 605245 h 1811425"/>
                <a:gd name="connsiteX23" fmla="*/ 4282 w 528215"/>
                <a:gd name="connsiteY23" fmla="*/ 555239 h 1811425"/>
                <a:gd name="connsiteX24" fmla="*/ 25713 w 528215"/>
                <a:gd name="connsiteY24" fmla="*/ 419508 h 1811425"/>
                <a:gd name="connsiteX25" fmla="*/ 44763 w 528215"/>
                <a:gd name="connsiteY25" fmla="*/ 305208 h 1811425"/>
                <a:gd name="connsiteX26" fmla="*/ 123345 w 528215"/>
                <a:gd name="connsiteY26" fmla="*/ 269489 h 1811425"/>
                <a:gd name="connsiteX0" fmla="*/ 123345 w 528215"/>
                <a:gd name="connsiteY0" fmla="*/ 269489 h 1811425"/>
                <a:gd name="connsiteX1" fmla="*/ 190020 w 528215"/>
                <a:gd name="connsiteY1" fmla="*/ 159952 h 1811425"/>
                <a:gd name="connsiteX2" fmla="*/ 349563 w 528215"/>
                <a:gd name="connsiteY2" fmla="*/ 26602 h 1811425"/>
                <a:gd name="connsiteX3" fmla="*/ 359088 w 528215"/>
                <a:gd name="connsiteY3" fmla="*/ 152809 h 1811425"/>
                <a:gd name="connsiteX4" fmla="*/ 335277 w 528215"/>
                <a:gd name="connsiteY4" fmla="*/ 224245 h 1811425"/>
                <a:gd name="connsiteX5" fmla="*/ 480533 w 528215"/>
                <a:gd name="connsiteY5" fmla="*/ 312351 h 1811425"/>
                <a:gd name="connsiteX6" fmla="*/ 523396 w 528215"/>
                <a:gd name="connsiteY6" fmla="*/ 1002914 h 1811425"/>
                <a:gd name="connsiteX7" fmla="*/ 449576 w 528215"/>
                <a:gd name="connsiteY7" fmla="*/ 960050 h 1811425"/>
                <a:gd name="connsiteX8" fmla="*/ 411476 w 528215"/>
                <a:gd name="connsiteY8" fmla="*/ 1255325 h 1811425"/>
                <a:gd name="connsiteX9" fmla="*/ 416239 w 528215"/>
                <a:gd name="connsiteY9" fmla="*/ 1598225 h 1811425"/>
                <a:gd name="connsiteX10" fmla="*/ 409095 w 528215"/>
                <a:gd name="connsiteY10" fmla="*/ 1698238 h 1811425"/>
                <a:gd name="connsiteX11" fmla="*/ 509107 w 528215"/>
                <a:gd name="connsiteY11" fmla="*/ 1769677 h 1811425"/>
                <a:gd name="connsiteX12" fmla="*/ 304319 w 528215"/>
                <a:gd name="connsiteY12" fmla="*/ 1753007 h 1811425"/>
                <a:gd name="connsiteX13" fmla="*/ 285270 w 528215"/>
                <a:gd name="connsiteY13" fmla="*/ 1629182 h 1811425"/>
                <a:gd name="connsiteX14" fmla="*/ 273364 w 528215"/>
                <a:gd name="connsiteY14" fmla="*/ 1083875 h 1811425"/>
                <a:gd name="connsiteX15" fmla="*/ 259077 w 528215"/>
                <a:gd name="connsiteY15" fmla="*/ 1688713 h 1811425"/>
                <a:gd name="connsiteX16" fmla="*/ 251932 w 528215"/>
                <a:gd name="connsiteY16" fmla="*/ 1807775 h 1811425"/>
                <a:gd name="connsiteX17" fmla="*/ 147158 w 528215"/>
                <a:gd name="connsiteY17" fmla="*/ 1793489 h 1811425"/>
                <a:gd name="connsiteX18" fmla="*/ 106676 w 528215"/>
                <a:gd name="connsiteY18" fmla="*/ 1655373 h 1811425"/>
                <a:gd name="connsiteX19" fmla="*/ 123345 w 528215"/>
                <a:gd name="connsiteY19" fmla="*/ 1526786 h 1811425"/>
                <a:gd name="connsiteX20" fmla="*/ 106677 w 528215"/>
                <a:gd name="connsiteY20" fmla="*/ 1038633 h 1811425"/>
                <a:gd name="connsiteX21" fmla="*/ 44765 w 528215"/>
                <a:gd name="connsiteY21" fmla="*/ 988626 h 1811425"/>
                <a:gd name="connsiteX22" fmla="*/ 113821 w 528215"/>
                <a:gd name="connsiteY22" fmla="*/ 605245 h 1811425"/>
                <a:gd name="connsiteX23" fmla="*/ 4282 w 528215"/>
                <a:gd name="connsiteY23" fmla="*/ 555239 h 1811425"/>
                <a:gd name="connsiteX24" fmla="*/ 25713 w 528215"/>
                <a:gd name="connsiteY24" fmla="*/ 419508 h 1811425"/>
                <a:gd name="connsiteX25" fmla="*/ 44763 w 528215"/>
                <a:gd name="connsiteY25" fmla="*/ 305208 h 1811425"/>
                <a:gd name="connsiteX26" fmla="*/ 123345 w 528215"/>
                <a:gd name="connsiteY26" fmla="*/ 269489 h 1811425"/>
                <a:gd name="connsiteX0" fmla="*/ 123345 w 528215"/>
                <a:gd name="connsiteY0" fmla="*/ 269489 h 1811425"/>
                <a:gd name="connsiteX1" fmla="*/ 190020 w 528215"/>
                <a:gd name="connsiteY1" fmla="*/ 159952 h 1811425"/>
                <a:gd name="connsiteX2" fmla="*/ 349563 w 528215"/>
                <a:gd name="connsiteY2" fmla="*/ 26602 h 1811425"/>
                <a:gd name="connsiteX3" fmla="*/ 359088 w 528215"/>
                <a:gd name="connsiteY3" fmla="*/ 152809 h 1811425"/>
                <a:gd name="connsiteX4" fmla="*/ 335277 w 528215"/>
                <a:gd name="connsiteY4" fmla="*/ 224245 h 1811425"/>
                <a:gd name="connsiteX5" fmla="*/ 480533 w 528215"/>
                <a:gd name="connsiteY5" fmla="*/ 312351 h 1811425"/>
                <a:gd name="connsiteX6" fmla="*/ 523396 w 528215"/>
                <a:gd name="connsiteY6" fmla="*/ 1002914 h 1811425"/>
                <a:gd name="connsiteX7" fmla="*/ 449576 w 528215"/>
                <a:gd name="connsiteY7" fmla="*/ 960050 h 1811425"/>
                <a:gd name="connsiteX8" fmla="*/ 411476 w 528215"/>
                <a:gd name="connsiteY8" fmla="*/ 1255325 h 1811425"/>
                <a:gd name="connsiteX9" fmla="*/ 416239 w 528215"/>
                <a:gd name="connsiteY9" fmla="*/ 1598225 h 1811425"/>
                <a:gd name="connsiteX10" fmla="*/ 409095 w 528215"/>
                <a:gd name="connsiteY10" fmla="*/ 1698238 h 1811425"/>
                <a:gd name="connsiteX11" fmla="*/ 509107 w 528215"/>
                <a:gd name="connsiteY11" fmla="*/ 1769677 h 1811425"/>
                <a:gd name="connsiteX12" fmla="*/ 304319 w 528215"/>
                <a:gd name="connsiteY12" fmla="*/ 1753007 h 1811425"/>
                <a:gd name="connsiteX13" fmla="*/ 285270 w 528215"/>
                <a:gd name="connsiteY13" fmla="*/ 1629182 h 1811425"/>
                <a:gd name="connsiteX14" fmla="*/ 273364 w 528215"/>
                <a:gd name="connsiteY14" fmla="*/ 1083875 h 1811425"/>
                <a:gd name="connsiteX15" fmla="*/ 218595 w 528215"/>
                <a:gd name="connsiteY15" fmla="*/ 1483923 h 1811425"/>
                <a:gd name="connsiteX16" fmla="*/ 259077 w 528215"/>
                <a:gd name="connsiteY16" fmla="*/ 1688713 h 1811425"/>
                <a:gd name="connsiteX17" fmla="*/ 251932 w 528215"/>
                <a:gd name="connsiteY17" fmla="*/ 1807775 h 1811425"/>
                <a:gd name="connsiteX18" fmla="*/ 147158 w 528215"/>
                <a:gd name="connsiteY18" fmla="*/ 1793489 h 1811425"/>
                <a:gd name="connsiteX19" fmla="*/ 106676 w 528215"/>
                <a:gd name="connsiteY19" fmla="*/ 1655373 h 1811425"/>
                <a:gd name="connsiteX20" fmla="*/ 123345 w 528215"/>
                <a:gd name="connsiteY20" fmla="*/ 1526786 h 1811425"/>
                <a:gd name="connsiteX21" fmla="*/ 106677 w 528215"/>
                <a:gd name="connsiteY21" fmla="*/ 1038633 h 1811425"/>
                <a:gd name="connsiteX22" fmla="*/ 44765 w 528215"/>
                <a:gd name="connsiteY22" fmla="*/ 988626 h 1811425"/>
                <a:gd name="connsiteX23" fmla="*/ 113821 w 528215"/>
                <a:gd name="connsiteY23" fmla="*/ 605245 h 1811425"/>
                <a:gd name="connsiteX24" fmla="*/ 4282 w 528215"/>
                <a:gd name="connsiteY24" fmla="*/ 555239 h 1811425"/>
                <a:gd name="connsiteX25" fmla="*/ 25713 w 528215"/>
                <a:gd name="connsiteY25" fmla="*/ 419508 h 1811425"/>
                <a:gd name="connsiteX26" fmla="*/ 44763 w 528215"/>
                <a:gd name="connsiteY26" fmla="*/ 305208 h 1811425"/>
                <a:gd name="connsiteX27" fmla="*/ 123345 w 528215"/>
                <a:gd name="connsiteY27" fmla="*/ 269489 h 1811425"/>
                <a:gd name="connsiteX0" fmla="*/ 123345 w 528215"/>
                <a:gd name="connsiteY0" fmla="*/ 269489 h 1811425"/>
                <a:gd name="connsiteX1" fmla="*/ 190020 w 528215"/>
                <a:gd name="connsiteY1" fmla="*/ 159952 h 1811425"/>
                <a:gd name="connsiteX2" fmla="*/ 349563 w 528215"/>
                <a:gd name="connsiteY2" fmla="*/ 26602 h 1811425"/>
                <a:gd name="connsiteX3" fmla="*/ 359088 w 528215"/>
                <a:gd name="connsiteY3" fmla="*/ 152809 h 1811425"/>
                <a:gd name="connsiteX4" fmla="*/ 335277 w 528215"/>
                <a:gd name="connsiteY4" fmla="*/ 224245 h 1811425"/>
                <a:gd name="connsiteX5" fmla="*/ 480533 w 528215"/>
                <a:gd name="connsiteY5" fmla="*/ 312351 h 1811425"/>
                <a:gd name="connsiteX6" fmla="*/ 523396 w 528215"/>
                <a:gd name="connsiteY6" fmla="*/ 1002914 h 1811425"/>
                <a:gd name="connsiteX7" fmla="*/ 449576 w 528215"/>
                <a:gd name="connsiteY7" fmla="*/ 960050 h 1811425"/>
                <a:gd name="connsiteX8" fmla="*/ 411476 w 528215"/>
                <a:gd name="connsiteY8" fmla="*/ 1255325 h 1811425"/>
                <a:gd name="connsiteX9" fmla="*/ 416239 w 528215"/>
                <a:gd name="connsiteY9" fmla="*/ 1598225 h 1811425"/>
                <a:gd name="connsiteX10" fmla="*/ 409095 w 528215"/>
                <a:gd name="connsiteY10" fmla="*/ 1698238 h 1811425"/>
                <a:gd name="connsiteX11" fmla="*/ 509107 w 528215"/>
                <a:gd name="connsiteY11" fmla="*/ 1769677 h 1811425"/>
                <a:gd name="connsiteX12" fmla="*/ 304319 w 528215"/>
                <a:gd name="connsiteY12" fmla="*/ 1753007 h 1811425"/>
                <a:gd name="connsiteX13" fmla="*/ 285270 w 528215"/>
                <a:gd name="connsiteY13" fmla="*/ 1629182 h 1811425"/>
                <a:gd name="connsiteX14" fmla="*/ 273364 w 528215"/>
                <a:gd name="connsiteY14" fmla="*/ 1083875 h 1811425"/>
                <a:gd name="connsiteX15" fmla="*/ 218595 w 528215"/>
                <a:gd name="connsiteY15" fmla="*/ 1483923 h 1811425"/>
                <a:gd name="connsiteX16" fmla="*/ 259077 w 528215"/>
                <a:gd name="connsiteY16" fmla="*/ 1688713 h 1811425"/>
                <a:gd name="connsiteX17" fmla="*/ 251932 w 528215"/>
                <a:gd name="connsiteY17" fmla="*/ 1807775 h 1811425"/>
                <a:gd name="connsiteX18" fmla="*/ 147158 w 528215"/>
                <a:gd name="connsiteY18" fmla="*/ 1793489 h 1811425"/>
                <a:gd name="connsiteX19" fmla="*/ 106676 w 528215"/>
                <a:gd name="connsiteY19" fmla="*/ 1655373 h 1811425"/>
                <a:gd name="connsiteX20" fmla="*/ 123345 w 528215"/>
                <a:gd name="connsiteY20" fmla="*/ 1526786 h 1811425"/>
                <a:gd name="connsiteX21" fmla="*/ 106677 w 528215"/>
                <a:gd name="connsiteY21" fmla="*/ 1038633 h 1811425"/>
                <a:gd name="connsiteX22" fmla="*/ 44765 w 528215"/>
                <a:gd name="connsiteY22" fmla="*/ 988626 h 1811425"/>
                <a:gd name="connsiteX23" fmla="*/ 113821 w 528215"/>
                <a:gd name="connsiteY23" fmla="*/ 605245 h 1811425"/>
                <a:gd name="connsiteX24" fmla="*/ 4282 w 528215"/>
                <a:gd name="connsiteY24" fmla="*/ 555239 h 1811425"/>
                <a:gd name="connsiteX25" fmla="*/ 25713 w 528215"/>
                <a:gd name="connsiteY25" fmla="*/ 419508 h 1811425"/>
                <a:gd name="connsiteX26" fmla="*/ 44763 w 528215"/>
                <a:gd name="connsiteY26" fmla="*/ 305208 h 1811425"/>
                <a:gd name="connsiteX27" fmla="*/ 123345 w 528215"/>
                <a:gd name="connsiteY27" fmla="*/ 269489 h 1811425"/>
                <a:gd name="connsiteX0" fmla="*/ 123345 w 528215"/>
                <a:gd name="connsiteY0" fmla="*/ 269489 h 1811425"/>
                <a:gd name="connsiteX1" fmla="*/ 190020 w 528215"/>
                <a:gd name="connsiteY1" fmla="*/ 159952 h 1811425"/>
                <a:gd name="connsiteX2" fmla="*/ 349563 w 528215"/>
                <a:gd name="connsiteY2" fmla="*/ 26602 h 1811425"/>
                <a:gd name="connsiteX3" fmla="*/ 359088 w 528215"/>
                <a:gd name="connsiteY3" fmla="*/ 152809 h 1811425"/>
                <a:gd name="connsiteX4" fmla="*/ 335277 w 528215"/>
                <a:gd name="connsiteY4" fmla="*/ 224245 h 1811425"/>
                <a:gd name="connsiteX5" fmla="*/ 480533 w 528215"/>
                <a:gd name="connsiteY5" fmla="*/ 312351 h 1811425"/>
                <a:gd name="connsiteX6" fmla="*/ 523396 w 528215"/>
                <a:gd name="connsiteY6" fmla="*/ 1002914 h 1811425"/>
                <a:gd name="connsiteX7" fmla="*/ 449576 w 528215"/>
                <a:gd name="connsiteY7" fmla="*/ 960050 h 1811425"/>
                <a:gd name="connsiteX8" fmla="*/ 411476 w 528215"/>
                <a:gd name="connsiteY8" fmla="*/ 1255325 h 1811425"/>
                <a:gd name="connsiteX9" fmla="*/ 416239 w 528215"/>
                <a:gd name="connsiteY9" fmla="*/ 1598225 h 1811425"/>
                <a:gd name="connsiteX10" fmla="*/ 409095 w 528215"/>
                <a:gd name="connsiteY10" fmla="*/ 1698238 h 1811425"/>
                <a:gd name="connsiteX11" fmla="*/ 509107 w 528215"/>
                <a:gd name="connsiteY11" fmla="*/ 1769677 h 1811425"/>
                <a:gd name="connsiteX12" fmla="*/ 304319 w 528215"/>
                <a:gd name="connsiteY12" fmla="*/ 1753007 h 1811425"/>
                <a:gd name="connsiteX13" fmla="*/ 285270 w 528215"/>
                <a:gd name="connsiteY13" fmla="*/ 1629182 h 1811425"/>
                <a:gd name="connsiteX14" fmla="*/ 273364 w 528215"/>
                <a:gd name="connsiteY14" fmla="*/ 1083875 h 1811425"/>
                <a:gd name="connsiteX15" fmla="*/ 218595 w 528215"/>
                <a:gd name="connsiteY15" fmla="*/ 1483923 h 1811425"/>
                <a:gd name="connsiteX16" fmla="*/ 259077 w 528215"/>
                <a:gd name="connsiteY16" fmla="*/ 1688713 h 1811425"/>
                <a:gd name="connsiteX17" fmla="*/ 251932 w 528215"/>
                <a:gd name="connsiteY17" fmla="*/ 1807775 h 1811425"/>
                <a:gd name="connsiteX18" fmla="*/ 147158 w 528215"/>
                <a:gd name="connsiteY18" fmla="*/ 1793489 h 1811425"/>
                <a:gd name="connsiteX19" fmla="*/ 106676 w 528215"/>
                <a:gd name="connsiteY19" fmla="*/ 1655373 h 1811425"/>
                <a:gd name="connsiteX20" fmla="*/ 123345 w 528215"/>
                <a:gd name="connsiteY20" fmla="*/ 1526786 h 1811425"/>
                <a:gd name="connsiteX21" fmla="*/ 106677 w 528215"/>
                <a:gd name="connsiteY21" fmla="*/ 1038633 h 1811425"/>
                <a:gd name="connsiteX22" fmla="*/ 44765 w 528215"/>
                <a:gd name="connsiteY22" fmla="*/ 988626 h 1811425"/>
                <a:gd name="connsiteX23" fmla="*/ 113821 w 528215"/>
                <a:gd name="connsiteY23" fmla="*/ 605245 h 1811425"/>
                <a:gd name="connsiteX24" fmla="*/ 4282 w 528215"/>
                <a:gd name="connsiteY24" fmla="*/ 555239 h 1811425"/>
                <a:gd name="connsiteX25" fmla="*/ 25713 w 528215"/>
                <a:gd name="connsiteY25" fmla="*/ 419508 h 1811425"/>
                <a:gd name="connsiteX26" fmla="*/ 44763 w 528215"/>
                <a:gd name="connsiteY26" fmla="*/ 305208 h 1811425"/>
                <a:gd name="connsiteX27" fmla="*/ 123345 w 528215"/>
                <a:gd name="connsiteY27" fmla="*/ 269489 h 1811425"/>
                <a:gd name="connsiteX0" fmla="*/ 123345 w 528215"/>
                <a:gd name="connsiteY0" fmla="*/ 269489 h 1811425"/>
                <a:gd name="connsiteX1" fmla="*/ 190020 w 528215"/>
                <a:gd name="connsiteY1" fmla="*/ 159952 h 1811425"/>
                <a:gd name="connsiteX2" fmla="*/ 349563 w 528215"/>
                <a:gd name="connsiteY2" fmla="*/ 26602 h 1811425"/>
                <a:gd name="connsiteX3" fmla="*/ 359088 w 528215"/>
                <a:gd name="connsiteY3" fmla="*/ 152809 h 1811425"/>
                <a:gd name="connsiteX4" fmla="*/ 335277 w 528215"/>
                <a:gd name="connsiteY4" fmla="*/ 224245 h 1811425"/>
                <a:gd name="connsiteX5" fmla="*/ 480533 w 528215"/>
                <a:gd name="connsiteY5" fmla="*/ 312351 h 1811425"/>
                <a:gd name="connsiteX6" fmla="*/ 523396 w 528215"/>
                <a:gd name="connsiteY6" fmla="*/ 1002914 h 1811425"/>
                <a:gd name="connsiteX7" fmla="*/ 449576 w 528215"/>
                <a:gd name="connsiteY7" fmla="*/ 960050 h 1811425"/>
                <a:gd name="connsiteX8" fmla="*/ 411476 w 528215"/>
                <a:gd name="connsiteY8" fmla="*/ 1255325 h 1811425"/>
                <a:gd name="connsiteX9" fmla="*/ 416239 w 528215"/>
                <a:gd name="connsiteY9" fmla="*/ 1598225 h 1811425"/>
                <a:gd name="connsiteX10" fmla="*/ 409095 w 528215"/>
                <a:gd name="connsiteY10" fmla="*/ 1698238 h 1811425"/>
                <a:gd name="connsiteX11" fmla="*/ 509107 w 528215"/>
                <a:gd name="connsiteY11" fmla="*/ 1769677 h 1811425"/>
                <a:gd name="connsiteX12" fmla="*/ 304319 w 528215"/>
                <a:gd name="connsiteY12" fmla="*/ 1753007 h 1811425"/>
                <a:gd name="connsiteX13" fmla="*/ 285270 w 528215"/>
                <a:gd name="connsiteY13" fmla="*/ 1629182 h 1811425"/>
                <a:gd name="connsiteX14" fmla="*/ 273364 w 528215"/>
                <a:gd name="connsiteY14" fmla="*/ 1083875 h 1811425"/>
                <a:gd name="connsiteX15" fmla="*/ 218595 w 528215"/>
                <a:gd name="connsiteY15" fmla="*/ 1483923 h 1811425"/>
                <a:gd name="connsiteX16" fmla="*/ 259077 w 528215"/>
                <a:gd name="connsiteY16" fmla="*/ 1688713 h 1811425"/>
                <a:gd name="connsiteX17" fmla="*/ 251932 w 528215"/>
                <a:gd name="connsiteY17" fmla="*/ 1807775 h 1811425"/>
                <a:gd name="connsiteX18" fmla="*/ 147158 w 528215"/>
                <a:gd name="connsiteY18" fmla="*/ 1793489 h 1811425"/>
                <a:gd name="connsiteX19" fmla="*/ 106676 w 528215"/>
                <a:gd name="connsiteY19" fmla="*/ 1655373 h 1811425"/>
                <a:gd name="connsiteX20" fmla="*/ 123345 w 528215"/>
                <a:gd name="connsiteY20" fmla="*/ 1526786 h 1811425"/>
                <a:gd name="connsiteX21" fmla="*/ 106677 w 528215"/>
                <a:gd name="connsiteY21" fmla="*/ 1038633 h 1811425"/>
                <a:gd name="connsiteX22" fmla="*/ 44765 w 528215"/>
                <a:gd name="connsiteY22" fmla="*/ 988626 h 1811425"/>
                <a:gd name="connsiteX23" fmla="*/ 113821 w 528215"/>
                <a:gd name="connsiteY23" fmla="*/ 605245 h 1811425"/>
                <a:gd name="connsiteX24" fmla="*/ 4282 w 528215"/>
                <a:gd name="connsiteY24" fmla="*/ 555239 h 1811425"/>
                <a:gd name="connsiteX25" fmla="*/ 25713 w 528215"/>
                <a:gd name="connsiteY25" fmla="*/ 419508 h 1811425"/>
                <a:gd name="connsiteX26" fmla="*/ 44763 w 528215"/>
                <a:gd name="connsiteY26" fmla="*/ 305208 h 1811425"/>
                <a:gd name="connsiteX27" fmla="*/ 123345 w 528215"/>
                <a:gd name="connsiteY27" fmla="*/ 269489 h 1811425"/>
                <a:gd name="connsiteX0" fmla="*/ 123345 w 528215"/>
                <a:gd name="connsiteY0" fmla="*/ 269489 h 1811425"/>
                <a:gd name="connsiteX1" fmla="*/ 190020 w 528215"/>
                <a:gd name="connsiteY1" fmla="*/ 159952 h 1811425"/>
                <a:gd name="connsiteX2" fmla="*/ 349563 w 528215"/>
                <a:gd name="connsiteY2" fmla="*/ 26602 h 1811425"/>
                <a:gd name="connsiteX3" fmla="*/ 359088 w 528215"/>
                <a:gd name="connsiteY3" fmla="*/ 152809 h 1811425"/>
                <a:gd name="connsiteX4" fmla="*/ 335277 w 528215"/>
                <a:gd name="connsiteY4" fmla="*/ 224245 h 1811425"/>
                <a:gd name="connsiteX5" fmla="*/ 480533 w 528215"/>
                <a:gd name="connsiteY5" fmla="*/ 312351 h 1811425"/>
                <a:gd name="connsiteX6" fmla="*/ 523396 w 528215"/>
                <a:gd name="connsiteY6" fmla="*/ 1002914 h 1811425"/>
                <a:gd name="connsiteX7" fmla="*/ 449576 w 528215"/>
                <a:gd name="connsiteY7" fmla="*/ 960050 h 1811425"/>
                <a:gd name="connsiteX8" fmla="*/ 411476 w 528215"/>
                <a:gd name="connsiteY8" fmla="*/ 1255325 h 1811425"/>
                <a:gd name="connsiteX9" fmla="*/ 416239 w 528215"/>
                <a:gd name="connsiteY9" fmla="*/ 1598225 h 1811425"/>
                <a:gd name="connsiteX10" fmla="*/ 409095 w 528215"/>
                <a:gd name="connsiteY10" fmla="*/ 1698238 h 1811425"/>
                <a:gd name="connsiteX11" fmla="*/ 509107 w 528215"/>
                <a:gd name="connsiteY11" fmla="*/ 1769677 h 1811425"/>
                <a:gd name="connsiteX12" fmla="*/ 304319 w 528215"/>
                <a:gd name="connsiteY12" fmla="*/ 1753007 h 1811425"/>
                <a:gd name="connsiteX13" fmla="*/ 285270 w 528215"/>
                <a:gd name="connsiteY13" fmla="*/ 1629182 h 1811425"/>
                <a:gd name="connsiteX14" fmla="*/ 273364 w 528215"/>
                <a:gd name="connsiteY14" fmla="*/ 1083875 h 1811425"/>
                <a:gd name="connsiteX15" fmla="*/ 218595 w 528215"/>
                <a:gd name="connsiteY15" fmla="*/ 1483923 h 1811425"/>
                <a:gd name="connsiteX16" fmla="*/ 259077 w 528215"/>
                <a:gd name="connsiteY16" fmla="*/ 1688713 h 1811425"/>
                <a:gd name="connsiteX17" fmla="*/ 251932 w 528215"/>
                <a:gd name="connsiteY17" fmla="*/ 1807775 h 1811425"/>
                <a:gd name="connsiteX18" fmla="*/ 147158 w 528215"/>
                <a:gd name="connsiteY18" fmla="*/ 1793489 h 1811425"/>
                <a:gd name="connsiteX19" fmla="*/ 106676 w 528215"/>
                <a:gd name="connsiteY19" fmla="*/ 1655373 h 1811425"/>
                <a:gd name="connsiteX20" fmla="*/ 123345 w 528215"/>
                <a:gd name="connsiteY20" fmla="*/ 1526786 h 1811425"/>
                <a:gd name="connsiteX21" fmla="*/ 106677 w 528215"/>
                <a:gd name="connsiteY21" fmla="*/ 1038633 h 1811425"/>
                <a:gd name="connsiteX22" fmla="*/ 44765 w 528215"/>
                <a:gd name="connsiteY22" fmla="*/ 988626 h 1811425"/>
                <a:gd name="connsiteX23" fmla="*/ 113821 w 528215"/>
                <a:gd name="connsiteY23" fmla="*/ 605245 h 1811425"/>
                <a:gd name="connsiteX24" fmla="*/ 4282 w 528215"/>
                <a:gd name="connsiteY24" fmla="*/ 555239 h 1811425"/>
                <a:gd name="connsiteX25" fmla="*/ 25713 w 528215"/>
                <a:gd name="connsiteY25" fmla="*/ 419508 h 1811425"/>
                <a:gd name="connsiteX26" fmla="*/ 44763 w 528215"/>
                <a:gd name="connsiteY26" fmla="*/ 305208 h 1811425"/>
                <a:gd name="connsiteX27" fmla="*/ 123345 w 528215"/>
                <a:gd name="connsiteY27" fmla="*/ 269489 h 1811425"/>
                <a:gd name="connsiteX0" fmla="*/ 123345 w 528215"/>
                <a:gd name="connsiteY0" fmla="*/ 269489 h 1811425"/>
                <a:gd name="connsiteX1" fmla="*/ 190020 w 528215"/>
                <a:gd name="connsiteY1" fmla="*/ 159952 h 1811425"/>
                <a:gd name="connsiteX2" fmla="*/ 349563 w 528215"/>
                <a:gd name="connsiteY2" fmla="*/ 26602 h 1811425"/>
                <a:gd name="connsiteX3" fmla="*/ 359088 w 528215"/>
                <a:gd name="connsiteY3" fmla="*/ 152809 h 1811425"/>
                <a:gd name="connsiteX4" fmla="*/ 335277 w 528215"/>
                <a:gd name="connsiteY4" fmla="*/ 224245 h 1811425"/>
                <a:gd name="connsiteX5" fmla="*/ 480533 w 528215"/>
                <a:gd name="connsiteY5" fmla="*/ 312351 h 1811425"/>
                <a:gd name="connsiteX6" fmla="*/ 523396 w 528215"/>
                <a:gd name="connsiteY6" fmla="*/ 1002914 h 1811425"/>
                <a:gd name="connsiteX7" fmla="*/ 449576 w 528215"/>
                <a:gd name="connsiteY7" fmla="*/ 960050 h 1811425"/>
                <a:gd name="connsiteX8" fmla="*/ 411476 w 528215"/>
                <a:gd name="connsiteY8" fmla="*/ 1255325 h 1811425"/>
                <a:gd name="connsiteX9" fmla="*/ 416239 w 528215"/>
                <a:gd name="connsiteY9" fmla="*/ 1598225 h 1811425"/>
                <a:gd name="connsiteX10" fmla="*/ 409095 w 528215"/>
                <a:gd name="connsiteY10" fmla="*/ 1698238 h 1811425"/>
                <a:gd name="connsiteX11" fmla="*/ 509107 w 528215"/>
                <a:gd name="connsiteY11" fmla="*/ 1769677 h 1811425"/>
                <a:gd name="connsiteX12" fmla="*/ 304319 w 528215"/>
                <a:gd name="connsiteY12" fmla="*/ 1753007 h 1811425"/>
                <a:gd name="connsiteX13" fmla="*/ 285270 w 528215"/>
                <a:gd name="connsiteY13" fmla="*/ 1629182 h 1811425"/>
                <a:gd name="connsiteX14" fmla="*/ 273364 w 528215"/>
                <a:gd name="connsiteY14" fmla="*/ 1083875 h 1811425"/>
                <a:gd name="connsiteX15" fmla="*/ 218595 w 528215"/>
                <a:gd name="connsiteY15" fmla="*/ 1483923 h 1811425"/>
                <a:gd name="connsiteX16" fmla="*/ 249552 w 528215"/>
                <a:gd name="connsiteY16" fmla="*/ 1667282 h 1811425"/>
                <a:gd name="connsiteX17" fmla="*/ 251932 w 528215"/>
                <a:gd name="connsiteY17" fmla="*/ 1807775 h 1811425"/>
                <a:gd name="connsiteX18" fmla="*/ 147158 w 528215"/>
                <a:gd name="connsiteY18" fmla="*/ 1793489 h 1811425"/>
                <a:gd name="connsiteX19" fmla="*/ 106676 w 528215"/>
                <a:gd name="connsiteY19" fmla="*/ 1655373 h 1811425"/>
                <a:gd name="connsiteX20" fmla="*/ 123345 w 528215"/>
                <a:gd name="connsiteY20" fmla="*/ 1526786 h 1811425"/>
                <a:gd name="connsiteX21" fmla="*/ 106677 w 528215"/>
                <a:gd name="connsiteY21" fmla="*/ 1038633 h 1811425"/>
                <a:gd name="connsiteX22" fmla="*/ 44765 w 528215"/>
                <a:gd name="connsiteY22" fmla="*/ 988626 h 1811425"/>
                <a:gd name="connsiteX23" fmla="*/ 113821 w 528215"/>
                <a:gd name="connsiteY23" fmla="*/ 605245 h 1811425"/>
                <a:gd name="connsiteX24" fmla="*/ 4282 w 528215"/>
                <a:gd name="connsiteY24" fmla="*/ 555239 h 1811425"/>
                <a:gd name="connsiteX25" fmla="*/ 25713 w 528215"/>
                <a:gd name="connsiteY25" fmla="*/ 419508 h 1811425"/>
                <a:gd name="connsiteX26" fmla="*/ 44763 w 528215"/>
                <a:gd name="connsiteY26" fmla="*/ 305208 h 1811425"/>
                <a:gd name="connsiteX27" fmla="*/ 123345 w 528215"/>
                <a:gd name="connsiteY27" fmla="*/ 269489 h 1811425"/>
                <a:gd name="connsiteX0" fmla="*/ 123345 w 528215"/>
                <a:gd name="connsiteY0" fmla="*/ 269489 h 1811425"/>
                <a:gd name="connsiteX1" fmla="*/ 190020 w 528215"/>
                <a:gd name="connsiteY1" fmla="*/ 159952 h 1811425"/>
                <a:gd name="connsiteX2" fmla="*/ 349563 w 528215"/>
                <a:gd name="connsiteY2" fmla="*/ 26602 h 1811425"/>
                <a:gd name="connsiteX3" fmla="*/ 359088 w 528215"/>
                <a:gd name="connsiteY3" fmla="*/ 152809 h 1811425"/>
                <a:gd name="connsiteX4" fmla="*/ 335277 w 528215"/>
                <a:gd name="connsiteY4" fmla="*/ 224245 h 1811425"/>
                <a:gd name="connsiteX5" fmla="*/ 480533 w 528215"/>
                <a:gd name="connsiteY5" fmla="*/ 312351 h 1811425"/>
                <a:gd name="connsiteX6" fmla="*/ 523396 w 528215"/>
                <a:gd name="connsiteY6" fmla="*/ 1002914 h 1811425"/>
                <a:gd name="connsiteX7" fmla="*/ 449576 w 528215"/>
                <a:gd name="connsiteY7" fmla="*/ 960050 h 1811425"/>
                <a:gd name="connsiteX8" fmla="*/ 411476 w 528215"/>
                <a:gd name="connsiteY8" fmla="*/ 1255325 h 1811425"/>
                <a:gd name="connsiteX9" fmla="*/ 416239 w 528215"/>
                <a:gd name="connsiteY9" fmla="*/ 1598225 h 1811425"/>
                <a:gd name="connsiteX10" fmla="*/ 409095 w 528215"/>
                <a:gd name="connsiteY10" fmla="*/ 1698238 h 1811425"/>
                <a:gd name="connsiteX11" fmla="*/ 509107 w 528215"/>
                <a:gd name="connsiteY11" fmla="*/ 1769677 h 1811425"/>
                <a:gd name="connsiteX12" fmla="*/ 304319 w 528215"/>
                <a:gd name="connsiteY12" fmla="*/ 1753007 h 1811425"/>
                <a:gd name="connsiteX13" fmla="*/ 285270 w 528215"/>
                <a:gd name="connsiteY13" fmla="*/ 1629182 h 1811425"/>
                <a:gd name="connsiteX14" fmla="*/ 273364 w 528215"/>
                <a:gd name="connsiteY14" fmla="*/ 1083875 h 1811425"/>
                <a:gd name="connsiteX15" fmla="*/ 218595 w 528215"/>
                <a:gd name="connsiteY15" fmla="*/ 1483923 h 1811425"/>
                <a:gd name="connsiteX16" fmla="*/ 249552 w 528215"/>
                <a:gd name="connsiteY16" fmla="*/ 1667282 h 1811425"/>
                <a:gd name="connsiteX17" fmla="*/ 251932 w 528215"/>
                <a:gd name="connsiteY17" fmla="*/ 1807775 h 1811425"/>
                <a:gd name="connsiteX18" fmla="*/ 147158 w 528215"/>
                <a:gd name="connsiteY18" fmla="*/ 1793489 h 1811425"/>
                <a:gd name="connsiteX19" fmla="*/ 106676 w 528215"/>
                <a:gd name="connsiteY19" fmla="*/ 1655373 h 1811425"/>
                <a:gd name="connsiteX20" fmla="*/ 123345 w 528215"/>
                <a:gd name="connsiteY20" fmla="*/ 1526786 h 1811425"/>
                <a:gd name="connsiteX21" fmla="*/ 106677 w 528215"/>
                <a:gd name="connsiteY21" fmla="*/ 1038633 h 1811425"/>
                <a:gd name="connsiteX22" fmla="*/ 44765 w 528215"/>
                <a:gd name="connsiteY22" fmla="*/ 988626 h 1811425"/>
                <a:gd name="connsiteX23" fmla="*/ 113821 w 528215"/>
                <a:gd name="connsiteY23" fmla="*/ 605245 h 1811425"/>
                <a:gd name="connsiteX24" fmla="*/ 4282 w 528215"/>
                <a:gd name="connsiteY24" fmla="*/ 555239 h 1811425"/>
                <a:gd name="connsiteX25" fmla="*/ 25713 w 528215"/>
                <a:gd name="connsiteY25" fmla="*/ 419508 h 1811425"/>
                <a:gd name="connsiteX26" fmla="*/ 44763 w 528215"/>
                <a:gd name="connsiteY26" fmla="*/ 305208 h 1811425"/>
                <a:gd name="connsiteX27" fmla="*/ 123345 w 528215"/>
                <a:gd name="connsiteY27" fmla="*/ 269489 h 1811425"/>
                <a:gd name="connsiteX0" fmla="*/ 123345 w 528215"/>
                <a:gd name="connsiteY0" fmla="*/ 269489 h 1811425"/>
                <a:gd name="connsiteX1" fmla="*/ 190020 w 528215"/>
                <a:gd name="connsiteY1" fmla="*/ 159952 h 1811425"/>
                <a:gd name="connsiteX2" fmla="*/ 349563 w 528215"/>
                <a:gd name="connsiteY2" fmla="*/ 26602 h 1811425"/>
                <a:gd name="connsiteX3" fmla="*/ 359088 w 528215"/>
                <a:gd name="connsiteY3" fmla="*/ 152809 h 1811425"/>
                <a:gd name="connsiteX4" fmla="*/ 335277 w 528215"/>
                <a:gd name="connsiteY4" fmla="*/ 224245 h 1811425"/>
                <a:gd name="connsiteX5" fmla="*/ 480533 w 528215"/>
                <a:gd name="connsiteY5" fmla="*/ 312351 h 1811425"/>
                <a:gd name="connsiteX6" fmla="*/ 523396 w 528215"/>
                <a:gd name="connsiteY6" fmla="*/ 1002914 h 1811425"/>
                <a:gd name="connsiteX7" fmla="*/ 449576 w 528215"/>
                <a:gd name="connsiteY7" fmla="*/ 960050 h 1811425"/>
                <a:gd name="connsiteX8" fmla="*/ 411476 w 528215"/>
                <a:gd name="connsiteY8" fmla="*/ 1255325 h 1811425"/>
                <a:gd name="connsiteX9" fmla="*/ 416239 w 528215"/>
                <a:gd name="connsiteY9" fmla="*/ 1598225 h 1811425"/>
                <a:gd name="connsiteX10" fmla="*/ 409095 w 528215"/>
                <a:gd name="connsiteY10" fmla="*/ 1698238 h 1811425"/>
                <a:gd name="connsiteX11" fmla="*/ 509107 w 528215"/>
                <a:gd name="connsiteY11" fmla="*/ 1769677 h 1811425"/>
                <a:gd name="connsiteX12" fmla="*/ 304319 w 528215"/>
                <a:gd name="connsiteY12" fmla="*/ 1753007 h 1811425"/>
                <a:gd name="connsiteX13" fmla="*/ 285270 w 528215"/>
                <a:gd name="connsiteY13" fmla="*/ 1629182 h 1811425"/>
                <a:gd name="connsiteX14" fmla="*/ 273364 w 528215"/>
                <a:gd name="connsiteY14" fmla="*/ 1083875 h 1811425"/>
                <a:gd name="connsiteX15" fmla="*/ 218595 w 528215"/>
                <a:gd name="connsiteY15" fmla="*/ 1483923 h 1811425"/>
                <a:gd name="connsiteX16" fmla="*/ 249552 w 528215"/>
                <a:gd name="connsiteY16" fmla="*/ 1667282 h 1811425"/>
                <a:gd name="connsiteX17" fmla="*/ 251932 w 528215"/>
                <a:gd name="connsiteY17" fmla="*/ 1807775 h 1811425"/>
                <a:gd name="connsiteX18" fmla="*/ 147158 w 528215"/>
                <a:gd name="connsiteY18" fmla="*/ 1793489 h 1811425"/>
                <a:gd name="connsiteX19" fmla="*/ 106676 w 528215"/>
                <a:gd name="connsiteY19" fmla="*/ 1655373 h 1811425"/>
                <a:gd name="connsiteX20" fmla="*/ 123345 w 528215"/>
                <a:gd name="connsiteY20" fmla="*/ 1526786 h 1811425"/>
                <a:gd name="connsiteX21" fmla="*/ 106677 w 528215"/>
                <a:gd name="connsiteY21" fmla="*/ 1038633 h 1811425"/>
                <a:gd name="connsiteX22" fmla="*/ 44765 w 528215"/>
                <a:gd name="connsiteY22" fmla="*/ 988626 h 1811425"/>
                <a:gd name="connsiteX23" fmla="*/ 113821 w 528215"/>
                <a:gd name="connsiteY23" fmla="*/ 605245 h 1811425"/>
                <a:gd name="connsiteX24" fmla="*/ 4282 w 528215"/>
                <a:gd name="connsiteY24" fmla="*/ 555239 h 1811425"/>
                <a:gd name="connsiteX25" fmla="*/ 25713 w 528215"/>
                <a:gd name="connsiteY25" fmla="*/ 419508 h 1811425"/>
                <a:gd name="connsiteX26" fmla="*/ 44763 w 528215"/>
                <a:gd name="connsiteY26" fmla="*/ 305208 h 1811425"/>
                <a:gd name="connsiteX27" fmla="*/ 123345 w 528215"/>
                <a:gd name="connsiteY27" fmla="*/ 269489 h 1811425"/>
                <a:gd name="connsiteX0" fmla="*/ 123345 w 528215"/>
                <a:gd name="connsiteY0" fmla="*/ 269489 h 1811425"/>
                <a:gd name="connsiteX1" fmla="*/ 190020 w 528215"/>
                <a:gd name="connsiteY1" fmla="*/ 159952 h 1811425"/>
                <a:gd name="connsiteX2" fmla="*/ 349563 w 528215"/>
                <a:gd name="connsiteY2" fmla="*/ 26602 h 1811425"/>
                <a:gd name="connsiteX3" fmla="*/ 359088 w 528215"/>
                <a:gd name="connsiteY3" fmla="*/ 152809 h 1811425"/>
                <a:gd name="connsiteX4" fmla="*/ 335277 w 528215"/>
                <a:gd name="connsiteY4" fmla="*/ 224245 h 1811425"/>
                <a:gd name="connsiteX5" fmla="*/ 480533 w 528215"/>
                <a:gd name="connsiteY5" fmla="*/ 312351 h 1811425"/>
                <a:gd name="connsiteX6" fmla="*/ 523396 w 528215"/>
                <a:gd name="connsiteY6" fmla="*/ 1002914 h 1811425"/>
                <a:gd name="connsiteX7" fmla="*/ 449576 w 528215"/>
                <a:gd name="connsiteY7" fmla="*/ 960050 h 1811425"/>
                <a:gd name="connsiteX8" fmla="*/ 411476 w 528215"/>
                <a:gd name="connsiteY8" fmla="*/ 1255325 h 1811425"/>
                <a:gd name="connsiteX9" fmla="*/ 416239 w 528215"/>
                <a:gd name="connsiteY9" fmla="*/ 1598225 h 1811425"/>
                <a:gd name="connsiteX10" fmla="*/ 409095 w 528215"/>
                <a:gd name="connsiteY10" fmla="*/ 1698238 h 1811425"/>
                <a:gd name="connsiteX11" fmla="*/ 509107 w 528215"/>
                <a:gd name="connsiteY11" fmla="*/ 1769677 h 1811425"/>
                <a:gd name="connsiteX12" fmla="*/ 304319 w 528215"/>
                <a:gd name="connsiteY12" fmla="*/ 1753007 h 1811425"/>
                <a:gd name="connsiteX13" fmla="*/ 285270 w 528215"/>
                <a:gd name="connsiteY13" fmla="*/ 1629182 h 1811425"/>
                <a:gd name="connsiteX14" fmla="*/ 273364 w 528215"/>
                <a:gd name="connsiteY14" fmla="*/ 1083875 h 1811425"/>
                <a:gd name="connsiteX15" fmla="*/ 218595 w 528215"/>
                <a:gd name="connsiteY15" fmla="*/ 1483923 h 1811425"/>
                <a:gd name="connsiteX16" fmla="*/ 249552 w 528215"/>
                <a:gd name="connsiteY16" fmla="*/ 1667282 h 1811425"/>
                <a:gd name="connsiteX17" fmla="*/ 251932 w 528215"/>
                <a:gd name="connsiteY17" fmla="*/ 1807775 h 1811425"/>
                <a:gd name="connsiteX18" fmla="*/ 147158 w 528215"/>
                <a:gd name="connsiteY18" fmla="*/ 1793489 h 1811425"/>
                <a:gd name="connsiteX19" fmla="*/ 106676 w 528215"/>
                <a:gd name="connsiteY19" fmla="*/ 1655373 h 1811425"/>
                <a:gd name="connsiteX20" fmla="*/ 123345 w 528215"/>
                <a:gd name="connsiteY20" fmla="*/ 1526786 h 1811425"/>
                <a:gd name="connsiteX21" fmla="*/ 106677 w 528215"/>
                <a:gd name="connsiteY21" fmla="*/ 1038633 h 1811425"/>
                <a:gd name="connsiteX22" fmla="*/ 44765 w 528215"/>
                <a:gd name="connsiteY22" fmla="*/ 988626 h 1811425"/>
                <a:gd name="connsiteX23" fmla="*/ 113821 w 528215"/>
                <a:gd name="connsiteY23" fmla="*/ 605245 h 1811425"/>
                <a:gd name="connsiteX24" fmla="*/ 4282 w 528215"/>
                <a:gd name="connsiteY24" fmla="*/ 555239 h 1811425"/>
                <a:gd name="connsiteX25" fmla="*/ 25713 w 528215"/>
                <a:gd name="connsiteY25" fmla="*/ 419508 h 1811425"/>
                <a:gd name="connsiteX26" fmla="*/ 44763 w 528215"/>
                <a:gd name="connsiteY26" fmla="*/ 305208 h 1811425"/>
                <a:gd name="connsiteX27" fmla="*/ 123345 w 528215"/>
                <a:gd name="connsiteY27" fmla="*/ 269489 h 1811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28215" h="1811425">
                  <a:moveTo>
                    <a:pt x="123345" y="269489"/>
                  </a:moveTo>
                  <a:cubicBezTo>
                    <a:pt x="134060" y="216705"/>
                    <a:pt x="147951" y="169080"/>
                    <a:pt x="190020" y="159952"/>
                  </a:cubicBezTo>
                  <a:cubicBezTo>
                    <a:pt x="134457" y="-42057"/>
                    <a:pt x="317417" y="-8720"/>
                    <a:pt x="349563" y="26602"/>
                  </a:cubicBezTo>
                  <a:cubicBezTo>
                    <a:pt x="374566" y="76211"/>
                    <a:pt x="373375" y="119869"/>
                    <a:pt x="359088" y="152809"/>
                  </a:cubicBezTo>
                  <a:cubicBezTo>
                    <a:pt x="356707" y="185749"/>
                    <a:pt x="310671" y="197655"/>
                    <a:pt x="335277" y="224245"/>
                  </a:cubicBezTo>
                  <a:cubicBezTo>
                    <a:pt x="359090" y="262345"/>
                    <a:pt x="449577" y="262345"/>
                    <a:pt x="480533" y="312351"/>
                  </a:cubicBezTo>
                  <a:cubicBezTo>
                    <a:pt x="496407" y="539363"/>
                    <a:pt x="543240" y="780664"/>
                    <a:pt x="523396" y="1002914"/>
                  </a:cubicBezTo>
                  <a:cubicBezTo>
                    <a:pt x="482915" y="1052126"/>
                    <a:pt x="471007" y="953700"/>
                    <a:pt x="449576" y="960050"/>
                  </a:cubicBezTo>
                  <a:cubicBezTo>
                    <a:pt x="439653" y="1016802"/>
                    <a:pt x="417032" y="1148963"/>
                    <a:pt x="411476" y="1255325"/>
                  </a:cubicBezTo>
                  <a:cubicBezTo>
                    <a:pt x="398777" y="1373593"/>
                    <a:pt x="422986" y="1410503"/>
                    <a:pt x="416239" y="1598225"/>
                  </a:cubicBezTo>
                  <a:cubicBezTo>
                    <a:pt x="428939" y="1622831"/>
                    <a:pt x="396395" y="1673632"/>
                    <a:pt x="409095" y="1698238"/>
                  </a:cubicBezTo>
                  <a:cubicBezTo>
                    <a:pt x="425763" y="1726814"/>
                    <a:pt x="509107" y="1745864"/>
                    <a:pt x="509107" y="1769677"/>
                  </a:cubicBezTo>
                  <a:cubicBezTo>
                    <a:pt x="526173" y="1808174"/>
                    <a:pt x="315828" y="1807776"/>
                    <a:pt x="304319" y="1753007"/>
                  </a:cubicBezTo>
                  <a:cubicBezTo>
                    <a:pt x="291223" y="1715700"/>
                    <a:pt x="304717" y="1700223"/>
                    <a:pt x="285270" y="1629182"/>
                  </a:cubicBezTo>
                  <a:cubicBezTo>
                    <a:pt x="299160" y="1422410"/>
                    <a:pt x="302733" y="1141025"/>
                    <a:pt x="273364" y="1083875"/>
                  </a:cubicBezTo>
                  <a:cubicBezTo>
                    <a:pt x="261062" y="1123563"/>
                    <a:pt x="242407" y="1325967"/>
                    <a:pt x="218595" y="1483923"/>
                  </a:cubicBezTo>
                  <a:cubicBezTo>
                    <a:pt x="228120" y="1570441"/>
                    <a:pt x="252330" y="1610529"/>
                    <a:pt x="249552" y="1667282"/>
                  </a:cubicBezTo>
                  <a:cubicBezTo>
                    <a:pt x="210261" y="1749833"/>
                    <a:pt x="265823" y="1791900"/>
                    <a:pt x="251932" y="1807775"/>
                  </a:cubicBezTo>
                  <a:cubicBezTo>
                    <a:pt x="226532" y="1810157"/>
                    <a:pt x="182083" y="1819683"/>
                    <a:pt x="147158" y="1793489"/>
                  </a:cubicBezTo>
                  <a:cubicBezTo>
                    <a:pt x="155492" y="1735149"/>
                    <a:pt x="113423" y="1733557"/>
                    <a:pt x="106676" y="1655373"/>
                  </a:cubicBezTo>
                  <a:cubicBezTo>
                    <a:pt x="98738" y="1610526"/>
                    <a:pt x="126916" y="1602588"/>
                    <a:pt x="123345" y="1526786"/>
                  </a:cubicBezTo>
                  <a:cubicBezTo>
                    <a:pt x="81673" y="1367640"/>
                    <a:pt x="103899" y="1127929"/>
                    <a:pt x="106677" y="1038633"/>
                  </a:cubicBezTo>
                  <a:cubicBezTo>
                    <a:pt x="92787" y="982675"/>
                    <a:pt x="45162" y="1032679"/>
                    <a:pt x="44765" y="988626"/>
                  </a:cubicBezTo>
                  <a:cubicBezTo>
                    <a:pt x="56274" y="904092"/>
                    <a:pt x="116599" y="721530"/>
                    <a:pt x="113821" y="605245"/>
                  </a:cubicBezTo>
                  <a:cubicBezTo>
                    <a:pt x="112631" y="567542"/>
                    <a:pt x="45954" y="654855"/>
                    <a:pt x="4282" y="555239"/>
                  </a:cubicBezTo>
                  <a:cubicBezTo>
                    <a:pt x="-12386" y="513963"/>
                    <a:pt x="24919" y="484198"/>
                    <a:pt x="25713" y="419508"/>
                  </a:cubicBezTo>
                  <a:cubicBezTo>
                    <a:pt x="24126" y="378235"/>
                    <a:pt x="39206" y="359976"/>
                    <a:pt x="44763" y="305208"/>
                  </a:cubicBezTo>
                  <a:cubicBezTo>
                    <a:pt x="61432" y="288539"/>
                    <a:pt x="97151" y="281395"/>
                    <a:pt x="123345" y="269489"/>
                  </a:cubicBezTo>
                  <a:close/>
                </a:path>
              </a:pathLst>
            </a:cu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a:solidFill>
                  <a:prstClr val="white"/>
                </a:solidFill>
                <a:latin typeface="Arial" panose="020B0604020202020204" pitchFamily="34" charset="0"/>
                <a:cs typeface="Arial" panose="020B0604020202020204" pitchFamily="34" charset="0"/>
              </a:endParaRPr>
            </a:p>
          </p:txBody>
        </p:sp>
        <p:sp>
          <p:nvSpPr>
            <p:cNvPr id="132" name="Rectangle 4100">
              <a:extLst>
                <a:ext uri="{FF2B5EF4-FFF2-40B4-BE49-F238E27FC236}">
                  <a16:creationId xmlns:a16="http://schemas.microsoft.com/office/drawing/2014/main" id="{563A6EA6-8FA1-41E8-3EC7-837CDA23BEB3}"/>
                </a:ext>
              </a:extLst>
            </p:cNvPr>
            <p:cNvSpPr/>
            <p:nvPr/>
          </p:nvSpPr>
          <p:spPr>
            <a:xfrm>
              <a:off x="5058416" y="1658844"/>
              <a:ext cx="187184" cy="514161"/>
            </a:xfrm>
            <a:custGeom>
              <a:avLst/>
              <a:gdLst>
                <a:gd name="connsiteX0" fmla="*/ 0 w 76200"/>
                <a:gd name="connsiteY0" fmla="*/ 0 h 381000"/>
                <a:gd name="connsiteX1" fmla="*/ 76200 w 76200"/>
                <a:gd name="connsiteY1" fmla="*/ 0 h 381000"/>
                <a:gd name="connsiteX2" fmla="*/ 76200 w 76200"/>
                <a:gd name="connsiteY2" fmla="*/ 381000 h 381000"/>
                <a:gd name="connsiteX3" fmla="*/ 0 w 76200"/>
                <a:gd name="connsiteY3" fmla="*/ 381000 h 381000"/>
                <a:gd name="connsiteX4" fmla="*/ 0 w 76200"/>
                <a:gd name="connsiteY4" fmla="*/ 0 h 381000"/>
                <a:gd name="connsiteX0" fmla="*/ 0 w 121444"/>
                <a:gd name="connsiteY0" fmla="*/ 0 h 433388"/>
                <a:gd name="connsiteX1" fmla="*/ 121444 w 121444"/>
                <a:gd name="connsiteY1" fmla="*/ 52388 h 433388"/>
                <a:gd name="connsiteX2" fmla="*/ 121444 w 121444"/>
                <a:gd name="connsiteY2" fmla="*/ 433388 h 433388"/>
                <a:gd name="connsiteX3" fmla="*/ 45244 w 121444"/>
                <a:gd name="connsiteY3" fmla="*/ 433388 h 433388"/>
                <a:gd name="connsiteX4" fmla="*/ 0 w 121444"/>
                <a:gd name="connsiteY4" fmla="*/ 0 h 433388"/>
                <a:gd name="connsiteX0" fmla="*/ 0 w 135731"/>
                <a:gd name="connsiteY0" fmla="*/ 23812 h 457200"/>
                <a:gd name="connsiteX1" fmla="*/ 135731 w 135731"/>
                <a:gd name="connsiteY1" fmla="*/ 0 h 457200"/>
                <a:gd name="connsiteX2" fmla="*/ 121444 w 135731"/>
                <a:gd name="connsiteY2" fmla="*/ 457200 h 457200"/>
                <a:gd name="connsiteX3" fmla="*/ 45244 w 135731"/>
                <a:gd name="connsiteY3" fmla="*/ 457200 h 457200"/>
                <a:gd name="connsiteX4" fmla="*/ 0 w 135731"/>
                <a:gd name="connsiteY4" fmla="*/ 23812 h 457200"/>
                <a:gd name="connsiteX0" fmla="*/ 0 w 135731"/>
                <a:gd name="connsiteY0" fmla="*/ 23812 h 457200"/>
                <a:gd name="connsiteX1" fmla="*/ 95250 w 135731"/>
                <a:gd name="connsiteY1" fmla="*/ 61913 h 457200"/>
                <a:gd name="connsiteX2" fmla="*/ 135731 w 135731"/>
                <a:gd name="connsiteY2" fmla="*/ 0 h 457200"/>
                <a:gd name="connsiteX3" fmla="*/ 121444 w 135731"/>
                <a:gd name="connsiteY3" fmla="*/ 457200 h 457200"/>
                <a:gd name="connsiteX4" fmla="*/ 45244 w 135731"/>
                <a:gd name="connsiteY4" fmla="*/ 457200 h 457200"/>
                <a:gd name="connsiteX5" fmla="*/ 0 w 135731"/>
                <a:gd name="connsiteY5" fmla="*/ 23812 h 457200"/>
                <a:gd name="connsiteX0" fmla="*/ 0 w 135731"/>
                <a:gd name="connsiteY0" fmla="*/ 23812 h 457200"/>
                <a:gd name="connsiteX1" fmla="*/ 95250 w 135731"/>
                <a:gd name="connsiteY1" fmla="*/ 61913 h 457200"/>
                <a:gd name="connsiteX2" fmla="*/ 135731 w 135731"/>
                <a:gd name="connsiteY2" fmla="*/ 0 h 457200"/>
                <a:gd name="connsiteX3" fmla="*/ 121444 w 135731"/>
                <a:gd name="connsiteY3" fmla="*/ 457200 h 457200"/>
                <a:gd name="connsiteX4" fmla="*/ 45244 w 135731"/>
                <a:gd name="connsiteY4" fmla="*/ 457200 h 457200"/>
                <a:gd name="connsiteX5" fmla="*/ 0 w 135731"/>
                <a:gd name="connsiteY5" fmla="*/ 23812 h 457200"/>
                <a:gd name="connsiteX0" fmla="*/ 0 w 135731"/>
                <a:gd name="connsiteY0" fmla="*/ 23812 h 457200"/>
                <a:gd name="connsiteX1" fmla="*/ 95250 w 135731"/>
                <a:gd name="connsiteY1" fmla="*/ 61913 h 457200"/>
                <a:gd name="connsiteX2" fmla="*/ 135731 w 135731"/>
                <a:gd name="connsiteY2" fmla="*/ 0 h 457200"/>
                <a:gd name="connsiteX3" fmla="*/ 121444 w 135731"/>
                <a:gd name="connsiteY3" fmla="*/ 457200 h 457200"/>
                <a:gd name="connsiteX4" fmla="*/ 45244 w 135731"/>
                <a:gd name="connsiteY4" fmla="*/ 457200 h 457200"/>
                <a:gd name="connsiteX5" fmla="*/ 0 w 135731"/>
                <a:gd name="connsiteY5" fmla="*/ 23812 h 457200"/>
                <a:gd name="connsiteX0" fmla="*/ 0 w 135731"/>
                <a:gd name="connsiteY0" fmla="*/ 33337 h 466725"/>
                <a:gd name="connsiteX1" fmla="*/ 95250 w 135731"/>
                <a:gd name="connsiteY1" fmla="*/ 71438 h 466725"/>
                <a:gd name="connsiteX2" fmla="*/ 135731 w 135731"/>
                <a:gd name="connsiteY2" fmla="*/ 0 h 466725"/>
                <a:gd name="connsiteX3" fmla="*/ 121444 w 135731"/>
                <a:gd name="connsiteY3" fmla="*/ 466725 h 466725"/>
                <a:gd name="connsiteX4" fmla="*/ 45244 w 135731"/>
                <a:gd name="connsiteY4" fmla="*/ 466725 h 466725"/>
                <a:gd name="connsiteX5" fmla="*/ 0 w 135731"/>
                <a:gd name="connsiteY5" fmla="*/ 33337 h 466725"/>
                <a:gd name="connsiteX0" fmla="*/ 0 w 135731"/>
                <a:gd name="connsiteY0" fmla="*/ 33337 h 466725"/>
                <a:gd name="connsiteX1" fmla="*/ 95250 w 135731"/>
                <a:gd name="connsiteY1" fmla="*/ 71438 h 466725"/>
                <a:gd name="connsiteX2" fmla="*/ 135731 w 135731"/>
                <a:gd name="connsiteY2" fmla="*/ 0 h 466725"/>
                <a:gd name="connsiteX3" fmla="*/ 121444 w 135731"/>
                <a:gd name="connsiteY3" fmla="*/ 466725 h 466725"/>
                <a:gd name="connsiteX4" fmla="*/ 45244 w 135731"/>
                <a:gd name="connsiteY4" fmla="*/ 466725 h 466725"/>
                <a:gd name="connsiteX5" fmla="*/ 0 w 135731"/>
                <a:gd name="connsiteY5" fmla="*/ 33337 h 466725"/>
                <a:gd name="connsiteX0" fmla="*/ 0 w 180975"/>
                <a:gd name="connsiteY0" fmla="*/ 33337 h 466725"/>
                <a:gd name="connsiteX1" fmla="*/ 95250 w 180975"/>
                <a:gd name="connsiteY1" fmla="*/ 71438 h 466725"/>
                <a:gd name="connsiteX2" fmla="*/ 135731 w 180975"/>
                <a:gd name="connsiteY2" fmla="*/ 0 h 466725"/>
                <a:gd name="connsiteX3" fmla="*/ 180975 w 180975"/>
                <a:gd name="connsiteY3" fmla="*/ 466725 h 466725"/>
                <a:gd name="connsiteX4" fmla="*/ 45244 w 180975"/>
                <a:gd name="connsiteY4" fmla="*/ 466725 h 466725"/>
                <a:gd name="connsiteX5" fmla="*/ 0 w 180975"/>
                <a:gd name="connsiteY5" fmla="*/ 33337 h 466725"/>
                <a:gd name="connsiteX0" fmla="*/ 0 w 180975"/>
                <a:gd name="connsiteY0" fmla="*/ 33337 h 466725"/>
                <a:gd name="connsiteX1" fmla="*/ 95250 w 180975"/>
                <a:gd name="connsiteY1" fmla="*/ 71438 h 466725"/>
                <a:gd name="connsiteX2" fmla="*/ 135731 w 180975"/>
                <a:gd name="connsiteY2" fmla="*/ 0 h 466725"/>
                <a:gd name="connsiteX3" fmla="*/ 180975 w 180975"/>
                <a:gd name="connsiteY3" fmla="*/ 466725 h 466725"/>
                <a:gd name="connsiteX4" fmla="*/ 45244 w 180975"/>
                <a:gd name="connsiteY4" fmla="*/ 466725 h 466725"/>
                <a:gd name="connsiteX5" fmla="*/ 0 w 180975"/>
                <a:gd name="connsiteY5" fmla="*/ 33337 h 466725"/>
                <a:gd name="connsiteX0" fmla="*/ 0 w 180975"/>
                <a:gd name="connsiteY0" fmla="*/ 33337 h 466725"/>
                <a:gd name="connsiteX1" fmla="*/ 90488 w 180975"/>
                <a:gd name="connsiteY1" fmla="*/ 66676 h 466725"/>
                <a:gd name="connsiteX2" fmla="*/ 135731 w 180975"/>
                <a:gd name="connsiteY2" fmla="*/ 0 h 466725"/>
                <a:gd name="connsiteX3" fmla="*/ 180975 w 180975"/>
                <a:gd name="connsiteY3" fmla="*/ 466725 h 466725"/>
                <a:gd name="connsiteX4" fmla="*/ 45244 w 180975"/>
                <a:gd name="connsiteY4" fmla="*/ 466725 h 466725"/>
                <a:gd name="connsiteX5" fmla="*/ 0 w 180975"/>
                <a:gd name="connsiteY5" fmla="*/ 33337 h 466725"/>
                <a:gd name="connsiteX0" fmla="*/ 0 w 180975"/>
                <a:gd name="connsiteY0" fmla="*/ 33337 h 500063"/>
                <a:gd name="connsiteX1" fmla="*/ 90488 w 180975"/>
                <a:gd name="connsiteY1" fmla="*/ 66676 h 500063"/>
                <a:gd name="connsiteX2" fmla="*/ 135731 w 180975"/>
                <a:gd name="connsiteY2" fmla="*/ 0 h 500063"/>
                <a:gd name="connsiteX3" fmla="*/ 180975 w 180975"/>
                <a:gd name="connsiteY3" fmla="*/ 466725 h 500063"/>
                <a:gd name="connsiteX4" fmla="*/ 47625 w 180975"/>
                <a:gd name="connsiteY4" fmla="*/ 500063 h 500063"/>
                <a:gd name="connsiteX5" fmla="*/ 0 w 180975"/>
                <a:gd name="connsiteY5" fmla="*/ 33337 h 500063"/>
                <a:gd name="connsiteX0" fmla="*/ 0 w 180975"/>
                <a:gd name="connsiteY0" fmla="*/ 33337 h 504439"/>
                <a:gd name="connsiteX1" fmla="*/ 90488 w 180975"/>
                <a:gd name="connsiteY1" fmla="*/ 66676 h 504439"/>
                <a:gd name="connsiteX2" fmla="*/ 135731 w 180975"/>
                <a:gd name="connsiteY2" fmla="*/ 0 h 504439"/>
                <a:gd name="connsiteX3" fmla="*/ 180975 w 180975"/>
                <a:gd name="connsiteY3" fmla="*/ 466725 h 504439"/>
                <a:gd name="connsiteX4" fmla="*/ 47625 w 180975"/>
                <a:gd name="connsiteY4" fmla="*/ 500063 h 504439"/>
                <a:gd name="connsiteX5" fmla="*/ 0 w 180975"/>
                <a:gd name="connsiteY5" fmla="*/ 33337 h 504439"/>
                <a:gd name="connsiteX0" fmla="*/ 0 w 180975"/>
                <a:gd name="connsiteY0" fmla="*/ 33337 h 506819"/>
                <a:gd name="connsiteX1" fmla="*/ 90488 w 180975"/>
                <a:gd name="connsiteY1" fmla="*/ 66676 h 506819"/>
                <a:gd name="connsiteX2" fmla="*/ 135731 w 180975"/>
                <a:gd name="connsiteY2" fmla="*/ 0 h 506819"/>
                <a:gd name="connsiteX3" fmla="*/ 180975 w 180975"/>
                <a:gd name="connsiteY3" fmla="*/ 466725 h 506819"/>
                <a:gd name="connsiteX4" fmla="*/ 47625 w 180975"/>
                <a:gd name="connsiteY4" fmla="*/ 500063 h 506819"/>
                <a:gd name="connsiteX5" fmla="*/ 0 w 180975"/>
                <a:gd name="connsiteY5" fmla="*/ 33337 h 506819"/>
                <a:gd name="connsiteX0" fmla="*/ 0 w 180975"/>
                <a:gd name="connsiteY0" fmla="*/ 33337 h 506819"/>
                <a:gd name="connsiteX1" fmla="*/ 90488 w 180975"/>
                <a:gd name="connsiteY1" fmla="*/ 66676 h 506819"/>
                <a:gd name="connsiteX2" fmla="*/ 135731 w 180975"/>
                <a:gd name="connsiteY2" fmla="*/ 0 h 506819"/>
                <a:gd name="connsiteX3" fmla="*/ 180975 w 180975"/>
                <a:gd name="connsiteY3" fmla="*/ 466725 h 506819"/>
                <a:gd name="connsiteX4" fmla="*/ 47625 w 180975"/>
                <a:gd name="connsiteY4" fmla="*/ 500063 h 506819"/>
                <a:gd name="connsiteX5" fmla="*/ 0 w 180975"/>
                <a:gd name="connsiteY5" fmla="*/ 33337 h 506819"/>
                <a:gd name="connsiteX0" fmla="*/ 0 w 180975"/>
                <a:gd name="connsiteY0" fmla="*/ 40481 h 513963"/>
                <a:gd name="connsiteX1" fmla="*/ 90488 w 180975"/>
                <a:gd name="connsiteY1" fmla="*/ 73820 h 513963"/>
                <a:gd name="connsiteX2" fmla="*/ 130969 w 180975"/>
                <a:gd name="connsiteY2" fmla="*/ 0 h 513963"/>
                <a:gd name="connsiteX3" fmla="*/ 180975 w 180975"/>
                <a:gd name="connsiteY3" fmla="*/ 473869 h 513963"/>
                <a:gd name="connsiteX4" fmla="*/ 47625 w 180975"/>
                <a:gd name="connsiteY4" fmla="*/ 507207 h 513963"/>
                <a:gd name="connsiteX5" fmla="*/ 0 w 180975"/>
                <a:gd name="connsiteY5" fmla="*/ 40481 h 513963"/>
                <a:gd name="connsiteX0" fmla="*/ 0 w 184260"/>
                <a:gd name="connsiteY0" fmla="*/ 56975 h 530457"/>
                <a:gd name="connsiteX1" fmla="*/ 90488 w 184260"/>
                <a:gd name="connsiteY1" fmla="*/ 90314 h 530457"/>
                <a:gd name="connsiteX2" fmla="*/ 130969 w 184260"/>
                <a:gd name="connsiteY2" fmla="*/ 16494 h 530457"/>
                <a:gd name="connsiteX3" fmla="*/ 152400 w 184260"/>
                <a:gd name="connsiteY3" fmla="*/ 45070 h 530457"/>
                <a:gd name="connsiteX4" fmla="*/ 180975 w 184260"/>
                <a:gd name="connsiteY4" fmla="*/ 490363 h 530457"/>
                <a:gd name="connsiteX5" fmla="*/ 47625 w 184260"/>
                <a:gd name="connsiteY5" fmla="*/ 523701 h 530457"/>
                <a:gd name="connsiteX6" fmla="*/ 0 w 184260"/>
                <a:gd name="connsiteY6" fmla="*/ 56975 h 530457"/>
                <a:gd name="connsiteX0" fmla="*/ 0 w 184260"/>
                <a:gd name="connsiteY0" fmla="*/ 40919 h 514401"/>
                <a:gd name="connsiteX1" fmla="*/ 90488 w 184260"/>
                <a:gd name="connsiteY1" fmla="*/ 74258 h 514401"/>
                <a:gd name="connsiteX2" fmla="*/ 130969 w 184260"/>
                <a:gd name="connsiteY2" fmla="*/ 438 h 514401"/>
                <a:gd name="connsiteX3" fmla="*/ 152400 w 184260"/>
                <a:gd name="connsiteY3" fmla="*/ 29014 h 514401"/>
                <a:gd name="connsiteX4" fmla="*/ 180975 w 184260"/>
                <a:gd name="connsiteY4" fmla="*/ 474307 h 514401"/>
                <a:gd name="connsiteX5" fmla="*/ 47625 w 184260"/>
                <a:gd name="connsiteY5" fmla="*/ 507645 h 514401"/>
                <a:gd name="connsiteX6" fmla="*/ 0 w 184260"/>
                <a:gd name="connsiteY6" fmla="*/ 40919 h 514401"/>
                <a:gd name="connsiteX0" fmla="*/ 0 w 186641"/>
                <a:gd name="connsiteY0" fmla="*/ 31394 h 514401"/>
                <a:gd name="connsiteX1" fmla="*/ 92869 w 186641"/>
                <a:gd name="connsiteY1" fmla="*/ 74258 h 514401"/>
                <a:gd name="connsiteX2" fmla="*/ 133350 w 186641"/>
                <a:gd name="connsiteY2" fmla="*/ 438 h 514401"/>
                <a:gd name="connsiteX3" fmla="*/ 154781 w 186641"/>
                <a:gd name="connsiteY3" fmla="*/ 29014 h 514401"/>
                <a:gd name="connsiteX4" fmla="*/ 183356 w 186641"/>
                <a:gd name="connsiteY4" fmla="*/ 474307 h 514401"/>
                <a:gd name="connsiteX5" fmla="*/ 50006 w 186641"/>
                <a:gd name="connsiteY5" fmla="*/ 507645 h 514401"/>
                <a:gd name="connsiteX6" fmla="*/ 0 w 186641"/>
                <a:gd name="connsiteY6" fmla="*/ 31394 h 514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6641" h="514401">
                  <a:moveTo>
                    <a:pt x="0" y="31394"/>
                  </a:moveTo>
                  <a:cubicBezTo>
                    <a:pt x="24607" y="49650"/>
                    <a:pt x="58737" y="70289"/>
                    <a:pt x="92869" y="74258"/>
                  </a:cubicBezTo>
                  <a:cubicBezTo>
                    <a:pt x="111126" y="62351"/>
                    <a:pt x="119856" y="24251"/>
                    <a:pt x="133350" y="438"/>
                  </a:cubicBezTo>
                  <a:cubicBezTo>
                    <a:pt x="140097" y="-1546"/>
                    <a:pt x="146447" y="2423"/>
                    <a:pt x="154781" y="29014"/>
                  </a:cubicBezTo>
                  <a:cubicBezTo>
                    <a:pt x="163115" y="107992"/>
                    <a:pt x="197247" y="400092"/>
                    <a:pt x="183356" y="474307"/>
                  </a:cubicBezTo>
                  <a:cubicBezTo>
                    <a:pt x="150812" y="506851"/>
                    <a:pt x="106362" y="525107"/>
                    <a:pt x="50006" y="507645"/>
                  </a:cubicBezTo>
                  <a:cubicBezTo>
                    <a:pt x="57943" y="273488"/>
                    <a:pt x="15875" y="186969"/>
                    <a:pt x="0" y="31394"/>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a:solidFill>
                  <a:prstClr val="white"/>
                </a:solidFill>
                <a:latin typeface="Arial" panose="020B0604020202020204" pitchFamily="34" charset="0"/>
                <a:cs typeface="Arial" panose="020B0604020202020204" pitchFamily="34" charset="0"/>
              </a:endParaRPr>
            </a:p>
          </p:txBody>
        </p:sp>
        <p:sp>
          <p:nvSpPr>
            <p:cNvPr id="133" name="Rectangle 5">
              <a:extLst>
                <a:ext uri="{FF2B5EF4-FFF2-40B4-BE49-F238E27FC236}">
                  <a16:creationId xmlns:a16="http://schemas.microsoft.com/office/drawing/2014/main" id="{D4F00EA6-9079-B27E-D6B4-5DCCB616B100}"/>
                </a:ext>
              </a:extLst>
            </p:cNvPr>
            <p:cNvSpPr/>
            <p:nvPr/>
          </p:nvSpPr>
          <p:spPr>
            <a:xfrm rot="21329382">
              <a:off x="5102007" y="1722125"/>
              <a:ext cx="94873" cy="450879"/>
            </a:xfrm>
            <a:custGeom>
              <a:avLst/>
              <a:gdLst>
                <a:gd name="connsiteX0" fmla="*/ 0 w 152400"/>
                <a:gd name="connsiteY0" fmla="*/ 0 h 607075"/>
                <a:gd name="connsiteX1" fmla="*/ 152400 w 152400"/>
                <a:gd name="connsiteY1" fmla="*/ 0 h 607075"/>
                <a:gd name="connsiteX2" fmla="*/ 152400 w 152400"/>
                <a:gd name="connsiteY2" fmla="*/ 607075 h 607075"/>
                <a:gd name="connsiteX3" fmla="*/ 0 w 152400"/>
                <a:gd name="connsiteY3" fmla="*/ 607075 h 607075"/>
                <a:gd name="connsiteX4" fmla="*/ 0 w 152400"/>
                <a:gd name="connsiteY4" fmla="*/ 0 h 607075"/>
                <a:gd name="connsiteX0" fmla="*/ 0 w 152400"/>
                <a:gd name="connsiteY0" fmla="*/ 0 h 607075"/>
                <a:gd name="connsiteX1" fmla="*/ 152400 w 152400"/>
                <a:gd name="connsiteY1" fmla="*/ 0 h 607075"/>
                <a:gd name="connsiteX2" fmla="*/ 152400 w 152400"/>
                <a:gd name="connsiteY2" fmla="*/ 607075 h 607075"/>
                <a:gd name="connsiteX3" fmla="*/ 0 w 152400"/>
                <a:gd name="connsiteY3" fmla="*/ 607075 h 607075"/>
                <a:gd name="connsiteX4" fmla="*/ 42863 w 152400"/>
                <a:gd name="connsiteY4" fmla="*/ 107013 h 607075"/>
                <a:gd name="connsiteX5" fmla="*/ 0 w 152400"/>
                <a:gd name="connsiteY5" fmla="*/ 0 h 607075"/>
                <a:gd name="connsiteX0" fmla="*/ 0 w 152400"/>
                <a:gd name="connsiteY0" fmla="*/ 0 h 607075"/>
                <a:gd name="connsiteX1" fmla="*/ 152400 w 152400"/>
                <a:gd name="connsiteY1" fmla="*/ 0 h 607075"/>
                <a:gd name="connsiteX2" fmla="*/ 90488 w 152400"/>
                <a:gd name="connsiteY2" fmla="*/ 111775 h 607075"/>
                <a:gd name="connsiteX3" fmla="*/ 152400 w 152400"/>
                <a:gd name="connsiteY3" fmla="*/ 607075 h 607075"/>
                <a:gd name="connsiteX4" fmla="*/ 0 w 152400"/>
                <a:gd name="connsiteY4" fmla="*/ 607075 h 607075"/>
                <a:gd name="connsiteX5" fmla="*/ 42863 w 152400"/>
                <a:gd name="connsiteY5" fmla="*/ 107013 h 607075"/>
                <a:gd name="connsiteX6" fmla="*/ 0 w 152400"/>
                <a:gd name="connsiteY6" fmla="*/ 0 h 607075"/>
                <a:gd name="connsiteX0" fmla="*/ 0 w 152400"/>
                <a:gd name="connsiteY0" fmla="*/ 4763 h 611838"/>
                <a:gd name="connsiteX1" fmla="*/ 116681 w 152400"/>
                <a:gd name="connsiteY1" fmla="*/ 0 h 611838"/>
                <a:gd name="connsiteX2" fmla="*/ 90488 w 152400"/>
                <a:gd name="connsiteY2" fmla="*/ 116538 h 611838"/>
                <a:gd name="connsiteX3" fmla="*/ 152400 w 152400"/>
                <a:gd name="connsiteY3" fmla="*/ 611838 h 611838"/>
                <a:gd name="connsiteX4" fmla="*/ 0 w 152400"/>
                <a:gd name="connsiteY4" fmla="*/ 611838 h 611838"/>
                <a:gd name="connsiteX5" fmla="*/ 42863 w 152400"/>
                <a:gd name="connsiteY5" fmla="*/ 111776 h 611838"/>
                <a:gd name="connsiteX6" fmla="*/ 0 w 152400"/>
                <a:gd name="connsiteY6" fmla="*/ 4763 h 611838"/>
                <a:gd name="connsiteX0" fmla="*/ 7144 w 152400"/>
                <a:gd name="connsiteY0" fmla="*/ 4763 h 611838"/>
                <a:gd name="connsiteX1" fmla="*/ 116681 w 152400"/>
                <a:gd name="connsiteY1" fmla="*/ 0 h 611838"/>
                <a:gd name="connsiteX2" fmla="*/ 90488 w 152400"/>
                <a:gd name="connsiteY2" fmla="*/ 116538 h 611838"/>
                <a:gd name="connsiteX3" fmla="*/ 152400 w 152400"/>
                <a:gd name="connsiteY3" fmla="*/ 611838 h 611838"/>
                <a:gd name="connsiteX4" fmla="*/ 0 w 152400"/>
                <a:gd name="connsiteY4" fmla="*/ 611838 h 611838"/>
                <a:gd name="connsiteX5" fmla="*/ 42863 w 152400"/>
                <a:gd name="connsiteY5" fmla="*/ 111776 h 611838"/>
                <a:gd name="connsiteX6" fmla="*/ 7144 w 152400"/>
                <a:gd name="connsiteY6" fmla="*/ 4763 h 611838"/>
                <a:gd name="connsiteX0" fmla="*/ 7144 w 152400"/>
                <a:gd name="connsiteY0" fmla="*/ 12253 h 619328"/>
                <a:gd name="connsiteX1" fmla="*/ 116681 w 152400"/>
                <a:gd name="connsiteY1" fmla="*/ 7490 h 619328"/>
                <a:gd name="connsiteX2" fmla="*/ 90488 w 152400"/>
                <a:gd name="connsiteY2" fmla="*/ 124028 h 619328"/>
                <a:gd name="connsiteX3" fmla="*/ 152400 w 152400"/>
                <a:gd name="connsiteY3" fmla="*/ 619328 h 619328"/>
                <a:gd name="connsiteX4" fmla="*/ 0 w 152400"/>
                <a:gd name="connsiteY4" fmla="*/ 619328 h 619328"/>
                <a:gd name="connsiteX5" fmla="*/ 42863 w 152400"/>
                <a:gd name="connsiteY5" fmla="*/ 119266 h 619328"/>
                <a:gd name="connsiteX6" fmla="*/ 7144 w 152400"/>
                <a:gd name="connsiteY6" fmla="*/ 12253 h 619328"/>
                <a:gd name="connsiteX0" fmla="*/ 7144 w 152400"/>
                <a:gd name="connsiteY0" fmla="*/ 15051 h 622126"/>
                <a:gd name="connsiteX1" fmla="*/ 116681 w 152400"/>
                <a:gd name="connsiteY1" fmla="*/ 10288 h 622126"/>
                <a:gd name="connsiteX2" fmla="*/ 90488 w 152400"/>
                <a:gd name="connsiteY2" fmla="*/ 126826 h 622126"/>
                <a:gd name="connsiteX3" fmla="*/ 152400 w 152400"/>
                <a:gd name="connsiteY3" fmla="*/ 622126 h 622126"/>
                <a:gd name="connsiteX4" fmla="*/ 0 w 152400"/>
                <a:gd name="connsiteY4" fmla="*/ 622126 h 622126"/>
                <a:gd name="connsiteX5" fmla="*/ 42863 w 152400"/>
                <a:gd name="connsiteY5" fmla="*/ 122064 h 622126"/>
                <a:gd name="connsiteX6" fmla="*/ 7144 w 152400"/>
                <a:gd name="connsiteY6" fmla="*/ 15051 h 622126"/>
                <a:gd name="connsiteX0" fmla="*/ 7144 w 152400"/>
                <a:gd name="connsiteY0" fmla="*/ 15051 h 622126"/>
                <a:gd name="connsiteX1" fmla="*/ 116681 w 152400"/>
                <a:gd name="connsiteY1" fmla="*/ 10288 h 622126"/>
                <a:gd name="connsiteX2" fmla="*/ 90488 w 152400"/>
                <a:gd name="connsiteY2" fmla="*/ 126826 h 622126"/>
                <a:gd name="connsiteX3" fmla="*/ 152400 w 152400"/>
                <a:gd name="connsiteY3" fmla="*/ 622126 h 622126"/>
                <a:gd name="connsiteX4" fmla="*/ 0 w 152400"/>
                <a:gd name="connsiteY4" fmla="*/ 622126 h 622126"/>
                <a:gd name="connsiteX5" fmla="*/ 42863 w 152400"/>
                <a:gd name="connsiteY5" fmla="*/ 122064 h 622126"/>
                <a:gd name="connsiteX6" fmla="*/ 7144 w 152400"/>
                <a:gd name="connsiteY6" fmla="*/ 15051 h 622126"/>
                <a:gd name="connsiteX0" fmla="*/ 7144 w 152400"/>
                <a:gd name="connsiteY0" fmla="*/ 15051 h 622126"/>
                <a:gd name="connsiteX1" fmla="*/ 116681 w 152400"/>
                <a:gd name="connsiteY1" fmla="*/ 10288 h 622126"/>
                <a:gd name="connsiteX2" fmla="*/ 90488 w 152400"/>
                <a:gd name="connsiteY2" fmla="*/ 126826 h 622126"/>
                <a:gd name="connsiteX3" fmla="*/ 152400 w 152400"/>
                <a:gd name="connsiteY3" fmla="*/ 622126 h 622126"/>
                <a:gd name="connsiteX4" fmla="*/ 0 w 152400"/>
                <a:gd name="connsiteY4" fmla="*/ 622126 h 622126"/>
                <a:gd name="connsiteX5" fmla="*/ 42863 w 152400"/>
                <a:gd name="connsiteY5" fmla="*/ 122064 h 622126"/>
                <a:gd name="connsiteX6" fmla="*/ 7144 w 152400"/>
                <a:gd name="connsiteY6" fmla="*/ 15051 h 622126"/>
                <a:gd name="connsiteX0" fmla="*/ 7144 w 152400"/>
                <a:gd name="connsiteY0" fmla="*/ 15051 h 622126"/>
                <a:gd name="connsiteX1" fmla="*/ 116681 w 152400"/>
                <a:gd name="connsiteY1" fmla="*/ 10288 h 622126"/>
                <a:gd name="connsiteX2" fmla="*/ 90488 w 152400"/>
                <a:gd name="connsiteY2" fmla="*/ 126826 h 622126"/>
                <a:gd name="connsiteX3" fmla="*/ 152400 w 152400"/>
                <a:gd name="connsiteY3" fmla="*/ 622126 h 622126"/>
                <a:gd name="connsiteX4" fmla="*/ 0 w 152400"/>
                <a:gd name="connsiteY4" fmla="*/ 622126 h 622126"/>
                <a:gd name="connsiteX5" fmla="*/ 42863 w 152400"/>
                <a:gd name="connsiteY5" fmla="*/ 122064 h 622126"/>
                <a:gd name="connsiteX6" fmla="*/ 7144 w 152400"/>
                <a:gd name="connsiteY6" fmla="*/ 15051 h 622126"/>
                <a:gd name="connsiteX0" fmla="*/ 7144 w 152400"/>
                <a:gd name="connsiteY0" fmla="*/ 15051 h 622126"/>
                <a:gd name="connsiteX1" fmla="*/ 116681 w 152400"/>
                <a:gd name="connsiteY1" fmla="*/ 10288 h 622126"/>
                <a:gd name="connsiteX2" fmla="*/ 90488 w 152400"/>
                <a:gd name="connsiteY2" fmla="*/ 126826 h 622126"/>
                <a:gd name="connsiteX3" fmla="*/ 152400 w 152400"/>
                <a:gd name="connsiteY3" fmla="*/ 622126 h 622126"/>
                <a:gd name="connsiteX4" fmla="*/ 0 w 152400"/>
                <a:gd name="connsiteY4" fmla="*/ 622126 h 622126"/>
                <a:gd name="connsiteX5" fmla="*/ 42863 w 152400"/>
                <a:gd name="connsiteY5" fmla="*/ 122064 h 622126"/>
                <a:gd name="connsiteX6" fmla="*/ 7144 w 152400"/>
                <a:gd name="connsiteY6" fmla="*/ 15051 h 622126"/>
                <a:gd name="connsiteX0" fmla="*/ 16669 w 161925"/>
                <a:gd name="connsiteY0" fmla="*/ 15051 h 710232"/>
                <a:gd name="connsiteX1" fmla="*/ 126206 w 161925"/>
                <a:gd name="connsiteY1" fmla="*/ 10288 h 710232"/>
                <a:gd name="connsiteX2" fmla="*/ 100013 w 161925"/>
                <a:gd name="connsiteY2" fmla="*/ 126826 h 710232"/>
                <a:gd name="connsiteX3" fmla="*/ 161925 w 161925"/>
                <a:gd name="connsiteY3" fmla="*/ 622126 h 710232"/>
                <a:gd name="connsiteX4" fmla="*/ 0 w 161925"/>
                <a:gd name="connsiteY4" fmla="*/ 710232 h 710232"/>
                <a:gd name="connsiteX5" fmla="*/ 52388 w 161925"/>
                <a:gd name="connsiteY5" fmla="*/ 122064 h 710232"/>
                <a:gd name="connsiteX6" fmla="*/ 16669 w 161925"/>
                <a:gd name="connsiteY6" fmla="*/ 15051 h 710232"/>
                <a:gd name="connsiteX0" fmla="*/ 16669 w 133350"/>
                <a:gd name="connsiteY0" fmla="*/ 15051 h 710232"/>
                <a:gd name="connsiteX1" fmla="*/ 126206 w 133350"/>
                <a:gd name="connsiteY1" fmla="*/ 10288 h 710232"/>
                <a:gd name="connsiteX2" fmla="*/ 100013 w 133350"/>
                <a:gd name="connsiteY2" fmla="*/ 126826 h 710232"/>
                <a:gd name="connsiteX3" fmla="*/ 133350 w 133350"/>
                <a:gd name="connsiteY3" fmla="*/ 710232 h 710232"/>
                <a:gd name="connsiteX4" fmla="*/ 0 w 133350"/>
                <a:gd name="connsiteY4" fmla="*/ 710232 h 710232"/>
                <a:gd name="connsiteX5" fmla="*/ 52388 w 133350"/>
                <a:gd name="connsiteY5" fmla="*/ 122064 h 710232"/>
                <a:gd name="connsiteX6" fmla="*/ 16669 w 133350"/>
                <a:gd name="connsiteY6" fmla="*/ 15051 h 710232"/>
                <a:gd name="connsiteX0" fmla="*/ 20860 w 137541"/>
                <a:gd name="connsiteY0" fmla="*/ 15051 h 710232"/>
                <a:gd name="connsiteX1" fmla="*/ 130397 w 137541"/>
                <a:gd name="connsiteY1" fmla="*/ 10288 h 710232"/>
                <a:gd name="connsiteX2" fmla="*/ 104204 w 137541"/>
                <a:gd name="connsiteY2" fmla="*/ 126826 h 710232"/>
                <a:gd name="connsiteX3" fmla="*/ 137541 w 137541"/>
                <a:gd name="connsiteY3" fmla="*/ 710232 h 710232"/>
                <a:gd name="connsiteX4" fmla="*/ 4191 w 137541"/>
                <a:gd name="connsiteY4" fmla="*/ 710232 h 710232"/>
                <a:gd name="connsiteX5" fmla="*/ 56579 w 137541"/>
                <a:gd name="connsiteY5" fmla="*/ 122064 h 710232"/>
                <a:gd name="connsiteX6" fmla="*/ 20860 w 137541"/>
                <a:gd name="connsiteY6" fmla="*/ 15051 h 710232"/>
                <a:gd name="connsiteX0" fmla="*/ 20860 w 144500"/>
                <a:gd name="connsiteY0" fmla="*/ 15051 h 710232"/>
                <a:gd name="connsiteX1" fmla="*/ 130397 w 144500"/>
                <a:gd name="connsiteY1" fmla="*/ 10288 h 710232"/>
                <a:gd name="connsiteX2" fmla="*/ 104204 w 144500"/>
                <a:gd name="connsiteY2" fmla="*/ 126826 h 710232"/>
                <a:gd name="connsiteX3" fmla="*/ 137541 w 144500"/>
                <a:gd name="connsiteY3" fmla="*/ 710232 h 710232"/>
                <a:gd name="connsiteX4" fmla="*/ 4191 w 144500"/>
                <a:gd name="connsiteY4" fmla="*/ 710232 h 710232"/>
                <a:gd name="connsiteX5" fmla="*/ 56579 w 144500"/>
                <a:gd name="connsiteY5" fmla="*/ 122064 h 710232"/>
                <a:gd name="connsiteX6" fmla="*/ 20860 w 144500"/>
                <a:gd name="connsiteY6" fmla="*/ 15051 h 710232"/>
                <a:gd name="connsiteX0" fmla="*/ 9843 w 144500"/>
                <a:gd name="connsiteY0" fmla="*/ 20978 h 705142"/>
                <a:gd name="connsiteX1" fmla="*/ 130397 w 144500"/>
                <a:gd name="connsiteY1" fmla="*/ 5198 h 705142"/>
                <a:gd name="connsiteX2" fmla="*/ 104204 w 144500"/>
                <a:gd name="connsiteY2" fmla="*/ 121736 h 705142"/>
                <a:gd name="connsiteX3" fmla="*/ 137541 w 144500"/>
                <a:gd name="connsiteY3" fmla="*/ 705142 h 705142"/>
                <a:gd name="connsiteX4" fmla="*/ 4191 w 144500"/>
                <a:gd name="connsiteY4" fmla="*/ 705142 h 705142"/>
                <a:gd name="connsiteX5" fmla="*/ 56579 w 144500"/>
                <a:gd name="connsiteY5" fmla="*/ 116974 h 705142"/>
                <a:gd name="connsiteX6" fmla="*/ 9843 w 144500"/>
                <a:gd name="connsiteY6" fmla="*/ 20978 h 705142"/>
                <a:gd name="connsiteX0" fmla="*/ 9843 w 144500"/>
                <a:gd name="connsiteY0" fmla="*/ 15052 h 699216"/>
                <a:gd name="connsiteX1" fmla="*/ 141414 w 144500"/>
                <a:gd name="connsiteY1" fmla="*/ 10289 h 699216"/>
                <a:gd name="connsiteX2" fmla="*/ 104204 w 144500"/>
                <a:gd name="connsiteY2" fmla="*/ 115810 h 699216"/>
                <a:gd name="connsiteX3" fmla="*/ 137541 w 144500"/>
                <a:gd name="connsiteY3" fmla="*/ 699216 h 699216"/>
                <a:gd name="connsiteX4" fmla="*/ 4191 w 144500"/>
                <a:gd name="connsiteY4" fmla="*/ 699216 h 699216"/>
                <a:gd name="connsiteX5" fmla="*/ 56579 w 144500"/>
                <a:gd name="connsiteY5" fmla="*/ 111048 h 699216"/>
                <a:gd name="connsiteX6" fmla="*/ 9843 w 144500"/>
                <a:gd name="connsiteY6" fmla="*/ 15052 h 699216"/>
                <a:gd name="connsiteX0" fmla="*/ 9843 w 144500"/>
                <a:gd name="connsiteY0" fmla="*/ 35262 h 719426"/>
                <a:gd name="connsiteX1" fmla="*/ 141414 w 144500"/>
                <a:gd name="connsiteY1" fmla="*/ 30499 h 719426"/>
                <a:gd name="connsiteX2" fmla="*/ 104204 w 144500"/>
                <a:gd name="connsiteY2" fmla="*/ 136020 h 719426"/>
                <a:gd name="connsiteX3" fmla="*/ 137541 w 144500"/>
                <a:gd name="connsiteY3" fmla="*/ 719426 h 719426"/>
                <a:gd name="connsiteX4" fmla="*/ 4191 w 144500"/>
                <a:gd name="connsiteY4" fmla="*/ 719426 h 719426"/>
                <a:gd name="connsiteX5" fmla="*/ 56579 w 144500"/>
                <a:gd name="connsiteY5" fmla="*/ 131258 h 719426"/>
                <a:gd name="connsiteX6" fmla="*/ 9843 w 144500"/>
                <a:gd name="connsiteY6" fmla="*/ 35262 h 719426"/>
                <a:gd name="connsiteX0" fmla="*/ 0 w 134657"/>
                <a:gd name="connsiteY0" fmla="*/ 35262 h 719426"/>
                <a:gd name="connsiteX1" fmla="*/ 131571 w 134657"/>
                <a:gd name="connsiteY1" fmla="*/ 30499 h 719426"/>
                <a:gd name="connsiteX2" fmla="*/ 94361 w 134657"/>
                <a:gd name="connsiteY2" fmla="*/ 136020 h 719426"/>
                <a:gd name="connsiteX3" fmla="*/ 127698 w 134657"/>
                <a:gd name="connsiteY3" fmla="*/ 719426 h 719426"/>
                <a:gd name="connsiteX4" fmla="*/ 16382 w 134657"/>
                <a:gd name="connsiteY4" fmla="*/ 719426 h 719426"/>
                <a:gd name="connsiteX5" fmla="*/ 46736 w 134657"/>
                <a:gd name="connsiteY5" fmla="*/ 131258 h 719426"/>
                <a:gd name="connsiteX6" fmla="*/ 0 w 134657"/>
                <a:gd name="connsiteY6" fmla="*/ 35262 h 719426"/>
                <a:gd name="connsiteX0" fmla="*/ 0 w 139787"/>
                <a:gd name="connsiteY0" fmla="*/ 35262 h 719426"/>
                <a:gd name="connsiteX1" fmla="*/ 131571 w 139787"/>
                <a:gd name="connsiteY1" fmla="*/ 30499 h 719426"/>
                <a:gd name="connsiteX2" fmla="*/ 94361 w 139787"/>
                <a:gd name="connsiteY2" fmla="*/ 136020 h 719426"/>
                <a:gd name="connsiteX3" fmla="*/ 138715 w 139787"/>
                <a:gd name="connsiteY3" fmla="*/ 719426 h 719426"/>
                <a:gd name="connsiteX4" fmla="*/ 16382 w 139787"/>
                <a:gd name="connsiteY4" fmla="*/ 719426 h 719426"/>
                <a:gd name="connsiteX5" fmla="*/ 46736 w 139787"/>
                <a:gd name="connsiteY5" fmla="*/ 131258 h 719426"/>
                <a:gd name="connsiteX6" fmla="*/ 0 w 139787"/>
                <a:gd name="connsiteY6" fmla="*/ 35262 h 719426"/>
                <a:gd name="connsiteX0" fmla="*/ 0 w 134657"/>
                <a:gd name="connsiteY0" fmla="*/ 35262 h 719426"/>
                <a:gd name="connsiteX1" fmla="*/ 131571 w 134657"/>
                <a:gd name="connsiteY1" fmla="*/ 30499 h 719426"/>
                <a:gd name="connsiteX2" fmla="*/ 94361 w 134657"/>
                <a:gd name="connsiteY2" fmla="*/ 136020 h 719426"/>
                <a:gd name="connsiteX3" fmla="*/ 127698 w 134657"/>
                <a:gd name="connsiteY3" fmla="*/ 719426 h 719426"/>
                <a:gd name="connsiteX4" fmla="*/ 16382 w 134657"/>
                <a:gd name="connsiteY4" fmla="*/ 719426 h 719426"/>
                <a:gd name="connsiteX5" fmla="*/ 46736 w 134657"/>
                <a:gd name="connsiteY5" fmla="*/ 131258 h 719426"/>
                <a:gd name="connsiteX6" fmla="*/ 0 w 134657"/>
                <a:gd name="connsiteY6" fmla="*/ 35262 h 719426"/>
                <a:gd name="connsiteX0" fmla="*/ 0 w 132223"/>
                <a:gd name="connsiteY0" fmla="*/ 35262 h 719426"/>
                <a:gd name="connsiteX1" fmla="*/ 131571 w 132223"/>
                <a:gd name="connsiteY1" fmla="*/ 30499 h 719426"/>
                <a:gd name="connsiteX2" fmla="*/ 77836 w 132223"/>
                <a:gd name="connsiteY2" fmla="*/ 136020 h 719426"/>
                <a:gd name="connsiteX3" fmla="*/ 127698 w 132223"/>
                <a:gd name="connsiteY3" fmla="*/ 719426 h 719426"/>
                <a:gd name="connsiteX4" fmla="*/ 16382 w 132223"/>
                <a:gd name="connsiteY4" fmla="*/ 719426 h 719426"/>
                <a:gd name="connsiteX5" fmla="*/ 46736 w 132223"/>
                <a:gd name="connsiteY5" fmla="*/ 131258 h 719426"/>
                <a:gd name="connsiteX6" fmla="*/ 0 w 132223"/>
                <a:gd name="connsiteY6" fmla="*/ 35262 h 719426"/>
                <a:gd name="connsiteX0" fmla="*/ 0 w 131571"/>
                <a:gd name="connsiteY0" fmla="*/ 35262 h 719426"/>
                <a:gd name="connsiteX1" fmla="*/ 131571 w 131571"/>
                <a:gd name="connsiteY1" fmla="*/ 30499 h 719426"/>
                <a:gd name="connsiteX2" fmla="*/ 77836 w 131571"/>
                <a:gd name="connsiteY2" fmla="*/ 136020 h 719426"/>
                <a:gd name="connsiteX3" fmla="*/ 127698 w 131571"/>
                <a:gd name="connsiteY3" fmla="*/ 719426 h 719426"/>
                <a:gd name="connsiteX4" fmla="*/ 16382 w 131571"/>
                <a:gd name="connsiteY4" fmla="*/ 719426 h 719426"/>
                <a:gd name="connsiteX5" fmla="*/ 46736 w 131571"/>
                <a:gd name="connsiteY5" fmla="*/ 131258 h 719426"/>
                <a:gd name="connsiteX6" fmla="*/ 0 w 131571"/>
                <a:gd name="connsiteY6" fmla="*/ 35262 h 719426"/>
                <a:gd name="connsiteX0" fmla="*/ 0 w 127698"/>
                <a:gd name="connsiteY0" fmla="*/ 39004 h 723168"/>
                <a:gd name="connsiteX1" fmla="*/ 126063 w 127698"/>
                <a:gd name="connsiteY1" fmla="*/ 28733 h 723168"/>
                <a:gd name="connsiteX2" fmla="*/ 77836 w 127698"/>
                <a:gd name="connsiteY2" fmla="*/ 139762 h 723168"/>
                <a:gd name="connsiteX3" fmla="*/ 127698 w 127698"/>
                <a:gd name="connsiteY3" fmla="*/ 723168 h 723168"/>
                <a:gd name="connsiteX4" fmla="*/ 16382 w 127698"/>
                <a:gd name="connsiteY4" fmla="*/ 723168 h 723168"/>
                <a:gd name="connsiteX5" fmla="*/ 46736 w 127698"/>
                <a:gd name="connsiteY5" fmla="*/ 135000 h 723168"/>
                <a:gd name="connsiteX6" fmla="*/ 0 w 127698"/>
                <a:gd name="connsiteY6" fmla="*/ 39004 h 723168"/>
                <a:gd name="connsiteX0" fmla="*/ 0 w 127698"/>
                <a:gd name="connsiteY0" fmla="*/ 39004 h 723168"/>
                <a:gd name="connsiteX1" fmla="*/ 126063 w 127698"/>
                <a:gd name="connsiteY1" fmla="*/ 28733 h 723168"/>
                <a:gd name="connsiteX2" fmla="*/ 77836 w 127698"/>
                <a:gd name="connsiteY2" fmla="*/ 139762 h 723168"/>
                <a:gd name="connsiteX3" fmla="*/ 127698 w 127698"/>
                <a:gd name="connsiteY3" fmla="*/ 723168 h 723168"/>
                <a:gd name="connsiteX4" fmla="*/ 16382 w 127698"/>
                <a:gd name="connsiteY4" fmla="*/ 723168 h 723168"/>
                <a:gd name="connsiteX5" fmla="*/ 46736 w 127698"/>
                <a:gd name="connsiteY5" fmla="*/ 135000 h 723168"/>
                <a:gd name="connsiteX6" fmla="*/ 0 w 127698"/>
                <a:gd name="connsiteY6" fmla="*/ 39004 h 723168"/>
                <a:gd name="connsiteX0" fmla="*/ 43149 w 170847"/>
                <a:gd name="connsiteY0" fmla="*/ 39004 h 723168"/>
                <a:gd name="connsiteX1" fmla="*/ 169212 w 170847"/>
                <a:gd name="connsiteY1" fmla="*/ 28733 h 723168"/>
                <a:gd name="connsiteX2" fmla="*/ 120985 w 170847"/>
                <a:gd name="connsiteY2" fmla="*/ 139762 h 723168"/>
                <a:gd name="connsiteX3" fmla="*/ 170847 w 170847"/>
                <a:gd name="connsiteY3" fmla="*/ 723168 h 723168"/>
                <a:gd name="connsiteX4" fmla="*/ 0 w 170847"/>
                <a:gd name="connsiteY4" fmla="*/ 720787 h 723168"/>
                <a:gd name="connsiteX5" fmla="*/ 89885 w 170847"/>
                <a:gd name="connsiteY5" fmla="*/ 135000 h 723168"/>
                <a:gd name="connsiteX6" fmla="*/ 43149 w 170847"/>
                <a:gd name="connsiteY6" fmla="*/ 39004 h 723168"/>
                <a:gd name="connsiteX0" fmla="*/ 43149 w 169212"/>
                <a:gd name="connsiteY0" fmla="*/ 39004 h 725549"/>
                <a:gd name="connsiteX1" fmla="*/ 169212 w 169212"/>
                <a:gd name="connsiteY1" fmla="*/ 28733 h 725549"/>
                <a:gd name="connsiteX2" fmla="*/ 120985 w 169212"/>
                <a:gd name="connsiteY2" fmla="*/ 139762 h 725549"/>
                <a:gd name="connsiteX3" fmla="*/ 108935 w 169212"/>
                <a:gd name="connsiteY3" fmla="*/ 725549 h 725549"/>
                <a:gd name="connsiteX4" fmla="*/ 0 w 169212"/>
                <a:gd name="connsiteY4" fmla="*/ 720787 h 725549"/>
                <a:gd name="connsiteX5" fmla="*/ 89885 w 169212"/>
                <a:gd name="connsiteY5" fmla="*/ 135000 h 725549"/>
                <a:gd name="connsiteX6" fmla="*/ 43149 w 169212"/>
                <a:gd name="connsiteY6" fmla="*/ 39004 h 725549"/>
                <a:gd name="connsiteX0" fmla="*/ 47911 w 173974"/>
                <a:gd name="connsiteY0" fmla="*/ 39004 h 744600"/>
                <a:gd name="connsiteX1" fmla="*/ 173974 w 173974"/>
                <a:gd name="connsiteY1" fmla="*/ 28733 h 744600"/>
                <a:gd name="connsiteX2" fmla="*/ 125747 w 173974"/>
                <a:gd name="connsiteY2" fmla="*/ 139762 h 744600"/>
                <a:gd name="connsiteX3" fmla="*/ 113697 w 173974"/>
                <a:gd name="connsiteY3" fmla="*/ 725549 h 744600"/>
                <a:gd name="connsiteX4" fmla="*/ 0 w 173974"/>
                <a:gd name="connsiteY4" fmla="*/ 744600 h 744600"/>
                <a:gd name="connsiteX5" fmla="*/ 94647 w 173974"/>
                <a:gd name="connsiteY5" fmla="*/ 135000 h 744600"/>
                <a:gd name="connsiteX6" fmla="*/ 47911 w 173974"/>
                <a:gd name="connsiteY6" fmla="*/ 39004 h 744600"/>
                <a:gd name="connsiteX0" fmla="*/ 47911 w 173974"/>
                <a:gd name="connsiteY0" fmla="*/ 39004 h 761268"/>
                <a:gd name="connsiteX1" fmla="*/ 173974 w 173974"/>
                <a:gd name="connsiteY1" fmla="*/ 28733 h 761268"/>
                <a:gd name="connsiteX2" fmla="*/ 125747 w 173974"/>
                <a:gd name="connsiteY2" fmla="*/ 139762 h 761268"/>
                <a:gd name="connsiteX3" fmla="*/ 101791 w 173974"/>
                <a:gd name="connsiteY3" fmla="*/ 761268 h 761268"/>
                <a:gd name="connsiteX4" fmla="*/ 0 w 173974"/>
                <a:gd name="connsiteY4" fmla="*/ 744600 h 761268"/>
                <a:gd name="connsiteX5" fmla="*/ 94647 w 173974"/>
                <a:gd name="connsiteY5" fmla="*/ 135000 h 761268"/>
                <a:gd name="connsiteX6" fmla="*/ 47911 w 173974"/>
                <a:gd name="connsiteY6" fmla="*/ 39004 h 761268"/>
                <a:gd name="connsiteX0" fmla="*/ 47925 w 173988"/>
                <a:gd name="connsiteY0" fmla="*/ 39004 h 761268"/>
                <a:gd name="connsiteX1" fmla="*/ 173988 w 173988"/>
                <a:gd name="connsiteY1" fmla="*/ 28733 h 761268"/>
                <a:gd name="connsiteX2" fmla="*/ 125761 w 173988"/>
                <a:gd name="connsiteY2" fmla="*/ 139762 h 761268"/>
                <a:gd name="connsiteX3" fmla="*/ 101805 w 173988"/>
                <a:gd name="connsiteY3" fmla="*/ 761268 h 761268"/>
                <a:gd name="connsiteX4" fmla="*/ 14 w 173988"/>
                <a:gd name="connsiteY4" fmla="*/ 744600 h 761268"/>
                <a:gd name="connsiteX5" fmla="*/ 75611 w 173988"/>
                <a:gd name="connsiteY5" fmla="*/ 111188 h 761268"/>
                <a:gd name="connsiteX6" fmla="*/ 47925 w 173988"/>
                <a:gd name="connsiteY6" fmla="*/ 39004 h 761268"/>
                <a:gd name="connsiteX0" fmla="*/ 47925 w 173988"/>
                <a:gd name="connsiteY0" fmla="*/ 39004 h 761268"/>
                <a:gd name="connsiteX1" fmla="*/ 173988 w 173988"/>
                <a:gd name="connsiteY1" fmla="*/ 28733 h 761268"/>
                <a:gd name="connsiteX2" fmla="*/ 116236 w 173988"/>
                <a:gd name="connsiteY2" fmla="*/ 123093 h 761268"/>
                <a:gd name="connsiteX3" fmla="*/ 101805 w 173988"/>
                <a:gd name="connsiteY3" fmla="*/ 761268 h 761268"/>
                <a:gd name="connsiteX4" fmla="*/ 14 w 173988"/>
                <a:gd name="connsiteY4" fmla="*/ 744600 h 761268"/>
                <a:gd name="connsiteX5" fmla="*/ 75611 w 173988"/>
                <a:gd name="connsiteY5" fmla="*/ 111188 h 761268"/>
                <a:gd name="connsiteX6" fmla="*/ 47925 w 173988"/>
                <a:gd name="connsiteY6" fmla="*/ 39004 h 761268"/>
                <a:gd name="connsiteX0" fmla="*/ 48121 w 174184"/>
                <a:gd name="connsiteY0" fmla="*/ 39004 h 761268"/>
                <a:gd name="connsiteX1" fmla="*/ 174184 w 174184"/>
                <a:gd name="connsiteY1" fmla="*/ 28733 h 761268"/>
                <a:gd name="connsiteX2" fmla="*/ 116432 w 174184"/>
                <a:gd name="connsiteY2" fmla="*/ 123093 h 761268"/>
                <a:gd name="connsiteX3" fmla="*/ 102001 w 174184"/>
                <a:gd name="connsiteY3" fmla="*/ 761268 h 761268"/>
                <a:gd name="connsiteX4" fmla="*/ 210 w 174184"/>
                <a:gd name="connsiteY4" fmla="*/ 744600 h 761268"/>
                <a:gd name="connsiteX5" fmla="*/ 71045 w 174184"/>
                <a:gd name="connsiteY5" fmla="*/ 118332 h 761268"/>
                <a:gd name="connsiteX6" fmla="*/ 48121 w 174184"/>
                <a:gd name="connsiteY6" fmla="*/ 39004 h 761268"/>
                <a:gd name="connsiteX0" fmla="*/ 48121 w 174184"/>
                <a:gd name="connsiteY0" fmla="*/ 39004 h 761268"/>
                <a:gd name="connsiteX1" fmla="*/ 174184 w 174184"/>
                <a:gd name="connsiteY1" fmla="*/ 28733 h 761268"/>
                <a:gd name="connsiteX2" fmla="*/ 116432 w 174184"/>
                <a:gd name="connsiteY2" fmla="*/ 123093 h 761268"/>
                <a:gd name="connsiteX3" fmla="*/ 102001 w 174184"/>
                <a:gd name="connsiteY3" fmla="*/ 761268 h 761268"/>
                <a:gd name="connsiteX4" fmla="*/ 210 w 174184"/>
                <a:gd name="connsiteY4" fmla="*/ 744600 h 761268"/>
                <a:gd name="connsiteX5" fmla="*/ 71045 w 174184"/>
                <a:gd name="connsiteY5" fmla="*/ 118332 h 761268"/>
                <a:gd name="connsiteX6" fmla="*/ 48121 w 174184"/>
                <a:gd name="connsiteY6" fmla="*/ 39004 h 761268"/>
                <a:gd name="connsiteX0" fmla="*/ 48121 w 174184"/>
                <a:gd name="connsiteY0" fmla="*/ 8489 h 807486"/>
                <a:gd name="connsiteX1" fmla="*/ 174184 w 174184"/>
                <a:gd name="connsiteY1" fmla="*/ 74951 h 807486"/>
                <a:gd name="connsiteX2" fmla="*/ 116432 w 174184"/>
                <a:gd name="connsiteY2" fmla="*/ 169311 h 807486"/>
                <a:gd name="connsiteX3" fmla="*/ 102001 w 174184"/>
                <a:gd name="connsiteY3" fmla="*/ 807486 h 807486"/>
                <a:gd name="connsiteX4" fmla="*/ 210 w 174184"/>
                <a:gd name="connsiteY4" fmla="*/ 790818 h 807486"/>
                <a:gd name="connsiteX5" fmla="*/ 71045 w 174184"/>
                <a:gd name="connsiteY5" fmla="*/ 164550 h 807486"/>
                <a:gd name="connsiteX6" fmla="*/ 48121 w 174184"/>
                <a:gd name="connsiteY6" fmla="*/ 8489 h 807486"/>
                <a:gd name="connsiteX0" fmla="*/ 48121 w 186972"/>
                <a:gd name="connsiteY0" fmla="*/ 17715 h 816712"/>
                <a:gd name="connsiteX1" fmla="*/ 186972 w 186972"/>
                <a:gd name="connsiteY1" fmla="*/ 45811 h 816712"/>
                <a:gd name="connsiteX2" fmla="*/ 116432 w 186972"/>
                <a:gd name="connsiteY2" fmla="*/ 178537 h 816712"/>
                <a:gd name="connsiteX3" fmla="*/ 102001 w 186972"/>
                <a:gd name="connsiteY3" fmla="*/ 816712 h 816712"/>
                <a:gd name="connsiteX4" fmla="*/ 210 w 186972"/>
                <a:gd name="connsiteY4" fmla="*/ 800044 h 816712"/>
                <a:gd name="connsiteX5" fmla="*/ 71045 w 186972"/>
                <a:gd name="connsiteY5" fmla="*/ 173776 h 816712"/>
                <a:gd name="connsiteX6" fmla="*/ 48121 w 186972"/>
                <a:gd name="connsiteY6" fmla="*/ 17715 h 816712"/>
                <a:gd name="connsiteX0" fmla="*/ 48121 w 186972"/>
                <a:gd name="connsiteY0" fmla="*/ 8175 h 807172"/>
                <a:gd name="connsiteX1" fmla="*/ 186972 w 186972"/>
                <a:gd name="connsiteY1" fmla="*/ 36271 h 807172"/>
                <a:gd name="connsiteX2" fmla="*/ 116432 w 186972"/>
                <a:gd name="connsiteY2" fmla="*/ 168997 h 807172"/>
                <a:gd name="connsiteX3" fmla="*/ 102001 w 186972"/>
                <a:gd name="connsiteY3" fmla="*/ 807172 h 807172"/>
                <a:gd name="connsiteX4" fmla="*/ 210 w 186972"/>
                <a:gd name="connsiteY4" fmla="*/ 790504 h 807172"/>
                <a:gd name="connsiteX5" fmla="*/ 71045 w 186972"/>
                <a:gd name="connsiteY5" fmla="*/ 164236 h 807172"/>
                <a:gd name="connsiteX6" fmla="*/ 48121 w 186972"/>
                <a:gd name="connsiteY6" fmla="*/ 8175 h 807172"/>
                <a:gd name="connsiteX0" fmla="*/ 48121 w 186972"/>
                <a:gd name="connsiteY0" fmla="*/ 0 h 798997"/>
                <a:gd name="connsiteX1" fmla="*/ 186972 w 186972"/>
                <a:gd name="connsiteY1" fmla="*/ 28096 h 798997"/>
                <a:gd name="connsiteX2" fmla="*/ 116432 w 186972"/>
                <a:gd name="connsiteY2" fmla="*/ 160822 h 798997"/>
                <a:gd name="connsiteX3" fmla="*/ 102001 w 186972"/>
                <a:gd name="connsiteY3" fmla="*/ 798997 h 798997"/>
                <a:gd name="connsiteX4" fmla="*/ 210 w 186972"/>
                <a:gd name="connsiteY4" fmla="*/ 782329 h 798997"/>
                <a:gd name="connsiteX5" fmla="*/ 71045 w 186972"/>
                <a:gd name="connsiteY5" fmla="*/ 156061 h 798997"/>
                <a:gd name="connsiteX6" fmla="*/ 48121 w 186972"/>
                <a:gd name="connsiteY6" fmla="*/ 0 h 798997"/>
                <a:gd name="connsiteX0" fmla="*/ 48121 w 183775"/>
                <a:gd name="connsiteY0" fmla="*/ 0 h 798997"/>
                <a:gd name="connsiteX1" fmla="*/ 183775 w 183775"/>
                <a:gd name="connsiteY1" fmla="*/ 15307 h 798997"/>
                <a:gd name="connsiteX2" fmla="*/ 116432 w 183775"/>
                <a:gd name="connsiteY2" fmla="*/ 160822 h 798997"/>
                <a:gd name="connsiteX3" fmla="*/ 102001 w 183775"/>
                <a:gd name="connsiteY3" fmla="*/ 798997 h 798997"/>
                <a:gd name="connsiteX4" fmla="*/ 210 w 183775"/>
                <a:gd name="connsiteY4" fmla="*/ 782329 h 798997"/>
                <a:gd name="connsiteX5" fmla="*/ 71045 w 183775"/>
                <a:gd name="connsiteY5" fmla="*/ 156061 h 798997"/>
                <a:gd name="connsiteX6" fmla="*/ 48121 w 183775"/>
                <a:gd name="connsiteY6" fmla="*/ 0 h 798997"/>
                <a:gd name="connsiteX0" fmla="*/ 48121 w 183775"/>
                <a:gd name="connsiteY0" fmla="*/ 0 h 798997"/>
                <a:gd name="connsiteX1" fmla="*/ 183775 w 183775"/>
                <a:gd name="connsiteY1" fmla="*/ 15307 h 798997"/>
                <a:gd name="connsiteX2" fmla="*/ 116432 w 183775"/>
                <a:gd name="connsiteY2" fmla="*/ 160822 h 798997"/>
                <a:gd name="connsiteX3" fmla="*/ 102001 w 183775"/>
                <a:gd name="connsiteY3" fmla="*/ 798997 h 798997"/>
                <a:gd name="connsiteX4" fmla="*/ 210 w 183775"/>
                <a:gd name="connsiteY4" fmla="*/ 782329 h 798997"/>
                <a:gd name="connsiteX5" fmla="*/ 71045 w 183775"/>
                <a:gd name="connsiteY5" fmla="*/ 156061 h 798997"/>
                <a:gd name="connsiteX6" fmla="*/ 48121 w 183775"/>
                <a:gd name="connsiteY6" fmla="*/ 0 h 798997"/>
                <a:gd name="connsiteX0" fmla="*/ 48121 w 183775"/>
                <a:gd name="connsiteY0" fmla="*/ 55232 h 854229"/>
                <a:gd name="connsiteX1" fmla="*/ 125205 w 183775"/>
                <a:gd name="connsiteY1" fmla="*/ 141 h 854229"/>
                <a:gd name="connsiteX2" fmla="*/ 183775 w 183775"/>
                <a:gd name="connsiteY2" fmla="*/ 70539 h 854229"/>
                <a:gd name="connsiteX3" fmla="*/ 116432 w 183775"/>
                <a:gd name="connsiteY3" fmla="*/ 216054 h 854229"/>
                <a:gd name="connsiteX4" fmla="*/ 102001 w 183775"/>
                <a:gd name="connsiteY4" fmla="*/ 854229 h 854229"/>
                <a:gd name="connsiteX5" fmla="*/ 210 w 183775"/>
                <a:gd name="connsiteY5" fmla="*/ 837561 h 854229"/>
                <a:gd name="connsiteX6" fmla="*/ 71045 w 183775"/>
                <a:gd name="connsiteY6" fmla="*/ 211293 h 854229"/>
                <a:gd name="connsiteX7" fmla="*/ 48121 w 183775"/>
                <a:gd name="connsiteY7" fmla="*/ 55232 h 854229"/>
                <a:gd name="connsiteX0" fmla="*/ 77959 w 213613"/>
                <a:gd name="connsiteY0" fmla="*/ 55232 h 962766"/>
                <a:gd name="connsiteX1" fmla="*/ 155043 w 213613"/>
                <a:gd name="connsiteY1" fmla="*/ 141 h 962766"/>
                <a:gd name="connsiteX2" fmla="*/ 213613 w 213613"/>
                <a:gd name="connsiteY2" fmla="*/ 70539 h 962766"/>
                <a:gd name="connsiteX3" fmla="*/ 146270 w 213613"/>
                <a:gd name="connsiteY3" fmla="*/ 216054 h 962766"/>
                <a:gd name="connsiteX4" fmla="*/ 131839 w 213613"/>
                <a:gd name="connsiteY4" fmla="*/ 854229 h 962766"/>
                <a:gd name="connsiteX5" fmla="*/ 0 w 213613"/>
                <a:gd name="connsiteY5" fmla="*/ 962766 h 962766"/>
                <a:gd name="connsiteX6" fmla="*/ 100883 w 213613"/>
                <a:gd name="connsiteY6" fmla="*/ 211293 h 962766"/>
                <a:gd name="connsiteX7" fmla="*/ 77959 w 213613"/>
                <a:gd name="connsiteY7" fmla="*/ 55232 h 962766"/>
                <a:gd name="connsiteX0" fmla="*/ 77959 w 213613"/>
                <a:gd name="connsiteY0" fmla="*/ 55232 h 962766"/>
                <a:gd name="connsiteX1" fmla="*/ 155043 w 213613"/>
                <a:gd name="connsiteY1" fmla="*/ 141 h 962766"/>
                <a:gd name="connsiteX2" fmla="*/ 213613 w 213613"/>
                <a:gd name="connsiteY2" fmla="*/ 70539 h 962766"/>
                <a:gd name="connsiteX3" fmla="*/ 146270 w 213613"/>
                <a:gd name="connsiteY3" fmla="*/ 216054 h 962766"/>
                <a:gd name="connsiteX4" fmla="*/ 121823 w 213613"/>
                <a:gd name="connsiteY4" fmla="*/ 939368 h 962766"/>
                <a:gd name="connsiteX5" fmla="*/ 0 w 213613"/>
                <a:gd name="connsiteY5" fmla="*/ 962766 h 962766"/>
                <a:gd name="connsiteX6" fmla="*/ 100883 w 213613"/>
                <a:gd name="connsiteY6" fmla="*/ 211293 h 962766"/>
                <a:gd name="connsiteX7" fmla="*/ 77959 w 213613"/>
                <a:gd name="connsiteY7" fmla="*/ 55232 h 962766"/>
                <a:gd name="connsiteX0" fmla="*/ 77959 w 213613"/>
                <a:gd name="connsiteY0" fmla="*/ 55232 h 1006796"/>
                <a:gd name="connsiteX1" fmla="*/ 155043 w 213613"/>
                <a:gd name="connsiteY1" fmla="*/ 141 h 1006796"/>
                <a:gd name="connsiteX2" fmla="*/ 213613 w 213613"/>
                <a:gd name="connsiteY2" fmla="*/ 70539 h 1006796"/>
                <a:gd name="connsiteX3" fmla="*/ 146270 w 213613"/>
                <a:gd name="connsiteY3" fmla="*/ 216054 h 1006796"/>
                <a:gd name="connsiteX4" fmla="*/ 121823 w 213613"/>
                <a:gd name="connsiteY4" fmla="*/ 939368 h 1006796"/>
                <a:gd name="connsiteX5" fmla="*/ 69904 w 213613"/>
                <a:gd name="connsiteY5" fmla="*/ 1006796 h 1006796"/>
                <a:gd name="connsiteX6" fmla="*/ 0 w 213613"/>
                <a:gd name="connsiteY6" fmla="*/ 962766 h 1006796"/>
                <a:gd name="connsiteX7" fmla="*/ 100883 w 213613"/>
                <a:gd name="connsiteY7" fmla="*/ 211293 h 1006796"/>
                <a:gd name="connsiteX8" fmla="*/ 77959 w 213613"/>
                <a:gd name="connsiteY8" fmla="*/ 55232 h 1006796"/>
                <a:gd name="connsiteX0" fmla="*/ 77959 w 213613"/>
                <a:gd name="connsiteY0" fmla="*/ 55232 h 1006796"/>
                <a:gd name="connsiteX1" fmla="*/ 155043 w 213613"/>
                <a:gd name="connsiteY1" fmla="*/ 141 h 1006796"/>
                <a:gd name="connsiteX2" fmla="*/ 213613 w 213613"/>
                <a:gd name="connsiteY2" fmla="*/ 70539 h 1006796"/>
                <a:gd name="connsiteX3" fmla="*/ 146270 w 213613"/>
                <a:gd name="connsiteY3" fmla="*/ 216054 h 1006796"/>
                <a:gd name="connsiteX4" fmla="*/ 126831 w 213613"/>
                <a:gd name="connsiteY4" fmla="*/ 959401 h 1006796"/>
                <a:gd name="connsiteX5" fmla="*/ 69904 w 213613"/>
                <a:gd name="connsiteY5" fmla="*/ 1006796 h 1006796"/>
                <a:gd name="connsiteX6" fmla="*/ 0 w 213613"/>
                <a:gd name="connsiteY6" fmla="*/ 962766 h 1006796"/>
                <a:gd name="connsiteX7" fmla="*/ 100883 w 213613"/>
                <a:gd name="connsiteY7" fmla="*/ 211293 h 1006796"/>
                <a:gd name="connsiteX8" fmla="*/ 77959 w 213613"/>
                <a:gd name="connsiteY8" fmla="*/ 55232 h 1006796"/>
                <a:gd name="connsiteX0" fmla="*/ 77959 w 213613"/>
                <a:gd name="connsiteY0" fmla="*/ 55232 h 1006796"/>
                <a:gd name="connsiteX1" fmla="*/ 155043 w 213613"/>
                <a:gd name="connsiteY1" fmla="*/ 141 h 1006796"/>
                <a:gd name="connsiteX2" fmla="*/ 213613 w 213613"/>
                <a:gd name="connsiteY2" fmla="*/ 70539 h 1006796"/>
                <a:gd name="connsiteX3" fmla="*/ 146270 w 213613"/>
                <a:gd name="connsiteY3" fmla="*/ 216054 h 1006796"/>
                <a:gd name="connsiteX4" fmla="*/ 126831 w 213613"/>
                <a:gd name="connsiteY4" fmla="*/ 959401 h 1006796"/>
                <a:gd name="connsiteX5" fmla="*/ 69904 w 213613"/>
                <a:gd name="connsiteY5" fmla="*/ 1006796 h 1006796"/>
                <a:gd name="connsiteX6" fmla="*/ 0 w 213613"/>
                <a:gd name="connsiteY6" fmla="*/ 962766 h 1006796"/>
                <a:gd name="connsiteX7" fmla="*/ 100883 w 213613"/>
                <a:gd name="connsiteY7" fmla="*/ 211293 h 1006796"/>
                <a:gd name="connsiteX8" fmla="*/ 77959 w 213613"/>
                <a:gd name="connsiteY8" fmla="*/ 55232 h 1006796"/>
                <a:gd name="connsiteX0" fmla="*/ 77959 w 213613"/>
                <a:gd name="connsiteY0" fmla="*/ 55232 h 1006796"/>
                <a:gd name="connsiteX1" fmla="*/ 155043 w 213613"/>
                <a:gd name="connsiteY1" fmla="*/ 141 h 1006796"/>
                <a:gd name="connsiteX2" fmla="*/ 213613 w 213613"/>
                <a:gd name="connsiteY2" fmla="*/ 70539 h 1006796"/>
                <a:gd name="connsiteX3" fmla="*/ 161294 w 213613"/>
                <a:gd name="connsiteY3" fmla="*/ 216055 h 1006796"/>
                <a:gd name="connsiteX4" fmla="*/ 126831 w 213613"/>
                <a:gd name="connsiteY4" fmla="*/ 959401 h 1006796"/>
                <a:gd name="connsiteX5" fmla="*/ 69904 w 213613"/>
                <a:gd name="connsiteY5" fmla="*/ 1006796 h 1006796"/>
                <a:gd name="connsiteX6" fmla="*/ 0 w 213613"/>
                <a:gd name="connsiteY6" fmla="*/ 962766 h 1006796"/>
                <a:gd name="connsiteX7" fmla="*/ 100883 w 213613"/>
                <a:gd name="connsiteY7" fmla="*/ 211293 h 1006796"/>
                <a:gd name="connsiteX8" fmla="*/ 77959 w 213613"/>
                <a:gd name="connsiteY8" fmla="*/ 55232 h 1006796"/>
                <a:gd name="connsiteX0" fmla="*/ 77959 w 213613"/>
                <a:gd name="connsiteY0" fmla="*/ 55232 h 1006796"/>
                <a:gd name="connsiteX1" fmla="*/ 155043 w 213613"/>
                <a:gd name="connsiteY1" fmla="*/ 141 h 1006796"/>
                <a:gd name="connsiteX2" fmla="*/ 213613 w 213613"/>
                <a:gd name="connsiteY2" fmla="*/ 70539 h 1006796"/>
                <a:gd name="connsiteX3" fmla="*/ 161294 w 213613"/>
                <a:gd name="connsiteY3" fmla="*/ 216055 h 1006796"/>
                <a:gd name="connsiteX4" fmla="*/ 148504 w 213613"/>
                <a:gd name="connsiteY4" fmla="*/ 875707 h 1006796"/>
                <a:gd name="connsiteX5" fmla="*/ 69904 w 213613"/>
                <a:gd name="connsiteY5" fmla="*/ 1006796 h 1006796"/>
                <a:gd name="connsiteX6" fmla="*/ 0 w 213613"/>
                <a:gd name="connsiteY6" fmla="*/ 962766 h 1006796"/>
                <a:gd name="connsiteX7" fmla="*/ 100883 w 213613"/>
                <a:gd name="connsiteY7" fmla="*/ 211293 h 1006796"/>
                <a:gd name="connsiteX8" fmla="*/ 77959 w 213613"/>
                <a:gd name="connsiteY8" fmla="*/ 55232 h 1006796"/>
                <a:gd name="connsiteX0" fmla="*/ 77959 w 213613"/>
                <a:gd name="connsiteY0" fmla="*/ 55232 h 962766"/>
                <a:gd name="connsiteX1" fmla="*/ 155043 w 213613"/>
                <a:gd name="connsiteY1" fmla="*/ 141 h 962766"/>
                <a:gd name="connsiteX2" fmla="*/ 213613 w 213613"/>
                <a:gd name="connsiteY2" fmla="*/ 70539 h 962766"/>
                <a:gd name="connsiteX3" fmla="*/ 161294 w 213613"/>
                <a:gd name="connsiteY3" fmla="*/ 216055 h 962766"/>
                <a:gd name="connsiteX4" fmla="*/ 148504 w 213613"/>
                <a:gd name="connsiteY4" fmla="*/ 875707 h 962766"/>
                <a:gd name="connsiteX5" fmla="*/ 69635 w 213613"/>
                <a:gd name="connsiteY5" fmla="*/ 946488 h 962766"/>
                <a:gd name="connsiteX6" fmla="*/ 0 w 213613"/>
                <a:gd name="connsiteY6" fmla="*/ 962766 h 962766"/>
                <a:gd name="connsiteX7" fmla="*/ 100883 w 213613"/>
                <a:gd name="connsiteY7" fmla="*/ 211293 h 962766"/>
                <a:gd name="connsiteX8" fmla="*/ 77959 w 213613"/>
                <a:gd name="connsiteY8" fmla="*/ 55232 h 962766"/>
                <a:gd name="connsiteX0" fmla="*/ 81644 w 217298"/>
                <a:gd name="connsiteY0" fmla="*/ 55232 h 946487"/>
                <a:gd name="connsiteX1" fmla="*/ 158728 w 217298"/>
                <a:gd name="connsiteY1" fmla="*/ 141 h 946487"/>
                <a:gd name="connsiteX2" fmla="*/ 217298 w 217298"/>
                <a:gd name="connsiteY2" fmla="*/ 70539 h 946487"/>
                <a:gd name="connsiteX3" fmla="*/ 164979 w 217298"/>
                <a:gd name="connsiteY3" fmla="*/ 216055 h 946487"/>
                <a:gd name="connsiteX4" fmla="*/ 152189 w 217298"/>
                <a:gd name="connsiteY4" fmla="*/ 875707 h 946487"/>
                <a:gd name="connsiteX5" fmla="*/ 73320 w 217298"/>
                <a:gd name="connsiteY5" fmla="*/ 946488 h 946487"/>
                <a:gd name="connsiteX6" fmla="*/ 0 w 217298"/>
                <a:gd name="connsiteY6" fmla="*/ 882093 h 946487"/>
                <a:gd name="connsiteX7" fmla="*/ 104568 w 217298"/>
                <a:gd name="connsiteY7" fmla="*/ 211293 h 946487"/>
                <a:gd name="connsiteX8" fmla="*/ 81644 w 217298"/>
                <a:gd name="connsiteY8" fmla="*/ 55232 h 946487"/>
                <a:gd name="connsiteX0" fmla="*/ 81644 w 217298"/>
                <a:gd name="connsiteY0" fmla="*/ 55232 h 946487"/>
                <a:gd name="connsiteX1" fmla="*/ 158728 w 217298"/>
                <a:gd name="connsiteY1" fmla="*/ 141 h 946487"/>
                <a:gd name="connsiteX2" fmla="*/ 217298 w 217298"/>
                <a:gd name="connsiteY2" fmla="*/ 70539 h 946487"/>
                <a:gd name="connsiteX3" fmla="*/ 164979 w 217298"/>
                <a:gd name="connsiteY3" fmla="*/ 216055 h 946487"/>
                <a:gd name="connsiteX4" fmla="*/ 152189 w 217298"/>
                <a:gd name="connsiteY4" fmla="*/ 875707 h 946487"/>
                <a:gd name="connsiteX5" fmla="*/ 73320 w 217298"/>
                <a:gd name="connsiteY5" fmla="*/ 946488 h 946487"/>
                <a:gd name="connsiteX6" fmla="*/ 0 w 217298"/>
                <a:gd name="connsiteY6" fmla="*/ 882093 h 946487"/>
                <a:gd name="connsiteX7" fmla="*/ 92348 w 217298"/>
                <a:gd name="connsiteY7" fmla="*/ 175161 h 946487"/>
                <a:gd name="connsiteX8" fmla="*/ 81644 w 217298"/>
                <a:gd name="connsiteY8" fmla="*/ 55232 h 946487"/>
                <a:gd name="connsiteX0" fmla="*/ 81644 w 217298"/>
                <a:gd name="connsiteY0" fmla="*/ 55232 h 946487"/>
                <a:gd name="connsiteX1" fmla="*/ 158728 w 217298"/>
                <a:gd name="connsiteY1" fmla="*/ 141 h 946487"/>
                <a:gd name="connsiteX2" fmla="*/ 217298 w 217298"/>
                <a:gd name="connsiteY2" fmla="*/ 70539 h 946487"/>
                <a:gd name="connsiteX3" fmla="*/ 173518 w 217298"/>
                <a:gd name="connsiteY3" fmla="*/ 171516 h 946487"/>
                <a:gd name="connsiteX4" fmla="*/ 152189 w 217298"/>
                <a:gd name="connsiteY4" fmla="*/ 875707 h 946487"/>
                <a:gd name="connsiteX5" fmla="*/ 73320 w 217298"/>
                <a:gd name="connsiteY5" fmla="*/ 946488 h 946487"/>
                <a:gd name="connsiteX6" fmla="*/ 0 w 217298"/>
                <a:gd name="connsiteY6" fmla="*/ 882093 h 946487"/>
                <a:gd name="connsiteX7" fmla="*/ 92348 w 217298"/>
                <a:gd name="connsiteY7" fmla="*/ 175161 h 946487"/>
                <a:gd name="connsiteX8" fmla="*/ 81644 w 217298"/>
                <a:gd name="connsiteY8" fmla="*/ 55232 h 946487"/>
                <a:gd name="connsiteX0" fmla="*/ 81644 w 217298"/>
                <a:gd name="connsiteY0" fmla="*/ 53009 h 944264"/>
                <a:gd name="connsiteX1" fmla="*/ 123387 w 217298"/>
                <a:gd name="connsiteY1" fmla="*/ 153 h 944264"/>
                <a:gd name="connsiteX2" fmla="*/ 217298 w 217298"/>
                <a:gd name="connsiteY2" fmla="*/ 68316 h 944264"/>
                <a:gd name="connsiteX3" fmla="*/ 173518 w 217298"/>
                <a:gd name="connsiteY3" fmla="*/ 169293 h 944264"/>
                <a:gd name="connsiteX4" fmla="*/ 152189 w 217298"/>
                <a:gd name="connsiteY4" fmla="*/ 873484 h 944264"/>
                <a:gd name="connsiteX5" fmla="*/ 73320 w 217298"/>
                <a:gd name="connsiteY5" fmla="*/ 944265 h 944264"/>
                <a:gd name="connsiteX6" fmla="*/ 0 w 217298"/>
                <a:gd name="connsiteY6" fmla="*/ 879870 h 944264"/>
                <a:gd name="connsiteX7" fmla="*/ 92348 w 217298"/>
                <a:gd name="connsiteY7" fmla="*/ 172938 h 944264"/>
                <a:gd name="connsiteX8" fmla="*/ 81644 w 217298"/>
                <a:gd name="connsiteY8" fmla="*/ 53009 h 944264"/>
                <a:gd name="connsiteX0" fmla="*/ 65876 w 217298"/>
                <a:gd name="connsiteY0" fmla="*/ 61778 h 944230"/>
                <a:gd name="connsiteX1" fmla="*/ 123387 w 217298"/>
                <a:gd name="connsiteY1" fmla="*/ 119 h 944230"/>
                <a:gd name="connsiteX2" fmla="*/ 217298 w 217298"/>
                <a:gd name="connsiteY2" fmla="*/ 68282 h 944230"/>
                <a:gd name="connsiteX3" fmla="*/ 173518 w 217298"/>
                <a:gd name="connsiteY3" fmla="*/ 169259 h 944230"/>
                <a:gd name="connsiteX4" fmla="*/ 152189 w 217298"/>
                <a:gd name="connsiteY4" fmla="*/ 873450 h 944230"/>
                <a:gd name="connsiteX5" fmla="*/ 73320 w 217298"/>
                <a:gd name="connsiteY5" fmla="*/ 944231 h 944230"/>
                <a:gd name="connsiteX6" fmla="*/ 0 w 217298"/>
                <a:gd name="connsiteY6" fmla="*/ 879836 h 944230"/>
                <a:gd name="connsiteX7" fmla="*/ 92348 w 217298"/>
                <a:gd name="connsiteY7" fmla="*/ 172904 h 944230"/>
                <a:gd name="connsiteX8" fmla="*/ 65876 w 217298"/>
                <a:gd name="connsiteY8" fmla="*/ 61778 h 944230"/>
                <a:gd name="connsiteX0" fmla="*/ 65876 w 200123"/>
                <a:gd name="connsiteY0" fmla="*/ 61778 h 944230"/>
                <a:gd name="connsiteX1" fmla="*/ 123387 w 200123"/>
                <a:gd name="connsiteY1" fmla="*/ 119 h 944230"/>
                <a:gd name="connsiteX2" fmla="*/ 198115 w 200123"/>
                <a:gd name="connsiteY2" fmla="*/ 56724 h 944230"/>
                <a:gd name="connsiteX3" fmla="*/ 173518 w 200123"/>
                <a:gd name="connsiteY3" fmla="*/ 169259 h 944230"/>
                <a:gd name="connsiteX4" fmla="*/ 152189 w 200123"/>
                <a:gd name="connsiteY4" fmla="*/ 873450 h 944230"/>
                <a:gd name="connsiteX5" fmla="*/ 73320 w 200123"/>
                <a:gd name="connsiteY5" fmla="*/ 944231 h 944230"/>
                <a:gd name="connsiteX6" fmla="*/ 0 w 200123"/>
                <a:gd name="connsiteY6" fmla="*/ 879836 h 944230"/>
                <a:gd name="connsiteX7" fmla="*/ 92348 w 200123"/>
                <a:gd name="connsiteY7" fmla="*/ 172904 h 944230"/>
                <a:gd name="connsiteX8" fmla="*/ 65876 w 200123"/>
                <a:gd name="connsiteY8" fmla="*/ 61778 h 944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123" h="944230">
                  <a:moveTo>
                    <a:pt x="65876" y="61778"/>
                  </a:moveTo>
                  <a:cubicBezTo>
                    <a:pt x="72399" y="36603"/>
                    <a:pt x="100778" y="-2432"/>
                    <a:pt x="123387" y="119"/>
                  </a:cubicBezTo>
                  <a:cubicBezTo>
                    <a:pt x="145996" y="2670"/>
                    <a:pt x="197073" y="30755"/>
                    <a:pt x="198115" y="56724"/>
                  </a:cubicBezTo>
                  <a:cubicBezTo>
                    <a:pt x="177716" y="139637"/>
                    <a:pt x="180662" y="139937"/>
                    <a:pt x="173518" y="169259"/>
                  </a:cubicBezTo>
                  <a:cubicBezTo>
                    <a:pt x="246542" y="366109"/>
                    <a:pt x="145349" y="523480"/>
                    <a:pt x="152189" y="873450"/>
                  </a:cubicBezTo>
                  <a:cubicBezTo>
                    <a:pt x="128205" y="877562"/>
                    <a:pt x="97304" y="940119"/>
                    <a:pt x="73320" y="944231"/>
                  </a:cubicBezTo>
                  <a:lnTo>
                    <a:pt x="0" y="879836"/>
                  </a:lnTo>
                  <a:cubicBezTo>
                    <a:pt x="0" y="680605"/>
                    <a:pt x="13766" y="360229"/>
                    <a:pt x="92348" y="172904"/>
                  </a:cubicBezTo>
                  <a:cubicBezTo>
                    <a:pt x="68536" y="139614"/>
                    <a:pt x="70638" y="99831"/>
                    <a:pt x="65876" y="61778"/>
                  </a:cubicBezTo>
                  <a:close/>
                </a:path>
              </a:pathLst>
            </a:cu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a:solidFill>
                  <a:prstClr val="white"/>
                </a:solidFill>
                <a:latin typeface="Arial" panose="020B0604020202020204" pitchFamily="34" charset="0"/>
                <a:cs typeface="Arial" panose="020B0604020202020204" pitchFamily="34" charset="0"/>
              </a:endParaRPr>
            </a:p>
          </p:txBody>
        </p:sp>
      </p:grpSp>
      <p:grpSp>
        <p:nvGrpSpPr>
          <p:cNvPr id="10257" name="Group 133">
            <a:extLst>
              <a:ext uri="{FF2B5EF4-FFF2-40B4-BE49-F238E27FC236}">
                <a16:creationId xmlns:a16="http://schemas.microsoft.com/office/drawing/2014/main" id="{5808082B-CA57-BFEE-C1CC-05A7C61627CF}"/>
              </a:ext>
            </a:extLst>
          </p:cNvPr>
          <p:cNvGrpSpPr>
            <a:grpSpLocks/>
          </p:cNvGrpSpPr>
          <p:nvPr/>
        </p:nvGrpSpPr>
        <p:grpSpPr bwMode="auto">
          <a:xfrm>
            <a:off x="7373938" y="2413000"/>
            <a:ext cx="334962" cy="1093788"/>
            <a:chOff x="5738762" y="1501858"/>
            <a:chExt cx="540595" cy="1816189"/>
          </a:xfrm>
        </p:grpSpPr>
        <p:sp>
          <p:nvSpPr>
            <p:cNvPr id="135" name="Rectangle 13">
              <a:extLst>
                <a:ext uri="{FF2B5EF4-FFF2-40B4-BE49-F238E27FC236}">
                  <a16:creationId xmlns:a16="http://schemas.microsoft.com/office/drawing/2014/main" id="{A7AD3E3D-C922-15C8-AD41-EF5153142354}"/>
                </a:ext>
              </a:extLst>
            </p:cNvPr>
            <p:cNvSpPr/>
            <p:nvPr/>
          </p:nvSpPr>
          <p:spPr>
            <a:xfrm>
              <a:off x="5856617" y="1501858"/>
              <a:ext cx="184469" cy="284686"/>
            </a:xfrm>
            <a:custGeom>
              <a:avLst/>
              <a:gdLst>
                <a:gd name="connsiteX0" fmla="*/ 0 w 152400"/>
                <a:gd name="connsiteY0" fmla="*/ 0 h 228600"/>
                <a:gd name="connsiteX1" fmla="*/ 152400 w 152400"/>
                <a:gd name="connsiteY1" fmla="*/ 0 h 228600"/>
                <a:gd name="connsiteX2" fmla="*/ 152400 w 152400"/>
                <a:gd name="connsiteY2" fmla="*/ 228600 h 228600"/>
                <a:gd name="connsiteX3" fmla="*/ 0 w 152400"/>
                <a:gd name="connsiteY3" fmla="*/ 228600 h 228600"/>
                <a:gd name="connsiteX4" fmla="*/ 0 w 152400"/>
                <a:gd name="connsiteY4" fmla="*/ 0 h 228600"/>
                <a:gd name="connsiteX0" fmla="*/ 0 w 152400"/>
                <a:gd name="connsiteY0" fmla="*/ 0 h 265064"/>
                <a:gd name="connsiteX1" fmla="*/ 152400 w 152400"/>
                <a:gd name="connsiteY1" fmla="*/ 0 h 265064"/>
                <a:gd name="connsiteX2" fmla="*/ 152400 w 152400"/>
                <a:gd name="connsiteY2" fmla="*/ 228600 h 265064"/>
                <a:gd name="connsiteX3" fmla="*/ 61708 w 152400"/>
                <a:gd name="connsiteY3" fmla="*/ 265064 h 265064"/>
                <a:gd name="connsiteX4" fmla="*/ 0 w 152400"/>
                <a:gd name="connsiteY4" fmla="*/ 0 h 265064"/>
                <a:gd name="connsiteX0" fmla="*/ 0 w 152400"/>
                <a:gd name="connsiteY0" fmla="*/ 0 h 265064"/>
                <a:gd name="connsiteX1" fmla="*/ 152400 w 152400"/>
                <a:gd name="connsiteY1" fmla="*/ 0 h 265064"/>
                <a:gd name="connsiteX2" fmla="*/ 152400 w 152400"/>
                <a:gd name="connsiteY2" fmla="*/ 228600 h 265064"/>
                <a:gd name="connsiteX3" fmla="*/ 61708 w 152400"/>
                <a:gd name="connsiteY3" fmla="*/ 265064 h 265064"/>
                <a:gd name="connsiteX4" fmla="*/ 25711 w 152400"/>
                <a:gd name="connsiteY4" fmla="*/ 195410 h 265064"/>
                <a:gd name="connsiteX5" fmla="*/ 0 w 152400"/>
                <a:gd name="connsiteY5" fmla="*/ 0 h 265064"/>
                <a:gd name="connsiteX0" fmla="*/ 0 w 152400"/>
                <a:gd name="connsiteY0" fmla="*/ 0 h 265064"/>
                <a:gd name="connsiteX1" fmla="*/ 152400 w 152400"/>
                <a:gd name="connsiteY1" fmla="*/ 0 h 265064"/>
                <a:gd name="connsiteX2" fmla="*/ 152400 w 152400"/>
                <a:gd name="connsiteY2" fmla="*/ 228600 h 265064"/>
                <a:gd name="connsiteX3" fmla="*/ 61708 w 152400"/>
                <a:gd name="connsiteY3" fmla="*/ 265064 h 265064"/>
                <a:gd name="connsiteX4" fmla="*/ 25711 w 152400"/>
                <a:gd name="connsiteY4" fmla="*/ 195410 h 265064"/>
                <a:gd name="connsiteX5" fmla="*/ 0 w 152400"/>
                <a:gd name="connsiteY5" fmla="*/ 0 h 265064"/>
                <a:gd name="connsiteX0" fmla="*/ 0 w 152400"/>
                <a:gd name="connsiteY0" fmla="*/ 0 h 265064"/>
                <a:gd name="connsiteX1" fmla="*/ 152400 w 152400"/>
                <a:gd name="connsiteY1" fmla="*/ 0 h 265064"/>
                <a:gd name="connsiteX2" fmla="*/ 138113 w 152400"/>
                <a:gd name="connsiteY2" fmla="*/ 209550 h 265064"/>
                <a:gd name="connsiteX3" fmla="*/ 61708 w 152400"/>
                <a:gd name="connsiteY3" fmla="*/ 265064 h 265064"/>
                <a:gd name="connsiteX4" fmla="*/ 25711 w 152400"/>
                <a:gd name="connsiteY4" fmla="*/ 195410 h 265064"/>
                <a:gd name="connsiteX5" fmla="*/ 0 w 152400"/>
                <a:gd name="connsiteY5" fmla="*/ 0 h 265064"/>
                <a:gd name="connsiteX0" fmla="*/ 0 w 152400"/>
                <a:gd name="connsiteY0" fmla="*/ 0 h 265064"/>
                <a:gd name="connsiteX1" fmla="*/ 152400 w 152400"/>
                <a:gd name="connsiteY1" fmla="*/ 0 h 265064"/>
                <a:gd name="connsiteX2" fmla="*/ 138113 w 152400"/>
                <a:gd name="connsiteY2" fmla="*/ 209550 h 265064"/>
                <a:gd name="connsiteX3" fmla="*/ 61708 w 152400"/>
                <a:gd name="connsiteY3" fmla="*/ 265064 h 265064"/>
                <a:gd name="connsiteX4" fmla="*/ 25711 w 152400"/>
                <a:gd name="connsiteY4" fmla="*/ 195410 h 265064"/>
                <a:gd name="connsiteX5" fmla="*/ 0 w 152400"/>
                <a:gd name="connsiteY5" fmla="*/ 0 h 265064"/>
                <a:gd name="connsiteX0" fmla="*/ 0 w 159278"/>
                <a:gd name="connsiteY0" fmla="*/ 0 h 265064"/>
                <a:gd name="connsiteX1" fmla="*/ 152400 w 159278"/>
                <a:gd name="connsiteY1" fmla="*/ 0 h 265064"/>
                <a:gd name="connsiteX2" fmla="*/ 158696 w 159278"/>
                <a:gd name="connsiteY2" fmla="*/ 143300 h 265064"/>
                <a:gd name="connsiteX3" fmla="*/ 138113 w 159278"/>
                <a:gd name="connsiteY3" fmla="*/ 209550 h 265064"/>
                <a:gd name="connsiteX4" fmla="*/ 61708 w 159278"/>
                <a:gd name="connsiteY4" fmla="*/ 265064 h 265064"/>
                <a:gd name="connsiteX5" fmla="*/ 25711 w 159278"/>
                <a:gd name="connsiteY5" fmla="*/ 195410 h 265064"/>
                <a:gd name="connsiteX6" fmla="*/ 0 w 159278"/>
                <a:gd name="connsiteY6" fmla="*/ 0 h 265064"/>
                <a:gd name="connsiteX0" fmla="*/ 0 w 159278"/>
                <a:gd name="connsiteY0" fmla="*/ 0 h 265064"/>
                <a:gd name="connsiteX1" fmla="*/ 152400 w 159278"/>
                <a:gd name="connsiteY1" fmla="*/ 0 h 265064"/>
                <a:gd name="connsiteX2" fmla="*/ 158696 w 159278"/>
                <a:gd name="connsiteY2" fmla="*/ 143300 h 265064"/>
                <a:gd name="connsiteX3" fmla="*/ 138113 w 159278"/>
                <a:gd name="connsiteY3" fmla="*/ 209550 h 265064"/>
                <a:gd name="connsiteX4" fmla="*/ 61708 w 159278"/>
                <a:gd name="connsiteY4" fmla="*/ 265064 h 265064"/>
                <a:gd name="connsiteX5" fmla="*/ 25711 w 159278"/>
                <a:gd name="connsiteY5" fmla="*/ 195410 h 265064"/>
                <a:gd name="connsiteX6" fmla="*/ 0 w 159278"/>
                <a:gd name="connsiteY6" fmla="*/ 0 h 265064"/>
                <a:gd name="connsiteX0" fmla="*/ 0 w 159544"/>
                <a:gd name="connsiteY0" fmla="*/ 0 h 265064"/>
                <a:gd name="connsiteX1" fmla="*/ 157162 w 159544"/>
                <a:gd name="connsiteY1" fmla="*/ 76200 h 265064"/>
                <a:gd name="connsiteX2" fmla="*/ 158696 w 159544"/>
                <a:gd name="connsiteY2" fmla="*/ 143300 h 265064"/>
                <a:gd name="connsiteX3" fmla="*/ 138113 w 159544"/>
                <a:gd name="connsiteY3" fmla="*/ 209550 h 265064"/>
                <a:gd name="connsiteX4" fmla="*/ 61708 w 159544"/>
                <a:gd name="connsiteY4" fmla="*/ 265064 h 265064"/>
                <a:gd name="connsiteX5" fmla="*/ 25711 w 159544"/>
                <a:gd name="connsiteY5" fmla="*/ 195410 h 265064"/>
                <a:gd name="connsiteX6" fmla="*/ 0 w 159544"/>
                <a:gd name="connsiteY6" fmla="*/ 0 h 265064"/>
                <a:gd name="connsiteX0" fmla="*/ 0 w 165433"/>
                <a:gd name="connsiteY0" fmla="*/ 0 h 265064"/>
                <a:gd name="connsiteX1" fmla="*/ 157162 w 165433"/>
                <a:gd name="connsiteY1" fmla="*/ 76200 h 265064"/>
                <a:gd name="connsiteX2" fmla="*/ 158696 w 165433"/>
                <a:gd name="connsiteY2" fmla="*/ 143300 h 265064"/>
                <a:gd name="connsiteX3" fmla="*/ 138113 w 165433"/>
                <a:gd name="connsiteY3" fmla="*/ 209550 h 265064"/>
                <a:gd name="connsiteX4" fmla="*/ 61708 w 165433"/>
                <a:gd name="connsiteY4" fmla="*/ 265064 h 265064"/>
                <a:gd name="connsiteX5" fmla="*/ 25711 w 165433"/>
                <a:gd name="connsiteY5" fmla="*/ 195410 h 265064"/>
                <a:gd name="connsiteX6" fmla="*/ 0 w 165433"/>
                <a:gd name="connsiteY6" fmla="*/ 0 h 265064"/>
                <a:gd name="connsiteX0" fmla="*/ 0 w 167764"/>
                <a:gd name="connsiteY0" fmla="*/ 0 h 265064"/>
                <a:gd name="connsiteX1" fmla="*/ 157162 w 167764"/>
                <a:gd name="connsiteY1" fmla="*/ 76200 h 265064"/>
                <a:gd name="connsiteX2" fmla="*/ 158696 w 167764"/>
                <a:gd name="connsiteY2" fmla="*/ 143300 h 265064"/>
                <a:gd name="connsiteX3" fmla="*/ 138113 w 167764"/>
                <a:gd name="connsiteY3" fmla="*/ 209550 h 265064"/>
                <a:gd name="connsiteX4" fmla="*/ 61708 w 167764"/>
                <a:gd name="connsiteY4" fmla="*/ 265064 h 265064"/>
                <a:gd name="connsiteX5" fmla="*/ 25711 w 167764"/>
                <a:gd name="connsiteY5" fmla="*/ 195410 h 265064"/>
                <a:gd name="connsiteX6" fmla="*/ 0 w 167764"/>
                <a:gd name="connsiteY6" fmla="*/ 0 h 265064"/>
                <a:gd name="connsiteX0" fmla="*/ 0 w 167764"/>
                <a:gd name="connsiteY0" fmla="*/ 0 h 265064"/>
                <a:gd name="connsiteX1" fmla="*/ 157162 w 167764"/>
                <a:gd name="connsiteY1" fmla="*/ 76200 h 265064"/>
                <a:gd name="connsiteX2" fmla="*/ 158696 w 167764"/>
                <a:gd name="connsiteY2" fmla="*/ 143300 h 265064"/>
                <a:gd name="connsiteX3" fmla="*/ 138113 w 167764"/>
                <a:gd name="connsiteY3" fmla="*/ 209550 h 265064"/>
                <a:gd name="connsiteX4" fmla="*/ 61708 w 167764"/>
                <a:gd name="connsiteY4" fmla="*/ 265064 h 265064"/>
                <a:gd name="connsiteX5" fmla="*/ 25711 w 167764"/>
                <a:gd name="connsiteY5" fmla="*/ 195410 h 265064"/>
                <a:gd name="connsiteX6" fmla="*/ 0 w 167764"/>
                <a:gd name="connsiteY6" fmla="*/ 0 h 265064"/>
                <a:gd name="connsiteX0" fmla="*/ 0 w 182052"/>
                <a:gd name="connsiteY0" fmla="*/ 57720 h 232296"/>
                <a:gd name="connsiteX1" fmla="*/ 171450 w 182052"/>
                <a:gd name="connsiteY1" fmla="*/ 43432 h 232296"/>
                <a:gd name="connsiteX2" fmla="*/ 172984 w 182052"/>
                <a:gd name="connsiteY2" fmla="*/ 110532 h 232296"/>
                <a:gd name="connsiteX3" fmla="*/ 152401 w 182052"/>
                <a:gd name="connsiteY3" fmla="*/ 176782 h 232296"/>
                <a:gd name="connsiteX4" fmla="*/ 75996 w 182052"/>
                <a:gd name="connsiteY4" fmla="*/ 232296 h 232296"/>
                <a:gd name="connsiteX5" fmla="*/ 39999 w 182052"/>
                <a:gd name="connsiteY5" fmla="*/ 162642 h 232296"/>
                <a:gd name="connsiteX6" fmla="*/ 0 w 182052"/>
                <a:gd name="connsiteY6" fmla="*/ 57720 h 232296"/>
                <a:gd name="connsiteX0" fmla="*/ 1323 w 183375"/>
                <a:gd name="connsiteY0" fmla="*/ 97487 h 272063"/>
                <a:gd name="connsiteX1" fmla="*/ 172773 w 183375"/>
                <a:gd name="connsiteY1" fmla="*/ 83199 h 272063"/>
                <a:gd name="connsiteX2" fmla="*/ 174307 w 183375"/>
                <a:gd name="connsiteY2" fmla="*/ 150299 h 272063"/>
                <a:gd name="connsiteX3" fmla="*/ 153724 w 183375"/>
                <a:gd name="connsiteY3" fmla="*/ 216549 h 272063"/>
                <a:gd name="connsiteX4" fmla="*/ 77319 w 183375"/>
                <a:gd name="connsiteY4" fmla="*/ 272063 h 272063"/>
                <a:gd name="connsiteX5" fmla="*/ 41322 w 183375"/>
                <a:gd name="connsiteY5" fmla="*/ 202409 h 272063"/>
                <a:gd name="connsiteX6" fmla="*/ 1323 w 183375"/>
                <a:gd name="connsiteY6" fmla="*/ 97487 h 272063"/>
                <a:gd name="connsiteX0" fmla="*/ 1323 w 183375"/>
                <a:gd name="connsiteY0" fmla="*/ 109823 h 284399"/>
                <a:gd name="connsiteX1" fmla="*/ 172773 w 183375"/>
                <a:gd name="connsiteY1" fmla="*/ 95535 h 284399"/>
                <a:gd name="connsiteX2" fmla="*/ 174307 w 183375"/>
                <a:gd name="connsiteY2" fmla="*/ 162635 h 284399"/>
                <a:gd name="connsiteX3" fmla="*/ 153724 w 183375"/>
                <a:gd name="connsiteY3" fmla="*/ 228885 h 284399"/>
                <a:gd name="connsiteX4" fmla="*/ 77319 w 183375"/>
                <a:gd name="connsiteY4" fmla="*/ 284399 h 284399"/>
                <a:gd name="connsiteX5" fmla="*/ 41322 w 183375"/>
                <a:gd name="connsiteY5" fmla="*/ 214745 h 284399"/>
                <a:gd name="connsiteX6" fmla="*/ 1323 w 183375"/>
                <a:gd name="connsiteY6" fmla="*/ 109823 h 284399"/>
                <a:gd name="connsiteX0" fmla="*/ 1253 w 183305"/>
                <a:gd name="connsiteY0" fmla="*/ 109823 h 284399"/>
                <a:gd name="connsiteX1" fmla="*/ 172703 w 183305"/>
                <a:gd name="connsiteY1" fmla="*/ 95535 h 284399"/>
                <a:gd name="connsiteX2" fmla="*/ 174237 w 183305"/>
                <a:gd name="connsiteY2" fmla="*/ 162635 h 284399"/>
                <a:gd name="connsiteX3" fmla="*/ 153654 w 183305"/>
                <a:gd name="connsiteY3" fmla="*/ 228885 h 284399"/>
                <a:gd name="connsiteX4" fmla="*/ 77249 w 183305"/>
                <a:gd name="connsiteY4" fmla="*/ 284399 h 284399"/>
                <a:gd name="connsiteX5" fmla="*/ 41252 w 183305"/>
                <a:gd name="connsiteY5" fmla="*/ 214745 h 284399"/>
                <a:gd name="connsiteX6" fmla="*/ 1253 w 183305"/>
                <a:gd name="connsiteY6" fmla="*/ 109823 h 284399"/>
                <a:gd name="connsiteX0" fmla="*/ 1253 w 183305"/>
                <a:gd name="connsiteY0" fmla="*/ 109823 h 284399"/>
                <a:gd name="connsiteX1" fmla="*/ 172703 w 183305"/>
                <a:gd name="connsiteY1" fmla="*/ 95535 h 284399"/>
                <a:gd name="connsiteX2" fmla="*/ 174237 w 183305"/>
                <a:gd name="connsiteY2" fmla="*/ 162635 h 284399"/>
                <a:gd name="connsiteX3" fmla="*/ 153654 w 183305"/>
                <a:gd name="connsiteY3" fmla="*/ 228885 h 284399"/>
                <a:gd name="connsiteX4" fmla="*/ 77249 w 183305"/>
                <a:gd name="connsiteY4" fmla="*/ 284399 h 284399"/>
                <a:gd name="connsiteX5" fmla="*/ 41252 w 183305"/>
                <a:gd name="connsiteY5" fmla="*/ 214745 h 284399"/>
                <a:gd name="connsiteX6" fmla="*/ 12312 w 183305"/>
                <a:gd name="connsiteY6" fmla="*/ 160255 h 284399"/>
                <a:gd name="connsiteX7" fmla="*/ 1253 w 183305"/>
                <a:gd name="connsiteY7" fmla="*/ 109823 h 284399"/>
                <a:gd name="connsiteX0" fmla="*/ 1253 w 183305"/>
                <a:gd name="connsiteY0" fmla="*/ 109823 h 284399"/>
                <a:gd name="connsiteX1" fmla="*/ 172703 w 183305"/>
                <a:gd name="connsiteY1" fmla="*/ 95535 h 284399"/>
                <a:gd name="connsiteX2" fmla="*/ 174237 w 183305"/>
                <a:gd name="connsiteY2" fmla="*/ 162635 h 284399"/>
                <a:gd name="connsiteX3" fmla="*/ 153654 w 183305"/>
                <a:gd name="connsiteY3" fmla="*/ 228885 h 284399"/>
                <a:gd name="connsiteX4" fmla="*/ 77249 w 183305"/>
                <a:gd name="connsiteY4" fmla="*/ 284399 h 284399"/>
                <a:gd name="connsiteX5" fmla="*/ 36490 w 183305"/>
                <a:gd name="connsiteY5" fmla="*/ 209983 h 284399"/>
                <a:gd name="connsiteX6" fmla="*/ 12312 w 183305"/>
                <a:gd name="connsiteY6" fmla="*/ 160255 h 284399"/>
                <a:gd name="connsiteX7" fmla="*/ 1253 w 183305"/>
                <a:gd name="connsiteY7" fmla="*/ 109823 h 284399"/>
                <a:gd name="connsiteX0" fmla="*/ 1253 w 183305"/>
                <a:gd name="connsiteY0" fmla="*/ 109823 h 284399"/>
                <a:gd name="connsiteX1" fmla="*/ 172703 w 183305"/>
                <a:gd name="connsiteY1" fmla="*/ 95535 h 284399"/>
                <a:gd name="connsiteX2" fmla="*/ 174237 w 183305"/>
                <a:gd name="connsiteY2" fmla="*/ 162635 h 284399"/>
                <a:gd name="connsiteX3" fmla="*/ 153654 w 183305"/>
                <a:gd name="connsiteY3" fmla="*/ 228885 h 284399"/>
                <a:gd name="connsiteX4" fmla="*/ 77249 w 183305"/>
                <a:gd name="connsiteY4" fmla="*/ 284399 h 284399"/>
                <a:gd name="connsiteX5" fmla="*/ 36490 w 183305"/>
                <a:gd name="connsiteY5" fmla="*/ 209983 h 284399"/>
                <a:gd name="connsiteX6" fmla="*/ 12312 w 183305"/>
                <a:gd name="connsiteY6" fmla="*/ 160255 h 284399"/>
                <a:gd name="connsiteX7" fmla="*/ 1253 w 183305"/>
                <a:gd name="connsiteY7" fmla="*/ 109823 h 284399"/>
                <a:gd name="connsiteX0" fmla="*/ 3297 w 185349"/>
                <a:gd name="connsiteY0" fmla="*/ 109823 h 284399"/>
                <a:gd name="connsiteX1" fmla="*/ 174747 w 185349"/>
                <a:gd name="connsiteY1" fmla="*/ 95535 h 284399"/>
                <a:gd name="connsiteX2" fmla="*/ 176281 w 185349"/>
                <a:gd name="connsiteY2" fmla="*/ 162635 h 284399"/>
                <a:gd name="connsiteX3" fmla="*/ 155698 w 185349"/>
                <a:gd name="connsiteY3" fmla="*/ 228885 h 284399"/>
                <a:gd name="connsiteX4" fmla="*/ 79293 w 185349"/>
                <a:gd name="connsiteY4" fmla="*/ 284399 h 284399"/>
                <a:gd name="connsiteX5" fmla="*/ 38534 w 185349"/>
                <a:gd name="connsiteY5" fmla="*/ 209983 h 284399"/>
                <a:gd name="connsiteX6" fmla="*/ 14356 w 185349"/>
                <a:gd name="connsiteY6" fmla="*/ 160255 h 284399"/>
                <a:gd name="connsiteX7" fmla="*/ 3297 w 185349"/>
                <a:gd name="connsiteY7" fmla="*/ 109823 h 284399"/>
                <a:gd name="connsiteX0" fmla="*/ 3297 w 185349"/>
                <a:gd name="connsiteY0" fmla="*/ 109823 h 284399"/>
                <a:gd name="connsiteX1" fmla="*/ 174747 w 185349"/>
                <a:gd name="connsiteY1" fmla="*/ 95535 h 284399"/>
                <a:gd name="connsiteX2" fmla="*/ 176281 w 185349"/>
                <a:gd name="connsiteY2" fmla="*/ 162635 h 284399"/>
                <a:gd name="connsiteX3" fmla="*/ 155698 w 185349"/>
                <a:gd name="connsiteY3" fmla="*/ 228885 h 284399"/>
                <a:gd name="connsiteX4" fmla="*/ 79293 w 185349"/>
                <a:gd name="connsiteY4" fmla="*/ 284399 h 284399"/>
                <a:gd name="connsiteX5" fmla="*/ 43296 w 185349"/>
                <a:gd name="connsiteY5" fmla="*/ 236176 h 284399"/>
                <a:gd name="connsiteX6" fmla="*/ 14356 w 185349"/>
                <a:gd name="connsiteY6" fmla="*/ 160255 h 284399"/>
                <a:gd name="connsiteX7" fmla="*/ 3297 w 185349"/>
                <a:gd name="connsiteY7" fmla="*/ 109823 h 284399"/>
                <a:gd name="connsiteX0" fmla="*/ 3297 w 185349"/>
                <a:gd name="connsiteY0" fmla="*/ 109823 h 284399"/>
                <a:gd name="connsiteX1" fmla="*/ 174747 w 185349"/>
                <a:gd name="connsiteY1" fmla="*/ 95535 h 284399"/>
                <a:gd name="connsiteX2" fmla="*/ 176281 w 185349"/>
                <a:gd name="connsiteY2" fmla="*/ 162635 h 284399"/>
                <a:gd name="connsiteX3" fmla="*/ 155698 w 185349"/>
                <a:gd name="connsiteY3" fmla="*/ 228885 h 284399"/>
                <a:gd name="connsiteX4" fmla="*/ 79293 w 185349"/>
                <a:gd name="connsiteY4" fmla="*/ 284399 h 284399"/>
                <a:gd name="connsiteX5" fmla="*/ 43296 w 185349"/>
                <a:gd name="connsiteY5" fmla="*/ 236176 h 284399"/>
                <a:gd name="connsiteX6" fmla="*/ 14356 w 185349"/>
                <a:gd name="connsiteY6" fmla="*/ 160255 h 284399"/>
                <a:gd name="connsiteX7" fmla="*/ 3297 w 185349"/>
                <a:gd name="connsiteY7" fmla="*/ 109823 h 284399"/>
                <a:gd name="connsiteX0" fmla="*/ 3297 w 185349"/>
                <a:gd name="connsiteY0" fmla="*/ 109823 h 284399"/>
                <a:gd name="connsiteX1" fmla="*/ 174747 w 185349"/>
                <a:gd name="connsiteY1" fmla="*/ 95535 h 284399"/>
                <a:gd name="connsiteX2" fmla="*/ 176281 w 185349"/>
                <a:gd name="connsiteY2" fmla="*/ 162635 h 284399"/>
                <a:gd name="connsiteX3" fmla="*/ 155698 w 185349"/>
                <a:gd name="connsiteY3" fmla="*/ 228885 h 284399"/>
                <a:gd name="connsiteX4" fmla="*/ 79293 w 185349"/>
                <a:gd name="connsiteY4" fmla="*/ 284399 h 284399"/>
                <a:gd name="connsiteX5" fmla="*/ 43296 w 185349"/>
                <a:gd name="connsiteY5" fmla="*/ 236176 h 284399"/>
                <a:gd name="connsiteX6" fmla="*/ 14356 w 185349"/>
                <a:gd name="connsiteY6" fmla="*/ 160255 h 284399"/>
                <a:gd name="connsiteX7" fmla="*/ 3297 w 185349"/>
                <a:gd name="connsiteY7" fmla="*/ 109823 h 284399"/>
                <a:gd name="connsiteX0" fmla="*/ 3297 w 185349"/>
                <a:gd name="connsiteY0" fmla="*/ 109823 h 284399"/>
                <a:gd name="connsiteX1" fmla="*/ 174747 w 185349"/>
                <a:gd name="connsiteY1" fmla="*/ 95535 h 284399"/>
                <a:gd name="connsiteX2" fmla="*/ 176281 w 185349"/>
                <a:gd name="connsiteY2" fmla="*/ 162635 h 284399"/>
                <a:gd name="connsiteX3" fmla="*/ 155698 w 185349"/>
                <a:gd name="connsiteY3" fmla="*/ 228885 h 284399"/>
                <a:gd name="connsiteX4" fmla="*/ 79293 w 185349"/>
                <a:gd name="connsiteY4" fmla="*/ 284399 h 284399"/>
                <a:gd name="connsiteX5" fmla="*/ 43296 w 185349"/>
                <a:gd name="connsiteY5" fmla="*/ 236176 h 284399"/>
                <a:gd name="connsiteX6" fmla="*/ 14356 w 185349"/>
                <a:gd name="connsiteY6" fmla="*/ 160255 h 284399"/>
                <a:gd name="connsiteX7" fmla="*/ 3297 w 185349"/>
                <a:gd name="connsiteY7" fmla="*/ 109823 h 284399"/>
                <a:gd name="connsiteX0" fmla="*/ 3297 w 185349"/>
                <a:gd name="connsiteY0" fmla="*/ 109823 h 284399"/>
                <a:gd name="connsiteX1" fmla="*/ 174747 w 185349"/>
                <a:gd name="connsiteY1" fmla="*/ 95535 h 284399"/>
                <a:gd name="connsiteX2" fmla="*/ 176281 w 185349"/>
                <a:gd name="connsiteY2" fmla="*/ 162635 h 284399"/>
                <a:gd name="connsiteX3" fmla="*/ 155698 w 185349"/>
                <a:gd name="connsiteY3" fmla="*/ 228885 h 284399"/>
                <a:gd name="connsiteX4" fmla="*/ 79293 w 185349"/>
                <a:gd name="connsiteY4" fmla="*/ 284399 h 284399"/>
                <a:gd name="connsiteX5" fmla="*/ 43296 w 185349"/>
                <a:gd name="connsiteY5" fmla="*/ 236176 h 284399"/>
                <a:gd name="connsiteX6" fmla="*/ 14356 w 185349"/>
                <a:gd name="connsiteY6" fmla="*/ 160255 h 284399"/>
                <a:gd name="connsiteX7" fmla="*/ 3297 w 185349"/>
                <a:gd name="connsiteY7" fmla="*/ 109823 h 284399"/>
                <a:gd name="connsiteX0" fmla="*/ 3297 w 185349"/>
                <a:gd name="connsiteY0" fmla="*/ 109823 h 284399"/>
                <a:gd name="connsiteX1" fmla="*/ 174747 w 185349"/>
                <a:gd name="connsiteY1" fmla="*/ 95535 h 284399"/>
                <a:gd name="connsiteX2" fmla="*/ 176281 w 185349"/>
                <a:gd name="connsiteY2" fmla="*/ 162635 h 284399"/>
                <a:gd name="connsiteX3" fmla="*/ 155698 w 185349"/>
                <a:gd name="connsiteY3" fmla="*/ 228885 h 284399"/>
                <a:gd name="connsiteX4" fmla="*/ 79293 w 185349"/>
                <a:gd name="connsiteY4" fmla="*/ 284399 h 284399"/>
                <a:gd name="connsiteX5" fmla="*/ 43296 w 185349"/>
                <a:gd name="connsiteY5" fmla="*/ 236176 h 284399"/>
                <a:gd name="connsiteX6" fmla="*/ 14356 w 185349"/>
                <a:gd name="connsiteY6" fmla="*/ 160255 h 284399"/>
                <a:gd name="connsiteX7" fmla="*/ 3297 w 185349"/>
                <a:gd name="connsiteY7" fmla="*/ 109823 h 284399"/>
                <a:gd name="connsiteX0" fmla="*/ 2567 w 184619"/>
                <a:gd name="connsiteY0" fmla="*/ 109823 h 284399"/>
                <a:gd name="connsiteX1" fmla="*/ 174017 w 184619"/>
                <a:gd name="connsiteY1" fmla="*/ 95535 h 284399"/>
                <a:gd name="connsiteX2" fmla="*/ 175551 w 184619"/>
                <a:gd name="connsiteY2" fmla="*/ 162635 h 284399"/>
                <a:gd name="connsiteX3" fmla="*/ 154968 w 184619"/>
                <a:gd name="connsiteY3" fmla="*/ 228885 h 284399"/>
                <a:gd name="connsiteX4" fmla="*/ 78563 w 184619"/>
                <a:gd name="connsiteY4" fmla="*/ 284399 h 284399"/>
                <a:gd name="connsiteX5" fmla="*/ 42566 w 184619"/>
                <a:gd name="connsiteY5" fmla="*/ 236176 h 284399"/>
                <a:gd name="connsiteX6" fmla="*/ 18389 w 184619"/>
                <a:gd name="connsiteY6" fmla="*/ 167398 h 284399"/>
                <a:gd name="connsiteX7" fmla="*/ 2567 w 184619"/>
                <a:gd name="connsiteY7" fmla="*/ 109823 h 28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4619" h="284399">
                  <a:moveTo>
                    <a:pt x="2567" y="109823"/>
                  </a:moveTo>
                  <a:cubicBezTo>
                    <a:pt x="-16484" y="-14796"/>
                    <a:pt x="188305" y="-51308"/>
                    <a:pt x="174017" y="95535"/>
                  </a:cubicBezTo>
                  <a:cubicBezTo>
                    <a:pt x="189610" y="124251"/>
                    <a:pt x="186152" y="129156"/>
                    <a:pt x="175551" y="162635"/>
                  </a:cubicBezTo>
                  <a:cubicBezTo>
                    <a:pt x="144877" y="182337"/>
                    <a:pt x="161829" y="206802"/>
                    <a:pt x="154968" y="228885"/>
                  </a:cubicBezTo>
                  <a:cubicBezTo>
                    <a:pt x="129500" y="247390"/>
                    <a:pt x="108794" y="275419"/>
                    <a:pt x="78563" y="284399"/>
                  </a:cubicBezTo>
                  <a:cubicBezTo>
                    <a:pt x="51604" y="261181"/>
                    <a:pt x="52696" y="268657"/>
                    <a:pt x="42566" y="236176"/>
                  </a:cubicBezTo>
                  <a:cubicBezTo>
                    <a:pt x="36888" y="202931"/>
                    <a:pt x="26448" y="186355"/>
                    <a:pt x="18389" y="167398"/>
                  </a:cubicBezTo>
                  <a:cubicBezTo>
                    <a:pt x="7560" y="150587"/>
                    <a:pt x="-5653" y="129015"/>
                    <a:pt x="2567" y="109823"/>
                  </a:cubicBezTo>
                  <a:close/>
                </a:path>
              </a:pathLst>
            </a:cu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a:solidFill>
                  <a:prstClr val="white"/>
                </a:solidFill>
                <a:latin typeface="Arial" panose="020B0604020202020204" pitchFamily="34" charset="0"/>
                <a:cs typeface="Arial" panose="020B0604020202020204" pitchFamily="34" charset="0"/>
              </a:endParaRPr>
            </a:p>
          </p:txBody>
        </p:sp>
        <p:sp>
          <p:nvSpPr>
            <p:cNvPr id="136" name="Rectangle 4095">
              <a:extLst>
                <a:ext uri="{FF2B5EF4-FFF2-40B4-BE49-F238E27FC236}">
                  <a16:creationId xmlns:a16="http://schemas.microsoft.com/office/drawing/2014/main" id="{D8B26CAB-56BC-F3BA-B564-C2A346B1B72F}"/>
                </a:ext>
              </a:extLst>
            </p:cNvPr>
            <p:cNvSpPr/>
            <p:nvPr/>
          </p:nvSpPr>
          <p:spPr>
            <a:xfrm>
              <a:off x="5779755" y="1725917"/>
              <a:ext cx="299761" cy="585187"/>
            </a:xfrm>
            <a:custGeom>
              <a:avLst/>
              <a:gdLst>
                <a:gd name="connsiteX0" fmla="*/ 0 w 152400"/>
                <a:gd name="connsiteY0" fmla="*/ 0 h 304800"/>
                <a:gd name="connsiteX1" fmla="*/ 152400 w 152400"/>
                <a:gd name="connsiteY1" fmla="*/ 0 h 304800"/>
                <a:gd name="connsiteX2" fmla="*/ 152400 w 152400"/>
                <a:gd name="connsiteY2" fmla="*/ 304800 h 304800"/>
                <a:gd name="connsiteX3" fmla="*/ 0 w 152400"/>
                <a:gd name="connsiteY3" fmla="*/ 304800 h 304800"/>
                <a:gd name="connsiteX4" fmla="*/ 0 w 152400"/>
                <a:gd name="connsiteY4" fmla="*/ 0 h 304800"/>
                <a:gd name="connsiteX0" fmla="*/ 35719 w 152400"/>
                <a:gd name="connsiteY0" fmla="*/ 0 h 457200"/>
                <a:gd name="connsiteX1" fmla="*/ 152400 w 152400"/>
                <a:gd name="connsiteY1" fmla="*/ 152400 h 457200"/>
                <a:gd name="connsiteX2" fmla="*/ 152400 w 152400"/>
                <a:gd name="connsiteY2" fmla="*/ 457200 h 457200"/>
                <a:gd name="connsiteX3" fmla="*/ 0 w 152400"/>
                <a:gd name="connsiteY3" fmla="*/ 457200 h 457200"/>
                <a:gd name="connsiteX4" fmla="*/ 35719 w 152400"/>
                <a:gd name="connsiteY4" fmla="*/ 0 h 457200"/>
                <a:gd name="connsiteX0" fmla="*/ 35719 w 152400"/>
                <a:gd name="connsiteY0" fmla="*/ 26194 h 483394"/>
                <a:gd name="connsiteX1" fmla="*/ 147638 w 152400"/>
                <a:gd name="connsiteY1" fmla="*/ 0 h 483394"/>
                <a:gd name="connsiteX2" fmla="*/ 152400 w 152400"/>
                <a:gd name="connsiteY2" fmla="*/ 483394 h 483394"/>
                <a:gd name="connsiteX3" fmla="*/ 0 w 152400"/>
                <a:gd name="connsiteY3" fmla="*/ 483394 h 483394"/>
                <a:gd name="connsiteX4" fmla="*/ 35719 w 152400"/>
                <a:gd name="connsiteY4" fmla="*/ 26194 h 483394"/>
                <a:gd name="connsiteX0" fmla="*/ 35719 w 152400"/>
                <a:gd name="connsiteY0" fmla="*/ 26194 h 483394"/>
                <a:gd name="connsiteX1" fmla="*/ 73819 w 152400"/>
                <a:gd name="connsiteY1" fmla="*/ 64294 h 483394"/>
                <a:gd name="connsiteX2" fmla="*/ 147638 w 152400"/>
                <a:gd name="connsiteY2" fmla="*/ 0 h 483394"/>
                <a:gd name="connsiteX3" fmla="*/ 152400 w 152400"/>
                <a:gd name="connsiteY3" fmla="*/ 483394 h 483394"/>
                <a:gd name="connsiteX4" fmla="*/ 0 w 152400"/>
                <a:gd name="connsiteY4" fmla="*/ 483394 h 483394"/>
                <a:gd name="connsiteX5" fmla="*/ 35719 w 152400"/>
                <a:gd name="connsiteY5" fmla="*/ 26194 h 483394"/>
                <a:gd name="connsiteX0" fmla="*/ 35719 w 152400"/>
                <a:gd name="connsiteY0" fmla="*/ 26194 h 483394"/>
                <a:gd name="connsiteX1" fmla="*/ 73819 w 152400"/>
                <a:gd name="connsiteY1" fmla="*/ 64294 h 483394"/>
                <a:gd name="connsiteX2" fmla="*/ 147638 w 152400"/>
                <a:gd name="connsiteY2" fmla="*/ 0 h 483394"/>
                <a:gd name="connsiteX3" fmla="*/ 152400 w 152400"/>
                <a:gd name="connsiteY3" fmla="*/ 483394 h 483394"/>
                <a:gd name="connsiteX4" fmla="*/ 0 w 152400"/>
                <a:gd name="connsiteY4" fmla="*/ 483394 h 483394"/>
                <a:gd name="connsiteX5" fmla="*/ 35719 w 152400"/>
                <a:gd name="connsiteY5" fmla="*/ 26194 h 483394"/>
                <a:gd name="connsiteX0" fmla="*/ 35719 w 152400"/>
                <a:gd name="connsiteY0" fmla="*/ 26194 h 483394"/>
                <a:gd name="connsiteX1" fmla="*/ 69057 w 152400"/>
                <a:gd name="connsiteY1" fmla="*/ 61913 h 483394"/>
                <a:gd name="connsiteX2" fmla="*/ 147638 w 152400"/>
                <a:gd name="connsiteY2" fmla="*/ 0 h 483394"/>
                <a:gd name="connsiteX3" fmla="*/ 152400 w 152400"/>
                <a:gd name="connsiteY3" fmla="*/ 483394 h 483394"/>
                <a:gd name="connsiteX4" fmla="*/ 0 w 152400"/>
                <a:gd name="connsiteY4" fmla="*/ 483394 h 483394"/>
                <a:gd name="connsiteX5" fmla="*/ 35719 w 152400"/>
                <a:gd name="connsiteY5" fmla="*/ 26194 h 483394"/>
                <a:gd name="connsiteX0" fmla="*/ 111919 w 228600"/>
                <a:gd name="connsiteY0" fmla="*/ 26194 h 514351"/>
                <a:gd name="connsiteX1" fmla="*/ 145257 w 228600"/>
                <a:gd name="connsiteY1" fmla="*/ 61913 h 514351"/>
                <a:gd name="connsiteX2" fmla="*/ 223838 w 228600"/>
                <a:gd name="connsiteY2" fmla="*/ 0 h 514351"/>
                <a:gd name="connsiteX3" fmla="*/ 228600 w 228600"/>
                <a:gd name="connsiteY3" fmla="*/ 483394 h 514351"/>
                <a:gd name="connsiteX4" fmla="*/ 0 w 228600"/>
                <a:gd name="connsiteY4" fmla="*/ 514351 h 514351"/>
                <a:gd name="connsiteX5" fmla="*/ 111919 w 228600"/>
                <a:gd name="connsiteY5" fmla="*/ 26194 h 514351"/>
                <a:gd name="connsiteX0" fmla="*/ 121444 w 238125"/>
                <a:gd name="connsiteY0" fmla="*/ 26194 h 547688"/>
                <a:gd name="connsiteX1" fmla="*/ 154782 w 238125"/>
                <a:gd name="connsiteY1" fmla="*/ 61913 h 547688"/>
                <a:gd name="connsiteX2" fmla="*/ 233363 w 238125"/>
                <a:gd name="connsiteY2" fmla="*/ 0 h 547688"/>
                <a:gd name="connsiteX3" fmla="*/ 238125 w 238125"/>
                <a:gd name="connsiteY3" fmla="*/ 483394 h 547688"/>
                <a:gd name="connsiteX4" fmla="*/ 0 w 238125"/>
                <a:gd name="connsiteY4" fmla="*/ 547688 h 547688"/>
                <a:gd name="connsiteX5" fmla="*/ 9525 w 238125"/>
                <a:gd name="connsiteY5" fmla="*/ 514351 h 547688"/>
                <a:gd name="connsiteX6" fmla="*/ 121444 w 238125"/>
                <a:gd name="connsiteY6" fmla="*/ 26194 h 547688"/>
                <a:gd name="connsiteX0" fmla="*/ 126094 w 242775"/>
                <a:gd name="connsiteY0" fmla="*/ 26194 h 547688"/>
                <a:gd name="connsiteX1" fmla="*/ 159432 w 242775"/>
                <a:gd name="connsiteY1" fmla="*/ 61913 h 547688"/>
                <a:gd name="connsiteX2" fmla="*/ 238013 w 242775"/>
                <a:gd name="connsiteY2" fmla="*/ 0 h 547688"/>
                <a:gd name="connsiteX3" fmla="*/ 242775 w 242775"/>
                <a:gd name="connsiteY3" fmla="*/ 483394 h 547688"/>
                <a:gd name="connsiteX4" fmla="*/ 4650 w 242775"/>
                <a:gd name="connsiteY4" fmla="*/ 547688 h 547688"/>
                <a:gd name="connsiteX5" fmla="*/ 14175 w 242775"/>
                <a:gd name="connsiteY5" fmla="*/ 514351 h 547688"/>
                <a:gd name="connsiteX6" fmla="*/ 126094 w 242775"/>
                <a:gd name="connsiteY6" fmla="*/ 26194 h 547688"/>
                <a:gd name="connsiteX0" fmla="*/ 127793 w 244474"/>
                <a:gd name="connsiteY0" fmla="*/ 26194 h 547688"/>
                <a:gd name="connsiteX1" fmla="*/ 161131 w 244474"/>
                <a:gd name="connsiteY1" fmla="*/ 61913 h 547688"/>
                <a:gd name="connsiteX2" fmla="*/ 239712 w 244474"/>
                <a:gd name="connsiteY2" fmla="*/ 0 h 547688"/>
                <a:gd name="connsiteX3" fmla="*/ 244474 w 244474"/>
                <a:gd name="connsiteY3" fmla="*/ 483394 h 547688"/>
                <a:gd name="connsiteX4" fmla="*/ 6349 w 244474"/>
                <a:gd name="connsiteY4" fmla="*/ 547688 h 547688"/>
                <a:gd name="connsiteX5" fmla="*/ 15874 w 244474"/>
                <a:gd name="connsiteY5" fmla="*/ 514351 h 547688"/>
                <a:gd name="connsiteX6" fmla="*/ 127793 w 244474"/>
                <a:gd name="connsiteY6" fmla="*/ 26194 h 547688"/>
                <a:gd name="connsiteX0" fmla="*/ 127793 w 304006"/>
                <a:gd name="connsiteY0" fmla="*/ 26194 h 579553"/>
                <a:gd name="connsiteX1" fmla="*/ 161131 w 304006"/>
                <a:gd name="connsiteY1" fmla="*/ 61913 h 579553"/>
                <a:gd name="connsiteX2" fmla="*/ 239712 w 304006"/>
                <a:gd name="connsiteY2" fmla="*/ 0 h 579553"/>
                <a:gd name="connsiteX3" fmla="*/ 304006 w 304006"/>
                <a:gd name="connsiteY3" fmla="*/ 578644 h 579553"/>
                <a:gd name="connsiteX4" fmla="*/ 6349 w 304006"/>
                <a:gd name="connsiteY4" fmla="*/ 547688 h 579553"/>
                <a:gd name="connsiteX5" fmla="*/ 15874 w 304006"/>
                <a:gd name="connsiteY5" fmla="*/ 514351 h 579553"/>
                <a:gd name="connsiteX6" fmla="*/ 127793 w 304006"/>
                <a:gd name="connsiteY6" fmla="*/ 26194 h 579553"/>
                <a:gd name="connsiteX0" fmla="*/ 119630 w 295843"/>
                <a:gd name="connsiteY0" fmla="*/ 26194 h 579646"/>
                <a:gd name="connsiteX1" fmla="*/ 152968 w 295843"/>
                <a:gd name="connsiteY1" fmla="*/ 61913 h 579646"/>
                <a:gd name="connsiteX2" fmla="*/ 231549 w 295843"/>
                <a:gd name="connsiteY2" fmla="*/ 0 h 579646"/>
                <a:gd name="connsiteX3" fmla="*/ 295843 w 295843"/>
                <a:gd name="connsiteY3" fmla="*/ 578644 h 579646"/>
                <a:gd name="connsiteX4" fmla="*/ 12473 w 295843"/>
                <a:gd name="connsiteY4" fmla="*/ 552450 h 579646"/>
                <a:gd name="connsiteX5" fmla="*/ 7711 w 295843"/>
                <a:gd name="connsiteY5" fmla="*/ 514351 h 579646"/>
                <a:gd name="connsiteX6" fmla="*/ 119630 w 295843"/>
                <a:gd name="connsiteY6" fmla="*/ 26194 h 579646"/>
                <a:gd name="connsiteX0" fmla="*/ 123041 w 299254"/>
                <a:gd name="connsiteY0" fmla="*/ 26194 h 579646"/>
                <a:gd name="connsiteX1" fmla="*/ 156379 w 299254"/>
                <a:gd name="connsiteY1" fmla="*/ 61913 h 579646"/>
                <a:gd name="connsiteX2" fmla="*/ 234960 w 299254"/>
                <a:gd name="connsiteY2" fmla="*/ 0 h 579646"/>
                <a:gd name="connsiteX3" fmla="*/ 299254 w 299254"/>
                <a:gd name="connsiteY3" fmla="*/ 578644 h 579646"/>
                <a:gd name="connsiteX4" fmla="*/ 8740 w 299254"/>
                <a:gd name="connsiteY4" fmla="*/ 552450 h 579646"/>
                <a:gd name="connsiteX5" fmla="*/ 11122 w 299254"/>
                <a:gd name="connsiteY5" fmla="*/ 514351 h 579646"/>
                <a:gd name="connsiteX6" fmla="*/ 123041 w 299254"/>
                <a:gd name="connsiteY6" fmla="*/ 26194 h 579646"/>
                <a:gd name="connsiteX0" fmla="*/ 123041 w 299254"/>
                <a:gd name="connsiteY0" fmla="*/ 26194 h 585671"/>
                <a:gd name="connsiteX1" fmla="*/ 156379 w 299254"/>
                <a:gd name="connsiteY1" fmla="*/ 61913 h 585671"/>
                <a:gd name="connsiteX2" fmla="*/ 234960 w 299254"/>
                <a:gd name="connsiteY2" fmla="*/ 0 h 585671"/>
                <a:gd name="connsiteX3" fmla="*/ 299254 w 299254"/>
                <a:gd name="connsiteY3" fmla="*/ 578644 h 585671"/>
                <a:gd name="connsiteX4" fmla="*/ 8740 w 299254"/>
                <a:gd name="connsiteY4" fmla="*/ 552450 h 585671"/>
                <a:gd name="connsiteX5" fmla="*/ 11122 w 299254"/>
                <a:gd name="connsiteY5" fmla="*/ 514351 h 585671"/>
                <a:gd name="connsiteX6" fmla="*/ 123041 w 299254"/>
                <a:gd name="connsiteY6" fmla="*/ 26194 h 585671"/>
                <a:gd name="connsiteX0" fmla="*/ 123041 w 309339"/>
                <a:gd name="connsiteY0" fmla="*/ 54998 h 614475"/>
                <a:gd name="connsiteX1" fmla="*/ 156379 w 309339"/>
                <a:gd name="connsiteY1" fmla="*/ 90717 h 614475"/>
                <a:gd name="connsiteX2" fmla="*/ 234960 w 309339"/>
                <a:gd name="connsiteY2" fmla="*/ 28804 h 614475"/>
                <a:gd name="connsiteX3" fmla="*/ 246867 w 309339"/>
                <a:gd name="connsiteY3" fmla="*/ 50234 h 614475"/>
                <a:gd name="connsiteX4" fmla="*/ 299254 w 309339"/>
                <a:gd name="connsiteY4" fmla="*/ 607448 h 614475"/>
                <a:gd name="connsiteX5" fmla="*/ 8740 w 309339"/>
                <a:gd name="connsiteY5" fmla="*/ 581254 h 614475"/>
                <a:gd name="connsiteX6" fmla="*/ 11122 w 309339"/>
                <a:gd name="connsiteY6" fmla="*/ 543155 h 614475"/>
                <a:gd name="connsiteX7" fmla="*/ 123041 w 309339"/>
                <a:gd name="connsiteY7" fmla="*/ 54998 h 614475"/>
                <a:gd name="connsiteX0" fmla="*/ 123041 w 309339"/>
                <a:gd name="connsiteY0" fmla="*/ 26754 h 586231"/>
                <a:gd name="connsiteX1" fmla="*/ 156379 w 309339"/>
                <a:gd name="connsiteY1" fmla="*/ 62473 h 586231"/>
                <a:gd name="connsiteX2" fmla="*/ 234960 w 309339"/>
                <a:gd name="connsiteY2" fmla="*/ 560 h 586231"/>
                <a:gd name="connsiteX3" fmla="*/ 246867 w 309339"/>
                <a:gd name="connsiteY3" fmla="*/ 21990 h 586231"/>
                <a:gd name="connsiteX4" fmla="*/ 299254 w 309339"/>
                <a:gd name="connsiteY4" fmla="*/ 579204 h 586231"/>
                <a:gd name="connsiteX5" fmla="*/ 8740 w 309339"/>
                <a:gd name="connsiteY5" fmla="*/ 553010 h 586231"/>
                <a:gd name="connsiteX6" fmla="*/ 11122 w 309339"/>
                <a:gd name="connsiteY6" fmla="*/ 514911 h 586231"/>
                <a:gd name="connsiteX7" fmla="*/ 123041 w 309339"/>
                <a:gd name="connsiteY7" fmla="*/ 26754 h 586231"/>
                <a:gd name="connsiteX0" fmla="*/ 123041 w 303503"/>
                <a:gd name="connsiteY0" fmla="*/ 26754 h 586231"/>
                <a:gd name="connsiteX1" fmla="*/ 156379 w 303503"/>
                <a:gd name="connsiteY1" fmla="*/ 62473 h 586231"/>
                <a:gd name="connsiteX2" fmla="*/ 234960 w 303503"/>
                <a:gd name="connsiteY2" fmla="*/ 560 h 586231"/>
                <a:gd name="connsiteX3" fmla="*/ 246867 w 303503"/>
                <a:gd name="connsiteY3" fmla="*/ 21990 h 586231"/>
                <a:gd name="connsiteX4" fmla="*/ 299254 w 303503"/>
                <a:gd name="connsiteY4" fmla="*/ 579204 h 586231"/>
                <a:gd name="connsiteX5" fmla="*/ 8740 w 303503"/>
                <a:gd name="connsiteY5" fmla="*/ 553010 h 586231"/>
                <a:gd name="connsiteX6" fmla="*/ 11122 w 303503"/>
                <a:gd name="connsiteY6" fmla="*/ 514911 h 586231"/>
                <a:gd name="connsiteX7" fmla="*/ 123041 w 303503"/>
                <a:gd name="connsiteY7" fmla="*/ 26754 h 586231"/>
                <a:gd name="connsiteX0" fmla="*/ 123041 w 299254"/>
                <a:gd name="connsiteY0" fmla="*/ 26754 h 586231"/>
                <a:gd name="connsiteX1" fmla="*/ 156379 w 299254"/>
                <a:gd name="connsiteY1" fmla="*/ 62473 h 586231"/>
                <a:gd name="connsiteX2" fmla="*/ 234960 w 299254"/>
                <a:gd name="connsiteY2" fmla="*/ 560 h 586231"/>
                <a:gd name="connsiteX3" fmla="*/ 246867 w 299254"/>
                <a:gd name="connsiteY3" fmla="*/ 21990 h 586231"/>
                <a:gd name="connsiteX4" fmla="*/ 299254 w 299254"/>
                <a:gd name="connsiteY4" fmla="*/ 579204 h 586231"/>
                <a:gd name="connsiteX5" fmla="*/ 8740 w 299254"/>
                <a:gd name="connsiteY5" fmla="*/ 553010 h 586231"/>
                <a:gd name="connsiteX6" fmla="*/ 11122 w 299254"/>
                <a:gd name="connsiteY6" fmla="*/ 514911 h 586231"/>
                <a:gd name="connsiteX7" fmla="*/ 123041 w 299254"/>
                <a:gd name="connsiteY7" fmla="*/ 26754 h 586231"/>
                <a:gd name="connsiteX0" fmla="*/ 123041 w 299254"/>
                <a:gd name="connsiteY0" fmla="*/ 26754 h 586231"/>
                <a:gd name="connsiteX1" fmla="*/ 156379 w 299254"/>
                <a:gd name="connsiteY1" fmla="*/ 62473 h 586231"/>
                <a:gd name="connsiteX2" fmla="*/ 234960 w 299254"/>
                <a:gd name="connsiteY2" fmla="*/ 560 h 586231"/>
                <a:gd name="connsiteX3" fmla="*/ 246867 w 299254"/>
                <a:gd name="connsiteY3" fmla="*/ 21990 h 586231"/>
                <a:gd name="connsiteX4" fmla="*/ 299254 w 299254"/>
                <a:gd name="connsiteY4" fmla="*/ 579204 h 586231"/>
                <a:gd name="connsiteX5" fmla="*/ 8740 w 299254"/>
                <a:gd name="connsiteY5" fmla="*/ 553010 h 586231"/>
                <a:gd name="connsiteX6" fmla="*/ 11122 w 299254"/>
                <a:gd name="connsiteY6" fmla="*/ 514911 h 586231"/>
                <a:gd name="connsiteX7" fmla="*/ 123041 w 299254"/>
                <a:gd name="connsiteY7" fmla="*/ 26754 h 586231"/>
                <a:gd name="connsiteX0" fmla="*/ 123041 w 299254"/>
                <a:gd name="connsiteY0" fmla="*/ 26754 h 586231"/>
                <a:gd name="connsiteX1" fmla="*/ 156379 w 299254"/>
                <a:gd name="connsiteY1" fmla="*/ 62473 h 586231"/>
                <a:gd name="connsiteX2" fmla="*/ 234960 w 299254"/>
                <a:gd name="connsiteY2" fmla="*/ 560 h 586231"/>
                <a:gd name="connsiteX3" fmla="*/ 246867 w 299254"/>
                <a:gd name="connsiteY3" fmla="*/ 21990 h 586231"/>
                <a:gd name="connsiteX4" fmla="*/ 299254 w 299254"/>
                <a:gd name="connsiteY4" fmla="*/ 579204 h 586231"/>
                <a:gd name="connsiteX5" fmla="*/ 8740 w 299254"/>
                <a:gd name="connsiteY5" fmla="*/ 553010 h 586231"/>
                <a:gd name="connsiteX6" fmla="*/ 11122 w 299254"/>
                <a:gd name="connsiteY6" fmla="*/ 514911 h 586231"/>
                <a:gd name="connsiteX7" fmla="*/ 101611 w 299254"/>
                <a:gd name="connsiteY7" fmla="*/ 52946 h 586231"/>
                <a:gd name="connsiteX8" fmla="*/ 123041 w 299254"/>
                <a:gd name="connsiteY8" fmla="*/ 26754 h 586231"/>
                <a:gd name="connsiteX0" fmla="*/ 123041 w 299254"/>
                <a:gd name="connsiteY0" fmla="*/ 26754 h 586231"/>
                <a:gd name="connsiteX1" fmla="*/ 156379 w 299254"/>
                <a:gd name="connsiteY1" fmla="*/ 62473 h 586231"/>
                <a:gd name="connsiteX2" fmla="*/ 234960 w 299254"/>
                <a:gd name="connsiteY2" fmla="*/ 560 h 586231"/>
                <a:gd name="connsiteX3" fmla="*/ 246867 w 299254"/>
                <a:gd name="connsiteY3" fmla="*/ 21990 h 586231"/>
                <a:gd name="connsiteX4" fmla="*/ 299254 w 299254"/>
                <a:gd name="connsiteY4" fmla="*/ 579204 h 586231"/>
                <a:gd name="connsiteX5" fmla="*/ 8740 w 299254"/>
                <a:gd name="connsiteY5" fmla="*/ 553010 h 586231"/>
                <a:gd name="connsiteX6" fmla="*/ 11122 w 299254"/>
                <a:gd name="connsiteY6" fmla="*/ 514911 h 586231"/>
                <a:gd name="connsiteX7" fmla="*/ 101611 w 299254"/>
                <a:gd name="connsiteY7" fmla="*/ 52946 h 586231"/>
                <a:gd name="connsiteX8" fmla="*/ 123041 w 299254"/>
                <a:gd name="connsiteY8" fmla="*/ 26754 h 586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254" h="586231">
                  <a:moveTo>
                    <a:pt x="123041" y="26754"/>
                  </a:moveTo>
                  <a:cubicBezTo>
                    <a:pt x="127010" y="27547"/>
                    <a:pt x="142885" y="66442"/>
                    <a:pt x="156379" y="62473"/>
                  </a:cubicBezTo>
                  <a:lnTo>
                    <a:pt x="234960" y="560"/>
                  </a:lnTo>
                  <a:cubicBezTo>
                    <a:pt x="248057" y="-3012"/>
                    <a:pt x="248057" y="11274"/>
                    <a:pt x="246867" y="21990"/>
                  </a:cubicBezTo>
                  <a:cubicBezTo>
                    <a:pt x="95658" y="416088"/>
                    <a:pt x="294095" y="501019"/>
                    <a:pt x="299254" y="579204"/>
                  </a:cubicBezTo>
                  <a:cubicBezTo>
                    <a:pt x="240517" y="587142"/>
                    <a:pt x="53189" y="597459"/>
                    <a:pt x="8740" y="553010"/>
                  </a:cubicBezTo>
                  <a:cubicBezTo>
                    <a:pt x="-4753" y="529991"/>
                    <a:pt x="-1578" y="523641"/>
                    <a:pt x="11122" y="514911"/>
                  </a:cubicBezTo>
                  <a:cubicBezTo>
                    <a:pt x="25410" y="297423"/>
                    <a:pt x="70654" y="184709"/>
                    <a:pt x="101611" y="52946"/>
                  </a:cubicBezTo>
                  <a:lnTo>
                    <a:pt x="123041" y="26754"/>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a:solidFill>
                  <a:prstClr val="white"/>
                </a:solidFill>
                <a:latin typeface="Arial" panose="020B0604020202020204" pitchFamily="34" charset="0"/>
                <a:cs typeface="Arial" panose="020B0604020202020204" pitchFamily="34" charset="0"/>
              </a:endParaRPr>
            </a:p>
          </p:txBody>
        </p:sp>
        <p:sp>
          <p:nvSpPr>
            <p:cNvPr id="137" name="Rectangle 5">
              <a:extLst>
                <a:ext uri="{FF2B5EF4-FFF2-40B4-BE49-F238E27FC236}">
                  <a16:creationId xmlns:a16="http://schemas.microsoft.com/office/drawing/2014/main" id="{06988634-7D64-2473-0785-8736C7C82B45}"/>
                </a:ext>
              </a:extLst>
            </p:cNvPr>
            <p:cNvSpPr/>
            <p:nvPr/>
          </p:nvSpPr>
          <p:spPr>
            <a:xfrm>
              <a:off x="5854054" y="1802359"/>
              <a:ext cx="99921" cy="479748"/>
            </a:xfrm>
            <a:custGeom>
              <a:avLst/>
              <a:gdLst>
                <a:gd name="connsiteX0" fmla="*/ 0 w 152400"/>
                <a:gd name="connsiteY0" fmla="*/ 0 h 607075"/>
                <a:gd name="connsiteX1" fmla="*/ 152400 w 152400"/>
                <a:gd name="connsiteY1" fmla="*/ 0 h 607075"/>
                <a:gd name="connsiteX2" fmla="*/ 152400 w 152400"/>
                <a:gd name="connsiteY2" fmla="*/ 607075 h 607075"/>
                <a:gd name="connsiteX3" fmla="*/ 0 w 152400"/>
                <a:gd name="connsiteY3" fmla="*/ 607075 h 607075"/>
                <a:gd name="connsiteX4" fmla="*/ 0 w 152400"/>
                <a:gd name="connsiteY4" fmla="*/ 0 h 607075"/>
                <a:gd name="connsiteX0" fmla="*/ 0 w 152400"/>
                <a:gd name="connsiteY0" fmla="*/ 0 h 607075"/>
                <a:gd name="connsiteX1" fmla="*/ 152400 w 152400"/>
                <a:gd name="connsiteY1" fmla="*/ 0 h 607075"/>
                <a:gd name="connsiteX2" fmla="*/ 152400 w 152400"/>
                <a:gd name="connsiteY2" fmla="*/ 607075 h 607075"/>
                <a:gd name="connsiteX3" fmla="*/ 0 w 152400"/>
                <a:gd name="connsiteY3" fmla="*/ 607075 h 607075"/>
                <a:gd name="connsiteX4" fmla="*/ 42863 w 152400"/>
                <a:gd name="connsiteY4" fmla="*/ 107013 h 607075"/>
                <a:gd name="connsiteX5" fmla="*/ 0 w 152400"/>
                <a:gd name="connsiteY5" fmla="*/ 0 h 607075"/>
                <a:gd name="connsiteX0" fmla="*/ 0 w 152400"/>
                <a:gd name="connsiteY0" fmla="*/ 0 h 607075"/>
                <a:gd name="connsiteX1" fmla="*/ 152400 w 152400"/>
                <a:gd name="connsiteY1" fmla="*/ 0 h 607075"/>
                <a:gd name="connsiteX2" fmla="*/ 90488 w 152400"/>
                <a:gd name="connsiteY2" fmla="*/ 111775 h 607075"/>
                <a:gd name="connsiteX3" fmla="*/ 152400 w 152400"/>
                <a:gd name="connsiteY3" fmla="*/ 607075 h 607075"/>
                <a:gd name="connsiteX4" fmla="*/ 0 w 152400"/>
                <a:gd name="connsiteY4" fmla="*/ 607075 h 607075"/>
                <a:gd name="connsiteX5" fmla="*/ 42863 w 152400"/>
                <a:gd name="connsiteY5" fmla="*/ 107013 h 607075"/>
                <a:gd name="connsiteX6" fmla="*/ 0 w 152400"/>
                <a:gd name="connsiteY6" fmla="*/ 0 h 607075"/>
                <a:gd name="connsiteX0" fmla="*/ 0 w 152400"/>
                <a:gd name="connsiteY0" fmla="*/ 4763 h 611838"/>
                <a:gd name="connsiteX1" fmla="*/ 116681 w 152400"/>
                <a:gd name="connsiteY1" fmla="*/ 0 h 611838"/>
                <a:gd name="connsiteX2" fmla="*/ 90488 w 152400"/>
                <a:gd name="connsiteY2" fmla="*/ 116538 h 611838"/>
                <a:gd name="connsiteX3" fmla="*/ 152400 w 152400"/>
                <a:gd name="connsiteY3" fmla="*/ 611838 h 611838"/>
                <a:gd name="connsiteX4" fmla="*/ 0 w 152400"/>
                <a:gd name="connsiteY4" fmla="*/ 611838 h 611838"/>
                <a:gd name="connsiteX5" fmla="*/ 42863 w 152400"/>
                <a:gd name="connsiteY5" fmla="*/ 111776 h 611838"/>
                <a:gd name="connsiteX6" fmla="*/ 0 w 152400"/>
                <a:gd name="connsiteY6" fmla="*/ 4763 h 611838"/>
                <a:gd name="connsiteX0" fmla="*/ 7144 w 152400"/>
                <a:gd name="connsiteY0" fmla="*/ 4763 h 611838"/>
                <a:gd name="connsiteX1" fmla="*/ 116681 w 152400"/>
                <a:gd name="connsiteY1" fmla="*/ 0 h 611838"/>
                <a:gd name="connsiteX2" fmla="*/ 90488 w 152400"/>
                <a:gd name="connsiteY2" fmla="*/ 116538 h 611838"/>
                <a:gd name="connsiteX3" fmla="*/ 152400 w 152400"/>
                <a:gd name="connsiteY3" fmla="*/ 611838 h 611838"/>
                <a:gd name="connsiteX4" fmla="*/ 0 w 152400"/>
                <a:gd name="connsiteY4" fmla="*/ 611838 h 611838"/>
                <a:gd name="connsiteX5" fmla="*/ 42863 w 152400"/>
                <a:gd name="connsiteY5" fmla="*/ 111776 h 611838"/>
                <a:gd name="connsiteX6" fmla="*/ 7144 w 152400"/>
                <a:gd name="connsiteY6" fmla="*/ 4763 h 611838"/>
                <a:gd name="connsiteX0" fmla="*/ 7144 w 152400"/>
                <a:gd name="connsiteY0" fmla="*/ 12253 h 619328"/>
                <a:gd name="connsiteX1" fmla="*/ 116681 w 152400"/>
                <a:gd name="connsiteY1" fmla="*/ 7490 h 619328"/>
                <a:gd name="connsiteX2" fmla="*/ 90488 w 152400"/>
                <a:gd name="connsiteY2" fmla="*/ 124028 h 619328"/>
                <a:gd name="connsiteX3" fmla="*/ 152400 w 152400"/>
                <a:gd name="connsiteY3" fmla="*/ 619328 h 619328"/>
                <a:gd name="connsiteX4" fmla="*/ 0 w 152400"/>
                <a:gd name="connsiteY4" fmla="*/ 619328 h 619328"/>
                <a:gd name="connsiteX5" fmla="*/ 42863 w 152400"/>
                <a:gd name="connsiteY5" fmla="*/ 119266 h 619328"/>
                <a:gd name="connsiteX6" fmla="*/ 7144 w 152400"/>
                <a:gd name="connsiteY6" fmla="*/ 12253 h 619328"/>
                <a:gd name="connsiteX0" fmla="*/ 7144 w 152400"/>
                <a:gd name="connsiteY0" fmla="*/ 15051 h 622126"/>
                <a:gd name="connsiteX1" fmla="*/ 116681 w 152400"/>
                <a:gd name="connsiteY1" fmla="*/ 10288 h 622126"/>
                <a:gd name="connsiteX2" fmla="*/ 90488 w 152400"/>
                <a:gd name="connsiteY2" fmla="*/ 126826 h 622126"/>
                <a:gd name="connsiteX3" fmla="*/ 152400 w 152400"/>
                <a:gd name="connsiteY3" fmla="*/ 622126 h 622126"/>
                <a:gd name="connsiteX4" fmla="*/ 0 w 152400"/>
                <a:gd name="connsiteY4" fmla="*/ 622126 h 622126"/>
                <a:gd name="connsiteX5" fmla="*/ 42863 w 152400"/>
                <a:gd name="connsiteY5" fmla="*/ 122064 h 622126"/>
                <a:gd name="connsiteX6" fmla="*/ 7144 w 152400"/>
                <a:gd name="connsiteY6" fmla="*/ 15051 h 622126"/>
                <a:gd name="connsiteX0" fmla="*/ 7144 w 152400"/>
                <a:gd name="connsiteY0" fmla="*/ 15051 h 622126"/>
                <a:gd name="connsiteX1" fmla="*/ 116681 w 152400"/>
                <a:gd name="connsiteY1" fmla="*/ 10288 h 622126"/>
                <a:gd name="connsiteX2" fmla="*/ 90488 w 152400"/>
                <a:gd name="connsiteY2" fmla="*/ 126826 h 622126"/>
                <a:gd name="connsiteX3" fmla="*/ 152400 w 152400"/>
                <a:gd name="connsiteY3" fmla="*/ 622126 h 622126"/>
                <a:gd name="connsiteX4" fmla="*/ 0 w 152400"/>
                <a:gd name="connsiteY4" fmla="*/ 622126 h 622126"/>
                <a:gd name="connsiteX5" fmla="*/ 42863 w 152400"/>
                <a:gd name="connsiteY5" fmla="*/ 122064 h 622126"/>
                <a:gd name="connsiteX6" fmla="*/ 7144 w 152400"/>
                <a:gd name="connsiteY6" fmla="*/ 15051 h 622126"/>
                <a:gd name="connsiteX0" fmla="*/ 7144 w 152400"/>
                <a:gd name="connsiteY0" fmla="*/ 15051 h 622126"/>
                <a:gd name="connsiteX1" fmla="*/ 116681 w 152400"/>
                <a:gd name="connsiteY1" fmla="*/ 10288 h 622126"/>
                <a:gd name="connsiteX2" fmla="*/ 90488 w 152400"/>
                <a:gd name="connsiteY2" fmla="*/ 126826 h 622126"/>
                <a:gd name="connsiteX3" fmla="*/ 152400 w 152400"/>
                <a:gd name="connsiteY3" fmla="*/ 622126 h 622126"/>
                <a:gd name="connsiteX4" fmla="*/ 0 w 152400"/>
                <a:gd name="connsiteY4" fmla="*/ 622126 h 622126"/>
                <a:gd name="connsiteX5" fmla="*/ 42863 w 152400"/>
                <a:gd name="connsiteY5" fmla="*/ 122064 h 622126"/>
                <a:gd name="connsiteX6" fmla="*/ 7144 w 152400"/>
                <a:gd name="connsiteY6" fmla="*/ 15051 h 622126"/>
                <a:gd name="connsiteX0" fmla="*/ 7144 w 152400"/>
                <a:gd name="connsiteY0" fmla="*/ 15051 h 622126"/>
                <a:gd name="connsiteX1" fmla="*/ 116681 w 152400"/>
                <a:gd name="connsiteY1" fmla="*/ 10288 h 622126"/>
                <a:gd name="connsiteX2" fmla="*/ 90488 w 152400"/>
                <a:gd name="connsiteY2" fmla="*/ 126826 h 622126"/>
                <a:gd name="connsiteX3" fmla="*/ 152400 w 152400"/>
                <a:gd name="connsiteY3" fmla="*/ 622126 h 622126"/>
                <a:gd name="connsiteX4" fmla="*/ 0 w 152400"/>
                <a:gd name="connsiteY4" fmla="*/ 622126 h 622126"/>
                <a:gd name="connsiteX5" fmla="*/ 42863 w 152400"/>
                <a:gd name="connsiteY5" fmla="*/ 122064 h 622126"/>
                <a:gd name="connsiteX6" fmla="*/ 7144 w 152400"/>
                <a:gd name="connsiteY6" fmla="*/ 15051 h 622126"/>
                <a:gd name="connsiteX0" fmla="*/ 7144 w 152400"/>
                <a:gd name="connsiteY0" fmla="*/ 15051 h 622126"/>
                <a:gd name="connsiteX1" fmla="*/ 116681 w 152400"/>
                <a:gd name="connsiteY1" fmla="*/ 10288 h 622126"/>
                <a:gd name="connsiteX2" fmla="*/ 90488 w 152400"/>
                <a:gd name="connsiteY2" fmla="*/ 126826 h 622126"/>
                <a:gd name="connsiteX3" fmla="*/ 152400 w 152400"/>
                <a:gd name="connsiteY3" fmla="*/ 622126 h 622126"/>
                <a:gd name="connsiteX4" fmla="*/ 0 w 152400"/>
                <a:gd name="connsiteY4" fmla="*/ 622126 h 622126"/>
                <a:gd name="connsiteX5" fmla="*/ 42863 w 152400"/>
                <a:gd name="connsiteY5" fmla="*/ 122064 h 622126"/>
                <a:gd name="connsiteX6" fmla="*/ 7144 w 152400"/>
                <a:gd name="connsiteY6" fmla="*/ 15051 h 622126"/>
                <a:gd name="connsiteX0" fmla="*/ 16669 w 161925"/>
                <a:gd name="connsiteY0" fmla="*/ 15051 h 710232"/>
                <a:gd name="connsiteX1" fmla="*/ 126206 w 161925"/>
                <a:gd name="connsiteY1" fmla="*/ 10288 h 710232"/>
                <a:gd name="connsiteX2" fmla="*/ 100013 w 161925"/>
                <a:gd name="connsiteY2" fmla="*/ 126826 h 710232"/>
                <a:gd name="connsiteX3" fmla="*/ 161925 w 161925"/>
                <a:gd name="connsiteY3" fmla="*/ 622126 h 710232"/>
                <a:gd name="connsiteX4" fmla="*/ 0 w 161925"/>
                <a:gd name="connsiteY4" fmla="*/ 710232 h 710232"/>
                <a:gd name="connsiteX5" fmla="*/ 52388 w 161925"/>
                <a:gd name="connsiteY5" fmla="*/ 122064 h 710232"/>
                <a:gd name="connsiteX6" fmla="*/ 16669 w 161925"/>
                <a:gd name="connsiteY6" fmla="*/ 15051 h 710232"/>
                <a:gd name="connsiteX0" fmla="*/ 16669 w 133350"/>
                <a:gd name="connsiteY0" fmla="*/ 15051 h 710232"/>
                <a:gd name="connsiteX1" fmla="*/ 126206 w 133350"/>
                <a:gd name="connsiteY1" fmla="*/ 10288 h 710232"/>
                <a:gd name="connsiteX2" fmla="*/ 100013 w 133350"/>
                <a:gd name="connsiteY2" fmla="*/ 126826 h 710232"/>
                <a:gd name="connsiteX3" fmla="*/ 133350 w 133350"/>
                <a:gd name="connsiteY3" fmla="*/ 710232 h 710232"/>
                <a:gd name="connsiteX4" fmla="*/ 0 w 133350"/>
                <a:gd name="connsiteY4" fmla="*/ 710232 h 710232"/>
                <a:gd name="connsiteX5" fmla="*/ 52388 w 133350"/>
                <a:gd name="connsiteY5" fmla="*/ 122064 h 710232"/>
                <a:gd name="connsiteX6" fmla="*/ 16669 w 133350"/>
                <a:gd name="connsiteY6" fmla="*/ 15051 h 710232"/>
                <a:gd name="connsiteX0" fmla="*/ 20860 w 137541"/>
                <a:gd name="connsiteY0" fmla="*/ 15051 h 710232"/>
                <a:gd name="connsiteX1" fmla="*/ 130397 w 137541"/>
                <a:gd name="connsiteY1" fmla="*/ 10288 h 710232"/>
                <a:gd name="connsiteX2" fmla="*/ 104204 w 137541"/>
                <a:gd name="connsiteY2" fmla="*/ 126826 h 710232"/>
                <a:gd name="connsiteX3" fmla="*/ 137541 w 137541"/>
                <a:gd name="connsiteY3" fmla="*/ 710232 h 710232"/>
                <a:gd name="connsiteX4" fmla="*/ 4191 w 137541"/>
                <a:gd name="connsiteY4" fmla="*/ 710232 h 710232"/>
                <a:gd name="connsiteX5" fmla="*/ 56579 w 137541"/>
                <a:gd name="connsiteY5" fmla="*/ 122064 h 710232"/>
                <a:gd name="connsiteX6" fmla="*/ 20860 w 137541"/>
                <a:gd name="connsiteY6" fmla="*/ 15051 h 710232"/>
                <a:gd name="connsiteX0" fmla="*/ 20860 w 144500"/>
                <a:gd name="connsiteY0" fmla="*/ 15051 h 710232"/>
                <a:gd name="connsiteX1" fmla="*/ 130397 w 144500"/>
                <a:gd name="connsiteY1" fmla="*/ 10288 h 710232"/>
                <a:gd name="connsiteX2" fmla="*/ 104204 w 144500"/>
                <a:gd name="connsiteY2" fmla="*/ 126826 h 710232"/>
                <a:gd name="connsiteX3" fmla="*/ 137541 w 144500"/>
                <a:gd name="connsiteY3" fmla="*/ 710232 h 710232"/>
                <a:gd name="connsiteX4" fmla="*/ 4191 w 144500"/>
                <a:gd name="connsiteY4" fmla="*/ 710232 h 710232"/>
                <a:gd name="connsiteX5" fmla="*/ 56579 w 144500"/>
                <a:gd name="connsiteY5" fmla="*/ 122064 h 710232"/>
                <a:gd name="connsiteX6" fmla="*/ 20860 w 144500"/>
                <a:gd name="connsiteY6" fmla="*/ 15051 h 710232"/>
                <a:gd name="connsiteX0" fmla="*/ 9843 w 144500"/>
                <a:gd name="connsiteY0" fmla="*/ 20978 h 705142"/>
                <a:gd name="connsiteX1" fmla="*/ 130397 w 144500"/>
                <a:gd name="connsiteY1" fmla="*/ 5198 h 705142"/>
                <a:gd name="connsiteX2" fmla="*/ 104204 w 144500"/>
                <a:gd name="connsiteY2" fmla="*/ 121736 h 705142"/>
                <a:gd name="connsiteX3" fmla="*/ 137541 w 144500"/>
                <a:gd name="connsiteY3" fmla="*/ 705142 h 705142"/>
                <a:gd name="connsiteX4" fmla="*/ 4191 w 144500"/>
                <a:gd name="connsiteY4" fmla="*/ 705142 h 705142"/>
                <a:gd name="connsiteX5" fmla="*/ 56579 w 144500"/>
                <a:gd name="connsiteY5" fmla="*/ 116974 h 705142"/>
                <a:gd name="connsiteX6" fmla="*/ 9843 w 144500"/>
                <a:gd name="connsiteY6" fmla="*/ 20978 h 705142"/>
                <a:gd name="connsiteX0" fmla="*/ 9843 w 144500"/>
                <a:gd name="connsiteY0" fmla="*/ 15052 h 699216"/>
                <a:gd name="connsiteX1" fmla="*/ 141414 w 144500"/>
                <a:gd name="connsiteY1" fmla="*/ 10289 h 699216"/>
                <a:gd name="connsiteX2" fmla="*/ 104204 w 144500"/>
                <a:gd name="connsiteY2" fmla="*/ 115810 h 699216"/>
                <a:gd name="connsiteX3" fmla="*/ 137541 w 144500"/>
                <a:gd name="connsiteY3" fmla="*/ 699216 h 699216"/>
                <a:gd name="connsiteX4" fmla="*/ 4191 w 144500"/>
                <a:gd name="connsiteY4" fmla="*/ 699216 h 699216"/>
                <a:gd name="connsiteX5" fmla="*/ 56579 w 144500"/>
                <a:gd name="connsiteY5" fmla="*/ 111048 h 699216"/>
                <a:gd name="connsiteX6" fmla="*/ 9843 w 144500"/>
                <a:gd name="connsiteY6" fmla="*/ 15052 h 699216"/>
                <a:gd name="connsiteX0" fmla="*/ 9843 w 144500"/>
                <a:gd name="connsiteY0" fmla="*/ 35262 h 719426"/>
                <a:gd name="connsiteX1" fmla="*/ 141414 w 144500"/>
                <a:gd name="connsiteY1" fmla="*/ 30499 h 719426"/>
                <a:gd name="connsiteX2" fmla="*/ 104204 w 144500"/>
                <a:gd name="connsiteY2" fmla="*/ 136020 h 719426"/>
                <a:gd name="connsiteX3" fmla="*/ 137541 w 144500"/>
                <a:gd name="connsiteY3" fmla="*/ 719426 h 719426"/>
                <a:gd name="connsiteX4" fmla="*/ 4191 w 144500"/>
                <a:gd name="connsiteY4" fmla="*/ 719426 h 719426"/>
                <a:gd name="connsiteX5" fmla="*/ 56579 w 144500"/>
                <a:gd name="connsiteY5" fmla="*/ 131258 h 719426"/>
                <a:gd name="connsiteX6" fmla="*/ 9843 w 144500"/>
                <a:gd name="connsiteY6" fmla="*/ 35262 h 719426"/>
                <a:gd name="connsiteX0" fmla="*/ 0 w 134657"/>
                <a:gd name="connsiteY0" fmla="*/ 35262 h 719426"/>
                <a:gd name="connsiteX1" fmla="*/ 131571 w 134657"/>
                <a:gd name="connsiteY1" fmla="*/ 30499 h 719426"/>
                <a:gd name="connsiteX2" fmla="*/ 94361 w 134657"/>
                <a:gd name="connsiteY2" fmla="*/ 136020 h 719426"/>
                <a:gd name="connsiteX3" fmla="*/ 127698 w 134657"/>
                <a:gd name="connsiteY3" fmla="*/ 719426 h 719426"/>
                <a:gd name="connsiteX4" fmla="*/ 16382 w 134657"/>
                <a:gd name="connsiteY4" fmla="*/ 719426 h 719426"/>
                <a:gd name="connsiteX5" fmla="*/ 46736 w 134657"/>
                <a:gd name="connsiteY5" fmla="*/ 131258 h 719426"/>
                <a:gd name="connsiteX6" fmla="*/ 0 w 134657"/>
                <a:gd name="connsiteY6" fmla="*/ 35262 h 719426"/>
                <a:gd name="connsiteX0" fmla="*/ 0 w 139787"/>
                <a:gd name="connsiteY0" fmla="*/ 35262 h 719426"/>
                <a:gd name="connsiteX1" fmla="*/ 131571 w 139787"/>
                <a:gd name="connsiteY1" fmla="*/ 30499 h 719426"/>
                <a:gd name="connsiteX2" fmla="*/ 94361 w 139787"/>
                <a:gd name="connsiteY2" fmla="*/ 136020 h 719426"/>
                <a:gd name="connsiteX3" fmla="*/ 138715 w 139787"/>
                <a:gd name="connsiteY3" fmla="*/ 719426 h 719426"/>
                <a:gd name="connsiteX4" fmla="*/ 16382 w 139787"/>
                <a:gd name="connsiteY4" fmla="*/ 719426 h 719426"/>
                <a:gd name="connsiteX5" fmla="*/ 46736 w 139787"/>
                <a:gd name="connsiteY5" fmla="*/ 131258 h 719426"/>
                <a:gd name="connsiteX6" fmla="*/ 0 w 139787"/>
                <a:gd name="connsiteY6" fmla="*/ 35262 h 719426"/>
                <a:gd name="connsiteX0" fmla="*/ 0 w 134657"/>
                <a:gd name="connsiteY0" fmla="*/ 35262 h 719426"/>
                <a:gd name="connsiteX1" fmla="*/ 131571 w 134657"/>
                <a:gd name="connsiteY1" fmla="*/ 30499 h 719426"/>
                <a:gd name="connsiteX2" fmla="*/ 94361 w 134657"/>
                <a:gd name="connsiteY2" fmla="*/ 136020 h 719426"/>
                <a:gd name="connsiteX3" fmla="*/ 127698 w 134657"/>
                <a:gd name="connsiteY3" fmla="*/ 719426 h 719426"/>
                <a:gd name="connsiteX4" fmla="*/ 16382 w 134657"/>
                <a:gd name="connsiteY4" fmla="*/ 719426 h 719426"/>
                <a:gd name="connsiteX5" fmla="*/ 46736 w 134657"/>
                <a:gd name="connsiteY5" fmla="*/ 131258 h 719426"/>
                <a:gd name="connsiteX6" fmla="*/ 0 w 134657"/>
                <a:gd name="connsiteY6" fmla="*/ 35262 h 719426"/>
                <a:gd name="connsiteX0" fmla="*/ 0 w 132223"/>
                <a:gd name="connsiteY0" fmla="*/ 35262 h 719426"/>
                <a:gd name="connsiteX1" fmla="*/ 131571 w 132223"/>
                <a:gd name="connsiteY1" fmla="*/ 30499 h 719426"/>
                <a:gd name="connsiteX2" fmla="*/ 77836 w 132223"/>
                <a:gd name="connsiteY2" fmla="*/ 136020 h 719426"/>
                <a:gd name="connsiteX3" fmla="*/ 127698 w 132223"/>
                <a:gd name="connsiteY3" fmla="*/ 719426 h 719426"/>
                <a:gd name="connsiteX4" fmla="*/ 16382 w 132223"/>
                <a:gd name="connsiteY4" fmla="*/ 719426 h 719426"/>
                <a:gd name="connsiteX5" fmla="*/ 46736 w 132223"/>
                <a:gd name="connsiteY5" fmla="*/ 131258 h 719426"/>
                <a:gd name="connsiteX6" fmla="*/ 0 w 132223"/>
                <a:gd name="connsiteY6" fmla="*/ 35262 h 719426"/>
                <a:gd name="connsiteX0" fmla="*/ 0 w 131571"/>
                <a:gd name="connsiteY0" fmla="*/ 35262 h 719426"/>
                <a:gd name="connsiteX1" fmla="*/ 131571 w 131571"/>
                <a:gd name="connsiteY1" fmla="*/ 30499 h 719426"/>
                <a:gd name="connsiteX2" fmla="*/ 77836 w 131571"/>
                <a:gd name="connsiteY2" fmla="*/ 136020 h 719426"/>
                <a:gd name="connsiteX3" fmla="*/ 127698 w 131571"/>
                <a:gd name="connsiteY3" fmla="*/ 719426 h 719426"/>
                <a:gd name="connsiteX4" fmla="*/ 16382 w 131571"/>
                <a:gd name="connsiteY4" fmla="*/ 719426 h 719426"/>
                <a:gd name="connsiteX5" fmla="*/ 46736 w 131571"/>
                <a:gd name="connsiteY5" fmla="*/ 131258 h 719426"/>
                <a:gd name="connsiteX6" fmla="*/ 0 w 131571"/>
                <a:gd name="connsiteY6" fmla="*/ 35262 h 719426"/>
                <a:gd name="connsiteX0" fmla="*/ 0 w 127698"/>
                <a:gd name="connsiteY0" fmla="*/ 39004 h 723168"/>
                <a:gd name="connsiteX1" fmla="*/ 126063 w 127698"/>
                <a:gd name="connsiteY1" fmla="*/ 28733 h 723168"/>
                <a:gd name="connsiteX2" fmla="*/ 77836 w 127698"/>
                <a:gd name="connsiteY2" fmla="*/ 139762 h 723168"/>
                <a:gd name="connsiteX3" fmla="*/ 127698 w 127698"/>
                <a:gd name="connsiteY3" fmla="*/ 723168 h 723168"/>
                <a:gd name="connsiteX4" fmla="*/ 16382 w 127698"/>
                <a:gd name="connsiteY4" fmla="*/ 723168 h 723168"/>
                <a:gd name="connsiteX5" fmla="*/ 46736 w 127698"/>
                <a:gd name="connsiteY5" fmla="*/ 135000 h 723168"/>
                <a:gd name="connsiteX6" fmla="*/ 0 w 127698"/>
                <a:gd name="connsiteY6" fmla="*/ 39004 h 723168"/>
                <a:gd name="connsiteX0" fmla="*/ 0 w 127698"/>
                <a:gd name="connsiteY0" fmla="*/ 39004 h 723168"/>
                <a:gd name="connsiteX1" fmla="*/ 126063 w 127698"/>
                <a:gd name="connsiteY1" fmla="*/ 28733 h 723168"/>
                <a:gd name="connsiteX2" fmla="*/ 77836 w 127698"/>
                <a:gd name="connsiteY2" fmla="*/ 139762 h 723168"/>
                <a:gd name="connsiteX3" fmla="*/ 127698 w 127698"/>
                <a:gd name="connsiteY3" fmla="*/ 723168 h 723168"/>
                <a:gd name="connsiteX4" fmla="*/ 16382 w 127698"/>
                <a:gd name="connsiteY4" fmla="*/ 723168 h 723168"/>
                <a:gd name="connsiteX5" fmla="*/ 46736 w 127698"/>
                <a:gd name="connsiteY5" fmla="*/ 135000 h 723168"/>
                <a:gd name="connsiteX6" fmla="*/ 0 w 127698"/>
                <a:gd name="connsiteY6" fmla="*/ 39004 h 723168"/>
                <a:gd name="connsiteX0" fmla="*/ 43149 w 170847"/>
                <a:gd name="connsiteY0" fmla="*/ 39004 h 723168"/>
                <a:gd name="connsiteX1" fmla="*/ 169212 w 170847"/>
                <a:gd name="connsiteY1" fmla="*/ 28733 h 723168"/>
                <a:gd name="connsiteX2" fmla="*/ 120985 w 170847"/>
                <a:gd name="connsiteY2" fmla="*/ 139762 h 723168"/>
                <a:gd name="connsiteX3" fmla="*/ 170847 w 170847"/>
                <a:gd name="connsiteY3" fmla="*/ 723168 h 723168"/>
                <a:gd name="connsiteX4" fmla="*/ 0 w 170847"/>
                <a:gd name="connsiteY4" fmla="*/ 720787 h 723168"/>
                <a:gd name="connsiteX5" fmla="*/ 89885 w 170847"/>
                <a:gd name="connsiteY5" fmla="*/ 135000 h 723168"/>
                <a:gd name="connsiteX6" fmla="*/ 43149 w 170847"/>
                <a:gd name="connsiteY6" fmla="*/ 39004 h 723168"/>
                <a:gd name="connsiteX0" fmla="*/ 43149 w 169212"/>
                <a:gd name="connsiteY0" fmla="*/ 39004 h 725549"/>
                <a:gd name="connsiteX1" fmla="*/ 169212 w 169212"/>
                <a:gd name="connsiteY1" fmla="*/ 28733 h 725549"/>
                <a:gd name="connsiteX2" fmla="*/ 120985 w 169212"/>
                <a:gd name="connsiteY2" fmla="*/ 139762 h 725549"/>
                <a:gd name="connsiteX3" fmla="*/ 108935 w 169212"/>
                <a:gd name="connsiteY3" fmla="*/ 725549 h 725549"/>
                <a:gd name="connsiteX4" fmla="*/ 0 w 169212"/>
                <a:gd name="connsiteY4" fmla="*/ 720787 h 725549"/>
                <a:gd name="connsiteX5" fmla="*/ 89885 w 169212"/>
                <a:gd name="connsiteY5" fmla="*/ 135000 h 725549"/>
                <a:gd name="connsiteX6" fmla="*/ 43149 w 169212"/>
                <a:gd name="connsiteY6" fmla="*/ 39004 h 725549"/>
                <a:gd name="connsiteX0" fmla="*/ 47911 w 173974"/>
                <a:gd name="connsiteY0" fmla="*/ 39004 h 744600"/>
                <a:gd name="connsiteX1" fmla="*/ 173974 w 173974"/>
                <a:gd name="connsiteY1" fmla="*/ 28733 h 744600"/>
                <a:gd name="connsiteX2" fmla="*/ 125747 w 173974"/>
                <a:gd name="connsiteY2" fmla="*/ 139762 h 744600"/>
                <a:gd name="connsiteX3" fmla="*/ 113697 w 173974"/>
                <a:gd name="connsiteY3" fmla="*/ 725549 h 744600"/>
                <a:gd name="connsiteX4" fmla="*/ 0 w 173974"/>
                <a:gd name="connsiteY4" fmla="*/ 744600 h 744600"/>
                <a:gd name="connsiteX5" fmla="*/ 94647 w 173974"/>
                <a:gd name="connsiteY5" fmla="*/ 135000 h 744600"/>
                <a:gd name="connsiteX6" fmla="*/ 47911 w 173974"/>
                <a:gd name="connsiteY6" fmla="*/ 39004 h 744600"/>
                <a:gd name="connsiteX0" fmla="*/ 47911 w 173974"/>
                <a:gd name="connsiteY0" fmla="*/ 39004 h 761268"/>
                <a:gd name="connsiteX1" fmla="*/ 173974 w 173974"/>
                <a:gd name="connsiteY1" fmla="*/ 28733 h 761268"/>
                <a:gd name="connsiteX2" fmla="*/ 125747 w 173974"/>
                <a:gd name="connsiteY2" fmla="*/ 139762 h 761268"/>
                <a:gd name="connsiteX3" fmla="*/ 101791 w 173974"/>
                <a:gd name="connsiteY3" fmla="*/ 761268 h 761268"/>
                <a:gd name="connsiteX4" fmla="*/ 0 w 173974"/>
                <a:gd name="connsiteY4" fmla="*/ 744600 h 761268"/>
                <a:gd name="connsiteX5" fmla="*/ 94647 w 173974"/>
                <a:gd name="connsiteY5" fmla="*/ 135000 h 761268"/>
                <a:gd name="connsiteX6" fmla="*/ 47911 w 173974"/>
                <a:gd name="connsiteY6" fmla="*/ 39004 h 761268"/>
                <a:gd name="connsiteX0" fmla="*/ 47925 w 173988"/>
                <a:gd name="connsiteY0" fmla="*/ 39004 h 761268"/>
                <a:gd name="connsiteX1" fmla="*/ 173988 w 173988"/>
                <a:gd name="connsiteY1" fmla="*/ 28733 h 761268"/>
                <a:gd name="connsiteX2" fmla="*/ 125761 w 173988"/>
                <a:gd name="connsiteY2" fmla="*/ 139762 h 761268"/>
                <a:gd name="connsiteX3" fmla="*/ 101805 w 173988"/>
                <a:gd name="connsiteY3" fmla="*/ 761268 h 761268"/>
                <a:gd name="connsiteX4" fmla="*/ 14 w 173988"/>
                <a:gd name="connsiteY4" fmla="*/ 744600 h 761268"/>
                <a:gd name="connsiteX5" fmla="*/ 75611 w 173988"/>
                <a:gd name="connsiteY5" fmla="*/ 111188 h 761268"/>
                <a:gd name="connsiteX6" fmla="*/ 47925 w 173988"/>
                <a:gd name="connsiteY6" fmla="*/ 39004 h 761268"/>
                <a:gd name="connsiteX0" fmla="*/ 47925 w 173988"/>
                <a:gd name="connsiteY0" fmla="*/ 39004 h 761268"/>
                <a:gd name="connsiteX1" fmla="*/ 173988 w 173988"/>
                <a:gd name="connsiteY1" fmla="*/ 28733 h 761268"/>
                <a:gd name="connsiteX2" fmla="*/ 116236 w 173988"/>
                <a:gd name="connsiteY2" fmla="*/ 123093 h 761268"/>
                <a:gd name="connsiteX3" fmla="*/ 101805 w 173988"/>
                <a:gd name="connsiteY3" fmla="*/ 761268 h 761268"/>
                <a:gd name="connsiteX4" fmla="*/ 14 w 173988"/>
                <a:gd name="connsiteY4" fmla="*/ 744600 h 761268"/>
                <a:gd name="connsiteX5" fmla="*/ 75611 w 173988"/>
                <a:gd name="connsiteY5" fmla="*/ 111188 h 761268"/>
                <a:gd name="connsiteX6" fmla="*/ 47925 w 173988"/>
                <a:gd name="connsiteY6" fmla="*/ 39004 h 761268"/>
                <a:gd name="connsiteX0" fmla="*/ 48121 w 174184"/>
                <a:gd name="connsiteY0" fmla="*/ 39004 h 761268"/>
                <a:gd name="connsiteX1" fmla="*/ 174184 w 174184"/>
                <a:gd name="connsiteY1" fmla="*/ 28733 h 761268"/>
                <a:gd name="connsiteX2" fmla="*/ 116432 w 174184"/>
                <a:gd name="connsiteY2" fmla="*/ 123093 h 761268"/>
                <a:gd name="connsiteX3" fmla="*/ 102001 w 174184"/>
                <a:gd name="connsiteY3" fmla="*/ 761268 h 761268"/>
                <a:gd name="connsiteX4" fmla="*/ 210 w 174184"/>
                <a:gd name="connsiteY4" fmla="*/ 744600 h 761268"/>
                <a:gd name="connsiteX5" fmla="*/ 71045 w 174184"/>
                <a:gd name="connsiteY5" fmla="*/ 118332 h 761268"/>
                <a:gd name="connsiteX6" fmla="*/ 48121 w 174184"/>
                <a:gd name="connsiteY6" fmla="*/ 39004 h 761268"/>
                <a:gd name="connsiteX0" fmla="*/ 48121 w 174184"/>
                <a:gd name="connsiteY0" fmla="*/ 39004 h 761268"/>
                <a:gd name="connsiteX1" fmla="*/ 174184 w 174184"/>
                <a:gd name="connsiteY1" fmla="*/ 28733 h 761268"/>
                <a:gd name="connsiteX2" fmla="*/ 116432 w 174184"/>
                <a:gd name="connsiteY2" fmla="*/ 123093 h 761268"/>
                <a:gd name="connsiteX3" fmla="*/ 102001 w 174184"/>
                <a:gd name="connsiteY3" fmla="*/ 761268 h 761268"/>
                <a:gd name="connsiteX4" fmla="*/ 210 w 174184"/>
                <a:gd name="connsiteY4" fmla="*/ 744600 h 761268"/>
                <a:gd name="connsiteX5" fmla="*/ 71045 w 174184"/>
                <a:gd name="connsiteY5" fmla="*/ 118332 h 761268"/>
                <a:gd name="connsiteX6" fmla="*/ 48121 w 174184"/>
                <a:gd name="connsiteY6" fmla="*/ 39004 h 761268"/>
                <a:gd name="connsiteX0" fmla="*/ 48121 w 174184"/>
                <a:gd name="connsiteY0" fmla="*/ 8489 h 807486"/>
                <a:gd name="connsiteX1" fmla="*/ 174184 w 174184"/>
                <a:gd name="connsiteY1" fmla="*/ 74951 h 807486"/>
                <a:gd name="connsiteX2" fmla="*/ 116432 w 174184"/>
                <a:gd name="connsiteY2" fmla="*/ 169311 h 807486"/>
                <a:gd name="connsiteX3" fmla="*/ 102001 w 174184"/>
                <a:gd name="connsiteY3" fmla="*/ 807486 h 807486"/>
                <a:gd name="connsiteX4" fmla="*/ 210 w 174184"/>
                <a:gd name="connsiteY4" fmla="*/ 790818 h 807486"/>
                <a:gd name="connsiteX5" fmla="*/ 71045 w 174184"/>
                <a:gd name="connsiteY5" fmla="*/ 164550 h 807486"/>
                <a:gd name="connsiteX6" fmla="*/ 48121 w 174184"/>
                <a:gd name="connsiteY6" fmla="*/ 8489 h 807486"/>
                <a:gd name="connsiteX0" fmla="*/ 48121 w 186972"/>
                <a:gd name="connsiteY0" fmla="*/ 17715 h 816712"/>
                <a:gd name="connsiteX1" fmla="*/ 186972 w 186972"/>
                <a:gd name="connsiteY1" fmla="*/ 45811 h 816712"/>
                <a:gd name="connsiteX2" fmla="*/ 116432 w 186972"/>
                <a:gd name="connsiteY2" fmla="*/ 178537 h 816712"/>
                <a:gd name="connsiteX3" fmla="*/ 102001 w 186972"/>
                <a:gd name="connsiteY3" fmla="*/ 816712 h 816712"/>
                <a:gd name="connsiteX4" fmla="*/ 210 w 186972"/>
                <a:gd name="connsiteY4" fmla="*/ 800044 h 816712"/>
                <a:gd name="connsiteX5" fmla="*/ 71045 w 186972"/>
                <a:gd name="connsiteY5" fmla="*/ 173776 h 816712"/>
                <a:gd name="connsiteX6" fmla="*/ 48121 w 186972"/>
                <a:gd name="connsiteY6" fmla="*/ 17715 h 816712"/>
                <a:gd name="connsiteX0" fmla="*/ 48121 w 186972"/>
                <a:gd name="connsiteY0" fmla="*/ 8175 h 807172"/>
                <a:gd name="connsiteX1" fmla="*/ 186972 w 186972"/>
                <a:gd name="connsiteY1" fmla="*/ 36271 h 807172"/>
                <a:gd name="connsiteX2" fmla="*/ 116432 w 186972"/>
                <a:gd name="connsiteY2" fmla="*/ 168997 h 807172"/>
                <a:gd name="connsiteX3" fmla="*/ 102001 w 186972"/>
                <a:gd name="connsiteY3" fmla="*/ 807172 h 807172"/>
                <a:gd name="connsiteX4" fmla="*/ 210 w 186972"/>
                <a:gd name="connsiteY4" fmla="*/ 790504 h 807172"/>
                <a:gd name="connsiteX5" fmla="*/ 71045 w 186972"/>
                <a:gd name="connsiteY5" fmla="*/ 164236 h 807172"/>
                <a:gd name="connsiteX6" fmla="*/ 48121 w 186972"/>
                <a:gd name="connsiteY6" fmla="*/ 8175 h 807172"/>
                <a:gd name="connsiteX0" fmla="*/ 48121 w 186972"/>
                <a:gd name="connsiteY0" fmla="*/ 0 h 798997"/>
                <a:gd name="connsiteX1" fmla="*/ 186972 w 186972"/>
                <a:gd name="connsiteY1" fmla="*/ 28096 h 798997"/>
                <a:gd name="connsiteX2" fmla="*/ 116432 w 186972"/>
                <a:gd name="connsiteY2" fmla="*/ 160822 h 798997"/>
                <a:gd name="connsiteX3" fmla="*/ 102001 w 186972"/>
                <a:gd name="connsiteY3" fmla="*/ 798997 h 798997"/>
                <a:gd name="connsiteX4" fmla="*/ 210 w 186972"/>
                <a:gd name="connsiteY4" fmla="*/ 782329 h 798997"/>
                <a:gd name="connsiteX5" fmla="*/ 71045 w 186972"/>
                <a:gd name="connsiteY5" fmla="*/ 156061 h 798997"/>
                <a:gd name="connsiteX6" fmla="*/ 48121 w 186972"/>
                <a:gd name="connsiteY6" fmla="*/ 0 h 798997"/>
                <a:gd name="connsiteX0" fmla="*/ 48121 w 183775"/>
                <a:gd name="connsiteY0" fmla="*/ 0 h 798997"/>
                <a:gd name="connsiteX1" fmla="*/ 183775 w 183775"/>
                <a:gd name="connsiteY1" fmla="*/ 15307 h 798997"/>
                <a:gd name="connsiteX2" fmla="*/ 116432 w 183775"/>
                <a:gd name="connsiteY2" fmla="*/ 160822 h 798997"/>
                <a:gd name="connsiteX3" fmla="*/ 102001 w 183775"/>
                <a:gd name="connsiteY3" fmla="*/ 798997 h 798997"/>
                <a:gd name="connsiteX4" fmla="*/ 210 w 183775"/>
                <a:gd name="connsiteY4" fmla="*/ 782329 h 798997"/>
                <a:gd name="connsiteX5" fmla="*/ 71045 w 183775"/>
                <a:gd name="connsiteY5" fmla="*/ 156061 h 798997"/>
                <a:gd name="connsiteX6" fmla="*/ 48121 w 183775"/>
                <a:gd name="connsiteY6" fmla="*/ 0 h 798997"/>
                <a:gd name="connsiteX0" fmla="*/ 48121 w 183775"/>
                <a:gd name="connsiteY0" fmla="*/ 0 h 798997"/>
                <a:gd name="connsiteX1" fmla="*/ 183775 w 183775"/>
                <a:gd name="connsiteY1" fmla="*/ 15307 h 798997"/>
                <a:gd name="connsiteX2" fmla="*/ 116432 w 183775"/>
                <a:gd name="connsiteY2" fmla="*/ 160822 h 798997"/>
                <a:gd name="connsiteX3" fmla="*/ 102001 w 183775"/>
                <a:gd name="connsiteY3" fmla="*/ 798997 h 798997"/>
                <a:gd name="connsiteX4" fmla="*/ 210 w 183775"/>
                <a:gd name="connsiteY4" fmla="*/ 782329 h 798997"/>
                <a:gd name="connsiteX5" fmla="*/ 71045 w 183775"/>
                <a:gd name="connsiteY5" fmla="*/ 156061 h 798997"/>
                <a:gd name="connsiteX6" fmla="*/ 48121 w 183775"/>
                <a:gd name="connsiteY6" fmla="*/ 0 h 798997"/>
                <a:gd name="connsiteX0" fmla="*/ 48121 w 183775"/>
                <a:gd name="connsiteY0" fmla="*/ 55232 h 854229"/>
                <a:gd name="connsiteX1" fmla="*/ 125205 w 183775"/>
                <a:gd name="connsiteY1" fmla="*/ 141 h 854229"/>
                <a:gd name="connsiteX2" fmla="*/ 183775 w 183775"/>
                <a:gd name="connsiteY2" fmla="*/ 70539 h 854229"/>
                <a:gd name="connsiteX3" fmla="*/ 116432 w 183775"/>
                <a:gd name="connsiteY3" fmla="*/ 216054 h 854229"/>
                <a:gd name="connsiteX4" fmla="*/ 102001 w 183775"/>
                <a:gd name="connsiteY4" fmla="*/ 854229 h 854229"/>
                <a:gd name="connsiteX5" fmla="*/ 210 w 183775"/>
                <a:gd name="connsiteY5" fmla="*/ 837561 h 854229"/>
                <a:gd name="connsiteX6" fmla="*/ 71045 w 183775"/>
                <a:gd name="connsiteY6" fmla="*/ 211293 h 854229"/>
                <a:gd name="connsiteX7" fmla="*/ 48121 w 183775"/>
                <a:gd name="connsiteY7" fmla="*/ 55232 h 854229"/>
                <a:gd name="connsiteX0" fmla="*/ 77959 w 213613"/>
                <a:gd name="connsiteY0" fmla="*/ 55232 h 962766"/>
                <a:gd name="connsiteX1" fmla="*/ 155043 w 213613"/>
                <a:gd name="connsiteY1" fmla="*/ 141 h 962766"/>
                <a:gd name="connsiteX2" fmla="*/ 213613 w 213613"/>
                <a:gd name="connsiteY2" fmla="*/ 70539 h 962766"/>
                <a:gd name="connsiteX3" fmla="*/ 146270 w 213613"/>
                <a:gd name="connsiteY3" fmla="*/ 216054 h 962766"/>
                <a:gd name="connsiteX4" fmla="*/ 131839 w 213613"/>
                <a:gd name="connsiteY4" fmla="*/ 854229 h 962766"/>
                <a:gd name="connsiteX5" fmla="*/ 0 w 213613"/>
                <a:gd name="connsiteY5" fmla="*/ 962766 h 962766"/>
                <a:gd name="connsiteX6" fmla="*/ 100883 w 213613"/>
                <a:gd name="connsiteY6" fmla="*/ 211293 h 962766"/>
                <a:gd name="connsiteX7" fmla="*/ 77959 w 213613"/>
                <a:gd name="connsiteY7" fmla="*/ 55232 h 962766"/>
                <a:gd name="connsiteX0" fmla="*/ 77959 w 213613"/>
                <a:gd name="connsiteY0" fmla="*/ 55232 h 962766"/>
                <a:gd name="connsiteX1" fmla="*/ 155043 w 213613"/>
                <a:gd name="connsiteY1" fmla="*/ 141 h 962766"/>
                <a:gd name="connsiteX2" fmla="*/ 213613 w 213613"/>
                <a:gd name="connsiteY2" fmla="*/ 70539 h 962766"/>
                <a:gd name="connsiteX3" fmla="*/ 146270 w 213613"/>
                <a:gd name="connsiteY3" fmla="*/ 216054 h 962766"/>
                <a:gd name="connsiteX4" fmla="*/ 121823 w 213613"/>
                <a:gd name="connsiteY4" fmla="*/ 939368 h 962766"/>
                <a:gd name="connsiteX5" fmla="*/ 0 w 213613"/>
                <a:gd name="connsiteY5" fmla="*/ 962766 h 962766"/>
                <a:gd name="connsiteX6" fmla="*/ 100883 w 213613"/>
                <a:gd name="connsiteY6" fmla="*/ 211293 h 962766"/>
                <a:gd name="connsiteX7" fmla="*/ 77959 w 213613"/>
                <a:gd name="connsiteY7" fmla="*/ 55232 h 962766"/>
                <a:gd name="connsiteX0" fmla="*/ 77959 w 213613"/>
                <a:gd name="connsiteY0" fmla="*/ 55232 h 1006796"/>
                <a:gd name="connsiteX1" fmla="*/ 155043 w 213613"/>
                <a:gd name="connsiteY1" fmla="*/ 141 h 1006796"/>
                <a:gd name="connsiteX2" fmla="*/ 213613 w 213613"/>
                <a:gd name="connsiteY2" fmla="*/ 70539 h 1006796"/>
                <a:gd name="connsiteX3" fmla="*/ 146270 w 213613"/>
                <a:gd name="connsiteY3" fmla="*/ 216054 h 1006796"/>
                <a:gd name="connsiteX4" fmla="*/ 121823 w 213613"/>
                <a:gd name="connsiteY4" fmla="*/ 939368 h 1006796"/>
                <a:gd name="connsiteX5" fmla="*/ 69904 w 213613"/>
                <a:gd name="connsiteY5" fmla="*/ 1006796 h 1006796"/>
                <a:gd name="connsiteX6" fmla="*/ 0 w 213613"/>
                <a:gd name="connsiteY6" fmla="*/ 962766 h 1006796"/>
                <a:gd name="connsiteX7" fmla="*/ 100883 w 213613"/>
                <a:gd name="connsiteY7" fmla="*/ 211293 h 1006796"/>
                <a:gd name="connsiteX8" fmla="*/ 77959 w 213613"/>
                <a:gd name="connsiteY8" fmla="*/ 55232 h 1006796"/>
                <a:gd name="connsiteX0" fmla="*/ 77959 w 213613"/>
                <a:gd name="connsiteY0" fmla="*/ 55232 h 1006796"/>
                <a:gd name="connsiteX1" fmla="*/ 155043 w 213613"/>
                <a:gd name="connsiteY1" fmla="*/ 141 h 1006796"/>
                <a:gd name="connsiteX2" fmla="*/ 213613 w 213613"/>
                <a:gd name="connsiteY2" fmla="*/ 70539 h 1006796"/>
                <a:gd name="connsiteX3" fmla="*/ 146270 w 213613"/>
                <a:gd name="connsiteY3" fmla="*/ 216054 h 1006796"/>
                <a:gd name="connsiteX4" fmla="*/ 126831 w 213613"/>
                <a:gd name="connsiteY4" fmla="*/ 959401 h 1006796"/>
                <a:gd name="connsiteX5" fmla="*/ 69904 w 213613"/>
                <a:gd name="connsiteY5" fmla="*/ 1006796 h 1006796"/>
                <a:gd name="connsiteX6" fmla="*/ 0 w 213613"/>
                <a:gd name="connsiteY6" fmla="*/ 962766 h 1006796"/>
                <a:gd name="connsiteX7" fmla="*/ 100883 w 213613"/>
                <a:gd name="connsiteY7" fmla="*/ 211293 h 1006796"/>
                <a:gd name="connsiteX8" fmla="*/ 77959 w 213613"/>
                <a:gd name="connsiteY8" fmla="*/ 55232 h 1006796"/>
                <a:gd name="connsiteX0" fmla="*/ 77959 w 213613"/>
                <a:gd name="connsiteY0" fmla="*/ 55232 h 1006796"/>
                <a:gd name="connsiteX1" fmla="*/ 155043 w 213613"/>
                <a:gd name="connsiteY1" fmla="*/ 141 h 1006796"/>
                <a:gd name="connsiteX2" fmla="*/ 213613 w 213613"/>
                <a:gd name="connsiteY2" fmla="*/ 70539 h 1006796"/>
                <a:gd name="connsiteX3" fmla="*/ 146270 w 213613"/>
                <a:gd name="connsiteY3" fmla="*/ 216054 h 1006796"/>
                <a:gd name="connsiteX4" fmla="*/ 126831 w 213613"/>
                <a:gd name="connsiteY4" fmla="*/ 959401 h 1006796"/>
                <a:gd name="connsiteX5" fmla="*/ 69904 w 213613"/>
                <a:gd name="connsiteY5" fmla="*/ 1006796 h 1006796"/>
                <a:gd name="connsiteX6" fmla="*/ 0 w 213613"/>
                <a:gd name="connsiteY6" fmla="*/ 962766 h 1006796"/>
                <a:gd name="connsiteX7" fmla="*/ 100883 w 213613"/>
                <a:gd name="connsiteY7" fmla="*/ 211293 h 1006796"/>
                <a:gd name="connsiteX8" fmla="*/ 77959 w 213613"/>
                <a:gd name="connsiteY8" fmla="*/ 55232 h 1006796"/>
                <a:gd name="connsiteX0" fmla="*/ 77959 w 213613"/>
                <a:gd name="connsiteY0" fmla="*/ 55232 h 1006796"/>
                <a:gd name="connsiteX1" fmla="*/ 155043 w 213613"/>
                <a:gd name="connsiteY1" fmla="*/ 141 h 1006796"/>
                <a:gd name="connsiteX2" fmla="*/ 213613 w 213613"/>
                <a:gd name="connsiteY2" fmla="*/ 70539 h 1006796"/>
                <a:gd name="connsiteX3" fmla="*/ 161294 w 213613"/>
                <a:gd name="connsiteY3" fmla="*/ 216055 h 1006796"/>
                <a:gd name="connsiteX4" fmla="*/ 126831 w 213613"/>
                <a:gd name="connsiteY4" fmla="*/ 959401 h 1006796"/>
                <a:gd name="connsiteX5" fmla="*/ 69904 w 213613"/>
                <a:gd name="connsiteY5" fmla="*/ 1006796 h 1006796"/>
                <a:gd name="connsiteX6" fmla="*/ 0 w 213613"/>
                <a:gd name="connsiteY6" fmla="*/ 962766 h 1006796"/>
                <a:gd name="connsiteX7" fmla="*/ 100883 w 213613"/>
                <a:gd name="connsiteY7" fmla="*/ 211293 h 1006796"/>
                <a:gd name="connsiteX8" fmla="*/ 77959 w 213613"/>
                <a:gd name="connsiteY8" fmla="*/ 55232 h 1006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613" h="1006796">
                  <a:moveTo>
                    <a:pt x="77959" y="55232"/>
                  </a:moveTo>
                  <a:cubicBezTo>
                    <a:pt x="84482" y="30057"/>
                    <a:pt x="132434" y="-2410"/>
                    <a:pt x="155043" y="141"/>
                  </a:cubicBezTo>
                  <a:cubicBezTo>
                    <a:pt x="177652" y="2692"/>
                    <a:pt x="212571" y="44570"/>
                    <a:pt x="213613" y="70539"/>
                  </a:cubicBezTo>
                  <a:cubicBezTo>
                    <a:pt x="193214" y="153452"/>
                    <a:pt x="168438" y="186733"/>
                    <a:pt x="161294" y="216055"/>
                  </a:cubicBezTo>
                  <a:cubicBezTo>
                    <a:pt x="234318" y="412905"/>
                    <a:pt x="119991" y="609431"/>
                    <a:pt x="126831" y="959401"/>
                  </a:cubicBezTo>
                  <a:cubicBezTo>
                    <a:pt x="102847" y="963513"/>
                    <a:pt x="93888" y="1002684"/>
                    <a:pt x="69904" y="1006796"/>
                  </a:cubicBezTo>
                  <a:lnTo>
                    <a:pt x="0" y="962766"/>
                  </a:lnTo>
                  <a:cubicBezTo>
                    <a:pt x="0" y="763535"/>
                    <a:pt x="22301" y="398618"/>
                    <a:pt x="100883" y="211293"/>
                  </a:cubicBezTo>
                  <a:cubicBezTo>
                    <a:pt x="77071" y="178003"/>
                    <a:pt x="82721" y="93285"/>
                    <a:pt x="77959" y="55232"/>
                  </a:cubicBezTo>
                  <a:close/>
                </a:path>
              </a:pathLst>
            </a:cu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a:solidFill>
                  <a:prstClr val="white"/>
                </a:solidFill>
                <a:latin typeface="Arial" panose="020B0604020202020204" pitchFamily="34" charset="0"/>
                <a:cs typeface="Arial" panose="020B0604020202020204" pitchFamily="34" charset="0"/>
              </a:endParaRPr>
            </a:p>
          </p:txBody>
        </p:sp>
        <p:sp>
          <p:nvSpPr>
            <p:cNvPr id="138" name="Rectangle 4096">
              <a:extLst>
                <a:ext uri="{FF2B5EF4-FFF2-40B4-BE49-F238E27FC236}">
                  <a16:creationId xmlns:a16="http://schemas.microsoft.com/office/drawing/2014/main" id="{01A623ED-9A09-C998-4282-A475CFA19EFA}"/>
                </a:ext>
              </a:extLst>
            </p:cNvPr>
            <p:cNvSpPr/>
            <p:nvPr/>
          </p:nvSpPr>
          <p:spPr>
            <a:xfrm>
              <a:off x="5738762" y="1725917"/>
              <a:ext cx="540595" cy="1592130"/>
            </a:xfrm>
            <a:custGeom>
              <a:avLst/>
              <a:gdLst>
                <a:gd name="connsiteX0" fmla="*/ 0 w 457200"/>
                <a:gd name="connsiteY0" fmla="*/ 0 h 990600"/>
                <a:gd name="connsiteX1" fmla="*/ 457200 w 457200"/>
                <a:gd name="connsiteY1" fmla="*/ 0 h 990600"/>
                <a:gd name="connsiteX2" fmla="*/ 457200 w 457200"/>
                <a:gd name="connsiteY2" fmla="*/ 990600 h 990600"/>
                <a:gd name="connsiteX3" fmla="*/ 0 w 457200"/>
                <a:gd name="connsiteY3" fmla="*/ 990600 h 990600"/>
                <a:gd name="connsiteX4" fmla="*/ 0 w 457200"/>
                <a:gd name="connsiteY4" fmla="*/ 0 h 990600"/>
                <a:gd name="connsiteX0" fmla="*/ 0 w 457200"/>
                <a:gd name="connsiteY0" fmla="*/ 104775 h 1095375"/>
                <a:gd name="connsiteX1" fmla="*/ 314325 w 457200"/>
                <a:gd name="connsiteY1" fmla="*/ 0 h 1095375"/>
                <a:gd name="connsiteX2" fmla="*/ 457200 w 457200"/>
                <a:gd name="connsiteY2" fmla="*/ 1095375 h 1095375"/>
                <a:gd name="connsiteX3" fmla="*/ 0 w 457200"/>
                <a:gd name="connsiteY3" fmla="*/ 1095375 h 1095375"/>
                <a:gd name="connsiteX4" fmla="*/ 0 w 457200"/>
                <a:gd name="connsiteY4" fmla="*/ 104775 h 1095375"/>
                <a:gd name="connsiteX0" fmla="*/ 0 w 488156"/>
                <a:gd name="connsiteY0" fmla="*/ 104775 h 1095375"/>
                <a:gd name="connsiteX1" fmla="*/ 314325 w 488156"/>
                <a:gd name="connsiteY1" fmla="*/ 0 h 1095375"/>
                <a:gd name="connsiteX2" fmla="*/ 488156 w 488156"/>
                <a:gd name="connsiteY2" fmla="*/ 111920 h 1095375"/>
                <a:gd name="connsiteX3" fmla="*/ 457200 w 488156"/>
                <a:gd name="connsiteY3" fmla="*/ 1095375 h 1095375"/>
                <a:gd name="connsiteX4" fmla="*/ 0 w 488156"/>
                <a:gd name="connsiteY4" fmla="*/ 1095375 h 1095375"/>
                <a:gd name="connsiteX5" fmla="*/ 0 w 488156"/>
                <a:gd name="connsiteY5" fmla="*/ 104775 h 1095375"/>
                <a:gd name="connsiteX0" fmla="*/ 42862 w 488156"/>
                <a:gd name="connsiteY0" fmla="*/ 109537 h 1095375"/>
                <a:gd name="connsiteX1" fmla="*/ 314325 w 488156"/>
                <a:gd name="connsiteY1" fmla="*/ 0 h 1095375"/>
                <a:gd name="connsiteX2" fmla="*/ 488156 w 488156"/>
                <a:gd name="connsiteY2" fmla="*/ 111920 h 1095375"/>
                <a:gd name="connsiteX3" fmla="*/ 457200 w 488156"/>
                <a:gd name="connsiteY3" fmla="*/ 1095375 h 1095375"/>
                <a:gd name="connsiteX4" fmla="*/ 0 w 488156"/>
                <a:gd name="connsiteY4" fmla="*/ 1095375 h 1095375"/>
                <a:gd name="connsiteX5" fmla="*/ 42862 w 488156"/>
                <a:gd name="connsiteY5" fmla="*/ 109537 h 1095375"/>
                <a:gd name="connsiteX0" fmla="*/ 42862 w 488156"/>
                <a:gd name="connsiteY0" fmla="*/ 109537 h 1095375"/>
                <a:gd name="connsiteX1" fmla="*/ 161925 w 488156"/>
                <a:gd name="connsiteY1" fmla="*/ 47626 h 1095375"/>
                <a:gd name="connsiteX2" fmla="*/ 314325 w 488156"/>
                <a:gd name="connsiteY2" fmla="*/ 0 h 1095375"/>
                <a:gd name="connsiteX3" fmla="*/ 488156 w 488156"/>
                <a:gd name="connsiteY3" fmla="*/ 111920 h 1095375"/>
                <a:gd name="connsiteX4" fmla="*/ 457200 w 488156"/>
                <a:gd name="connsiteY4" fmla="*/ 1095375 h 1095375"/>
                <a:gd name="connsiteX5" fmla="*/ 0 w 488156"/>
                <a:gd name="connsiteY5" fmla="*/ 1095375 h 1095375"/>
                <a:gd name="connsiteX6" fmla="*/ 42862 w 488156"/>
                <a:gd name="connsiteY6" fmla="*/ 109537 h 1095375"/>
                <a:gd name="connsiteX0" fmla="*/ 42862 w 488156"/>
                <a:gd name="connsiteY0" fmla="*/ 109537 h 1095375"/>
                <a:gd name="connsiteX1" fmla="*/ 161925 w 488156"/>
                <a:gd name="connsiteY1" fmla="*/ 47626 h 1095375"/>
                <a:gd name="connsiteX2" fmla="*/ 88106 w 488156"/>
                <a:gd name="connsiteY2" fmla="*/ 514351 h 1095375"/>
                <a:gd name="connsiteX3" fmla="*/ 314325 w 488156"/>
                <a:gd name="connsiteY3" fmla="*/ 0 h 1095375"/>
                <a:gd name="connsiteX4" fmla="*/ 488156 w 488156"/>
                <a:gd name="connsiteY4" fmla="*/ 111920 h 1095375"/>
                <a:gd name="connsiteX5" fmla="*/ 457200 w 488156"/>
                <a:gd name="connsiteY5" fmla="*/ 1095375 h 1095375"/>
                <a:gd name="connsiteX6" fmla="*/ 0 w 488156"/>
                <a:gd name="connsiteY6" fmla="*/ 1095375 h 1095375"/>
                <a:gd name="connsiteX7" fmla="*/ 42862 w 488156"/>
                <a:gd name="connsiteY7" fmla="*/ 109537 h 1095375"/>
                <a:gd name="connsiteX0" fmla="*/ 42862 w 488156"/>
                <a:gd name="connsiteY0" fmla="*/ 109537 h 1095375"/>
                <a:gd name="connsiteX1" fmla="*/ 161925 w 488156"/>
                <a:gd name="connsiteY1" fmla="*/ 47626 h 1095375"/>
                <a:gd name="connsiteX2" fmla="*/ 88106 w 488156"/>
                <a:gd name="connsiteY2" fmla="*/ 514351 h 1095375"/>
                <a:gd name="connsiteX3" fmla="*/ 71438 w 488156"/>
                <a:gd name="connsiteY3" fmla="*/ 557214 h 1095375"/>
                <a:gd name="connsiteX4" fmla="*/ 314325 w 488156"/>
                <a:gd name="connsiteY4" fmla="*/ 0 h 1095375"/>
                <a:gd name="connsiteX5" fmla="*/ 488156 w 488156"/>
                <a:gd name="connsiteY5" fmla="*/ 111920 h 1095375"/>
                <a:gd name="connsiteX6" fmla="*/ 457200 w 488156"/>
                <a:gd name="connsiteY6" fmla="*/ 1095375 h 1095375"/>
                <a:gd name="connsiteX7" fmla="*/ 0 w 488156"/>
                <a:gd name="connsiteY7" fmla="*/ 1095375 h 1095375"/>
                <a:gd name="connsiteX8" fmla="*/ 42862 w 488156"/>
                <a:gd name="connsiteY8" fmla="*/ 109537 h 1095375"/>
                <a:gd name="connsiteX0" fmla="*/ 42862 w 488156"/>
                <a:gd name="connsiteY0" fmla="*/ 109537 h 1095375"/>
                <a:gd name="connsiteX1" fmla="*/ 161925 w 488156"/>
                <a:gd name="connsiteY1" fmla="*/ 47626 h 1095375"/>
                <a:gd name="connsiteX2" fmla="*/ 88106 w 488156"/>
                <a:gd name="connsiteY2" fmla="*/ 514351 h 1095375"/>
                <a:gd name="connsiteX3" fmla="*/ 71438 w 488156"/>
                <a:gd name="connsiteY3" fmla="*/ 557214 h 1095375"/>
                <a:gd name="connsiteX4" fmla="*/ 366713 w 488156"/>
                <a:gd name="connsiteY4" fmla="*/ 581026 h 1095375"/>
                <a:gd name="connsiteX5" fmla="*/ 314325 w 488156"/>
                <a:gd name="connsiteY5" fmla="*/ 0 h 1095375"/>
                <a:gd name="connsiteX6" fmla="*/ 488156 w 488156"/>
                <a:gd name="connsiteY6" fmla="*/ 111920 h 1095375"/>
                <a:gd name="connsiteX7" fmla="*/ 457200 w 488156"/>
                <a:gd name="connsiteY7" fmla="*/ 1095375 h 1095375"/>
                <a:gd name="connsiteX8" fmla="*/ 0 w 488156"/>
                <a:gd name="connsiteY8" fmla="*/ 1095375 h 1095375"/>
                <a:gd name="connsiteX9" fmla="*/ 42862 w 488156"/>
                <a:gd name="connsiteY9" fmla="*/ 109537 h 1095375"/>
                <a:gd name="connsiteX0" fmla="*/ 42862 w 488156"/>
                <a:gd name="connsiteY0" fmla="*/ 109537 h 1095375"/>
                <a:gd name="connsiteX1" fmla="*/ 161925 w 488156"/>
                <a:gd name="connsiteY1" fmla="*/ 47626 h 1095375"/>
                <a:gd name="connsiteX2" fmla="*/ 88106 w 488156"/>
                <a:gd name="connsiteY2" fmla="*/ 514351 h 1095375"/>
                <a:gd name="connsiteX3" fmla="*/ 71438 w 488156"/>
                <a:gd name="connsiteY3" fmla="*/ 557214 h 1095375"/>
                <a:gd name="connsiteX4" fmla="*/ 366713 w 488156"/>
                <a:gd name="connsiteY4" fmla="*/ 581026 h 1095375"/>
                <a:gd name="connsiteX5" fmla="*/ 314325 w 488156"/>
                <a:gd name="connsiteY5" fmla="*/ 0 h 1095375"/>
                <a:gd name="connsiteX6" fmla="*/ 488156 w 488156"/>
                <a:gd name="connsiteY6" fmla="*/ 111920 h 1095375"/>
                <a:gd name="connsiteX7" fmla="*/ 457200 w 488156"/>
                <a:gd name="connsiteY7" fmla="*/ 1095375 h 1095375"/>
                <a:gd name="connsiteX8" fmla="*/ 0 w 488156"/>
                <a:gd name="connsiteY8" fmla="*/ 1095375 h 1095375"/>
                <a:gd name="connsiteX9" fmla="*/ 42862 w 488156"/>
                <a:gd name="connsiteY9" fmla="*/ 109537 h 1095375"/>
                <a:gd name="connsiteX0" fmla="*/ 42862 w 488156"/>
                <a:gd name="connsiteY0" fmla="*/ 109537 h 1095375"/>
                <a:gd name="connsiteX1" fmla="*/ 161925 w 488156"/>
                <a:gd name="connsiteY1" fmla="*/ 47626 h 1095375"/>
                <a:gd name="connsiteX2" fmla="*/ 88106 w 488156"/>
                <a:gd name="connsiteY2" fmla="*/ 514351 h 1095375"/>
                <a:gd name="connsiteX3" fmla="*/ 71438 w 488156"/>
                <a:gd name="connsiteY3" fmla="*/ 557214 h 1095375"/>
                <a:gd name="connsiteX4" fmla="*/ 366713 w 488156"/>
                <a:gd name="connsiteY4" fmla="*/ 581026 h 1095375"/>
                <a:gd name="connsiteX5" fmla="*/ 314325 w 488156"/>
                <a:gd name="connsiteY5" fmla="*/ 0 h 1095375"/>
                <a:gd name="connsiteX6" fmla="*/ 488156 w 488156"/>
                <a:gd name="connsiteY6" fmla="*/ 111920 h 1095375"/>
                <a:gd name="connsiteX7" fmla="*/ 457200 w 488156"/>
                <a:gd name="connsiteY7" fmla="*/ 1095375 h 1095375"/>
                <a:gd name="connsiteX8" fmla="*/ 0 w 488156"/>
                <a:gd name="connsiteY8" fmla="*/ 1095375 h 1095375"/>
                <a:gd name="connsiteX9" fmla="*/ 42862 w 488156"/>
                <a:gd name="connsiteY9" fmla="*/ 109537 h 1095375"/>
                <a:gd name="connsiteX0" fmla="*/ 42862 w 488156"/>
                <a:gd name="connsiteY0" fmla="*/ 109537 h 1095375"/>
                <a:gd name="connsiteX1" fmla="*/ 161925 w 488156"/>
                <a:gd name="connsiteY1" fmla="*/ 47626 h 1095375"/>
                <a:gd name="connsiteX2" fmla="*/ 88106 w 488156"/>
                <a:gd name="connsiteY2" fmla="*/ 514351 h 1095375"/>
                <a:gd name="connsiteX3" fmla="*/ 71438 w 488156"/>
                <a:gd name="connsiteY3" fmla="*/ 557214 h 1095375"/>
                <a:gd name="connsiteX4" fmla="*/ 366713 w 488156"/>
                <a:gd name="connsiteY4" fmla="*/ 581026 h 1095375"/>
                <a:gd name="connsiteX5" fmla="*/ 314325 w 488156"/>
                <a:gd name="connsiteY5" fmla="*/ 0 h 1095375"/>
                <a:gd name="connsiteX6" fmla="*/ 488156 w 488156"/>
                <a:gd name="connsiteY6" fmla="*/ 111920 h 1095375"/>
                <a:gd name="connsiteX7" fmla="*/ 457200 w 488156"/>
                <a:gd name="connsiteY7" fmla="*/ 1095375 h 1095375"/>
                <a:gd name="connsiteX8" fmla="*/ 0 w 488156"/>
                <a:gd name="connsiteY8" fmla="*/ 1095375 h 1095375"/>
                <a:gd name="connsiteX9" fmla="*/ 42862 w 488156"/>
                <a:gd name="connsiteY9" fmla="*/ 109537 h 1095375"/>
                <a:gd name="connsiteX0" fmla="*/ 42862 w 488156"/>
                <a:gd name="connsiteY0" fmla="*/ 109537 h 1095375"/>
                <a:gd name="connsiteX1" fmla="*/ 161925 w 488156"/>
                <a:gd name="connsiteY1" fmla="*/ 47626 h 1095375"/>
                <a:gd name="connsiteX2" fmla="*/ 88106 w 488156"/>
                <a:gd name="connsiteY2" fmla="*/ 514351 h 1095375"/>
                <a:gd name="connsiteX3" fmla="*/ 71438 w 488156"/>
                <a:gd name="connsiteY3" fmla="*/ 557214 h 1095375"/>
                <a:gd name="connsiteX4" fmla="*/ 366713 w 488156"/>
                <a:gd name="connsiteY4" fmla="*/ 581026 h 1095375"/>
                <a:gd name="connsiteX5" fmla="*/ 314325 w 488156"/>
                <a:gd name="connsiteY5" fmla="*/ 0 h 1095375"/>
                <a:gd name="connsiteX6" fmla="*/ 488156 w 488156"/>
                <a:gd name="connsiteY6" fmla="*/ 111920 h 1095375"/>
                <a:gd name="connsiteX7" fmla="*/ 457200 w 488156"/>
                <a:gd name="connsiteY7" fmla="*/ 1095375 h 1095375"/>
                <a:gd name="connsiteX8" fmla="*/ 0 w 488156"/>
                <a:gd name="connsiteY8" fmla="*/ 1095375 h 1095375"/>
                <a:gd name="connsiteX9" fmla="*/ 42862 w 488156"/>
                <a:gd name="connsiteY9" fmla="*/ 109537 h 1095375"/>
                <a:gd name="connsiteX0" fmla="*/ 42862 w 488156"/>
                <a:gd name="connsiteY0" fmla="*/ 109537 h 1095375"/>
                <a:gd name="connsiteX1" fmla="*/ 161925 w 488156"/>
                <a:gd name="connsiteY1" fmla="*/ 47626 h 1095375"/>
                <a:gd name="connsiteX2" fmla="*/ 88106 w 488156"/>
                <a:gd name="connsiteY2" fmla="*/ 514351 h 1095375"/>
                <a:gd name="connsiteX3" fmla="*/ 71438 w 488156"/>
                <a:gd name="connsiteY3" fmla="*/ 557214 h 1095375"/>
                <a:gd name="connsiteX4" fmla="*/ 366713 w 488156"/>
                <a:gd name="connsiteY4" fmla="*/ 581026 h 1095375"/>
                <a:gd name="connsiteX5" fmla="*/ 314325 w 488156"/>
                <a:gd name="connsiteY5" fmla="*/ 0 h 1095375"/>
                <a:gd name="connsiteX6" fmla="*/ 488156 w 488156"/>
                <a:gd name="connsiteY6" fmla="*/ 111920 h 1095375"/>
                <a:gd name="connsiteX7" fmla="*/ 457200 w 488156"/>
                <a:gd name="connsiteY7" fmla="*/ 1095375 h 1095375"/>
                <a:gd name="connsiteX8" fmla="*/ 0 w 488156"/>
                <a:gd name="connsiteY8" fmla="*/ 1095375 h 1095375"/>
                <a:gd name="connsiteX9" fmla="*/ 42862 w 488156"/>
                <a:gd name="connsiteY9" fmla="*/ 109537 h 1095375"/>
                <a:gd name="connsiteX0" fmla="*/ 42862 w 488156"/>
                <a:gd name="connsiteY0" fmla="*/ 109537 h 1095375"/>
                <a:gd name="connsiteX1" fmla="*/ 161925 w 488156"/>
                <a:gd name="connsiteY1" fmla="*/ 47626 h 1095375"/>
                <a:gd name="connsiteX2" fmla="*/ 88106 w 488156"/>
                <a:gd name="connsiteY2" fmla="*/ 514351 h 1095375"/>
                <a:gd name="connsiteX3" fmla="*/ 71438 w 488156"/>
                <a:gd name="connsiteY3" fmla="*/ 557214 h 1095375"/>
                <a:gd name="connsiteX4" fmla="*/ 366713 w 488156"/>
                <a:gd name="connsiteY4" fmla="*/ 581026 h 1095375"/>
                <a:gd name="connsiteX5" fmla="*/ 314325 w 488156"/>
                <a:gd name="connsiteY5" fmla="*/ 0 h 1095375"/>
                <a:gd name="connsiteX6" fmla="*/ 488156 w 488156"/>
                <a:gd name="connsiteY6" fmla="*/ 111920 h 1095375"/>
                <a:gd name="connsiteX7" fmla="*/ 457200 w 488156"/>
                <a:gd name="connsiteY7" fmla="*/ 1095375 h 1095375"/>
                <a:gd name="connsiteX8" fmla="*/ 0 w 488156"/>
                <a:gd name="connsiteY8" fmla="*/ 1095375 h 1095375"/>
                <a:gd name="connsiteX9" fmla="*/ 42862 w 488156"/>
                <a:gd name="connsiteY9" fmla="*/ 109537 h 1095375"/>
                <a:gd name="connsiteX0" fmla="*/ 42862 w 488156"/>
                <a:gd name="connsiteY0" fmla="*/ 109537 h 1095375"/>
                <a:gd name="connsiteX1" fmla="*/ 161925 w 488156"/>
                <a:gd name="connsiteY1" fmla="*/ 47626 h 1095375"/>
                <a:gd name="connsiteX2" fmla="*/ 88106 w 488156"/>
                <a:gd name="connsiteY2" fmla="*/ 514351 h 1095375"/>
                <a:gd name="connsiteX3" fmla="*/ 71438 w 488156"/>
                <a:gd name="connsiteY3" fmla="*/ 557214 h 1095375"/>
                <a:gd name="connsiteX4" fmla="*/ 366713 w 488156"/>
                <a:gd name="connsiteY4" fmla="*/ 581026 h 1095375"/>
                <a:gd name="connsiteX5" fmla="*/ 314325 w 488156"/>
                <a:gd name="connsiteY5" fmla="*/ 0 h 1095375"/>
                <a:gd name="connsiteX6" fmla="*/ 488156 w 488156"/>
                <a:gd name="connsiteY6" fmla="*/ 111920 h 1095375"/>
                <a:gd name="connsiteX7" fmla="*/ 457200 w 488156"/>
                <a:gd name="connsiteY7" fmla="*/ 1095375 h 1095375"/>
                <a:gd name="connsiteX8" fmla="*/ 0 w 488156"/>
                <a:gd name="connsiteY8" fmla="*/ 1095375 h 1095375"/>
                <a:gd name="connsiteX9" fmla="*/ 42862 w 488156"/>
                <a:gd name="connsiteY9" fmla="*/ 109537 h 1095375"/>
                <a:gd name="connsiteX0" fmla="*/ 42862 w 488156"/>
                <a:gd name="connsiteY0" fmla="*/ 109537 h 1095375"/>
                <a:gd name="connsiteX1" fmla="*/ 161925 w 488156"/>
                <a:gd name="connsiteY1" fmla="*/ 47626 h 1095375"/>
                <a:gd name="connsiteX2" fmla="*/ 88106 w 488156"/>
                <a:gd name="connsiteY2" fmla="*/ 514351 h 1095375"/>
                <a:gd name="connsiteX3" fmla="*/ 78582 w 488156"/>
                <a:gd name="connsiteY3" fmla="*/ 554833 h 1095375"/>
                <a:gd name="connsiteX4" fmla="*/ 366713 w 488156"/>
                <a:gd name="connsiteY4" fmla="*/ 581026 h 1095375"/>
                <a:gd name="connsiteX5" fmla="*/ 314325 w 488156"/>
                <a:gd name="connsiteY5" fmla="*/ 0 h 1095375"/>
                <a:gd name="connsiteX6" fmla="*/ 488156 w 488156"/>
                <a:gd name="connsiteY6" fmla="*/ 111920 h 1095375"/>
                <a:gd name="connsiteX7" fmla="*/ 457200 w 488156"/>
                <a:gd name="connsiteY7" fmla="*/ 1095375 h 1095375"/>
                <a:gd name="connsiteX8" fmla="*/ 0 w 488156"/>
                <a:gd name="connsiteY8" fmla="*/ 1095375 h 1095375"/>
                <a:gd name="connsiteX9" fmla="*/ 42862 w 488156"/>
                <a:gd name="connsiteY9" fmla="*/ 109537 h 1095375"/>
                <a:gd name="connsiteX0" fmla="*/ 42862 w 488156"/>
                <a:gd name="connsiteY0" fmla="*/ 109537 h 1095375"/>
                <a:gd name="connsiteX1" fmla="*/ 169069 w 488156"/>
                <a:gd name="connsiteY1" fmla="*/ 52388 h 1095375"/>
                <a:gd name="connsiteX2" fmla="*/ 88106 w 488156"/>
                <a:gd name="connsiteY2" fmla="*/ 514351 h 1095375"/>
                <a:gd name="connsiteX3" fmla="*/ 78582 w 488156"/>
                <a:gd name="connsiteY3" fmla="*/ 554833 h 1095375"/>
                <a:gd name="connsiteX4" fmla="*/ 366713 w 488156"/>
                <a:gd name="connsiteY4" fmla="*/ 581026 h 1095375"/>
                <a:gd name="connsiteX5" fmla="*/ 314325 w 488156"/>
                <a:gd name="connsiteY5" fmla="*/ 0 h 1095375"/>
                <a:gd name="connsiteX6" fmla="*/ 488156 w 488156"/>
                <a:gd name="connsiteY6" fmla="*/ 111920 h 1095375"/>
                <a:gd name="connsiteX7" fmla="*/ 457200 w 488156"/>
                <a:gd name="connsiteY7" fmla="*/ 1095375 h 1095375"/>
                <a:gd name="connsiteX8" fmla="*/ 0 w 488156"/>
                <a:gd name="connsiteY8" fmla="*/ 1095375 h 1095375"/>
                <a:gd name="connsiteX9" fmla="*/ 42862 w 488156"/>
                <a:gd name="connsiteY9" fmla="*/ 109537 h 1095375"/>
                <a:gd name="connsiteX0" fmla="*/ 42862 w 488156"/>
                <a:gd name="connsiteY0" fmla="*/ 109537 h 1095375"/>
                <a:gd name="connsiteX1" fmla="*/ 169069 w 488156"/>
                <a:gd name="connsiteY1" fmla="*/ 52388 h 1095375"/>
                <a:gd name="connsiteX2" fmla="*/ 88106 w 488156"/>
                <a:gd name="connsiteY2" fmla="*/ 514351 h 1095375"/>
                <a:gd name="connsiteX3" fmla="*/ 78582 w 488156"/>
                <a:gd name="connsiteY3" fmla="*/ 554833 h 1095375"/>
                <a:gd name="connsiteX4" fmla="*/ 366713 w 488156"/>
                <a:gd name="connsiteY4" fmla="*/ 581026 h 1095375"/>
                <a:gd name="connsiteX5" fmla="*/ 314325 w 488156"/>
                <a:gd name="connsiteY5" fmla="*/ 0 h 1095375"/>
                <a:gd name="connsiteX6" fmla="*/ 488156 w 488156"/>
                <a:gd name="connsiteY6" fmla="*/ 111920 h 1095375"/>
                <a:gd name="connsiteX7" fmla="*/ 457200 w 488156"/>
                <a:gd name="connsiteY7" fmla="*/ 1095375 h 1095375"/>
                <a:gd name="connsiteX8" fmla="*/ 0 w 488156"/>
                <a:gd name="connsiteY8" fmla="*/ 1095375 h 1095375"/>
                <a:gd name="connsiteX9" fmla="*/ 42862 w 488156"/>
                <a:gd name="connsiteY9" fmla="*/ 109537 h 1095375"/>
                <a:gd name="connsiteX0" fmla="*/ 42862 w 488156"/>
                <a:gd name="connsiteY0" fmla="*/ 107155 h 1092993"/>
                <a:gd name="connsiteX1" fmla="*/ 169069 w 488156"/>
                <a:gd name="connsiteY1" fmla="*/ 50006 h 1092993"/>
                <a:gd name="connsiteX2" fmla="*/ 88106 w 488156"/>
                <a:gd name="connsiteY2" fmla="*/ 511969 h 1092993"/>
                <a:gd name="connsiteX3" fmla="*/ 78582 w 488156"/>
                <a:gd name="connsiteY3" fmla="*/ 552451 h 1092993"/>
                <a:gd name="connsiteX4" fmla="*/ 366713 w 488156"/>
                <a:gd name="connsiteY4" fmla="*/ 578644 h 1092993"/>
                <a:gd name="connsiteX5" fmla="*/ 307181 w 488156"/>
                <a:gd name="connsiteY5" fmla="*/ 0 h 1092993"/>
                <a:gd name="connsiteX6" fmla="*/ 488156 w 488156"/>
                <a:gd name="connsiteY6" fmla="*/ 109538 h 1092993"/>
                <a:gd name="connsiteX7" fmla="*/ 457200 w 488156"/>
                <a:gd name="connsiteY7" fmla="*/ 1092993 h 1092993"/>
                <a:gd name="connsiteX8" fmla="*/ 0 w 488156"/>
                <a:gd name="connsiteY8" fmla="*/ 1092993 h 1092993"/>
                <a:gd name="connsiteX9" fmla="*/ 42862 w 488156"/>
                <a:gd name="connsiteY9" fmla="*/ 107155 h 1092993"/>
                <a:gd name="connsiteX0" fmla="*/ 42862 w 488156"/>
                <a:gd name="connsiteY0" fmla="*/ 107155 h 1092993"/>
                <a:gd name="connsiteX1" fmla="*/ 169069 w 488156"/>
                <a:gd name="connsiteY1" fmla="*/ 50006 h 1092993"/>
                <a:gd name="connsiteX2" fmla="*/ 88106 w 488156"/>
                <a:gd name="connsiteY2" fmla="*/ 511969 h 1092993"/>
                <a:gd name="connsiteX3" fmla="*/ 78582 w 488156"/>
                <a:gd name="connsiteY3" fmla="*/ 552451 h 1092993"/>
                <a:gd name="connsiteX4" fmla="*/ 366713 w 488156"/>
                <a:gd name="connsiteY4" fmla="*/ 578644 h 1092993"/>
                <a:gd name="connsiteX5" fmla="*/ 307181 w 488156"/>
                <a:gd name="connsiteY5" fmla="*/ 0 h 1092993"/>
                <a:gd name="connsiteX6" fmla="*/ 488156 w 488156"/>
                <a:gd name="connsiteY6" fmla="*/ 109538 h 1092993"/>
                <a:gd name="connsiteX7" fmla="*/ 457200 w 488156"/>
                <a:gd name="connsiteY7" fmla="*/ 1092993 h 1092993"/>
                <a:gd name="connsiteX8" fmla="*/ 0 w 488156"/>
                <a:gd name="connsiteY8" fmla="*/ 1092993 h 1092993"/>
                <a:gd name="connsiteX9" fmla="*/ 42862 w 488156"/>
                <a:gd name="connsiteY9" fmla="*/ 107155 h 1092993"/>
                <a:gd name="connsiteX0" fmla="*/ 42862 w 488156"/>
                <a:gd name="connsiteY0" fmla="*/ 107155 h 1092993"/>
                <a:gd name="connsiteX1" fmla="*/ 169069 w 488156"/>
                <a:gd name="connsiteY1" fmla="*/ 50006 h 1092993"/>
                <a:gd name="connsiteX2" fmla="*/ 88106 w 488156"/>
                <a:gd name="connsiteY2" fmla="*/ 511969 h 1092993"/>
                <a:gd name="connsiteX3" fmla="*/ 78582 w 488156"/>
                <a:gd name="connsiteY3" fmla="*/ 552451 h 1092993"/>
                <a:gd name="connsiteX4" fmla="*/ 366713 w 488156"/>
                <a:gd name="connsiteY4" fmla="*/ 578644 h 1092993"/>
                <a:gd name="connsiteX5" fmla="*/ 307181 w 488156"/>
                <a:gd name="connsiteY5" fmla="*/ 0 h 1092993"/>
                <a:gd name="connsiteX6" fmla="*/ 488156 w 488156"/>
                <a:gd name="connsiteY6" fmla="*/ 109538 h 1092993"/>
                <a:gd name="connsiteX7" fmla="*/ 457200 w 488156"/>
                <a:gd name="connsiteY7" fmla="*/ 1092993 h 1092993"/>
                <a:gd name="connsiteX8" fmla="*/ 0 w 488156"/>
                <a:gd name="connsiteY8" fmla="*/ 1092993 h 1092993"/>
                <a:gd name="connsiteX9" fmla="*/ 42862 w 488156"/>
                <a:gd name="connsiteY9" fmla="*/ 107155 h 1092993"/>
                <a:gd name="connsiteX0" fmla="*/ 42862 w 488156"/>
                <a:gd name="connsiteY0" fmla="*/ 107155 h 1092993"/>
                <a:gd name="connsiteX1" fmla="*/ 169069 w 488156"/>
                <a:gd name="connsiteY1" fmla="*/ 50006 h 1092993"/>
                <a:gd name="connsiteX2" fmla="*/ 88106 w 488156"/>
                <a:gd name="connsiteY2" fmla="*/ 511969 h 1092993"/>
                <a:gd name="connsiteX3" fmla="*/ 78582 w 488156"/>
                <a:gd name="connsiteY3" fmla="*/ 552451 h 1092993"/>
                <a:gd name="connsiteX4" fmla="*/ 366713 w 488156"/>
                <a:gd name="connsiteY4" fmla="*/ 578644 h 1092993"/>
                <a:gd name="connsiteX5" fmla="*/ 307181 w 488156"/>
                <a:gd name="connsiteY5" fmla="*/ 0 h 1092993"/>
                <a:gd name="connsiteX6" fmla="*/ 488156 w 488156"/>
                <a:gd name="connsiteY6" fmla="*/ 109538 h 1092993"/>
                <a:gd name="connsiteX7" fmla="*/ 457200 w 488156"/>
                <a:gd name="connsiteY7" fmla="*/ 1092993 h 1092993"/>
                <a:gd name="connsiteX8" fmla="*/ 0 w 488156"/>
                <a:gd name="connsiteY8" fmla="*/ 1092993 h 1092993"/>
                <a:gd name="connsiteX9" fmla="*/ 42862 w 488156"/>
                <a:gd name="connsiteY9" fmla="*/ 107155 h 1092993"/>
                <a:gd name="connsiteX0" fmla="*/ 42862 w 488156"/>
                <a:gd name="connsiteY0" fmla="*/ 107155 h 1092993"/>
                <a:gd name="connsiteX1" fmla="*/ 169069 w 488156"/>
                <a:gd name="connsiteY1" fmla="*/ 50006 h 1092993"/>
                <a:gd name="connsiteX2" fmla="*/ 88106 w 488156"/>
                <a:gd name="connsiteY2" fmla="*/ 511969 h 1092993"/>
                <a:gd name="connsiteX3" fmla="*/ 78582 w 488156"/>
                <a:gd name="connsiteY3" fmla="*/ 552451 h 1092993"/>
                <a:gd name="connsiteX4" fmla="*/ 366713 w 488156"/>
                <a:gd name="connsiteY4" fmla="*/ 578644 h 1092993"/>
                <a:gd name="connsiteX5" fmla="*/ 307181 w 488156"/>
                <a:gd name="connsiteY5" fmla="*/ 0 h 1092993"/>
                <a:gd name="connsiteX6" fmla="*/ 488156 w 488156"/>
                <a:gd name="connsiteY6" fmla="*/ 109538 h 1092993"/>
                <a:gd name="connsiteX7" fmla="*/ 457200 w 488156"/>
                <a:gd name="connsiteY7" fmla="*/ 1092993 h 1092993"/>
                <a:gd name="connsiteX8" fmla="*/ 0 w 488156"/>
                <a:gd name="connsiteY8" fmla="*/ 1092993 h 1092993"/>
                <a:gd name="connsiteX9" fmla="*/ 42862 w 488156"/>
                <a:gd name="connsiteY9" fmla="*/ 107155 h 1092993"/>
                <a:gd name="connsiteX0" fmla="*/ 42862 w 488156"/>
                <a:gd name="connsiteY0" fmla="*/ 107155 h 1092993"/>
                <a:gd name="connsiteX1" fmla="*/ 169069 w 488156"/>
                <a:gd name="connsiteY1" fmla="*/ 50006 h 1092993"/>
                <a:gd name="connsiteX2" fmla="*/ 88106 w 488156"/>
                <a:gd name="connsiteY2" fmla="*/ 511969 h 1092993"/>
                <a:gd name="connsiteX3" fmla="*/ 78582 w 488156"/>
                <a:gd name="connsiteY3" fmla="*/ 552451 h 1092993"/>
                <a:gd name="connsiteX4" fmla="*/ 366713 w 488156"/>
                <a:gd name="connsiteY4" fmla="*/ 578644 h 1092993"/>
                <a:gd name="connsiteX5" fmla="*/ 307181 w 488156"/>
                <a:gd name="connsiteY5" fmla="*/ 0 h 1092993"/>
                <a:gd name="connsiteX6" fmla="*/ 488156 w 488156"/>
                <a:gd name="connsiteY6" fmla="*/ 109538 h 1092993"/>
                <a:gd name="connsiteX7" fmla="*/ 457200 w 488156"/>
                <a:gd name="connsiteY7" fmla="*/ 1092993 h 1092993"/>
                <a:gd name="connsiteX8" fmla="*/ 0 w 488156"/>
                <a:gd name="connsiteY8" fmla="*/ 1092993 h 1092993"/>
                <a:gd name="connsiteX9" fmla="*/ 42862 w 488156"/>
                <a:gd name="connsiteY9" fmla="*/ 107155 h 1092993"/>
                <a:gd name="connsiteX0" fmla="*/ 42862 w 488156"/>
                <a:gd name="connsiteY0" fmla="*/ 107155 h 1092993"/>
                <a:gd name="connsiteX1" fmla="*/ 169069 w 488156"/>
                <a:gd name="connsiteY1" fmla="*/ 50006 h 1092993"/>
                <a:gd name="connsiteX2" fmla="*/ 88106 w 488156"/>
                <a:gd name="connsiteY2" fmla="*/ 511969 h 1092993"/>
                <a:gd name="connsiteX3" fmla="*/ 78582 w 488156"/>
                <a:gd name="connsiteY3" fmla="*/ 552451 h 1092993"/>
                <a:gd name="connsiteX4" fmla="*/ 366713 w 488156"/>
                <a:gd name="connsiteY4" fmla="*/ 578644 h 1092993"/>
                <a:gd name="connsiteX5" fmla="*/ 307181 w 488156"/>
                <a:gd name="connsiteY5" fmla="*/ 0 h 1092993"/>
                <a:gd name="connsiteX6" fmla="*/ 488156 w 488156"/>
                <a:gd name="connsiteY6" fmla="*/ 109538 h 1092993"/>
                <a:gd name="connsiteX7" fmla="*/ 457200 w 488156"/>
                <a:gd name="connsiteY7" fmla="*/ 1092993 h 1092993"/>
                <a:gd name="connsiteX8" fmla="*/ 0 w 488156"/>
                <a:gd name="connsiteY8" fmla="*/ 1092993 h 1092993"/>
                <a:gd name="connsiteX9" fmla="*/ 42862 w 488156"/>
                <a:gd name="connsiteY9" fmla="*/ 107155 h 1092993"/>
                <a:gd name="connsiteX0" fmla="*/ 42862 w 564547"/>
                <a:gd name="connsiteY0" fmla="*/ 107155 h 1092993"/>
                <a:gd name="connsiteX1" fmla="*/ 169069 w 564547"/>
                <a:gd name="connsiteY1" fmla="*/ 50006 h 1092993"/>
                <a:gd name="connsiteX2" fmla="*/ 88106 w 564547"/>
                <a:gd name="connsiteY2" fmla="*/ 511969 h 1092993"/>
                <a:gd name="connsiteX3" fmla="*/ 78582 w 564547"/>
                <a:gd name="connsiteY3" fmla="*/ 552451 h 1092993"/>
                <a:gd name="connsiteX4" fmla="*/ 366713 w 564547"/>
                <a:gd name="connsiteY4" fmla="*/ 578644 h 1092993"/>
                <a:gd name="connsiteX5" fmla="*/ 307181 w 564547"/>
                <a:gd name="connsiteY5" fmla="*/ 0 h 1092993"/>
                <a:gd name="connsiteX6" fmla="*/ 488156 w 564547"/>
                <a:gd name="connsiteY6" fmla="*/ 109538 h 1092993"/>
                <a:gd name="connsiteX7" fmla="*/ 564356 w 564547"/>
                <a:gd name="connsiteY7" fmla="*/ 426244 h 1092993"/>
                <a:gd name="connsiteX8" fmla="*/ 457200 w 564547"/>
                <a:gd name="connsiteY8" fmla="*/ 1092993 h 1092993"/>
                <a:gd name="connsiteX9" fmla="*/ 0 w 564547"/>
                <a:gd name="connsiteY9" fmla="*/ 1092993 h 1092993"/>
                <a:gd name="connsiteX10" fmla="*/ 42862 w 564547"/>
                <a:gd name="connsiteY10" fmla="*/ 107155 h 1092993"/>
                <a:gd name="connsiteX0" fmla="*/ 42862 w 564590"/>
                <a:gd name="connsiteY0" fmla="*/ 107155 h 1092993"/>
                <a:gd name="connsiteX1" fmla="*/ 169069 w 564590"/>
                <a:gd name="connsiteY1" fmla="*/ 50006 h 1092993"/>
                <a:gd name="connsiteX2" fmla="*/ 88106 w 564590"/>
                <a:gd name="connsiteY2" fmla="*/ 511969 h 1092993"/>
                <a:gd name="connsiteX3" fmla="*/ 78582 w 564590"/>
                <a:gd name="connsiteY3" fmla="*/ 552451 h 1092993"/>
                <a:gd name="connsiteX4" fmla="*/ 366713 w 564590"/>
                <a:gd name="connsiteY4" fmla="*/ 578644 h 1092993"/>
                <a:gd name="connsiteX5" fmla="*/ 307181 w 564590"/>
                <a:gd name="connsiteY5" fmla="*/ 0 h 1092993"/>
                <a:gd name="connsiteX6" fmla="*/ 488156 w 564590"/>
                <a:gd name="connsiteY6" fmla="*/ 109538 h 1092993"/>
                <a:gd name="connsiteX7" fmla="*/ 564356 w 564590"/>
                <a:gd name="connsiteY7" fmla="*/ 426244 h 1092993"/>
                <a:gd name="connsiteX8" fmla="*/ 457200 w 564590"/>
                <a:gd name="connsiteY8" fmla="*/ 1092993 h 1092993"/>
                <a:gd name="connsiteX9" fmla="*/ 0 w 564590"/>
                <a:gd name="connsiteY9" fmla="*/ 1092993 h 1092993"/>
                <a:gd name="connsiteX10" fmla="*/ 42862 w 564590"/>
                <a:gd name="connsiteY10" fmla="*/ 107155 h 1092993"/>
                <a:gd name="connsiteX0" fmla="*/ 42862 w 564356"/>
                <a:gd name="connsiteY0" fmla="*/ 107155 h 1092993"/>
                <a:gd name="connsiteX1" fmla="*/ 169069 w 564356"/>
                <a:gd name="connsiteY1" fmla="*/ 50006 h 1092993"/>
                <a:gd name="connsiteX2" fmla="*/ 88106 w 564356"/>
                <a:gd name="connsiteY2" fmla="*/ 511969 h 1092993"/>
                <a:gd name="connsiteX3" fmla="*/ 78582 w 564356"/>
                <a:gd name="connsiteY3" fmla="*/ 552451 h 1092993"/>
                <a:gd name="connsiteX4" fmla="*/ 366713 w 564356"/>
                <a:gd name="connsiteY4" fmla="*/ 578644 h 1092993"/>
                <a:gd name="connsiteX5" fmla="*/ 307181 w 564356"/>
                <a:gd name="connsiteY5" fmla="*/ 0 h 1092993"/>
                <a:gd name="connsiteX6" fmla="*/ 488156 w 564356"/>
                <a:gd name="connsiteY6" fmla="*/ 109538 h 1092993"/>
                <a:gd name="connsiteX7" fmla="*/ 564356 w 564356"/>
                <a:gd name="connsiteY7" fmla="*/ 426244 h 1092993"/>
                <a:gd name="connsiteX8" fmla="*/ 457200 w 564356"/>
                <a:gd name="connsiteY8" fmla="*/ 1092993 h 1092993"/>
                <a:gd name="connsiteX9" fmla="*/ 0 w 564356"/>
                <a:gd name="connsiteY9" fmla="*/ 1092993 h 1092993"/>
                <a:gd name="connsiteX10" fmla="*/ 42862 w 564356"/>
                <a:gd name="connsiteY10" fmla="*/ 107155 h 1092993"/>
                <a:gd name="connsiteX0" fmla="*/ 42862 w 564356"/>
                <a:gd name="connsiteY0" fmla="*/ 107155 h 1092993"/>
                <a:gd name="connsiteX1" fmla="*/ 169069 w 564356"/>
                <a:gd name="connsiteY1" fmla="*/ 50006 h 1092993"/>
                <a:gd name="connsiteX2" fmla="*/ 88106 w 564356"/>
                <a:gd name="connsiteY2" fmla="*/ 511969 h 1092993"/>
                <a:gd name="connsiteX3" fmla="*/ 78582 w 564356"/>
                <a:gd name="connsiteY3" fmla="*/ 552451 h 1092993"/>
                <a:gd name="connsiteX4" fmla="*/ 366713 w 564356"/>
                <a:gd name="connsiteY4" fmla="*/ 578644 h 1092993"/>
                <a:gd name="connsiteX5" fmla="*/ 307181 w 564356"/>
                <a:gd name="connsiteY5" fmla="*/ 0 h 1092993"/>
                <a:gd name="connsiteX6" fmla="*/ 488156 w 564356"/>
                <a:gd name="connsiteY6" fmla="*/ 109538 h 1092993"/>
                <a:gd name="connsiteX7" fmla="*/ 564356 w 564356"/>
                <a:gd name="connsiteY7" fmla="*/ 426244 h 1092993"/>
                <a:gd name="connsiteX8" fmla="*/ 457200 w 564356"/>
                <a:gd name="connsiteY8" fmla="*/ 1092993 h 1092993"/>
                <a:gd name="connsiteX9" fmla="*/ 0 w 564356"/>
                <a:gd name="connsiteY9" fmla="*/ 1092993 h 1092993"/>
                <a:gd name="connsiteX10" fmla="*/ 42862 w 564356"/>
                <a:gd name="connsiteY10" fmla="*/ 107155 h 1092993"/>
                <a:gd name="connsiteX0" fmla="*/ 42862 w 564356"/>
                <a:gd name="connsiteY0" fmla="*/ 107155 h 1092993"/>
                <a:gd name="connsiteX1" fmla="*/ 169069 w 564356"/>
                <a:gd name="connsiteY1" fmla="*/ 50006 h 1092993"/>
                <a:gd name="connsiteX2" fmla="*/ 88106 w 564356"/>
                <a:gd name="connsiteY2" fmla="*/ 511969 h 1092993"/>
                <a:gd name="connsiteX3" fmla="*/ 78582 w 564356"/>
                <a:gd name="connsiteY3" fmla="*/ 552451 h 1092993"/>
                <a:gd name="connsiteX4" fmla="*/ 366713 w 564356"/>
                <a:gd name="connsiteY4" fmla="*/ 578644 h 1092993"/>
                <a:gd name="connsiteX5" fmla="*/ 307181 w 564356"/>
                <a:gd name="connsiteY5" fmla="*/ 0 h 1092993"/>
                <a:gd name="connsiteX6" fmla="*/ 488156 w 564356"/>
                <a:gd name="connsiteY6" fmla="*/ 109538 h 1092993"/>
                <a:gd name="connsiteX7" fmla="*/ 564356 w 564356"/>
                <a:gd name="connsiteY7" fmla="*/ 426244 h 1092993"/>
                <a:gd name="connsiteX8" fmla="*/ 488155 w 564356"/>
                <a:gd name="connsiteY8" fmla="*/ 583407 h 1092993"/>
                <a:gd name="connsiteX9" fmla="*/ 457200 w 564356"/>
                <a:gd name="connsiteY9" fmla="*/ 1092993 h 1092993"/>
                <a:gd name="connsiteX10" fmla="*/ 0 w 564356"/>
                <a:gd name="connsiteY10" fmla="*/ 1092993 h 1092993"/>
                <a:gd name="connsiteX11" fmla="*/ 42862 w 564356"/>
                <a:gd name="connsiteY11" fmla="*/ 107155 h 1092993"/>
                <a:gd name="connsiteX0" fmla="*/ 42862 w 564356"/>
                <a:gd name="connsiteY0" fmla="*/ 107155 h 1092993"/>
                <a:gd name="connsiteX1" fmla="*/ 169069 w 564356"/>
                <a:gd name="connsiteY1" fmla="*/ 50006 h 1092993"/>
                <a:gd name="connsiteX2" fmla="*/ 88106 w 564356"/>
                <a:gd name="connsiteY2" fmla="*/ 511969 h 1092993"/>
                <a:gd name="connsiteX3" fmla="*/ 78582 w 564356"/>
                <a:gd name="connsiteY3" fmla="*/ 552451 h 1092993"/>
                <a:gd name="connsiteX4" fmla="*/ 366713 w 564356"/>
                <a:gd name="connsiteY4" fmla="*/ 578644 h 1092993"/>
                <a:gd name="connsiteX5" fmla="*/ 307181 w 564356"/>
                <a:gd name="connsiteY5" fmla="*/ 0 h 1092993"/>
                <a:gd name="connsiteX6" fmla="*/ 488156 w 564356"/>
                <a:gd name="connsiteY6" fmla="*/ 109538 h 1092993"/>
                <a:gd name="connsiteX7" fmla="*/ 564356 w 564356"/>
                <a:gd name="connsiteY7" fmla="*/ 426244 h 1092993"/>
                <a:gd name="connsiteX8" fmla="*/ 488155 w 564356"/>
                <a:gd name="connsiteY8" fmla="*/ 583407 h 1092993"/>
                <a:gd name="connsiteX9" fmla="*/ 457200 w 564356"/>
                <a:gd name="connsiteY9" fmla="*/ 1092993 h 1092993"/>
                <a:gd name="connsiteX10" fmla="*/ 0 w 564356"/>
                <a:gd name="connsiteY10" fmla="*/ 1092993 h 1092993"/>
                <a:gd name="connsiteX11" fmla="*/ 42862 w 564356"/>
                <a:gd name="connsiteY11" fmla="*/ 107155 h 1092993"/>
                <a:gd name="connsiteX0" fmla="*/ 42862 w 564356"/>
                <a:gd name="connsiteY0" fmla="*/ 107155 h 1092993"/>
                <a:gd name="connsiteX1" fmla="*/ 169069 w 564356"/>
                <a:gd name="connsiteY1" fmla="*/ 50006 h 1092993"/>
                <a:gd name="connsiteX2" fmla="*/ 88106 w 564356"/>
                <a:gd name="connsiteY2" fmla="*/ 511969 h 1092993"/>
                <a:gd name="connsiteX3" fmla="*/ 78582 w 564356"/>
                <a:gd name="connsiteY3" fmla="*/ 552451 h 1092993"/>
                <a:gd name="connsiteX4" fmla="*/ 366713 w 564356"/>
                <a:gd name="connsiteY4" fmla="*/ 578644 h 1092993"/>
                <a:gd name="connsiteX5" fmla="*/ 307181 w 564356"/>
                <a:gd name="connsiteY5" fmla="*/ 0 h 1092993"/>
                <a:gd name="connsiteX6" fmla="*/ 488156 w 564356"/>
                <a:gd name="connsiteY6" fmla="*/ 109538 h 1092993"/>
                <a:gd name="connsiteX7" fmla="*/ 564356 w 564356"/>
                <a:gd name="connsiteY7" fmla="*/ 426244 h 1092993"/>
                <a:gd name="connsiteX8" fmla="*/ 488155 w 564356"/>
                <a:gd name="connsiteY8" fmla="*/ 583407 h 1092993"/>
                <a:gd name="connsiteX9" fmla="*/ 542924 w 564356"/>
                <a:gd name="connsiteY9" fmla="*/ 769144 h 1092993"/>
                <a:gd name="connsiteX10" fmla="*/ 457200 w 564356"/>
                <a:gd name="connsiteY10" fmla="*/ 1092993 h 1092993"/>
                <a:gd name="connsiteX11" fmla="*/ 0 w 564356"/>
                <a:gd name="connsiteY11" fmla="*/ 1092993 h 1092993"/>
                <a:gd name="connsiteX12" fmla="*/ 42862 w 564356"/>
                <a:gd name="connsiteY12" fmla="*/ 107155 h 1092993"/>
                <a:gd name="connsiteX0" fmla="*/ 42862 w 564356"/>
                <a:gd name="connsiteY0" fmla="*/ 107155 h 1092993"/>
                <a:gd name="connsiteX1" fmla="*/ 169069 w 564356"/>
                <a:gd name="connsiteY1" fmla="*/ 50006 h 1092993"/>
                <a:gd name="connsiteX2" fmla="*/ 88106 w 564356"/>
                <a:gd name="connsiteY2" fmla="*/ 511969 h 1092993"/>
                <a:gd name="connsiteX3" fmla="*/ 78582 w 564356"/>
                <a:gd name="connsiteY3" fmla="*/ 552451 h 1092993"/>
                <a:gd name="connsiteX4" fmla="*/ 366713 w 564356"/>
                <a:gd name="connsiteY4" fmla="*/ 578644 h 1092993"/>
                <a:gd name="connsiteX5" fmla="*/ 307181 w 564356"/>
                <a:gd name="connsiteY5" fmla="*/ 0 h 1092993"/>
                <a:gd name="connsiteX6" fmla="*/ 488156 w 564356"/>
                <a:gd name="connsiteY6" fmla="*/ 109538 h 1092993"/>
                <a:gd name="connsiteX7" fmla="*/ 564356 w 564356"/>
                <a:gd name="connsiteY7" fmla="*/ 426244 h 1092993"/>
                <a:gd name="connsiteX8" fmla="*/ 488155 w 564356"/>
                <a:gd name="connsiteY8" fmla="*/ 583407 h 1092993"/>
                <a:gd name="connsiteX9" fmla="*/ 542924 w 564356"/>
                <a:gd name="connsiteY9" fmla="*/ 769144 h 1092993"/>
                <a:gd name="connsiteX10" fmla="*/ 457200 w 564356"/>
                <a:gd name="connsiteY10" fmla="*/ 1092993 h 1092993"/>
                <a:gd name="connsiteX11" fmla="*/ 0 w 564356"/>
                <a:gd name="connsiteY11" fmla="*/ 1092993 h 1092993"/>
                <a:gd name="connsiteX12" fmla="*/ 42862 w 564356"/>
                <a:gd name="connsiteY12" fmla="*/ 107155 h 1092993"/>
                <a:gd name="connsiteX0" fmla="*/ 42862 w 564356"/>
                <a:gd name="connsiteY0" fmla="*/ 107155 h 1092993"/>
                <a:gd name="connsiteX1" fmla="*/ 169069 w 564356"/>
                <a:gd name="connsiteY1" fmla="*/ 50006 h 1092993"/>
                <a:gd name="connsiteX2" fmla="*/ 88106 w 564356"/>
                <a:gd name="connsiteY2" fmla="*/ 511969 h 1092993"/>
                <a:gd name="connsiteX3" fmla="*/ 78582 w 564356"/>
                <a:gd name="connsiteY3" fmla="*/ 552451 h 1092993"/>
                <a:gd name="connsiteX4" fmla="*/ 366713 w 564356"/>
                <a:gd name="connsiteY4" fmla="*/ 578644 h 1092993"/>
                <a:gd name="connsiteX5" fmla="*/ 307181 w 564356"/>
                <a:gd name="connsiteY5" fmla="*/ 0 h 1092993"/>
                <a:gd name="connsiteX6" fmla="*/ 488156 w 564356"/>
                <a:gd name="connsiteY6" fmla="*/ 109538 h 1092993"/>
                <a:gd name="connsiteX7" fmla="*/ 564356 w 564356"/>
                <a:gd name="connsiteY7" fmla="*/ 426244 h 1092993"/>
                <a:gd name="connsiteX8" fmla="*/ 488155 w 564356"/>
                <a:gd name="connsiteY8" fmla="*/ 583407 h 1092993"/>
                <a:gd name="connsiteX9" fmla="*/ 542924 w 564356"/>
                <a:gd name="connsiteY9" fmla="*/ 769144 h 1092993"/>
                <a:gd name="connsiteX10" fmla="*/ 457200 w 564356"/>
                <a:gd name="connsiteY10" fmla="*/ 1092993 h 1092993"/>
                <a:gd name="connsiteX11" fmla="*/ 0 w 564356"/>
                <a:gd name="connsiteY11" fmla="*/ 1092993 h 1092993"/>
                <a:gd name="connsiteX12" fmla="*/ 42862 w 564356"/>
                <a:gd name="connsiteY12" fmla="*/ 107155 h 1092993"/>
                <a:gd name="connsiteX0" fmla="*/ 67232 w 588726"/>
                <a:gd name="connsiteY0" fmla="*/ 107155 h 1092993"/>
                <a:gd name="connsiteX1" fmla="*/ 193439 w 588726"/>
                <a:gd name="connsiteY1" fmla="*/ 50006 h 1092993"/>
                <a:gd name="connsiteX2" fmla="*/ 112476 w 588726"/>
                <a:gd name="connsiteY2" fmla="*/ 511969 h 1092993"/>
                <a:gd name="connsiteX3" fmla="*/ 102952 w 588726"/>
                <a:gd name="connsiteY3" fmla="*/ 552451 h 1092993"/>
                <a:gd name="connsiteX4" fmla="*/ 391083 w 588726"/>
                <a:gd name="connsiteY4" fmla="*/ 578644 h 1092993"/>
                <a:gd name="connsiteX5" fmla="*/ 331551 w 588726"/>
                <a:gd name="connsiteY5" fmla="*/ 0 h 1092993"/>
                <a:gd name="connsiteX6" fmla="*/ 512526 w 588726"/>
                <a:gd name="connsiteY6" fmla="*/ 109538 h 1092993"/>
                <a:gd name="connsiteX7" fmla="*/ 588726 w 588726"/>
                <a:gd name="connsiteY7" fmla="*/ 426244 h 1092993"/>
                <a:gd name="connsiteX8" fmla="*/ 512525 w 588726"/>
                <a:gd name="connsiteY8" fmla="*/ 583407 h 1092993"/>
                <a:gd name="connsiteX9" fmla="*/ 567294 w 588726"/>
                <a:gd name="connsiteY9" fmla="*/ 769144 h 1092993"/>
                <a:gd name="connsiteX10" fmla="*/ 481570 w 588726"/>
                <a:gd name="connsiteY10" fmla="*/ 1092993 h 1092993"/>
                <a:gd name="connsiteX11" fmla="*/ 24370 w 588726"/>
                <a:gd name="connsiteY11" fmla="*/ 1092993 h 1092993"/>
                <a:gd name="connsiteX12" fmla="*/ 76757 w 588726"/>
                <a:gd name="connsiteY12" fmla="*/ 652463 h 1092993"/>
                <a:gd name="connsiteX13" fmla="*/ 67232 w 588726"/>
                <a:gd name="connsiteY13" fmla="*/ 107155 h 1092993"/>
                <a:gd name="connsiteX0" fmla="*/ 67232 w 588726"/>
                <a:gd name="connsiteY0" fmla="*/ 107155 h 1092993"/>
                <a:gd name="connsiteX1" fmla="*/ 193439 w 588726"/>
                <a:gd name="connsiteY1" fmla="*/ 50006 h 1092993"/>
                <a:gd name="connsiteX2" fmla="*/ 112476 w 588726"/>
                <a:gd name="connsiteY2" fmla="*/ 511969 h 1092993"/>
                <a:gd name="connsiteX3" fmla="*/ 102952 w 588726"/>
                <a:gd name="connsiteY3" fmla="*/ 552451 h 1092993"/>
                <a:gd name="connsiteX4" fmla="*/ 391083 w 588726"/>
                <a:gd name="connsiteY4" fmla="*/ 578644 h 1092993"/>
                <a:gd name="connsiteX5" fmla="*/ 331551 w 588726"/>
                <a:gd name="connsiteY5" fmla="*/ 0 h 1092993"/>
                <a:gd name="connsiteX6" fmla="*/ 512526 w 588726"/>
                <a:gd name="connsiteY6" fmla="*/ 109538 h 1092993"/>
                <a:gd name="connsiteX7" fmla="*/ 588726 w 588726"/>
                <a:gd name="connsiteY7" fmla="*/ 426244 h 1092993"/>
                <a:gd name="connsiteX8" fmla="*/ 512525 w 588726"/>
                <a:gd name="connsiteY8" fmla="*/ 583407 h 1092993"/>
                <a:gd name="connsiteX9" fmla="*/ 567294 w 588726"/>
                <a:gd name="connsiteY9" fmla="*/ 769144 h 1092993"/>
                <a:gd name="connsiteX10" fmla="*/ 481570 w 588726"/>
                <a:gd name="connsiteY10" fmla="*/ 1092993 h 1092993"/>
                <a:gd name="connsiteX11" fmla="*/ 24370 w 588726"/>
                <a:gd name="connsiteY11" fmla="*/ 1092993 h 1092993"/>
                <a:gd name="connsiteX12" fmla="*/ 76757 w 588726"/>
                <a:gd name="connsiteY12" fmla="*/ 652463 h 1092993"/>
                <a:gd name="connsiteX13" fmla="*/ 57707 w 588726"/>
                <a:gd name="connsiteY13" fmla="*/ 504825 h 1092993"/>
                <a:gd name="connsiteX14" fmla="*/ 67232 w 588726"/>
                <a:gd name="connsiteY14" fmla="*/ 107155 h 1092993"/>
                <a:gd name="connsiteX0" fmla="*/ 67232 w 588726"/>
                <a:gd name="connsiteY0" fmla="*/ 107155 h 1092993"/>
                <a:gd name="connsiteX1" fmla="*/ 193439 w 588726"/>
                <a:gd name="connsiteY1" fmla="*/ 50006 h 1092993"/>
                <a:gd name="connsiteX2" fmla="*/ 112476 w 588726"/>
                <a:gd name="connsiteY2" fmla="*/ 511969 h 1092993"/>
                <a:gd name="connsiteX3" fmla="*/ 102952 w 588726"/>
                <a:gd name="connsiteY3" fmla="*/ 552451 h 1092993"/>
                <a:gd name="connsiteX4" fmla="*/ 391083 w 588726"/>
                <a:gd name="connsiteY4" fmla="*/ 578644 h 1092993"/>
                <a:gd name="connsiteX5" fmla="*/ 331551 w 588726"/>
                <a:gd name="connsiteY5" fmla="*/ 0 h 1092993"/>
                <a:gd name="connsiteX6" fmla="*/ 512526 w 588726"/>
                <a:gd name="connsiteY6" fmla="*/ 109538 h 1092993"/>
                <a:gd name="connsiteX7" fmla="*/ 588726 w 588726"/>
                <a:gd name="connsiteY7" fmla="*/ 426244 h 1092993"/>
                <a:gd name="connsiteX8" fmla="*/ 512525 w 588726"/>
                <a:gd name="connsiteY8" fmla="*/ 583407 h 1092993"/>
                <a:gd name="connsiteX9" fmla="*/ 567294 w 588726"/>
                <a:gd name="connsiteY9" fmla="*/ 769144 h 1092993"/>
                <a:gd name="connsiteX10" fmla="*/ 481570 w 588726"/>
                <a:gd name="connsiteY10" fmla="*/ 1092993 h 1092993"/>
                <a:gd name="connsiteX11" fmla="*/ 24370 w 588726"/>
                <a:gd name="connsiteY11" fmla="*/ 1092993 h 1092993"/>
                <a:gd name="connsiteX12" fmla="*/ 76757 w 588726"/>
                <a:gd name="connsiteY12" fmla="*/ 652463 h 1092993"/>
                <a:gd name="connsiteX13" fmla="*/ 36275 w 588726"/>
                <a:gd name="connsiteY13" fmla="*/ 592932 h 1092993"/>
                <a:gd name="connsiteX14" fmla="*/ 57707 w 588726"/>
                <a:gd name="connsiteY14" fmla="*/ 504825 h 1092993"/>
                <a:gd name="connsiteX15" fmla="*/ 67232 w 588726"/>
                <a:gd name="connsiteY15" fmla="*/ 107155 h 1092993"/>
                <a:gd name="connsiteX0" fmla="*/ 67232 w 588726"/>
                <a:gd name="connsiteY0" fmla="*/ 107155 h 1092993"/>
                <a:gd name="connsiteX1" fmla="*/ 193439 w 588726"/>
                <a:gd name="connsiteY1" fmla="*/ 50006 h 1092993"/>
                <a:gd name="connsiteX2" fmla="*/ 112476 w 588726"/>
                <a:gd name="connsiteY2" fmla="*/ 511969 h 1092993"/>
                <a:gd name="connsiteX3" fmla="*/ 102952 w 588726"/>
                <a:gd name="connsiteY3" fmla="*/ 552451 h 1092993"/>
                <a:gd name="connsiteX4" fmla="*/ 391083 w 588726"/>
                <a:gd name="connsiteY4" fmla="*/ 578644 h 1092993"/>
                <a:gd name="connsiteX5" fmla="*/ 331551 w 588726"/>
                <a:gd name="connsiteY5" fmla="*/ 0 h 1092993"/>
                <a:gd name="connsiteX6" fmla="*/ 512526 w 588726"/>
                <a:gd name="connsiteY6" fmla="*/ 109538 h 1092993"/>
                <a:gd name="connsiteX7" fmla="*/ 588726 w 588726"/>
                <a:gd name="connsiteY7" fmla="*/ 426244 h 1092993"/>
                <a:gd name="connsiteX8" fmla="*/ 512525 w 588726"/>
                <a:gd name="connsiteY8" fmla="*/ 583407 h 1092993"/>
                <a:gd name="connsiteX9" fmla="*/ 567294 w 588726"/>
                <a:gd name="connsiteY9" fmla="*/ 769144 h 1092993"/>
                <a:gd name="connsiteX10" fmla="*/ 481570 w 588726"/>
                <a:gd name="connsiteY10" fmla="*/ 1092993 h 1092993"/>
                <a:gd name="connsiteX11" fmla="*/ 24370 w 588726"/>
                <a:gd name="connsiteY11" fmla="*/ 1092993 h 1092993"/>
                <a:gd name="connsiteX12" fmla="*/ 76757 w 588726"/>
                <a:gd name="connsiteY12" fmla="*/ 652463 h 1092993"/>
                <a:gd name="connsiteX13" fmla="*/ 48182 w 588726"/>
                <a:gd name="connsiteY13" fmla="*/ 597695 h 1092993"/>
                <a:gd name="connsiteX14" fmla="*/ 57707 w 588726"/>
                <a:gd name="connsiteY14" fmla="*/ 504825 h 1092993"/>
                <a:gd name="connsiteX15" fmla="*/ 67232 w 588726"/>
                <a:gd name="connsiteY15" fmla="*/ 107155 h 1092993"/>
                <a:gd name="connsiteX0" fmla="*/ 67232 w 588726"/>
                <a:gd name="connsiteY0" fmla="*/ 107155 h 1092993"/>
                <a:gd name="connsiteX1" fmla="*/ 193439 w 588726"/>
                <a:gd name="connsiteY1" fmla="*/ 50006 h 1092993"/>
                <a:gd name="connsiteX2" fmla="*/ 112476 w 588726"/>
                <a:gd name="connsiteY2" fmla="*/ 511969 h 1092993"/>
                <a:gd name="connsiteX3" fmla="*/ 102952 w 588726"/>
                <a:gd name="connsiteY3" fmla="*/ 552451 h 1092993"/>
                <a:gd name="connsiteX4" fmla="*/ 391083 w 588726"/>
                <a:gd name="connsiteY4" fmla="*/ 578644 h 1092993"/>
                <a:gd name="connsiteX5" fmla="*/ 331551 w 588726"/>
                <a:gd name="connsiteY5" fmla="*/ 0 h 1092993"/>
                <a:gd name="connsiteX6" fmla="*/ 512526 w 588726"/>
                <a:gd name="connsiteY6" fmla="*/ 109538 h 1092993"/>
                <a:gd name="connsiteX7" fmla="*/ 588726 w 588726"/>
                <a:gd name="connsiteY7" fmla="*/ 426244 h 1092993"/>
                <a:gd name="connsiteX8" fmla="*/ 512525 w 588726"/>
                <a:gd name="connsiteY8" fmla="*/ 583407 h 1092993"/>
                <a:gd name="connsiteX9" fmla="*/ 567294 w 588726"/>
                <a:gd name="connsiteY9" fmla="*/ 769144 h 1092993"/>
                <a:gd name="connsiteX10" fmla="*/ 481570 w 588726"/>
                <a:gd name="connsiteY10" fmla="*/ 1092993 h 1092993"/>
                <a:gd name="connsiteX11" fmla="*/ 24370 w 588726"/>
                <a:gd name="connsiteY11" fmla="*/ 1092993 h 1092993"/>
                <a:gd name="connsiteX12" fmla="*/ 76757 w 588726"/>
                <a:gd name="connsiteY12" fmla="*/ 652463 h 1092993"/>
                <a:gd name="connsiteX13" fmla="*/ 48182 w 588726"/>
                <a:gd name="connsiteY13" fmla="*/ 597695 h 1092993"/>
                <a:gd name="connsiteX14" fmla="*/ 57707 w 588726"/>
                <a:gd name="connsiteY14" fmla="*/ 504825 h 1092993"/>
                <a:gd name="connsiteX15" fmla="*/ 67232 w 588726"/>
                <a:gd name="connsiteY15" fmla="*/ 107155 h 1092993"/>
                <a:gd name="connsiteX0" fmla="*/ 67232 w 588726"/>
                <a:gd name="connsiteY0" fmla="*/ 107155 h 1092993"/>
                <a:gd name="connsiteX1" fmla="*/ 193439 w 588726"/>
                <a:gd name="connsiteY1" fmla="*/ 50006 h 1092993"/>
                <a:gd name="connsiteX2" fmla="*/ 112476 w 588726"/>
                <a:gd name="connsiteY2" fmla="*/ 511969 h 1092993"/>
                <a:gd name="connsiteX3" fmla="*/ 102952 w 588726"/>
                <a:gd name="connsiteY3" fmla="*/ 552451 h 1092993"/>
                <a:gd name="connsiteX4" fmla="*/ 391083 w 588726"/>
                <a:gd name="connsiteY4" fmla="*/ 578644 h 1092993"/>
                <a:gd name="connsiteX5" fmla="*/ 331551 w 588726"/>
                <a:gd name="connsiteY5" fmla="*/ 0 h 1092993"/>
                <a:gd name="connsiteX6" fmla="*/ 512526 w 588726"/>
                <a:gd name="connsiteY6" fmla="*/ 109538 h 1092993"/>
                <a:gd name="connsiteX7" fmla="*/ 588726 w 588726"/>
                <a:gd name="connsiteY7" fmla="*/ 426244 h 1092993"/>
                <a:gd name="connsiteX8" fmla="*/ 512525 w 588726"/>
                <a:gd name="connsiteY8" fmla="*/ 583407 h 1092993"/>
                <a:gd name="connsiteX9" fmla="*/ 567294 w 588726"/>
                <a:gd name="connsiteY9" fmla="*/ 769144 h 1092993"/>
                <a:gd name="connsiteX10" fmla="*/ 481570 w 588726"/>
                <a:gd name="connsiteY10" fmla="*/ 1092993 h 1092993"/>
                <a:gd name="connsiteX11" fmla="*/ 24370 w 588726"/>
                <a:gd name="connsiteY11" fmla="*/ 1092993 h 1092993"/>
                <a:gd name="connsiteX12" fmla="*/ 76757 w 588726"/>
                <a:gd name="connsiteY12" fmla="*/ 652463 h 1092993"/>
                <a:gd name="connsiteX13" fmla="*/ 48182 w 588726"/>
                <a:gd name="connsiteY13" fmla="*/ 597695 h 1092993"/>
                <a:gd name="connsiteX14" fmla="*/ 57707 w 588726"/>
                <a:gd name="connsiteY14" fmla="*/ 504825 h 1092993"/>
                <a:gd name="connsiteX15" fmla="*/ 67232 w 588726"/>
                <a:gd name="connsiteY15" fmla="*/ 107155 h 1092993"/>
                <a:gd name="connsiteX0" fmla="*/ 67232 w 588726"/>
                <a:gd name="connsiteY0" fmla="*/ 107155 h 1092993"/>
                <a:gd name="connsiteX1" fmla="*/ 193439 w 588726"/>
                <a:gd name="connsiteY1" fmla="*/ 50006 h 1092993"/>
                <a:gd name="connsiteX2" fmla="*/ 112476 w 588726"/>
                <a:gd name="connsiteY2" fmla="*/ 511969 h 1092993"/>
                <a:gd name="connsiteX3" fmla="*/ 102952 w 588726"/>
                <a:gd name="connsiteY3" fmla="*/ 552451 h 1092993"/>
                <a:gd name="connsiteX4" fmla="*/ 391083 w 588726"/>
                <a:gd name="connsiteY4" fmla="*/ 578644 h 1092993"/>
                <a:gd name="connsiteX5" fmla="*/ 331551 w 588726"/>
                <a:gd name="connsiteY5" fmla="*/ 0 h 1092993"/>
                <a:gd name="connsiteX6" fmla="*/ 512526 w 588726"/>
                <a:gd name="connsiteY6" fmla="*/ 109538 h 1092993"/>
                <a:gd name="connsiteX7" fmla="*/ 588726 w 588726"/>
                <a:gd name="connsiteY7" fmla="*/ 426244 h 1092993"/>
                <a:gd name="connsiteX8" fmla="*/ 512525 w 588726"/>
                <a:gd name="connsiteY8" fmla="*/ 583407 h 1092993"/>
                <a:gd name="connsiteX9" fmla="*/ 567294 w 588726"/>
                <a:gd name="connsiteY9" fmla="*/ 769144 h 1092993"/>
                <a:gd name="connsiteX10" fmla="*/ 481570 w 588726"/>
                <a:gd name="connsiteY10" fmla="*/ 1092993 h 1092993"/>
                <a:gd name="connsiteX11" fmla="*/ 24370 w 588726"/>
                <a:gd name="connsiteY11" fmla="*/ 1092993 h 1092993"/>
                <a:gd name="connsiteX12" fmla="*/ 76757 w 588726"/>
                <a:gd name="connsiteY12" fmla="*/ 652463 h 1092993"/>
                <a:gd name="connsiteX13" fmla="*/ 48182 w 588726"/>
                <a:gd name="connsiteY13" fmla="*/ 597695 h 1092993"/>
                <a:gd name="connsiteX14" fmla="*/ 57707 w 588726"/>
                <a:gd name="connsiteY14" fmla="*/ 504825 h 1092993"/>
                <a:gd name="connsiteX15" fmla="*/ 67232 w 588726"/>
                <a:gd name="connsiteY15" fmla="*/ 107155 h 1092993"/>
                <a:gd name="connsiteX0" fmla="*/ 67232 w 588726"/>
                <a:gd name="connsiteY0" fmla="*/ 107155 h 1092993"/>
                <a:gd name="connsiteX1" fmla="*/ 193439 w 588726"/>
                <a:gd name="connsiteY1" fmla="*/ 50006 h 1092993"/>
                <a:gd name="connsiteX2" fmla="*/ 112476 w 588726"/>
                <a:gd name="connsiteY2" fmla="*/ 511969 h 1092993"/>
                <a:gd name="connsiteX3" fmla="*/ 102952 w 588726"/>
                <a:gd name="connsiteY3" fmla="*/ 552451 h 1092993"/>
                <a:gd name="connsiteX4" fmla="*/ 391083 w 588726"/>
                <a:gd name="connsiteY4" fmla="*/ 578644 h 1092993"/>
                <a:gd name="connsiteX5" fmla="*/ 331551 w 588726"/>
                <a:gd name="connsiteY5" fmla="*/ 0 h 1092993"/>
                <a:gd name="connsiteX6" fmla="*/ 512526 w 588726"/>
                <a:gd name="connsiteY6" fmla="*/ 109538 h 1092993"/>
                <a:gd name="connsiteX7" fmla="*/ 588726 w 588726"/>
                <a:gd name="connsiteY7" fmla="*/ 426244 h 1092993"/>
                <a:gd name="connsiteX8" fmla="*/ 512525 w 588726"/>
                <a:gd name="connsiteY8" fmla="*/ 583407 h 1092993"/>
                <a:gd name="connsiteX9" fmla="*/ 567294 w 588726"/>
                <a:gd name="connsiteY9" fmla="*/ 769144 h 1092993"/>
                <a:gd name="connsiteX10" fmla="*/ 481570 w 588726"/>
                <a:gd name="connsiteY10" fmla="*/ 1092993 h 1092993"/>
                <a:gd name="connsiteX11" fmla="*/ 24370 w 588726"/>
                <a:gd name="connsiteY11" fmla="*/ 1092993 h 1092993"/>
                <a:gd name="connsiteX12" fmla="*/ 76757 w 588726"/>
                <a:gd name="connsiteY12" fmla="*/ 652463 h 1092993"/>
                <a:gd name="connsiteX13" fmla="*/ 48182 w 588726"/>
                <a:gd name="connsiteY13" fmla="*/ 597695 h 1092993"/>
                <a:gd name="connsiteX14" fmla="*/ 57707 w 588726"/>
                <a:gd name="connsiteY14" fmla="*/ 504825 h 1092993"/>
                <a:gd name="connsiteX15" fmla="*/ 67232 w 588726"/>
                <a:gd name="connsiteY15" fmla="*/ 107155 h 1092993"/>
                <a:gd name="connsiteX0" fmla="*/ 67232 w 588726"/>
                <a:gd name="connsiteY0" fmla="*/ 107155 h 1092993"/>
                <a:gd name="connsiteX1" fmla="*/ 193439 w 588726"/>
                <a:gd name="connsiteY1" fmla="*/ 50006 h 1092993"/>
                <a:gd name="connsiteX2" fmla="*/ 112476 w 588726"/>
                <a:gd name="connsiteY2" fmla="*/ 511969 h 1092993"/>
                <a:gd name="connsiteX3" fmla="*/ 102952 w 588726"/>
                <a:gd name="connsiteY3" fmla="*/ 552451 h 1092993"/>
                <a:gd name="connsiteX4" fmla="*/ 391083 w 588726"/>
                <a:gd name="connsiteY4" fmla="*/ 578644 h 1092993"/>
                <a:gd name="connsiteX5" fmla="*/ 331551 w 588726"/>
                <a:gd name="connsiteY5" fmla="*/ 0 h 1092993"/>
                <a:gd name="connsiteX6" fmla="*/ 512526 w 588726"/>
                <a:gd name="connsiteY6" fmla="*/ 109538 h 1092993"/>
                <a:gd name="connsiteX7" fmla="*/ 588726 w 588726"/>
                <a:gd name="connsiteY7" fmla="*/ 426244 h 1092993"/>
                <a:gd name="connsiteX8" fmla="*/ 512525 w 588726"/>
                <a:gd name="connsiteY8" fmla="*/ 583407 h 1092993"/>
                <a:gd name="connsiteX9" fmla="*/ 567294 w 588726"/>
                <a:gd name="connsiteY9" fmla="*/ 769144 h 1092993"/>
                <a:gd name="connsiteX10" fmla="*/ 495857 w 588726"/>
                <a:gd name="connsiteY10" fmla="*/ 804863 h 1092993"/>
                <a:gd name="connsiteX11" fmla="*/ 481570 w 588726"/>
                <a:gd name="connsiteY11" fmla="*/ 1092993 h 1092993"/>
                <a:gd name="connsiteX12" fmla="*/ 24370 w 588726"/>
                <a:gd name="connsiteY12" fmla="*/ 1092993 h 1092993"/>
                <a:gd name="connsiteX13" fmla="*/ 76757 w 588726"/>
                <a:gd name="connsiteY13" fmla="*/ 652463 h 1092993"/>
                <a:gd name="connsiteX14" fmla="*/ 48182 w 588726"/>
                <a:gd name="connsiteY14" fmla="*/ 597695 h 1092993"/>
                <a:gd name="connsiteX15" fmla="*/ 57707 w 588726"/>
                <a:gd name="connsiteY15" fmla="*/ 504825 h 1092993"/>
                <a:gd name="connsiteX16" fmla="*/ 67232 w 588726"/>
                <a:gd name="connsiteY16" fmla="*/ 107155 h 1092993"/>
                <a:gd name="connsiteX0" fmla="*/ 67232 w 588726"/>
                <a:gd name="connsiteY0" fmla="*/ 107155 h 1092993"/>
                <a:gd name="connsiteX1" fmla="*/ 193439 w 588726"/>
                <a:gd name="connsiteY1" fmla="*/ 50006 h 1092993"/>
                <a:gd name="connsiteX2" fmla="*/ 112476 w 588726"/>
                <a:gd name="connsiteY2" fmla="*/ 511969 h 1092993"/>
                <a:gd name="connsiteX3" fmla="*/ 102952 w 588726"/>
                <a:gd name="connsiteY3" fmla="*/ 552451 h 1092993"/>
                <a:gd name="connsiteX4" fmla="*/ 391083 w 588726"/>
                <a:gd name="connsiteY4" fmla="*/ 578644 h 1092993"/>
                <a:gd name="connsiteX5" fmla="*/ 331551 w 588726"/>
                <a:gd name="connsiteY5" fmla="*/ 0 h 1092993"/>
                <a:gd name="connsiteX6" fmla="*/ 512526 w 588726"/>
                <a:gd name="connsiteY6" fmla="*/ 109538 h 1092993"/>
                <a:gd name="connsiteX7" fmla="*/ 588726 w 588726"/>
                <a:gd name="connsiteY7" fmla="*/ 426244 h 1092993"/>
                <a:gd name="connsiteX8" fmla="*/ 512525 w 588726"/>
                <a:gd name="connsiteY8" fmla="*/ 583407 h 1092993"/>
                <a:gd name="connsiteX9" fmla="*/ 567294 w 588726"/>
                <a:gd name="connsiteY9" fmla="*/ 769144 h 1092993"/>
                <a:gd name="connsiteX10" fmla="*/ 493476 w 588726"/>
                <a:gd name="connsiteY10" fmla="*/ 814388 h 1092993"/>
                <a:gd name="connsiteX11" fmla="*/ 481570 w 588726"/>
                <a:gd name="connsiteY11" fmla="*/ 1092993 h 1092993"/>
                <a:gd name="connsiteX12" fmla="*/ 24370 w 588726"/>
                <a:gd name="connsiteY12" fmla="*/ 1092993 h 1092993"/>
                <a:gd name="connsiteX13" fmla="*/ 76757 w 588726"/>
                <a:gd name="connsiteY13" fmla="*/ 652463 h 1092993"/>
                <a:gd name="connsiteX14" fmla="*/ 48182 w 588726"/>
                <a:gd name="connsiteY14" fmla="*/ 597695 h 1092993"/>
                <a:gd name="connsiteX15" fmla="*/ 57707 w 588726"/>
                <a:gd name="connsiteY15" fmla="*/ 504825 h 1092993"/>
                <a:gd name="connsiteX16" fmla="*/ 67232 w 588726"/>
                <a:gd name="connsiteY16" fmla="*/ 107155 h 1092993"/>
                <a:gd name="connsiteX0" fmla="*/ 30522 w 552016"/>
                <a:gd name="connsiteY0" fmla="*/ 107155 h 1552574"/>
                <a:gd name="connsiteX1" fmla="*/ 156729 w 552016"/>
                <a:gd name="connsiteY1" fmla="*/ 50006 h 1552574"/>
                <a:gd name="connsiteX2" fmla="*/ 75766 w 552016"/>
                <a:gd name="connsiteY2" fmla="*/ 511969 h 1552574"/>
                <a:gd name="connsiteX3" fmla="*/ 66242 w 552016"/>
                <a:gd name="connsiteY3" fmla="*/ 552451 h 1552574"/>
                <a:gd name="connsiteX4" fmla="*/ 354373 w 552016"/>
                <a:gd name="connsiteY4" fmla="*/ 578644 h 1552574"/>
                <a:gd name="connsiteX5" fmla="*/ 294841 w 552016"/>
                <a:gd name="connsiteY5" fmla="*/ 0 h 1552574"/>
                <a:gd name="connsiteX6" fmla="*/ 475816 w 552016"/>
                <a:gd name="connsiteY6" fmla="*/ 109538 h 1552574"/>
                <a:gd name="connsiteX7" fmla="*/ 552016 w 552016"/>
                <a:gd name="connsiteY7" fmla="*/ 426244 h 1552574"/>
                <a:gd name="connsiteX8" fmla="*/ 475815 w 552016"/>
                <a:gd name="connsiteY8" fmla="*/ 583407 h 1552574"/>
                <a:gd name="connsiteX9" fmla="*/ 530584 w 552016"/>
                <a:gd name="connsiteY9" fmla="*/ 769144 h 1552574"/>
                <a:gd name="connsiteX10" fmla="*/ 456766 w 552016"/>
                <a:gd name="connsiteY10" fmla="*/ 814388 h 1552574"/>
                <a:gd name="connsiteX11" fmla="*/ 444860 w 552016"/>
                <a:gd name="connsiteY11" fmla="*/ 1092993 h 1552574"/>
                <a:gd name="connsiteX12" fmla="*/ 32904 w 552016"/>
                <a:gd name="connsiteY12" fmla="*/ 1552574 h 1552574"/>
                <a:gd name="connsiteX13" fmla="*/ 40047 w 552016"/>
                <a:gd name="connsiteY13" fmla="*/ 652463 h 1552574"/>
                <a:gd name="connsiteX14" fmla="*/ 11472 w 552016"/>
                <a:gd name="connsiteY14" fmla="*/ 597695 h 1552574"/>
                <a:gd name="connsiteX15" fmla="*/ 20997 w 552016"/>
                <a:gd name="connsiteY15" fmla="*/ 504825 h 1552574"/>
                <a:gd name="connsiteX16" fmla="*/ 30522 w 552016"/>
                <a:gd name="connsiteY16" fmla="*/ 107155 h 1552574"/>
                <a:gd name="connsiteX0" fmla="*/ 30522 w 552016"/>
                <a:gd name="connsiteY0" fmla="*/ 107155 h 1576387"/>
                <a:gd name="connsiteX1" fmla="*/ 156729 w 552016"/>
                <a:gd name="connsiteY1" fmla="*/ 50006 h 1576387"/>
                <a:gd name="connsiteX2" fmla="*/ 75766 w 552016"/>
                <a:gd name="connsiteY2" fmla="*/ 511969 h 1576387"/>
                <a:gd name="connsiteX3" fmla="*/ 66242 w 552016"/>
                <a:gd name="connsiteY3" fmla="*/ 552451 h 1576387"/>
                <a:gd name="connsiteX4" fmla="*/ 354373 w 552016"/>
                <a:gd name="connsiteY4" fmla="*/ 578644 h 1576387"/>
                <a:gd name="connsiteX5" fmla="*/ 294841 w 552016"/>
                <a:gd name="connsiteY5" fmla="*/ 0 h 1576387"/>
                <a:gd name="connsiteX6" fmla="*/ 475816 w 552016"/>
                <a:gd name="connsiteY6" fmla="*/ 109538 h 1576387"/>
                <a:gd name="connsiteX7" fmla="*/ 552016 w 552016"/>
                <a:gd name="connsiteY7" fmla="*/ 426244 h 1576387"/>
                <a:gd name="connsiteX8" fmla="*/ 475815 w 552016"/>
                <a:gd name="connsiteY8" fmla="*/ 583407 h 1576387"/>
                <a:gd name="connsiteX9" fmla="*/ 530584 w 552016"/>
                <a:gd name="connsiteY9" fmla="*/ 769144 h 1576387"/>
                <a:gd name="connsiteX10" fmla="*/ 456766 w 552016"/>
                <a:gd name="connsiteY10" fmla="*/ 814388 h 1576387"/>
                <a:gd name="connsiteX11" fmla="*/ 444860 w 552016"/>
                <a:gd name="connsiteY11" fmla="*/ 1092993 h 1576387"/>
                <a:gd name="connsiteX12" fmla="*/ 494865 w 552016"/>
                <a:gd name="connsiteY12" fmla="*/ 1576387 h 1576387"/>
                <a:gd name="connsiteX13" fmla="*/ 32904 w 552016"/>
                <a:gd name="connsiteY13" fmla="*/ 1552574 h 1576387"/>
                <a:gd name="connsiteX14" fmla="*/ 40047 w 552016"/>
                <a:gd name="connsiteY14" fmla="*/ 652463 h 1576387"/>
                <a:gd name="connsiteX15" fmla="*/ 11472 w 552016"/>
                <a:gd name="connsiteY15" fmla="*/ 597695 h 1576387"/>
                <a:gd name="connsiteX16" fmla="*/ 20997 w 552016"/>
                <a:gd name="connsiteY16" fmla="*/ 504825 h 1576387"/>
                <a:gd name="connsiteX17" fmla="*/ 30522 w 552016"/>
                <a:gd name="connsiteY17" fmla="*/ 107155 h 1576387"/>
                <a:gd name="connsiteX0" fmla="*/ 30522 w 552016"/>
                <a:gd name="connsiteY0" fmla="*/ 107155 h 1576387"/>
                <a:gd name="connsiteX1" fmla="*/ 156729 w 552016"/>
                <a:gd name="connsiteY1" fmla="*/ 50006 h 1576387"/>
                <a:gd name="connsiteX2" fmla="*/ 75766 w 552016"/>
                <a:gd name="connsiteY2" fmla="*/ 511969 h 1576387"/>
                <a:gd name="connsiteX3" fmla="*/ 66242 w 552016"/>
                <a:gd name="connsiteY3" fmla="*/ 552451 h 1576387"/>
                <a:gd name="connsiteX4" fmla="*/ 354373 w 552016"/>
                <a:gd name="connsiteY4" fmla="*/ 578644 h 1576387"/>
                <a:gd name="connsiteX5" fmla="*/ 294841 w 552016"/>
                <a:gd name="connsiteY5" fmla="*/ 0 h 1576387"/>
                <a:gd name="connsiteX6" fmla="*/ 475816 w 552016"/>
                <a:gd name="connsiteY6" fmla="*/ 109538 h 1576387"/>
                <a:gd name="connsiteX7" fmla="*/ 552016 w 552016"/>
                <a:gd name="connsiteY7" fmla="*/ 426244 h 1576387"/>
                <a:gd name="connsiteX8" fmla="*/ 475815 w 552016"/>
                <a:gd name="connsiteY8" fmla="*/ 583407 h 1576387"/>
                <a:gd name="connsiteX9" fmla="*/ 530584 w 552016"/>
                <a:gd name="connsiteY9" fmla="*/ 769144 h 1576387"/>
                <a:gd name="connsiteX10" fmla="*/ 456766 w 552016"/>
                <a:gd name="connsiteY10" fmla="*/ 814388 h 1576387"/>
                <a:gd name="connsiteX11" fmla="*/ 485341 w 552016"/>
                <a:gd name="connsiteY11" fmla="*/ 1090612 h 1576387"/>
                <a:gd name="connsiteX12" fmla="*/ 494865 w 552016"/>
                <a:gd name="connsiteY12" fmla="*/ 1576387 h 1576387"/>
                <a:gd name="connsiteX13" fmla="*/ 32904 w 552016"/>
                <a:gd name="connsiteY13" fmla="*/ 1552574 h 1576387"/>
                <a:gd name="connsiteX14" fmla="*/ 40047 w 552016"/>
                <a:gd name="connsiteY14" fmla="*/ 652463 h 1576387"/>
                <a:gd name="connsiteX15" fmla="*/ 11472 w 552016"/>
                <a:gd name="connsiteY15" fmla="*/ 597695 h 1576387"/>
                <a:gd name="connsiteX16" fmla="*/ 20997 w 552016"/>
                <a:gd name="connsiteY16" fmla="*/ 504825 h 1576387"/>
                <a:gd name="connsiteX17" fmla="*/ 30522 w 552016"/>
                <a:gd name="connsiteY17" fmla="*/ 107155 h 1576387"/>
                <a:gd name="connsiteX0" fmla="*/ 30522 w 552016"/>
                <a:gd name="connsiteY0" fmla="*/ 107155 h 1576387"/>
                <a:gd name="connsiteX1" fmla="*/ 156729 w 552016"/>
                <a:gd name="connsiteY1" fmla="*/ 50006 h 1576387"/>
                <a:gd name="connsiteX2" fmla="*/ 75766 w 552016"/>
                <a:gd name="connsiteY2" fmla="*/ 511969 h 1576387"/>
                <a:gd name="connsiteX3" fmla="*/ 66242 w 552016"/>
                <a:gd name="connsiteY3" fmla="*/ 552451 h 1576387"/>
                <a:gd name="connsiteX4" fmla="*/ 354373 w 552016"/>
                <a:gd name="connsiteY4" fmla="*/ 578644 h 1576387"/>
                <a:gd name="connsiteX5" fmla="*/ 294841 w 552016"/>
                <a:gd name="connsiteY5" fmla="*/ 0 h 1576387"/>
                <a:gd name="connsiteX6" fmla="*/ 475816 w 552016"/>
                <a:gd name="connsiteY6" fmla="*/ 109538 h 1576387"/>
                <a:gd name="connsiteX7" fmla="*/ 552016 w 552016"/>
                <a:gd name="connsiteY7" fmla="*/ 426244 h 1576387"/>
                <a:gd name="connsiteX8" fmla="*/ 475815 w 552016"/>
                <a:gd name="connsiteY8" fmla="*/ 583407 h 1576387"/>
                <a:gd name="connsiteX9" fmla="*/ 530584 w 552016"/>
                <a:gd name="connsiteY9" fmla="*/ 769144 h 1576387"/>
                <a:gd name="connsiteX10" fmla="*/ 456766 w 552016"/>
                <a:gd name="connsiteY10" fmla="*/ 814388 h 1576387"/>
                <a:gd name="connsiteX11" fmla="*/ 485341 w 552016"/>
                <a:gd name="connsiteY11" fmla="*/ 1090612 h 1576387"/>
                <a:gd name="connsiteX12" fmla="*/ 494865 w 552016"/>
                <a:gd name="connsiteY12" fmla="*/ 1576387 h 1576387"/>
                <a:gd name="connsiteX13" fmla="*/ 32904 w 552016"/>
                <a:gd name="connsiteY13" fmla="*/ 1552574 h 1576387"/>
                <a:gd name="connsiteX14" fmla="*/ 40047 w 552016"/>
                <a:gd name="connsiteY14" fmla="*/ 652463 h 1576387"/>
                <a:gd name="connsiteX15" fmla="*/ 11472 w 552016"/>
                <a:gd name="connsiteY15" fmla="*/ 597695 h 1576387"/>
                <a:gd name="connsiteX16" fmla="*/ 20997 w 552016"/>
                <a:gd name="connsiteY16" fmla="*/ 504825 h 1576387"/>
                <a:gd name="connsiteX17" fmla="*/ 30522 w 552016"/>
                <a:gd name="connsiteY17" fmla="*/ 107155 h 1576387"/>
                <a:gd name="connsiteX0" fmla="*/ 30522 w 552016"/>
                <a:gd name="connsiteY0" fmla="*/ 107155 h 1576387"/>
                <a:gd name="connsiteX1" fmla="*/ 156729 w 552016"/>
                <a:gd name="connsiteY1" fmla="*/ 50006 h 1576387"/>
                <a:gd name="connsiteX2" fmla="*/ 75766 w 552016"/>
                <a:gd name="connsiteY2" fmla="*/ 511969 h 1576387"/>
                <a:gd name="connsiteX3" fmla="*/ 66242 w 552016"/>
                <a:gd name="connsiteY3" fmla="*/ 552451 h 1576387"/>
                <a:gd name="connsiteX4" fmla="*/ 354373 w 552016"/>
                <a:gd name="connsiteY4" fmla="*/ 578644 h 1576387"/>
                <a:gd name="connsiteX5" fmla="*/ 294841 w 552016"/>
                <a:gd name="connsiteY5" fmla="*/ 0 h 1576387"/>
                <a:gd name="connsiteX6" fmla="*/ 475816 w 552016"/>
                <a:gd name="connsiteY6" fmla="*/ 109538 h 1576387"/>
                <a:gd name="connsiteX7" fmla="*/ 552016 w 552016"/>
                <a:gd name="connsiteY7" fmla="*/ 426244 h 1576387"/>
                <a:gd name="connsiteX8" fmla="*/ 475815 w 552016"/>
                <a:gd name="connsiteY8" fmla="*/ 583407 h 1576387"/>
                <a:gd name="connsiteX9" fmla="*/ 530584 w 552016"/>
                <a:gd name="connsiteY9" fmla="*/ 769144 h 1576387"/>
                <a:gd name="connsiteX10" fmla="*/ 456766 w 552016"/>
                <a:gd name="connsiteY10" fmla="*/ 814388 h 1576387"/>
                <a:gd name="connsiteX11" fmla="*/ 485341 w 552016"/>
                <a:gd name="connsiteY11" fmla="*/ 1090612 h 1576387"/>
                <a:gd name="connsiteX12" fmla="*/ 509153 w 552016"/>
                <a:gd name="connsiteY12" fmla="*/ 1276349 h 1576387"/>
                <a:gd name="connsiteX13" fmla="*/ 494865 w 552016"/>
                <a:gd name="connsiteY13" fmla="*/ 1576387 h 1576387"/>
                <a:gd name="connsiteX14" fmla="*/ 32904 w 552016"/>
                <a:gd name="connsiteY14" fmla="*/ 1552574 h 1576387"/>
                <a:gd name="connsiteX15" fmla="*/ 40047 w 552016"/>
                <a:gd name="connsiteY15" fmla="*/ 652463 h 1576387"/>
                <a:gd name="connsiteX16" fmla="*/ 11472 w 552016"/>
                <a:gd name="connsiteY16" fmla="*/ 597695 h 1576387"/>
                <a:gd name="connsiteX17" fmla="*/ 20997 w 552016"/>
                <a:gd name="connsiteY17" fmla="*/ 504825 h 1576387"/>
                <a:gd name="connsiteX18" fmla="*/ 30522 w 552016"/>
                <a:gd name="connsiteY18" fmla="*/ 107155 h 1576387"/>
                <a:gd name="connsiteX0" fmla="*/ 30522 w 552016"/>
                <a:gd name="connsiteY0" fmla="*/ 107155 h 1576387"/>
                <a:gd name="connsiteX1" fmla="*/ 156729 w 552016"/>
                <a:gd name="connsiteY1" fmla="*/ 50006 h 1576387"/>
                <a:gd name="connsiteX2" fmla="*/ 75766 w 552016"/>
                <a:gd name="connsiteY2" fmla="*/ 511969 h 1576387"/>
                <a:gd name="connsiteX3" fmla="*/ 66242 w 552016"/>
                <a:gd name="connsiteY3" fmla="*/ 552451 h 1576387"/>
                <a:gd name="connsiteX4" fmla="*/ 354373 w 552016"/>
                <a:gd name="connsiteY4" fmla="*/ 578644 h 1576387"/>
                <a:gd name="connsiteX5" fmla="*/ 294841 w 552016"/>
                <a:gd name="connsiteY5" fmla="*/ 0 h 1576387"/>
                <a:gd name="connsiteX6" fmla="*/ 475816 w 552016"/>
                <a:gd name="connsiteY6" fmla="*/ 109538 h 1576387"/>
                <a:gd name="connsiteX7" fmla="*/ 552016 w 552016"/>
                <a:gd name="connsiteY7" fmla="*/ 426244 h 1576387"/>
                <a:gd name="connsiteX8" fmla="*/ 475815 w 552016"/>
                <a:gd name="connsiteY8" fmla="*/ 583407 h 1576387"/>
                <a:gd name="connsiteX9" fmla="*/ 530584 w 552016"/>
                <a:gd name="connsiteY9" fmla="*/ 769144 h 1576387"/>
                <a:gd name="connsiteX10" fmla="*/ 456766 w 552016"/>
                <a:gd name="connsiteY10" fmla="*/ 814388 h 1576387"/>
                <a:gd name="connsiteX11" fmla="*/ 485341 w 552016"/>
                <a:gd name="connsiteY11" fmla="*/ 1090612 h 1576387"/>
                <a:gd name="connsiteX12" fmla="*/ 509153 w 552016"/>
                <a:gd name="connsiteY12" fmla="*/ 1276349 h 1576387"/>
                <a:gd name="connsiteX13" fmla="*/ 494865 w 552016"/>
                <a:gd name="connsiteY13" fmla="*/ 1576387 h 1576387"/>
                <a:gd name="connsiteX14" fmla="*/ 32904 w 552016"/>
                <a:gd name="connsiteY14" fmla="*/ 1552574 h 1576387"/>
                <a:gd name="connsiteX15" fmla="*/ 40047 w 552016"/>
                <a:gd name="connsiteY15" fmla="*/ 652463 h 1576387"/>
                <a:gd name="connsiteX16" fmla="*/ 11472 w 552016"/>
                <a:gd name="connsiteY16" fmla="*/ 597695 h 1576387"/>
                <a:gd name="connsiteX17" fmla="*/ 20997 w 552016"/>
                <a:gd name="connsiteY17" fmla="*/ 504825 h 1576387"/>
                <a:gd name="connsiteX18" fmla="*/ 30522 w 552016"/>
                <a:gd name="connsiteY18" fmla="*/ 107155 h 1576387"/>
                <a:gd name="connsiteX0" fmla="*/ 30522 w 552016"/>
                <a:gd name="connsiteY0" fmla="*/ 107155 h 1576387"/>
                <a:gd name="connsiteX1" fmla="*/ 156729 w 552016"/>
                <a:gd name="connsiteY1" fmla="*/ 50006 h 1576387"/>
                <a:gd name="connsiteX2" fmla="*/ 75766 w 552016"/>
                <a:gd name="connsiteY2" fmla="*/ 511969 h 1576387"/>
                <a:gd name="connsiteX3" fmla="*/ 66242 w 552016"/>
                <a:gd name="connsiteY3" fmla="*/ 552451 h 1576387"/>
                <a:gd name="connsiteX4" fmla="*/ 354373 w 552016"/>
                <a:gd name="connsiteY4" fmla="*/ 578644 h 1576387"/>
                <a:gd name="connsiteX5" fmla="*/ 294841 w 552016"/>
                <a:gd name="connsiteY5" fmla="*/ 0 h 1576387"/>
                <a:gd name="connsiteX6" fmla="*/ 475816 w 552016"/>
                <a:gd name="connsiteY6" fmla="*/ 109538 h 1576387"/>
                <a:gd name="connsiteX7" fmla="*/ 552016 w 552016"/>
                <a:gd name="connsiteY7" fmla="*/ 426244 h 1576387"/>
                <a:gd name="connsiteX8" fmla="*/ 475815 w 552016"/>
                <a:gd name="connsiteY8" fmla="*/ 583407 h 1576387"/>
                <a:gd name="connsiteX9" fmla="*/ 530584 w 552016"/>
                <a:gd name="connsiteY9" fmla="*/ 769144 h 1576387"/>
                <a:gd name="connsiteX10" fmla="*/ 456766 w 552016"/>
                <a:gd name="connsiteY10" fmla="*/ 814388 h 1576387"/>
                <a:gd name="connsiteX11" fmla="*/ 485341 w 552016"/>
                <a:gd name="connsiteY11" fmla="*/ 1090612 h 1576387"/>
                <a:gd name="connsiteX12" fmla="*/ 509153 w 552016"/>
                <a:gd name="connsiteY12" fmla="*/ 1276349 h 1576387"/>
                <a:gd name="connsiteX13" fmla="*/ 487722 w 552016"/>
                <a:gd name="connsiteY13" fmla="*/ 1419224 h 1576387"/>
                <a:gd name="connsiteX14" fmla="*/ 494865 w 552016"/>
                <a:gd name="connsiteY14" fmla="*/ 1576387 h 1576387"/>
                <a:gd name="connsiteX15" fmla="*/ 32904 w 552016"/>
                <a:gd name="connsiteY15" fmla="*/ 1552574 h 1576387"/>
                <a:gd name="connsiteX16" fmla="*/ 40047 w 552016"/>
                <a:gd name="connsiteY16" fmla="*/ 652463 h 1576387"/>
                <a:gd name="connsiteX17" fmla="*/ 11472 w 552016"/>
                <a:gd name="connsiteY17" fmla="*/ 597695 h 1576387"/>
                <a:gd name="connsiteX18" fmla="*/ 20997 w 552016"/>
                <a:gd name="connsiteY18" fmla="*/ 504825 h 1576387"/>
                <a:gd name="connsiteX19" fmla="*/ 30522 w 552016"/>
                <a:gd name="connsiteY19" fmla="*/ 107155 h 1576387"/>
                <a:gd name="connsiteX0" fmla="*/ 30522 w 552016"/>
                <a:gd name="connsiteY0" fmla="*/ 107155 h 1576387"/>
                <a:gd name="connsiteX1" fmla="*/ 156729 w 552016"/>
                <a:gd name="connsiteY1" fmla="*/ 50006 h 1576387"/>
                <a:gd name="connsiteX2" fmla="*/ 75766 w 552016"/>
                <a:gd name="connsiteY2" fmla="*/ 511969 h 1576387"/>
                <a:gd name="connsiteX3" fmla="*/ 66242 w 552016"/>
                <a:gd name="connsiteY3" fmla="*/ 552451 h 1576387"/>
                <a:gd name="connsiteX4" fmla="*/ 354373 w 552016"/>
                <a:gd name="connsiteY4" fmla="*/ 578644 h 1576387"/>
                <a:gd name="connsiteX5" fmla="*/ 294841 w 552016"/>
                <a:gd name="connsiteY5" fmla="*/ 0 h 1576387"/>
                <a:gd name="connsiteX6" fmla="*/ 475816 w 552016"/>
                <a:gd name="connsiteY6" fmla="*/ 109538 h 1576387"/>
                <a:gd name="connsiteX7" fmla="*/ 552016 w 552016"/>
                <a:gd name="connsiteY7" fmla="*/ 426244 h 1576387"/>
                <a:gd name="connsiteX8" fmla="*/ 475815 w 552016"/>
                <a:gd name="connsiteY8" fmla="*/ 583407 h 1576387"/>
                <a:gd name="connsiteX9" fmla="*/ 530584 w 552016"/>
                <a:gd name="connsiteY9" fmla="*/ 769144 h 1576387"/>
                <a:gd name="connsiteX10" fmla="*/ 456766 w 552016"/>
                <a:gd name="connsiteY10" fmla="*/ 814388 h 1576387"/>
                <a:gd name="connsiteX11" fmla="*/ 485341 w 552016"/>
                <a:gd name="connsiteY11" fmla="*/ 1090612 h 1576387"/>
                <a:gd name="connsiteX12" fmla="*/ 509153 w 552016"/>
                <a:gd name="connsiteY12" fmla="*/ 1276349 h 1576387"/>
                <a:gd name="connsiteX13" fmla="*/ 487722 w 552016"/>
                <a:gd name="connsiteY13" fmla="*/ 1419224 h 1576387"/>
                <a:gd name="connsiteX14" fmla="*/ 494865 w 552016"/>
                <a:gd name="connsiteY14" fmla="*/ 1576387 h 1576387"/>
                <a:gd name="connsiteX15" fmla="*/ 32904 w 552016"/>
                <a:gd name="connsiteY15" fmla="*/ 1552574 h 1576387"/>
                <a:gd name="connsiteX16" fmla="*/ 40047 w 552016"/>
                <a:gd name="connsiteY16" fmla="*/ 652463 h 1576387"/>
                <a:gd name="connsiteX17" fmla="*/ 11472 w 552016"/>
                <a:gd name="connsiteY17" fmla="*/ 597695 h 1576387"/>
                <a:gd name="connsiteX18" fmla="*/ 20997 w 552016"/>
                <a:gd name="connsiteY18" fmla="*/ 504825 h 1576387"/>
                <a:gd name="connsiteX19" fmla="*/ 30522 w 552016"/>
                <a:gd name="connsiteY19" fmla="*/ 107155 h 1576387"/>
                <a:gd name="connsiteX0" fmla="*/ 30522 w 552016"/>
                <a:gd name="connsiteY0" fmla="*/ 107155 h 1576387"/>
                <a:gd name="connsiteX1" fmla="*/ 156729 w 552016"/>
                <a:gd name="connsiteY1" fmla="*/ 50006 h 1576387"/>
                <a:gd name="connsiteX2" fmla="*/ 75766 w 552016"/>
                <a:gd name="connsiteY2" fmla="*/ 511969 h 1576387"/>
                <a:gd name="connsiteX3" fmla="*/ 66242 w 552016"/>
                <a:gd name="connsiteY3" fmla="*/ 552451 h 1576387"/>
                <a:gd name="connsiteX4" fmla="*/ 354373 w 552016"/>
                <a:gd name="connsiteY4" fmla="*/ 578644 h 1576387"/>
                <a:gd name="connsiteX5" fmla="*/ 294841 w 552016"/>
                <a:gd name="connsiteY5" fmla="*/ 0 h 1576387"/>
                <a:gd name="connsiteX6" fmla="*/ 475816 w 552016"/>
                <a:gd name="connsiteY6" fmla="*/ 109538 h 1576387"/>
                <a:gd name="connsiteX7" fmla="*/ 552016 w 552016"/>
                <a:gd name="connsiteY7" fmla="*/ 426244 h 1576387"/>
                <a:gd name="connsiteX8" fmla="*/ 475815 w 552016"/>
                <a:gd name="connsiteY8" fmla="*/ 583407 h 1576387"/>
                <a:gd name="connsiteX9" fmla="*/ 530584 w 552016"/>
                <a:gd name="connsiteY9" fmla="*/ 769144 h 1576387"/>
                <a:gd name="connsiteX10" fmla="*/ 456766 w 552016"/>
                <a:gd name="connsiteY10" fmla="*/ 814388 h 1576387"/>
                <a:gd name="connsiteX11" fmla="*/ 485341 w 552016"/>
                <a:gd name="connsiteY11" fmla="*/ 1090612 h 1576387"/>
                <a:gd name="connsiteX12" fmla="*/ 509153 w 552016"/>
                <a:gd name="connsiteY12" fmla="*/ 1276349 h 1576387"/>
                <a:gd name="connsiteX13" fmla="*/ 487722 w 552016"/>
                <a:gd name="connsiteY13" fmla="*/ 1419224 h 1576387"/>
                <a:gd name="connsiteX14" fmla="*/ 494865 w 552016"/>
                <a:gd name="connsiteY14" fmla="*/ 1576387 h 1576387"/>
                <a:gd name="connsiteX15" fmla="*/ 32904 w 552016"/>
                <a:gd name="connsiteY15" fmla="*/ 1552574 h 1576387"/>
                <a:gd name="connsiteX16" fmla="*/ 40047 w 552016"/>
                <a:gd name="connsiteY16" fmla="*/ 652463 h 1576387"/>
                <a:gd name="connsiteX17" fmla="*/ 11472 w 552016"/>
                <a:gd name="connsiteY17" fmla="*/ 597695 h 1576387"/>
                <a:gd name="connsiteX18" fmla="*/ 20997 w 552016"/>
                <a:gd name="connsiteY18" fmla="*/ 504825 h 1576387"/>
                <a:gd name="connsiteX19" fmla="*/ 30522 w 552016"/>
                <a:gd name="connsiteY19" fmla="*/ 107155 h 1576387"/>
                <a:gd name="connsiteX0" fmla="*/ 30522 w 552016"/>
                <a:gd name="connsiteY0" fmla="*/ 107155 h 1576387"/>
                <a:gd name="connsiteX1" fmla="*/ 156729 w 552016"/>
                <a:gd name="connsiteY1" fmla="*/ 50006 h 1576387"/>
                <a:gd name="connsiteX2" fmla="*/ 75766 w 552016"/>
                <a:gd name="connsiteY2" fmla="*/ 511969 h 1576387"/>
                <a:gd name="connsiteX3" fmla="*/ 66242 w 552016"/>
                <a:gd name="connsiteY3" fmla="*/ 552451 h 1576387"/>
                <a:gd name="connsiteX4" fmla="*/ 354373 w 552016"/>
                <a:gd name="connsiteY4" fmla="*/ 578644 h 1576387"/>
                <a:gd name="connsiteX5" fmla="*/ 294841 w 552016"/>
                <a:gd name="connsiteY5" fmla="*/ 0 h 1576387"/>
                <a:gd name="connsiteX6" fmla="*/ 475816 w 552016"/>
                <a:gd name="connsiteY6" fmla="*/ 109538 h 1576387"/>
                <a:gd name="connsiteX7" fmla="*/ 552016 w 552016"/>
                <a:gd name="connsiteY7" fmla="*/ 426244 h 1576387"/>
                <a:gd name="connsiteX8" fmla="*/ 475815 w 552016"/>
                <a:gd name="connsiteY8" fmla="*/ 583407 h 1576387"/>
                <a:gd name="connsiteX9" fmla="*/ 530584 w 552016"/>
                <a:gd name="connsiteY9" fmla="*/ 769144 h 1576387"/>
                <a:gd name="connsiteX10" fmla="*/ 456766 w 552016"/>
                <a:gd name="connsiteY10" fmla="*/ 814388 h 1576387"/>
                <a:gd name="connsiteX11" fmla="*/ 485341 w 552016"/>
                <a:gd name="connsiteY11" fmla="*/ 1090612 h 1576387"/>
                <a:gd name="connsiteX12" fmla="*/ 509153 w 552016"/>
                <a:gd name="connsiteY12" fmla="*/ 1276349 h 1576387"/>
                <a:gd name="connsiteX13" fmla="*/ 487722 w 552016"/>
                <a:gd name="connsiteY13" fmla="*/ 1419224 h 1576387"/>
                <a:gd name="connsiteX14" fmla="*/ 494865 w 552016"/>
                <a:gd name="connsiteY14" fmla="*/ 1576387 h 1576387"/>
                <a:gd name="connsiteX15" fmla="*/ 32904 w 552016"/>
                <a:gd name="connsiteY15" fmla="*/ 1552574 h 1576387"/>
                <a:gd name="connsiteX16" fmla="*/ 40047 w 552016"/>
                <a:gd name="connsiteY16" fmla="*/ 652463 h 1576387"/>
                <a:gd name="connsiteX17" fmla="*/ 11472 w 552016"/>
                <a:gd name="connsiteY17" fmla="*/ 597695 h 1576387"/>
                <a:gd name="connsiteX18" fmla="*/ 20997 w 552016"/>
                <a:gd name="connsiteY18" fmla="*/ 504825 h 1576387"/>
                <a:gd name="connsiteX19" fmla="*/ 30522 w 552016"/>
                <a:gd name="connsiteY19" fmla="*/ 107155 h 1576387"/>
                <a:gd name="connsiteX0" fmla="*/ 30522 w 552016"/>
                <a:gd name="connsiteY0" fmla="*/ 107155 h 1576387"/>
                <a:gd name="connsiteX1" fmla="*/ 156729 w 552016"/>
                <a:gd name="connsiteY1" fmla="*/ 50006 h 1576387"/>
                <a:gd name="connsiteX2" fmla="*/ 75766 w 552016"/>
                <a:gd name="connsiteY2" fmla="*/ 511969 h 1576387"/>
                <a:gd name="connsiteX3" fmla="*/ 66242 w 552016"/>
                <a:gd name="connsiteY3" fmla="*/ 552451 h 1576387"/>
                <a:gd name="connsiteX4" fmla="*/ 354373 w 552016"/>
                <a:gd name="connsiteY4" fmla="*/ 578644 h 1576387"/>
                <a:gd name="connsiteX5" fmla="*/ 294841 w 552016"/>
                <a:gd name="connsiteY5" fmla="*/ 0 h 1576387"/>
                <a:gd name="connsiteX6" fmla="*/ 475816 w 552016"/>
                <a:gd name="connsiteY6" fmla="*/ 109538 h 1576387"/>
                <a:gd name="connsiteX7" fmla="*/ 552016 w 552016"/>
                <a:gd name="connsiteY7" fmla="*/ 426244 h 1576387"/>
                <a:gd name="connsiteX8" fmla="*/ 475815 w 552016"/>
                <a:gd name="connsiteY8" fmla="*/ 583407 h 1576387"/>
                <a:gd name="connsiteX9" fmla="*/ 530584 w 552016"/>
                <a:gd name="connsiteY9" fmla="*/ 769144 h 1576387"/>
                <a:gd name="connsiteX10" fmla="*/ 456766 w 552016"/>
                <a:gd name="connsiteY10" fmla="*/ 814388 h 1576387"/>
                <a:gd name="connsiteX11" fmla="*/ 485341 w 552016"/>
                <a:gd name="connsiteY11" fmla="*/ 1090612 h 1576387"/>
                <a:gd name="connsiteX12" fmla="*/ 509153 w 552016"/>
                <a:gd name="connsiteY12" fmla="*/ 1276349 h 1576387"/>
                <a:gd name="connsiteX13" fmla="*/ 487722 w 552016"/>
                <a:gd name="connsiteY13" fmla="*/ 1419224 h 1576387"/>
                <a:gd name="connsiteX14" fmla="*/ 494865 w 552016"/>
                <a:gd name="connsiteY14" fmla="*/ 1576387 h 1576387"/>
                <a:gd name="connsiteX15" fmla="*/ 32904 w 552016"/>
                <a:gd name="connsiteY15" fmla="*/ 1552574 h 1576387"/>
                <a:gd name="connsiteX16" fmla="*/ 40047 w 552016"/>
                <a:gd name="connsiteY16" fmla="*/ 652463 h 1576387"/>
                <a:gd name="connsiteX17" fmla="*/ 11472 w 552016"/>
                <a:gd name="connsiteY17" fmla="*/ 597695 h 1576387"/>
                <a:gd name="connsiteX18" fmla="*/ 20997 w 552016"/>
                <a:gd name="connsiteY18" fmla="*/ 504825 h 1576387"/>
                <a:gd name="connsiteX19" fmla="*/ 30522 w 552016"/>
                <a:gd name="connsiteY19" fmla="*/ 107155 h 1576387"/>
                <a:gd name="connsiteX0" fmla="*/ 30522 w 552016"/>
                <a:gd name="connsiteY0" fmla="*/ 107155 h 1576387"/>
                <a:gd name="connsiteX1" fmla="*/ 156729 w 552016"/>
                <a:gd name="connsiteY1" fmla="*/ 50006 h 1576387"/>
                <a:gd name="connsiteX2" fmla="*/ 75766 w 552016"/>
                <a:gd name="connsiteY2" fmla="*/ 511969 h 1576387"/>
                <a:gd name="connsiteX3" fmla="*/ 66242 w 552016"/>
                <a:gd name="connsiteY3" fmla="*/ 552451 h 1576387"/>
                <a:gd name="connsiteX4" fmla="*/ 354373 w 552016"/>
                <a:gd name="connsiteY4" fmla="*/ 578644 h 1576387"/>
                <a:gd name="connsiteX5" fmla="*/ 294841 w 552016"/>
                <a:gd name="connsiteY5" fmla="*/ 0 h 1576387"/>
                <a:gd name="connsiteX6" fmla="*/ 475816 w 552016"/>
                <a:gd name="connsiteY6" fmla="*/ 109538 h 1576387"/>
                <a:gd name="connsiteX7" fmla="*/ 552016 w 552016"/>
                <a:gd name="connsiteY7" fmla="*/ 426244 h 1576387"/>
                <a:gd name="connsiteX8" fmla="*/ 475815 w 552016"/>
                <a:gd name="connsiteY8" fmla="*/ 583407 h 1576387"/>
                <a:gd name="connsiteX9" fmla="*/ 530584 w 552016"/>
                <a:gd name="connsiteY9" fmla="*/ 769144 h 1576387"/>
                <a:gd name="connsiteX10" fmla="*/ 456766 w 552016"/>
                <a:gd name="connsiteY10" fmla="*/ 814388 h 1576387"/>
                <a:gd name="connsiteX11" fmla="*/ 485341 w 552016"/>
                <a:gd name="connsiteY11" fmla="*/ 1090612 h 1576387"/>
                <a:gd name="connsiteX12" fmla="*/ 509153 w 552016"/>
                <a:gd name="connsiteY12" fmla="*/ 1276349 h 1576387"/>
                <a:gd name="connsiteX13" fmla="*/ 487722 w 552016"/>
                <a:gd name="connsiteY13" fmla="*/ 1419224 h 1576387"/>
                <a:gd name="connsiteX14" fmla="*/ 494865 w 552016"/>
                <a:gd name="connsiteY14" fmla="*/ 1576387 h 1576387"/>
                <a:gd name="connsiteX15" fmla="*/ 32904 w 552016"/>
                <a:gd name="connsiteY15" fmla="*/ 1552574 h 1576387"/>
                <a:gd name="connsiteX16" fmla="*/ 40047 w 552016"/>
                <a:gd name="connsiteY16" fmla="*/ 652463 h 1576387"/>
                <a:gd name="connsiteX17" fmla="*/ 11472 w 552016"/>
                <a:gd name="connsiteY17" fmla="*/ 597695 h 1576387"/>
                <a:gd name="connsiteX18" fmla="*/ 20997 w 552016"/>
                <a:gd name="connsiteY18" fmla="*/ 504825 h 1576387"/>
                <a:gd name="connsiteX19" fmla="*/ 30522 w 552016"/>
                <a:gd name="connsiteY19" fmla="*/ 107155 h 1576387"/>
                <a:gd name="connsiteX0" fmla="*/ 30522 w 552016"/>
                <a:gd name="connsiteY0" fmla="*/ 107155 h 1577990"/>
                <a:gd name="connsiteX1" fmla="*/ 156729 w 552016"/>
                <a:gd name="connsiteY1" fmla="*/ 50006 h 1577990"/>
                <a:gd name="connsiteX2" fmla="*/ 75766 w 552016"/>
                <a:gd name="connsiteY2" fmla="*/ 511969 h 1577990"/>
                <a:gd name="connsiteX3" fmla="*/ 66242 w 552016"/>
                <a:gd name="connsiteY3" fmla="*/ 552451 h 1577990"/>
                <a:gd name="connsiteX4" fmla="*/ 354373 w 552016"/>
                <a:gd name="connsiteY4" fmla="*/ 578644 h 1577990"/>
                <a:gd name="connsiteX5" fmla="*/ 294841 w 552016"/>
                <a:gd name="connsiteY5" fmla="*/ 0 h 1577990"/>
                <a:gd name="connsiteX6" fmla="*/ 475816 w 552016"/>
                <a:gd name="connsiteY6" fmla="*/ 109538 h 1577990"/>
                <a:gd name="connsiteX7" fmla="*/ 552016 w 552016"/>
                <a:gd name="connsiteY7" fmla="*/ 426244 h 1577990"/>
                <a:gd name="connsiteX8" fmla="*/ 475815 w 552016"/>
                <a:gd name="connsiteY8" fmla="*/ 583407 h 1577990"/>
                <a:gd name="connsiteX9" fmla="*/ 530584 w 552016"/>
                <a:gd name="connsiteY9" fmla="*/ 769144 h 1577990"/>
                <a:gd name="connsiteX10" fmla="*/ 456766 w 552016"/>
                <a:gd name="connsiteY10" fmla="*/ 814388 h 1577990"/>
                <a:gd name="connsiteX11" fmla="*/ 485341 w 552016"/>
                <a:gd name="connsiteY11" fmla="*/ 1090612 h 1577990"/>
                <a:gd name="connsiteX12" fmla="*/ 509153 w 552016"/>
                <a:gd name="connsiteY12" fmla="*/ 1276349 h 1577990"/>
                <a:gd name="connsiteX13" fmla="*/ 487722 w 552016"/>
                <a:gd name="connsiteY13" fmla="*/ 1419224 h 1577990"/>
                <a:gd name="connsiteX14" fmla="*/ 494865 w 552016"/>
                <a:gd name="connsiteY14" fmla="*/ 1576387 h 1577990"/>
                <a:gd name="connsiteX15" fmla="*/ 266265 w 552016"/>
                <a:gd name="connsiteY15" fmla="*/ 1576387 h 1577990"/>
                <a:gd name="connsiteX16" fmla="*/ 32904 w 552016"/>
                <a:gd name="connsiteY16" fmla="*/ 1552574 h 1577990"/>
                <a:gd name="connsiteX17" fmla="*/ 40047 w 552016"/>
                <a:gd name="connsiteY17" fmla="*/ 652463 h 1577990"/>
                <a:gd name="connsiteX18" fmla="*/ 11472 w 552016"/>
                <a:gd name="connsiteY18" fmla="*/ 597695 h 1577990"/>
                <a:gd name="connsiteX19" fmla="*/ 20997 w 552016"/>
                <a:gd name="connsiteY19" fmla="*/ 504825 h 1577990"/>
                <a:gd name="connsiteX20" fmla="*/ 30522 w 552016"/>
                <a:gd name="connsiteY20" fmla="*/ 107155 h 1577990"/>
                <a:gd name="connsiteX0" fmla="*/ 30522 w 552016"/>
                <a:gd name="connsiteY0" fmla="*/ 107155 h 1577990"/>
                <a:gd name="connsiteX1" fmla="*/ 156729 w 552016"/>
                <a:gd name="connsiteY1" fmla="*/ 50006 h 1577990"/>
                <a:gd name="connsiteX2" fmla="*/ 75766 w 552016"/>
                <a:gd name="connsiteY2" fmla="*/ 511969 h 1577990"/>
                <a:gd name="connsiteX3" fmla="*/ 66242 w 552016"/>
                <a:gd name="connsiteY3" fmla="*/ 552451 h 1577990"/>
                <a:gd name="connsiteX4" fmla="*/ 354373 w 552016"/>
                <a:gd name="connsiteY4" fmla="*/ 578644 h 1577990"/>
                <a:gd name="connsiteX5" fmla="*/ 294841 w 552016"/>
                <a:gd name="connsiteY5" fmla="*/ 0 h 1577990"/>
                <a:gd name="connsiteX6" fmla="*/ 475816 w 552016"/>
                <a:gd name="connsiteY6" fmla="*/ 109538 h 1577990"/>
                <a:gd name="connsiteX7" fmla="*/ 552016 w 552016"/>
                <a:gd name="connsiteY7" fmla="*/ 426244 h 1577990"/>
                <a:gd name="connsiteX8" fmla="*/ 475815 w 552016"/>
                <a:gd name="connsiteY8" fmla="*/ 583407 h 1577990"/>
                <a:gd name="connsiteX9" fmla="*/ 530584 w 552016"/>
                <a:gd name="connsiteY9" fmla="*/ 769144 h 1577990"/>
                <a:gd name="connsiteX10" fmla="*/ 456766 w 552016"/>
                <a:gd name="connsiteY10" fmla="*/ 814388 h 1577990"/>
                <a:gd name="connsiteX11" fmla="*/ 485341 w 552016"/>
                <a:gd name="connsiteY11" fmla="*/ 1090612 h 1577990"/>
                <a:gd name="connsiteX12" fmla="*/ 509153 w 552016"/>
                <a:gd name="connsiteY12" fmla="*/ 1276349 h 1577990"/>
                <a:gd name="connsiteX13" fmla="*/ 487722 w 552016"/>
                <a:gd name="connsiteY13" fmla="*/ 1419224 h 1577990"/>
                <a:gd name="connsiteX14" fmla="*/ 494865 w 552016"/>
                <a:gd name="connsiteY14" fmla="*/ 1576387 h 1577990"/>
                <a:gd name="connsiteX15" fmla="*/ 266265 w 552016"/>
                <a:gd name="connsiteY15" fmla="*/ 1576387 h 1577990"/>
                <a:gd name="connsiteX16" fmla="*/ 273409 w 552016"/>
                <a:gd name="connsiteY16" fmla="*/ 923923 h 1577990"/>
                <a:gd name="connsiteX17" fmla="*/ 32904 w 552016"/>
                <a:gd name="connsiteY17" fmla="*/ 1552574 h 1577990"/>
                <a:gd name="connsiteX18" fmla="*/ 40047 w 552016"/>
                <a:gd name="connsiteY18" fmla="*/ 652463 h 1577990"/>
                <a:gd name="connsiteX19" fmla="*/ 11472 w 552016"/>
                <a:gd name="connsiteY19" fmla="*/ 597695 h 1577990"/>
                <a:gd name="connsiteX20" fmla="*/ 20997 w 552016"/>
                <a:gd name="connsiteY20" fmla="*/ 504825 h 1577990"/>
                <a:gd name="connsiteX21" fmla="*/ 30522 w 552016"/>
                <a:gd name="connsiteY21" fmla="*/ 107155 h 1577990"/>
                <a:gd name="connsiteX0" fmla="*/ 30522 w 552016"/>
                <a:gd name="connsiteY0" fmla="*/ 107155 h 1577990"/>
                <a:gd name="connsiteX1" fmla="*/ 156729 w 552016"/>
                <a:gd name="connsiteY1" fmla="*/ 50006 h 1577990"/>
                <a:gd name="connsiteX2" fmla="*/ 75766 w 552016"/>
                <a:gd name="connsiteY2" fmla="*/ 511969 h 1577990"/>
                <a:gd name="connsiteX3" fmla="*/ 66242 w 552016"/>
                <a:gd name="connsiteY3" fmla="*/ 552451 h 1577990"/>
                <a:gd name="connsiteX4" fmla="*/ 354373 w 552016"/>
                <a:gd name="connsiteY4" fmla="*/ 578644 h 1577990"/>
                <a:gd name="connsiteX5" fmla="*/ 294841 w 552016"/>
                <a:gd name="connsiteY5" fmla="*/ 0 h 1577990"/>
                <a:gd name="connsiteX6" fmla="*/ 475816 w 552016"/>
                <a:gd name="connsiteY6" fmla="*/ 109538 h 1577990"/>
                <a:gd name="connsiteX7" fmla="*/ 552016 w 552016"/>
                <a:gd name="connsiteY7" fmla="*/ 426244 h 1577990"/>
                <a:gd name="connsiteX8" fmla="*/ 475815 w 552016"/>
                <a:gd name="connsiteY8" fmla="*/ 583407 h 1577990"/>
                <a:gd name="connsiteX9" fmla="*/ 530584 w 552016"/>
                <a:gd name="connsiteY9" fmla="*/ 769144 h 1577990"/>
                <a:gd name="connsiteX10" fmla="*/ 456766 w 552016"/>
                <a:gd name="connsiteY10" fmla="*/ 814388 h 1577990"/>
                <a:gd name="connsiteX11" fmla="*/ 485341 w 552016"/>
                <a:gd name="connsiteY11" fmla="*/ 1090612 h 1577990"/>
                <a:gd name="connsiteX12" fmla="*/ 509153 w 552016"/>
                <a:gd name="connsiteY12" fmla="*/ 1276349 h 1577990"/>
                <a:gd name="connsiteX13" fmla="*/ 487722 w 552016"/>
                <a:gd name="connsiteY13" fmla="*/ 1419224 h 1577990"/>
                <a:gd name="connsiteX14" fmla="*/ 494865 w 552016"/>
                <a:gd name="connsiteY14" fmla="*/ 1576387 h 1577990"/>
                <a:gd name="connsiteX15" fmla="*/ 266265 w 552016"/>
                <a:gd name="connsiteY15" fmla="*/ 1576387 h 1577990"/>
                <a:gd name="connsiteX16" fmla="*/ 366278 w 552016"/>
                <a:gd name="connsiteY16" fmla="*/ 1431130 h 1577990"/>
                <a:gd name="connsiteX17" fmla="*/ 273409 w 552016"/>
                <a:gd name="connsiteY17" fmla="*/ 923923 h 1577990"/>
                <a:gd name="connsiteX18" fmla="*/ 32904 w 552016"/>
                <a:gd name="connsiteY18" fmla="*/ 1552574 h 1577990"/>
                <a:gd name="connsiteX19" fmla="*/ 40047 w 552016"/>
                <a:gd name="connsiteY19" fmla="*/ 652463 h 1577990"/>
                <a:gd name="connsiteX20" fmla="*/ 11472 w 552016"/>
                <a:gd name="connsiteY20" fmla="*/ 597695 h 1577990"/>
                <a:gd name="connsiteX21" fmla="*/ 20997 w 552016"/>
                <a:gd name="connsiteY21" fmla="*/ 504825 h 1577990"/>
                <a:gd name="connsiteX22" fmla="*/ 30522 w 552016"/>
                <a:gd name="connsiteY22" fmla="*/ 107155 h 1577990"/>
                <a:gd name="connsiteX0" fmla="*/ 30522 w 552016"/>
                <a:gd name="connsiteY0" fmla="*/ 107155 h 1577990"/>
                <a:gd name="connsiteX1" fmla="*/ 156729 w 552016"/>
                <a:gd name="connsiteY1" fmla="*/ 50006 h 1577990"/>
                <a:gd name="connsiteX2" fmla="*/ 75766 w 552016"/>
                <a:gd name="connsiteY2" fmla="*/ 511969 h 1577990"/>
                <a:gd name="connsiteX3" fmla="*/ 66242 w 552016"/>
                <a:gd name="connsiteY3" fmla="*/ 552451 h 1577990"/>
                <a:gd name="connsiteX4" fmla="*/ 354373 w 552016"/>
                <a:gd name="connsiteY4" fmla="*/ 578644 h 1577990"/>
                <a:gd name="connsiteX5" fmla="*/ 294841 w 552016"/>
                <a:gd name="connsiteY5" fmla="*/ 0 h 1577990"/>
                <a:gd name="connsiteX6" fmla="*/ 475816 w 552016"/>
                <a:gd name="connsiteY6" fmla="*/ 109538 h 1577990"/>
                <a:gd name="connsiteX7" fmla="*/ 552016 w 552016"/>
                <a:gd name="connsiteY7" fmla="*/ 426244 h 1577990"/>
                <a:gd name="connsiteX8" fmla="*/ 475815 w 552016"/>
                <a:gd name="connsiteY8" fmla="*/ 583407 h 1577990"/>
                <a:gd name="connsiteX9" fmla="*/ 530584 w 552016"/>
                <a:gd name="connsiteY9" fmla="*/ 769144 h 1577990"/>
                <a:gd name="connsiteX10" fmla="*/ 456766 w 552016"/>
                <a:gd name="connsiteY10" fmla="*/ 814388 h 1577990"/>
                <a:gd name="connsiteX11" fmla="*/ 485341 w 552016"/>
                <a:gd name="connsiteY11" fmla="*/ 1090612 h 1577990"/>
                <a:gd name="connsiteX12" fmla="*/ 509153 w 552016"/>
                <a:gd name="connsiteY12" fmla="*/ 1276349 h 1577990"/>
                <a:gd name="connsiteX13" fmla="*/ 487722 w 552016"/>
                <a:gd name="connsiteY13" fmla="*/ 1419224 h 1577990"/>
                <a:gd name="connsiteX14" fmla="*/ 494865 w 552016"/>
                <a:gd name="connsiteY14" fmla="*/ 1576387 h 1577990"/>
                <a:gd name="connsiteX15" fmla="*/ 266265 w 552016"/>
                <a:gd name="connsiteY15" fmla="*/ 1576387 h 1577990"/>
                <a:gd name="connsiteX16" fmla="*/ 366278 w 552016"/>
                <a:gd name="connsiteY16" fmla="*/ 1431130 h 1577990"/>
                <a:gd name="connsiteX17" fmla="*/ 273409 w 552016"/>
                <a:gd name="connsiteY17" fmla="*/ 923923 h 1577990"/>
                <a:gd name="connsiteX18" fmla="*/ 49572 w 552016"/>
                <a:gd name="connsiteY18" fmla="*/ 1516855 h 1577990"/>
                <a:gd name="connsiteX19" fmla="*/ 32904 w 552016"/>
                <a:gd name="connsiteY19" fmla="*/ 1552574 h 1577990"/>
                <a:gd name="connsiteX20" fmla="*/ 40047 w 552016"/>
                <a:gd name="connsiteY20" fmla="*/ 652463 h 1577990"/>
                <a:gd name="connsiteX21" fmla="*/ 11472 w 552016"/>
                <a:gd name="connsiteY21" fmla="*/ 597695 h 1577990"/>
                <a:gd name="connsiteX22" fmla="*/ 20997 w 552016"/>
                <a:gd name="connsiteY22" fmla="*/ 504825 h 1577990"/>
                <a:gd name="connsiteX23" fmla="*/ 30522 w 552016"/>
                <a:gd name="connsiteY23" fmla="*/ 107155 h 1577990"/>
                <a:gd name="connsiteX0" fmla="*/ 30522 w 552016"/>
                <a:gd name="connsiteY0" fmla="*/ 107155 h 1577990"/>
                <a:gd name="connsiteX1" fmla="*/ 156729 w 552016"/>
                <a:gd name="connsiteY1" fmla="*/ 50006 h 1577990"/>
                <a:gd name="connsiteX2" fmla="*/ 75766 w 552016"/>
                <a:gd name="connsiteY2" fmla="*/ 511969 h 1577990"/>
                <a:gd name="connsiteX3" fmla="*/ 66242 w 552016"/>
                <a:gd name="connsiteY3" fmla="*/ 552451 h 1577990"/>
                <a:gd name="connsiteX4" fmla="*/ 354373 w 552016"/>
                <a:gd name="connsiteY4" fmla="*/ 578644 h 1577990"/>
                <a:gd name="connsiteX5" fmla="*/ 294841 w 552016"/>
                <a:gd name="connsiteY5" fmla="*/ 0 h 1577990"/>
                <a:gd name="connsiteX6" fmla="*/ 475816 w 552016"/>
                <a:gd name="connsiteY6" fmla="*/ 109538 h 1577990"/>
                <a:gd name="connsiteX7" fmla="*/ 552016 w 552016"/>
                <a:gd name="connsiteY7" fmla="*/ 426244 h 1577990"/>
                <a:gd name="connsiteX8" fmla="*/ 475815 w 552016"/>
                <a:gd name="connsiteY8" fmla="*/ 583407 h 1577990"/>
                <a:gd name="connsiteX9" fmla="*/ 530584 w 552016"/>
                <a:gd name="connsiteY9" fmla="*/ 769144 h 1577990"/>
                <a:gd name="connsiteX10" fmla="*/ 456766 w 552016"/>
                <a:gd name="connsiteY10" fmla="*/ 814388 h 1577990"/>
                <a:gd name="connsiteX11" fmla="*/ 485341 w 552016"/>
                <a:gd name="connsiteY11" fmla="*/ 1090612 h 1577990"/>
                <a:gd name="connsiteX12" fmla="*/ 509153 w 552016"/>
                <a:gd name="connsiteY12" fmla="*/ 1276349 h 1577990"/>
                <a:gd name="connsiteX13" fmla="*/ 487722 w 552016"/>
                <a:gd name="connsiteY13" fmla="*/ 1419224 h 1577990"/>
                <a:gd name="connsiteX14" fmla="*/ 494865 w 552016"/>
                <a:gd name="connsiteY14" fmla="*/ 1576387 h 1577990"/>
                <a:gd name="connsiteX15" fmla="*/ 266265 w 552016"/>
                <a:gd name="connsiteY15" fmla="*/ 1576387 h 1577990"/>
                <a:gd name="connsiteX16" fmla="*/ 366278 w 552016"/>
                <a:gd name="connsiteY16" fmla="*/ 1431130 h 1577990"/>
                <a:gd name="connsiteX17" fmla="*/ 273409 w 552016"/>
                <a:gd name="connsiteY17" fmla="*/ 923923 h 1577990"/>
                <a:gd name="connsiteX18" fmla="*/ 285316 w 552016"/>
                <a:gd name="connsiteY18" fmla="*/ 1547812 h 1577990"/>
                <a:gd name="connsiteX19" fmla="*/ 32904 w 552016"/>
                <a:gd name="connsiteY19" fmla="*/ 1552574 h 1577990"/>
                <a:gd name="connsiteX20" fmla="*/ 40047 w 552016"/>
                <a:gd name="connsiteY20" fmla="*/ 652463 h 1577990"/>
                <a:gd name="connsiteX21" fmla="*/ 11472 w 552016"/>
                <a:gd name="connsiteY21" fmla="*/ 597695 h 1577990"/>
                <a:gd name="connsiteX22" fmla="*/ 20997 w 552016"/>
                <a:gd name="connsiteY22" fmla="*/ 504825 h 1577990"/>
                <a:gd name="connsiteX23" fmla="*/ 30522 w 552016"/>
                <a:gd name="connsiteY23" fmla="*/ 107155 h 1577990"/>
                <a:gd name="connsiteX0" fmla="*/ 30522 w 552016"/>
                <a:gd name="connsiteY0" fmla="*/ 107155 h 1577990"/>
                <a:gd name="connsiteX1" fmla="*/ 156729 w 552016"/>
                <a:gd name="connsiteY1" fmla="*/ 50006 h 1577990"/>
                <a:gd name="connsiteX2" fmla="*/ 75766 w 552016"/>
                <a:gd name="connsiteY2" fmla="*/ 511969 h 1577990"/>
                <a:gd name="connsiteX3" fmla="*/ 66242 w 552016"/>
                <a:gd name="connsiteY3" fmla="*/ 552451 h 1577990"/>
                <a:gd name="connsiteX4" fmla="*/ 354373 w 552016"/>
                <a:gd name="connsiteY4" fmla="*/ 578644 h 1577990"/>
                <a:gd name="connsiteX5" fmla="*/ 294841 w 552016"/>
                <a:gd name="connsiteY5" fmla="*/ 0 h 1577990"/>
                <a:gd name="connsiteX6" fmla="*/ 475816 w 552016"/>
                <a:gd name="connsiteY6" fmla="*/ 109538 h 1577990"/>
                <a:gd name="connsiteX7" fmla="*/ 552016 w 552016"/>
                <a:gd name="connsiteY7" fmla="*/ 426244 h 1577990"/>
                <a:gd name="connsiteX8" fmla="*/ 475815 w 552016"/>
                <a:gd name="connsiteY8" fmla="*/ 583407 h 1577990"/>
                <a:gd name="connsiteX9" fmla="*/ 530584 w 552016"/>
                <a:gd name="connsiteY9" fmla="*/ 769144 h 1577990"/>
                <a:gd name="connsiteX10" fmla="*/ 456766 w 552016"/>
                <a:gd name="connsiteY10" fmla="*/ 814388 h 1577990"/>
                <a:gd name="connsiteX11" fmla="*/ 485341 w 552016"/>
                <a:gd name="connsiteY11" fmla="*/ 1090612 h 1577990"/>
                <a:gd name="connsiteX12" fmla="*/ 509153 w 552016"/>
                <a:gd name="connsiteY12" fmla="*/ 1276349 h 1577990"/>
                <a:gd name="connsiteX13" fmla="*/ 487722 w 552016"/>
                <a:gd name="connsiteY13" fmla="*/ 1419224 h 1577990"/>
                <a:gd name="connsiteX14" fmla="*/ 494865 w 552016"/>
                <a:gd name="connsiteY14" fmla="*/ 1576387 h 1577990"/>
                <a:gd name="connsiteX15" fmla="*/ 266265 w 552016"/>
                <a:gd name="connsiteY15" fmla="*/ 1576387 h 1577990"/>
                <a:gd name="connsiteX16" fmla="*/ 366278 w 552016"/>
                <a:gd name="connsiteY16" fmla="*/ 1431130 h 1577990"/>
                <a:gd name="connsiteX17" fmla="*/ 273409 w 552016"/>
                <a:gd name="connsiteY17" fmla="*/ 923923 h 1577990"/>
                <a:gd name="connsiteX18" fmla="*/ 285316 w 552016"/>
                <a:gd name="connsiteY18" fmla="*/ 1547812 h 1577990"/>
                <a:gd name="connsiteX19" fmla="*/ 32904 w 552016"/>
                <a:gd name="connsiteY19" fmla="*/ 1552574 h 1577990"/>
                <a:gd name="connsiteX20" fmla="*/ 40047 w 552016"/>
                <a:gd name="connsiteY20" fmla="*/ 652463 h 1577990"/>
                <a:gd name="connsiteX21" fmla="*/ 11472 w 552016"/>
                <a:gd name="connsiteY21" fmla="*/ 597695 h 1577990"/>
                <a:gd name="connsiteX22" fmla="*/ 20997 w 552016"/>
                <a:gd name="connsiteY22" fmla="*/ 504825 h 1577990"/>
                <a:gd name="connsiteX23" fmla="*/ 30522 w 552016"/>
                <a:gd name="connsiteY23" fmla="*/ 107155 h 1577990"/>
                <a:gd name="connsiteX0" fmla="*/ 30522 w 552016"/>
                <a:gd name="connsiteY0" fmla="*/ 107155 h 1583052"/>
                <a:gd name="connsiteX1" fmla="*/ 156729 w 552016"/>
                <a:gd name="connsiteY1" fmla="*/ 50006 h 1583052"/>
                <a:gd name="connsiteX2" fmla="*/ 75766 w 552016"/>
                <a:gd name="connsiteY2" fmla="*/ 511969 h 1583052"/>
                <a:gd name="connsiteX3" fmla="*/ 66242 w 552016"/>
                <a:gd name="connsiteY3" fmla="*/ 552451 h 1583052"/>
                <a:gd name="connsiteX4" fmla="*/ 354373 w 552016"/>
                <a:gd name="connsiteY4" fmla="*/ 578644 h 1583052"/>
                <a:gd name="connsiteX5" fmla="*/ 294841 w 552016"/>
                <a:gd name="connsiteY5" fmla="*/ 0 h 1583052"/>
                <a:gd name="connsiteX6" fmla="*/ 475816 w 552016"/>
                <a:gd name="connsiteY6" fmla="*/ 109538 h 1583052"/>
                <a:gd name="connsiteX7" fmla="*/ 552016 w 552016"/>
                <a:gd name="connsiteY7" fmla="*/ 426244 h 1583052"/>
                <a:gd name="connsiteX8" fmla="*/ 475815 w 552016"/>
                <a:gd name="connsiteY8" fmla="*/ 583407 h 1583052"/>
                <a:gd name="connsiteX9" fmla="*/ 530584 w 552016"/>
                <a:gd name="connsiteY9" fmla="*/ 769144 h 1583052"/>
                <a:gd name="connsiteX10" fmla="*/ 456766 w 552016"/>
                <a:gd name="connsiteY10" fmla="*/ 814388 h 1583052"/>
                <a:gd name="connsiteX11" fmla="*/ 485341 w 552016"/>
                <a:gd name="connsiteY11" fmla="*/ 1090612 h 1583052"/>
                <a:gd name="connsiteX12" fmla="*/ 509153 w 552016"/>
                <a:gd name="connsiteY12" fmla="*/ 1276349 h 1583052"/>
                <a:gd name="connsiteX13" fmla="*/ 487722 w 552016"/>
                <a:gd name="connsiteY13" fmla="*/ 1419224 h 1583052"/>
                <a:gd name="connsiteX14" fmla="*/ 494865 w 552016"/>
                <a:gd name="connsiteY14" fmla="*/ 1576387 h 1583052"/>
                <a:gd name="connsiteX15" fmla="*/ 266265 w 552016"/>
                <a:gd name="connsiteY15" fmla="*/ 1576387 h 1583052"/>
                <a:gd name="connsiteX16" fmla="*/ 366278 w 552016"/>
                <a:gd name="connsiteY16" fmla="*/ 1431130 h 1583052"/>
                <a:gd name="connsiteX17" fmla="*/ 273409 w 552016"/>
                <a:gd name="connsiteY17" fmla="*/ 923923 h 1583052"/>
                <a:gd name="connsiteX18" fmla="*/ 285316 w 552016"/>
                <a:gd name="connsiteY18" fmla="*/ 1547812 h 1583052"/>
                <a:gd name="connsiteX19" fmla="*/ 32904 w 552016"/>
                <a:gd name="connsiteY19" fmla="*/ 1552574 h 1583052"/>
                <a:gd name="connsiteX20" fmla="*/ 40047 w 552016"/>
                <a:gd name="connsiteY20" fmla="*/ 652463 h 1583052"/>
                <a:gd name="connsiteX21" fmla="*/ 11472 w 552016"/>
                <a:gd name="connsiteY21" fmla="*/ 597695 h 1583052"/>
                <a:gd name="connsiteX22" fmla="*/ 20997 w 552016"/>
                <a:gd name="connsiteY22" fmla="*/ 504825 h 1583052"/>
                <a:gd name="connsiteX23" fmla="*/ 30522 w 552016"/>
                <a:gd name="connsiteY23" fmla="*/ 107155 h 1583052"/>
                <a:gd name="connsiteX0" fmla="*/ 30522 w 552016"/>
                <a:gd name="connsiteY0" fmla="*/ 107155 h 1585107"/>
                <a:gd name="connsiteX1" fmla="*/ 156729 w 552016"/>
                <a:gd name="connsiteY1" fmla="*/ 50006 h 1585107"/>
                <a:gd name="connsiteX2" fmla="*/ 75766 w 552016"/>
                <a:gd name="connsiteY2" fmla="*/ 511969 h 1585107"/>
                <a:gd name="connsiteX3" fmla="*/ 66242 w 552016"/>
                <a:gd name="connsiteY3" fmla="*/ 552451 h 1585107"/>
                <a:gd name="connsiteX4" fmla="*/ 354373 w 552016"/>
                <a:gd name="connsiteY4" fmla="*/ 578644 h 1585107"/>
                <a:gd name="connsiteX5" fmla="*/ 294841 w 552016"/>
                <a:gd name="connsiteY5" fmla="*/ 0 h 1585107"/>
                <a:gd name="connsiteX6" fmla="*/ 475816 w 552016"/>
                <a:gd name="connsiteY6" fmla="*/ 109538 h 1585107"/>
                <a:gd name="connsiteX7" fmla="*/ 552016 w 552016"/>
                <a:gd name="connsiteY7" fmla="*/ 426244 h 1585107"/>
                <a:gd name="connsiteX8" fmla="*/ 475815 w 552016"/>
                <a:gd name="connsiteY8" fmla="*/ 583407 h 1585107"/>
                <a:gd name="connsiteX9" fmla="*/ 530584 w 552016"/>
                <a:gd name="connsiteY9" fmla="*/ 769144 h 1585107"/>
                <a:gd name="connsiteX10" fmla="*/ 456766 w 552016"/>
                <a:gd name="connsiteY10" fmla="*/ 814388 h 1585107"/>
                <a:gd name="connsiteX11" fmla="*/ 485341 w 552016"/>
                <a:gd name="connsiteY11" fmla="*/ 1090612 h 1585107"/>
                <a:gd name="connsiteX12" fmla="*/ 509153 w 552016"/>
                <a:gd name="connsiteY12" fmla="*/ 1276349 h 1585107"/>
                <a:gd name="connsiteX13" fmla="*/ 487722 w 552016"/>
                <a:gd name="connsiteY13" fmla="*/ 1419224 h 1585107"/>
                <a:gd name="connsiteX14" fmla="*/ 494865 w 552016"/>
                <a:gd name="connsiteY14" fmla="*/ 1576387 h 1585107"/>
                <a:gd name="connsiteX15" fmla="*/ 266265 w 552016"/>
                <a:gd name="connsiteY15" fmla="*/ 1576387 h 1585107"/>
                <a:gd name="connsiteX16" fmla="*/ 366278 w 552016"/>
                <a:gd name="connsiteY16" fmla="*/ 1431130 h 1585107"/>
                <a:gd name="connsiteX17" fmla="*/ 273409 w 552016"/>
                <a:gd name="connsiteY17" fmla="*/ 923923 h 1585107"/>
                <a:gd name="connsiteX18" fmla="*/ 285316 w 552016"/>
                <a:gd name="connsiteY18" fmla="*/ 1547812 h 1585107"/>
                <a:gd name="connsiteX19" fmla="*/ 32904 w 552016"/>
                <a:gd name="connsiteY19" fmla="*/ 1552574 h 1585107"/>
                <a:gd name="connsiteX20" fmla="*/ 40047 w 552016"/>
                <a:gd name="connsiteY20" fmla="*/ 652463 h 1585107"/>
                <a:gd name="connsiteX21" fmla="*/ 11472 w 552016"/>
                <a:gd name="connsiteY21" fmla="*/ 597695 h 1585107"/>
                <a:gd name="connsiteX22" fmla="*/ 20997 w 552016"/>
                <a:gd name="connsiteY22" fmla="*/ 504825 h 1585107"/>
                <a:gd name="connsiteX23" fmla="*/ 30522 w 552016"/>
                <a:gd name="connsiteY23" fmla="*/ 107155 h 1585107"/>
                <a:gd name="connsiteX0" fmla="*/ 30522 w 552016"/>
                <a:gd name="connsiteY0" fmla="*/ 107155 h 1585760"/>
                <a:gd name="connsiteX1" fmla="*/ 156729 w 552016"/>
                <a:gd name="connsiteY1" fmla="*/ 50006 h 1585760"/>
                <a:gd name="connsiteX2" fmla="*/ 75766 w 552016"/>
                <a:gd name="connsiteY2" fmla="*/ 511969 h 1585760"/>
                <a:gd name="connsiteX3" fmla="*/ 66242 w 552016"/>
                <a:gd name="connsiteY3" fmla="*/ 552451 h 1585760"/>
                <a:gd name="connsiteX4" fmla="*/ 354373 w 552016"/>
                <a:gd name="connsiteY4" fmla="*/ 578644 h 1585760"/>
                <a:gd name="connsiteX5" fmla="*/ 294841 w 552016"/>
                <a:gd name="connsiteY5" fmla="*/ 0 h 1585760"/>
                <a:gd name="connsiteX6" fmla="*/ 475816 w 552016"/>
                <a:gd name="connsiteY6" fmla="*/ 109538 h 1585760"/>
                <a:gd name="connsiteX7" fmla="*/ 552016 w 552016"/>
                <a:gd name="connsiteY7" fmla="*/ 426244 h 1585760"/>
                <a:gd name="connsiteX8" fmla="*/ 475815 w 552016"/>
                <a:gd name="connsiteY8" fmla="*/ 583407 h 1585760"/>
                <a:gd name="connsiteX9" fmla="*/ 530584 w 552016"/>
                <a:gd name="connsiteY9" fmla="*/ 769144 h 1585760"/>
                <a:gd name="connsiteX10" fmla="*/ 456766 w 552016"/>
                <a:gd name="connsiteY10" fmla="*/ 814388 h 1585760"/>
                <a:gd name="connsiteX11" fmla="*/ 485341 w 552016"/>
                <a:gd name="connsiteY11" fmla="*/ 1090612 h 1585760"/>
                <a:gd name="connsiteX12" fmla="*/ 509153 w 552016"/>
                <a:gd name="connsiteY12" fmla="*/ 1276349 h 1585760"/>
                <a:gd name="connsiteX13" fmla="*/ 487722 w 552016"/>
                <a:gd name="connsiteY13" fmla="*/ 1419224 h 1585760"/>
                <a:gd name="connsiteX14" fmla="*/ 494865 w 552016"/>
                <a:gd name="connsiteY14" fmla="*/ 1576387 h 1585760"/>
                <a:gd name="connsiteX15" fmla="*/ 266265 w 552016"/>
                <a:gd name="connsiteY15" fmla="*/ 1576387 h 1585760"/>
                <a:gd name="connsiteX16" fmla="*/ 366278 w 552016"/>
                <a:gd name="connsiteY16" fmla="*/ 1431130 h 1585760"/>
                <a:gd name="connsiteX17" fmla="*/ 273409 w 552016"/>
                <a:gd name="connsiteY17" fmla="*/ 923923 h 1585760"/>
                <a:gd name="connsiteX18" fmla="*/ 285316 w 552016"/>
                <a:gd name="connsiteY18" fmla="*/ 1547812 h 1585760"/>
                <a:gd name="connsiteX19" fmla="*/ 32904 w 552016"/>
                <a:gd name="connsiteY19" fmla="*/ 1552574 h 1585760"/>
                <a:gd name="connsiteX20" fmla="*/ 40047 w 552016"/>
                <a:gd name="connsiteY20" fmla="*/ 652463 h 1585760"/>
                <a:gd name="connsiteX21" fmla="*/ 11472 w 552016"/>
                <a:gd name="connsiteY21" fmla="*/ 597695 h 1585760"/>
                <a:gd name="connsiteX22" fmla="*/ 20997 w 552016"/>
                <a:gd name="connsiteY22" fmla="*/ 504825 h 1585760"/>
                <a:gd name="connsiteX23" fmla="*/ 30522 w 552016"/>
                <a:gd name="connsiteY23" fmla="*/ 107155 h 1585760"/>
                <a:gd name="connsiteX0" fmla="*/ 30522 w 552016"/>
                <a:gd name="connsiteY0" fmla="*/ 107155 h 1591638"/>
                <a:gd name="connsiteX1" fmla="*/ 156729 w 552016"/>
                <a:gd name="connsiteY1" fmla="*/ 50006 h 1591638"/>
                <a:gd name="connsiteX2" fmla="*/ 75766 w 552016"/>
                <a:gd name="connsiteY2" fmla="*/ 511969 h 1591638"/>
                <a:gd name="connsiteX3" fmla="*/ 66242 w 552016"/>
                <a:gd name="connsiteY3" fmla="*/ 552451 h 1591638"/>
                <a:gd name="connsiteX4" fmla="*/ 354373 w 552016"/>
                <a:gd name="connsiteY4" fmla="*/ 578644 h 1591638"/>
                <a:gd name="connsiteX5" fmla="*/ 294841 w 552016"/>
                <a:gd name="connsiteY5" fmla="*/ 0 h 1591638"/>
                <a:gd name="connsiteX6" fmla="*/ 475816 w 552016"/>
                <a:gd name="connsiteY6" fmla="*/ 109538 h 1591638"/>
                <a:gd name="connsiteX7" fmla="*/ 552016 w 552016"/>
                <a:gd name="connsiteY7" fmla="*/ 426244 h 1591638"/>
                <a:gd name="connsiteX8" fmla="*/ 475815 w 552016"/>
                <a:gd name="connsiteY8" fmla="*/ 583407 h 1591638"/>
                <a:gd name="connsiteX9" fmla="*/ 530584 w 552016"/>
                <a:gd name="connsiteY9" fmla="*/ 769144 h 1591638"/>
                <a:gd name="connsiteX10" fmla="*/ 456766 w 552016"/>
                <a:gd name="connsiteY10" fmla="*/ 814388 h 1591638"/>
                <a:gd name="connsiteX11" fmla="*/ 485341 w 552016"/>
                <a:gd name="connsiteY11" fmla="*/ 1090612 h 1591638"/>
                <a:gd name="connsiteX12" fmla="*/ 509153 w 552016"/>
                <a:gd name="connsiteY12" fmla="*/ 1276349 h 1591638"/>
                <a:gd name="connsiteX13" fmla="*/ 487722 w 552016"/>
                <a:gd name="connsiteY13" fmla="*/ 1419224 h 1591638"/>
                <a:gd name="connsiteX14" fmla="*/ 494865 w 552016"/>
                <a:gd name="connsiteY14" fmla="*/ 1576387 h 1591638"/>
                <a:gd name="connsiteX15" fmla="*/ 266265 w 552016"/>
                <a:gd name="connsiteY15" fmla="*/ 1576387 h 1591638"/>
                <a:gd name="connsiteX16" fmla="*/ 366278 w 552016"/>
                <a:gd name="connsiteY16" fmla="*/ 1431130 h 1591638"/>
                <a:gd name="connsiteX17" fmla="*/ 273409 w 552016"/>
                <a:gd name="connsiteY17" fmla="*/ 923923 h 1591638"/>
                <a:gd name="connsiteX18" fmla="*/ 285316 w 552016"/>
                <a:gd name="connsiteY18" fmla="*/ 1547812 h 1591638"/>
                <a:gd name="connsiteX19" fmla="*/ 32904 w 552016"/>
                <a:gd name="connsiteY19" fmla="*/ 1552574 h 1591638"/>
                <a:gd name="connsiteX20" fmla="*/ 40047 w 552016"/>
                <a:gd name="connsiteY20" fmla="*/ 652463 h 1591638"/>
                <a:gd name="connsiteX21" fmla="*/ 11472 w 552016"/>
                <a:gd name="connsiteY21" fmla="*/ 597695 h 1591638"/>
                <a:gd name="connsiteX22" fmla="*/ 20997 w 552016"/>
                <a:gd name="connsiteY22" fmla="*/ 504825 h 1591638"/>
                <a:gd name="connsiteX23" fmla="*/ 30522 w 552016"/>
                <a:gd name="connsiteY23" fmla="*/ 107155 h 1591638"/>
                <a:gd name="connsiteX0" fmla="*/ 30522 w 552016"/>
                <a:gd name="connsiteY0" fmla="*/ 107155 h 1591638"/>
                <a:gd name="connsiteX1" fmla="*/ 156729 w 552016"/>
                <a:gd name="connsiteY1" fmla="*/ 50006 h 1591638"/>
                <a:gd name="connsiteX2" fmla="*/ 75766 w 552016"/>
                <a:gd name="connsiteY2" fmla="*/ 511969 h 1591638"/>
                <a:gd name="connsiteX3" fmla="*/ 66242 w 552016"/>
                <a:gd name="connsiteY3" fmla="*/ 552451 h 1591638"/>
                <a:gd name="connsiteX4" fmla="*/ 354373 w 552016"/>
                <a:gd name="connsiteY4" fmla="*/ 578644 h 1591638"/>
                <a:gd name="connsiteX5" fmla="*/ 294841 w 552016"/>
                <a:gd name="connsiteY5" fmla="*/ 0 h 1591638"/>
                <a:gd name="connsiteX6" fmla="*/ 475816 w 552016"/>
                <a:gd name="connsiteY6" fmla="*/ 109538 h 1591638"/>
                <a:gd name="connsiteX7" fmla="*/ 552016 w 552016"/>
                <a:gd name="connsiteY7" fmla="*/ 426244 h 1591638"/>
                <a:gd name="connsiteX8" fmla="*/ 475815 w 552016"/>
                <a:gd name="connsiteY8" fmla="*/ 583407 h 1591638"/>
                <a:gd name="connsiteX9" fmla="*/ 530584 w 552016"/>
                <a:gd name="connsiteY9" fmla="*/ 769144 h 1591638"/>
                <a:gd name="connsiteX10" fmla="*/ 456766 w 552016"/>
                <a:gd name="connsiteY10" fmla="*/ 814388 h 1591638"/>
                <a:gd name="connsiteX11" fmla="*/ 485341 w 552016"/>
                <a:gd name="connsiteY11" fmla="*/ 1090612 h 1591638"/>
                <a:gd name="connsiteX12" fmla="*/ 509153 w 552016"/>
                <a:gd name="connsiteY12" fmla="*/ 1276349 h 1591638"/>
                <a:gd name="connsiteX13" fmla="*/ 487722 w 552016"/>
                <a:gd name="connsiteY13" fmla="*/ 1419224 h 1591638"/>
                <a:gd name="connsiteX14" fmla="*/ 494865 w 552016"/>
                <a:gd name="connsiteY14" fmla="*/ 1576387 h 1591638"/>
                <a:gd name="connsiteX15" fmla="*/ 266265 w 552016"/>
                <a:gd name="connsiteY15" fmla="*/ 1576387 h 1591638"/>
                <a:gd name="connsiteX16" fmla="*/ 366278 w 552016"/>
                <a:gd name="connsiteY16" fmla="*/ 1431130 h 1591638"/>
                <a:gd name="connsiteX17" fmla="*/ 273409 w 552016"/>
                <a:gd name="connsiteY17" fmla="*/ 923923 h 1591638"/>
                <a:gd name="connsiteX18" fmla="*/ 285316 w 552016"/>
                <a:gd name="connsiteY18" fmla="*/ 1547812 h 1591638"/>
                <a:gd name="connsiteX19" fmla="*/ 32904 w 552016"/>
                <a:gd name="connsiteY19" fmla="*/ 1552574 h 1591638"/>
                <a:gd name="connsiteX20" fmla="*/ 40047 w 552016"/>
                <a:gd name="connsiteY20" fmla="*/ 652463 h 1591638"/>
                <a:gd name="connsiteX21" fmla="*/ 11472 w 552016"/>
                <a:gd name="connsiteY21" fmla="*/ 597695 h 1591638"/>
                <a:gd name="connsiteX22" fmla="*/ 20997 w 552016"/>
                <a:gd name="connsiteY22" fmla="*/ 504825 h 1591638"/>
                <a:gd name="connsiteX23" fmla="*/ 30522 w 552016"/>
                <a:gd name="connsiteY23" fmla="*/ 107155 h 1591638"/>
                <a:gd name="connsiteX0" fmla="*/ 30522 w 552016"/>
                <a:gd name="connsiteY0" fmla="*/ 107155 h 1591638"/>
                <a:gd name="connsiteX1" fmla="*/ 156729 w 552016"/>
                <a:gd name="connsiteY1" fmla="*/ 50006 h 1591638"/>
                <a:gd name="connsiteX2" fmla="*/ 75766 w 552016"/>
                <a:gd name="connsiteY2" fmla="*/ 511969 h 1591638"/>
                <a:gd name="connsiteX3" fmla="*/ 66242 w 552016"/>
                <a:gd name="connsiteY3" fmla="*/ 552451 h 1591638"/>
                <a:gd name="connsiteX4" fmla="*/ 354373 w 552016"/>
                <a:gd name="connsiteY4" fmla="*/ 578644 h 1591638"/>
                <a:gd name="connsiteX5" fmla="*/ 294841 w 552016"/>
                <a:gd name="connsiteY5" fmla="*/ 0 h 1591638"/>
                <a:gd name="connsiteX6" fmla="*/ 475816 w 552016"/>
                <a:gd name="connsiteY6" fmla="*/ 109538 h 1591638"/>
                <a:gd name="connsiteX7" fmla="*/ 552016 w 552016"/>
                <a:gd name="connsiteY7" fmla="*/ 426244 h 1591638"/>
                <a:gd name="connsiteX8" fmla="*/ 475815 w 552016"/>
                <a:gd name="connsiteY8" fmla="*/ 583407 h 1591638"/>
                <a:gd name="connsiteX9" fmla="*/ 530584 w 552016"/>
                <a:gd name="connsiteY9" fmla="*/ 769144 h 1591638"/>
                <a:gd name="connsiteX10" fmla="*/ 456766 w 552016"/>
                <a:gd name="connsiteY10" fmla="*/ 814388 h 1591638"/>
                <a:gd name="connsiteX11" fmla="*/ 485341 w 552016"/>
                <a:gd name="connsiteY11" fmla="*/ 1090612 h 1591638"/>
                <a:gd name="connsiteX12" fmla="*/ 509153 w 552016"/>
                <a:gd name="connsiteY12" fmla="*/ 1276349 h 1591638"/>
                <a:gd name="connsiteX13" fmla="*/ 487722 w 552016"/>
                <a:gd name="connsiteY13" fmla="*/ 1419224 h 1591638"/>
                <a:gd name="connsiteX14" fmla="*/ 494865 w 552016"/>
                <a:gd name="connsiteY14" fmla="*/ 1576387 h 1591638"/>
                <a:gd name="connsiteX15" fmla="*/ 266265 w 552016"/>
                <a:gd name="connsiteY15" fmla="*/ 1576387 h 1591638"/>
                <a:gd name="connsiteX16" fmla="*/ 366278 w 552016"/>
                <a:gd name="connsiteY16" fmla="*/ 1431130 h 1591638"/>
                <a:gd name="connsiteX17" fmla="*/ 273409 w 552016"/>
                <a:gd name="connsiteY17" fmla="*/ 923923 h 1591638"/>
                <a:gd name="connsiteX18" fmla="*/ 285316 w 552016"/>
                <a:gd name="connsiteY18" fmla="*/ 1547812 h 1591638"/>
                <a:gd name="connsiteX19" fmla="*/ 32904 w 552016"/>
                <a:gd name="connsiteY19" fmla="*/ 1552574 h 1591638"/>
                <a:gd name="connsiteX20" fmla="*/ 40047 w 552016"/>
                <a:gd name="connsiteY20" fmla="*/ 652463 h 1591638"/>
                <a:gd name="connsiteX21" fmla="*/ 11472 w 552016"/>
                <a:gd name="connsiteY21" fmla="*/ 597695 h 1591638"/>
                <a:gd name="connsiteX22" fmla="*/ 20997 w 552016"/>
                <a:gd name="connsiteY22" fmla="*/ 504825 h 1591638"/>
                <a:gd name="connsiteX23" fmla="*/ 30522 w 552016"/>
                <a:gd name="connsiteY23" fmla="*/ 107155 h 1591638"/>
                <a:gd name="connsiteX0" fmla="*/ 30522 w 552016"/>
                <a:gd name="connsiteY0" fmla="*/ 107155 h 1591638"/>
                <a:gd name="connsiteX1" fmla="*/ 156729 w 552016"/>
                <a:gd name="connsiteY1" fmla="*/ 50006 h 1591638"/>
                <a:gd name="connsiteX2" fmla="*/ 75766 w 552016"/>
                <a:gd name="connsiteY2" fmla="*/ 511969 h 1591638"/>
                <a:gd name="connsiteX3" fmla="*/ 66242 w 552016"/>
                <a:gd name="connsiteY3" fmla="*/ 552451 h 1591638"/>
                <a:gd name="connsiteX4" fmla="*/ 354373 w 552016"/>
                <a:gd name="connsiteY4" fmla="*/ 578644 h 1591638"/>
                <a:gd name="connsiteX5" fmla="*/ 294841 w 552016"/>
                <a:gd name="connsiteY5" fmla="*/ 0 h 1591638"/>
                <a:gd name="connsiteX6" fmla="*/ 475816 w 552016"/>
                <a:gd name="connsiteY6" fmla="*/ 109538 h 1591638"/>
                <a:gd name="connsiteX7" fmla="*/ 552016 w 552016"/>
                <a:gd name="connsiteY7" fmla="*/ 426244 h 1591638"/>
                <a:gd name="connsiteX8" fmla="*/ 475815 w 552016"/>
                <a:gd name="connsiteY8" fmla="*/ 583407 h 1591638"/>
                <a:gd name="connsiteX9" fmla="*/ 530584 w 552016"/>
                <a:gd name="connsiteY9" fmla="*/ 769144 h 1591638"/>
                <a:gd name="connsiteX10" fmla="*/ 456766 w 552016"/>
                <a:gd name="connsiteY10" fmla="*/ 814388 h 1591638"/>
                <a:gd name="connsiteX11" fmla="*/ 485341 w 552016"/>
                <a:gd name="connsiteY11" fmla="*/ 1090612 h 1591638"/>
                <a:gd name="connsiteX12" fmla="*/ 509153 w 552016"/>
                <a:gd name="connsiteY12" fmla="*/ 1276349 h 1591638"/>
                <a:gd name="connsiteX13" fmla="*/ 487722 w 552016"/>
                <a:gd name="connsiteY13" fmla="*/ 1419224 h 1591638"/>
                <a:gd name="connsiteX14" fmla="*/ 494865 w 552016"/>
                <a:gd name="connsiteY14" fmla="*/ 1576387 h 1591638"/>
                <a:gd name="connsiteX15" fmla="*/ 266265 w 552016"/>
                <a:gd name="connsiteY15" fmla="*/ 1576387 h 1591638"/>
                <a:gd name="connsiteX16" fmla="*/ 366278 w 552016"/>
                <a:gd name="connsiteY16" fmla="*/ 1431130 h 1591638"/>
                <a:gd name="connsiteX17" fmla="*/ 273409 w 552016"/>
                <a:gd name="connsiteY17" fmla="*/ 923923 h 1591638"/>
                <a:gd name="connsiteX18" fmla="*/ 285316 w 552016"/>
                <a:gd name="connsiteY18" fmla="*/ 1547812 h 1591638"/>
                <a:gd name="connsiteX19" fmla="*/ 32904 w 552016"/>
                <a:gd name="connsiteY19" fmla="*/ 1552574 h 1591638"/>
                <a:gd name="connsiteX20" fmla="*/ 40047 w 552016"/>
                <a:gd name="connsiteY20" fmla="*/ 652463 h 1591638"/>
                <a:gd name="connsiteX21" fmla="*/ 11472 w 552016"/>
                <a:gd name="connsiteY21" fmla="*/ 597695 h 1591638"/>
                <a:gd name="connsiteX22" fmla="*/ 20997 w 552016"/>
                <a:gd name="connsiteY22" fmla="*/ 504825 h 1591638"/>
                <a:gd name="connsiteX23" fmla="*/ 30522 w 552016"/>
                <a:gd name="connsiteY23" fmla="*/ 107155 h 1591638"/>
                <a:gd name="connsiteX0" fmla="*/ 30522 w 552016"/>
                <a:gd name="connsiteY0" fmla="*/ 107155 h 1591638"/>
                <a:gd name="connsiteX1" fmla="*/ 156729 w 552016"/>
                <a:gd name="connsiteY1" fmla="*/ 50006 h 1591638"/>
                <a:gd name="connsiteX2" fmla="*/ 75766 w 552016"/>
                <a:gd name="connsiteY2" fmla="*/ 511969 h 1591638"/>
                <a:gd name="connsiteX3" fmla="*/ 66242 w 552016"/>
                <a:gd name="connsiteY3" fmla="*/ 552451 h 1591638"/>
                <a:gd name="connsiteX4" fmla="*/ 354373 w 552016"/>
                <a:gd name="connsiteY4" fmla="*/ 578644 h 1591638"/>
                <a:gd name="connsiteX5" fmla="*/ 294841 w 552016"/>
                <a:gd name="connsiteY5" fmla="*/ 0 h 1591638"/>
                <a:gd name="connsiteX6" fmla="*/ 475816 w 552016"/>
                <a:gd name="connsiteY6" fmla="*/ 109538 h 1591638"/>
                <a:gd name="connsiteX7" fmla="*/ 552016 w 552016"/>
                <a:gd name="connsiteY7" fmla="*/ 426244 h 1591638"/>
                <a:gd name="connsiteX8" fmla="*/ 475815 w 552016"/>
                <a:gd name="connsiteY8" fmla="*/ 583407 h 1591638"/>
                <a:gd name="connsiteX9" fmla="*/ 530584 w 552016"/>
                <a:gd name="connsiteY9" fmla="*/ 769144 h 1591638"/>
                <a:gd name="connsiteX10" fmla="*/ 456766 w 552016"/>
                <a:gd name="connsiteY10" fmla="*/ 814388 h 1591638"/>
                <a:gd name="connsiteX11" fmla="*/ 485341 w 552016"/>
                <a:gd name="connsiteY11" fmla="*/ 1090612 h 1591638"/>
                <a:gd name="connsiteX12" fmla="*/ 509153 w 552016"/>
                <a:gd name="connsiteY12" fmla="*/ 1276349 h 1591638"/>
                <a:gd name="connsiteX13" fmla="*/ 487722 w 552016"/>
                <a:gd name="connsiteY13" fmla="*/ 1419224 h 1591638"/>
                <a:gd name="connsiteX14" fmla="*/ 494865 w 552016"/>
                <a:gd name="connsiteY14" fmla="*/ 1576387 h 1591638"/>
                <a:gd name="connsiteX15" fmla="*/ 266265 w 552016"/>
                <a:gd name="connsiteY15" fmla="*/ 1576387 h 1591638"/>
                <a:gd name="connsiteX16" fmla="*/ 366278 w 552016"/>
                <a:gd name="connsiteY16" fmla="*/ 1431130 h 1591638"/>
                <a:gd name="connsiteX17" fmla="*/ 273409 w 552016"/>
                <a:gd name="connsiteY17" fmla="*/ 923923 h 1591638"/>
                <a:gd name="connsiteX18" fmla="*/ 309128 w 552016"/>
                <a:gd name="connsiteY18" fmla="*/ 1278729 h 1591638"/>
                <a:gd name="connsiteX19" fmla="*/ 285316 w 552016"/>
                <a:gd name="connsiteY19" fmla="*/ 1547812 h 1591638"/>
                <a:gd name="connsiteX20" fmla="*/ 32904 w 552016"/>
                <a:gd name="connsiteY20" fmla="*/ 1552574 h 1591638"/>
                <a:gd name="connsiteX21" fmla="*/ 40047 w 552016"/>
                <a:gd name="connsiteY21" fmla="*/ 652463 h 1591638"/>
                <a:gd name="connsiteX22" fmla="*/ 11472 w 552016"/>
                <a:gd name="connsiteY22" fmla="*/ 597695 h 1591638"/>
                <a:gd name="connsiteX23" fmla="*/ 20997 w 552016"/>
                <a:gd name="connsiteY23" fmla="*/ 504825 h 1591638"/>
                <a:gd name="connsiteX24" fmla="*/ 30522 w 552016"/>
                <a:gd name="connsiteY24" fmla="*/ 107155 h 1591638"/>
                <a:gd name="connsiteX0" fmla="*/ 30522 w 552016"/>
                <a:gd name="connsiteY0" fmla="*/ 107155 h 1591638"/>
                <a:gd name="connsiteX1" fmla="*/ 156729 w 552016"/>
                <a:gd name="connsiteY1" fmla="*/ 50006 h 1591638"/>
                <a:gd name="connsiteX2" fmla="*/ 75766 w 552016"/>
                <a:gd name="connsiteY2" fmla="*/ 511969 h 1591638"/>
                <a:gd name="connsiteX3" fmla="*/ 66242 w 552016"/>
                <a:gd name="connsiteY3" fmla="*/ 552451 h 1591638"/>
                <a:gd name="connsiteX4" fmla="*/ 354373 w 552016"/>
                <a:gd name="connsiteY4" fmla="*/ 578644 h 1591638"/>
                <a:gd name="connsiteX5" fmla="*/ 294841 w 552016"/>
                <a:gd name="connsiteY5" fmla="*/ 0 h 1591638"/>
                <a:gd name="connsiteX6" fmla="*/ 475816 w 552016"/>
                <a:gd name="connsiteY6" fmla="*/ 109538 h 1591638"/>
                <a:gd name="connsiteX7" fmla="*/ 552016 w 552016"/>
                <a:gd name="connsiteY7" fmla="*/ 426244 h 1591638"/>
                <a:gd name="connsiteX8" fmla="*/ 475815 w 552016"/>
                <a:gd name="connsiteY8" fmla="*/ 583407 h 1591638"/>
                <a:gd name="connsiteX9" fmla="*/ 530584 w 552016"/>
                <a:gd name="connsiteY9" fmla="*/ 769144 h 1591638"/>
                <a:gd name="connsiteX10" fmla="*/ 456766 w 552016"/>
                <a:gd name="connsiteY10" fmla="*/ 814388 h 1591638"/>
                <a:gd name="connsiteX11" fmla="*/ 485341 w 552016"/>
                <a:gd name="connsiteY11" fmla="*/ 1090612 h 1591638"/>
                <a:gd name="connsiteX12" fmla="*/ 509153 w 552016"/>
                <a:gd name="connsiteY12" fmla="*/ 1276349 h 1591638"/>
                <a:gd name="connsiteX13" fmla="*/ 487722 w 552016"/>
                <a:gd name="connsiteY13" fmla="*/ 1419224 h 1591638"/>
                <a:gd name="connsiteX14" fmla="*/ 494865 w 552016"/>
                <a:gd name="connsiteY14" fmla="*/ 1576387 h 1591638"/>
                <a:gd name="connsiteX15" fmla="*/ 266265 w 552016"/>
                <a:gd name="connsiteY15" fmla="*/ 1576387 h 1591638"/>
                <a:gd name="connsiteX16" fmla="*/ 366278 w 552016"/>
                <a:gd name="connsiteY16" fmla="*/ 1431130 h 1591638"/>
                <a:gd name="connsiteX17" fmla="*/ 273409 w 552016"/>
                <a:gd name="connsiteY17" fmla="*/ 923923 h 1591638"/>
                <a:gd name="connsiteX18" fmla="*/ 309128 w 552016"/>
                <a:gd name="connsiteY18" fmla="*/ 1278729 h 1591638"/>
                <a:gd name="connsiteX19" fmla="*/ 285316 w 552016"/>
                <a:gd name="connsiteY19" fmla="*/ 1547812 h 1591638"/>
                <a:gd name="connsiteX20" fmla="*/ 32904 w 552016"/>
                <a:gd name="connsiteY20" fmla="*/ 1552574 h 1591638"/>
                <a:gd name="connsiteX21" fmla="*/ 40047 w 552016"/>
                <a:gd name="connsiteY21" fmla="*/ 652463 h 1591638"/>
                <a:gd name="connsiteX22" fmla="*/ 11472 w 552016"/>
                <a:gd name="connsiteY22" fmla="*/ 597695 h 1591638"/>
                <a:gd name="connsiteX23" fmla="*/ 20997 w 552016"/>
                <a:gd name="connsiteY23" fmla="*/ 504825 h 1591638"/>
                <a:gd name="connsiteX24" fmla="*/ 30522 w 552016"/>
                <a:gd name="connsiteY24" fmla="*/ 107155 h 1591638"/>
                <a:gd name="connsiteX0" fmla="*/ 30522 w 552016"/>
                <a:gd name="connsiteY0" fmla="*/ 107155 h 1591638"/>
                <a:gd name="connsiteX1" fmla="*/ 156729 w 552016"/>
                <a:gd name="connsiteY1" fmla="*/ 50006 h 1591638"/>
                <a:gd name="connsiteX2" fmla="*/ 75766 w 552016"/>
                <a:gd name="connsiteY2" fmla="*/ 511969 h 1591638"/>
                <a:gd name="connsiteX3" fmla="*/ 66242 w 552016"/>
                <a:gd name="connsiteY3" fmla="*/ 552451 h 1591638"/>
                <a:gd name="connsiteX4" fmla="*/ 354373 w 552016"/>
                <a:gd name="connsiteY4" fmla="*/ 578644 h 1591638"/>
                <a:gd name="connsiteX5" fmla="*/ 294841 w 552016"/>
                <a:gd name="connsiteY5" fmla="*/ 0 h 1591638"/>
                <a:gd name="connsiteX6" fmla="*/ 475816 w 552016"/>
                <a:gd name="connsiteY6" fmla="*/ 109538 h 1591638"/>
                <a:gd name="connsiteX7" fmla="*/ 552016 w 552016"/>
                <a:gd name="connsiteY7" fmla="*/ 426244 h 1591638"/>
                <a:gd name="connsiteX8" fmla="*/ 475815 w 552016"/>
                <a:gd name="connsiteY8" fmla="*/ 583407 h 1591638"/>
                <a:gd name="connsiteX9" fmla="*/ 530584 w 552016"/>
                <a:gd name="connsiteY9" fmla="*/ 769144 h 1591638"/>
                <a:gd name="connsiteX10" fmla="*/ 456766 w 552016"/>
                <a:gd name="connsiteY10" fmla="*/ 814388 h 1591638"/>
                <a:gd name="connsiteX11" fmla="*/ 485341 w 552016"/>
                <a:gd name="connsiteY11" fmla="*/ 1090612 h 1591638"/>
                <a:gd name="connsiteX12" fmla="*/ 509153 w 552016"/>
                <a:gd name="connsiteY12" fmla="*/ 1276349 h 1591638"/>
                <a:gd name="connsiteX13" fmla="*/ 487722 w 552016"/>
                <a:gd name="connsiteY13" fmla="*/ 1419224 h 1591638"/>
                <a:gd name="connsiteX14" fmla="*/ 494865 w 552016"/>
                <a:gd name="connsiteY14" fmla="*/ 1576387 h 1591638"/>
                <a:gd name="connsiteX15" fmla="*/ 266265 w 552016"/>
                <a:gd name="connsiteY15" fmla="*/ 1576387 h 1591638"/>
                <a:gd name="connsiteX16" fmla="*/ 366278 w 552016"/>
                <a:gd name="connsiteY16" fmla="*/ 1431130 h 1591638"/>
                <a:gd name="connsiteX17" fmla="*/ 273409 w 552016"/>
                <a:gd name="connsiteY17" fmla="*/ 921542 h 1591638"/>
                <a:gd name="connsiteX18" fmla="*/ 309128 w 552016"/>
                <a:gd name="connsiteY18" fmla="*/ 1278729 h 1591638"/>
                <a:gd name="connsiteX19" fmla="*/ 285316 w 552016"/>
                <a:gd name="connsiteY19" fmla="*/ 1547812 h 1591638"/>
                <a:gd name="connsiteX20" fmla="*/ 32904 w 552016"/>
                <a:gd name="connsiteY20" fmla="*/ 1552574 h 1591638"/>
                <a:gd name="connsiteX21" fmla="*/ 40047 w 552016"/>
                <a:gd name="connsiteY21" fmla="*/ 652463 h 1591638"/>
                <a:gd name="connsiteX22" fmla="*/ 11472 w 552016"/>
                <a:gd name="connsiteY22" fmla="*/ 597695 h 1591638"/>
                <a:gd name="connsiteX23" fmla="*/ 20997 w 552016"/>
                <a:gd name="connsiteY23" fmla="*/ 504825 h 1591638"/>
                <a:gd name="connsiteX24" fmla="*/ 30522 w 552016"/>
                <a:gd name="connsiteY24" fmla="*/ 107155 h 1591638"/>
                <a:gd name="connsiteX0" fmla="*/ 30522 w 552016"/>
                <a:gd name="connsiteY0" fmla="*/ 107155 h 1591638"/>
                <a:gd name="connsiteX1" fmla="*/ 156729 w 552016"/>
                <a:gd name="connsiteY1" fmla="*/ 50006 h 1591638"/>
                <a:gd name="connsiteX2" fmla="*/ 75766 w 552016"/>
                <a:gd name="connsiteY2" fmla="*/ 511969 h 1591638"/>
                <a:gd name="connsiteX3" fmla="*/ 66242 w 552016"/>
                <a:gd name="connsiteY3" fmla="*/ 552451 h 1591638"/>
                <a:gd name="connsiteX4" fmla="*/ 354373 w 552016"/>
                <a:gd name="connsiteY4" fmla="*/ 578644 h 1591638"/>
                <a:gd name="connsiteX5" fmla="*/ 294841 w 552016"/>
                <a:gd name="connsiteY5" fmla="*/ 0 h 1591638"/>
                <a:gd name="connsiteX6" fmla="*/ 475816 w 552016"/>
                <a:gd name="connsiteY6" fmla="*/ 109538 h 1591638"/>
                <a:gd name="connsiteX7" fmla="*/ 552016 w 552016"/>
                <a:gd name="connsiteY7" fmla="*/ 426244 h 1591638"/>
                <a:gd name="connsiteX8" fmla="*/ 475815 w 552016"/>
                <a:gd name="connsiteY8" fmla="*/ 583407 h 1591638"/>
                <a:gd name="connsiteX9" fmla="*/ 530584 w 552016"/>
                <a:gd name="connsiteY9" fmla="*/ 769144 h 1591638"/>
                <a:gd name="connsiteX10" fmla="*/ 456766 w 552016"/>
                <a:gd name="connsiteY10" fmla="*/ 814388 h 1591638"/>
                <a:gd name="connsiteX11" fmla="*/ 485341 w 552016"/>
                <a:gd name="connsiteY11" fmla="*/ 1090612 h 1591638"/>
                <a:gd name="connsiteX12" fmla="*/ 509153 w 552016"/>
                <a:gd name="connsiteY12" fmla="*/ 1276349 h 1591638"/>
                <a:gd name="connsiteX13" fmla="*/ 487722 w 552016"/>
                <a:gd name="connsiteY13" fmla="*/ 1419224 h 1591638"/>
                <a:gd name="connsiteX14" fmla="*/ 494865 w 552016"/>
                <a:gd name="connsiteY14" fmla="*/ 1576387 h 1591638"/>
                <a:gd name="connsiteX15" fmla="*/ 266265 w 552016"/>
                <a:gd name="connsiteY15" fmla="*/ 1576387 h 1591638"/>
                <a:gd name="connsiteX16" fmla="*/ 366278 w 552016"/>
                <a:gd name="connsiteY16" fmla="*/ 1431130 h 1591638"/>
                <a:gd name="connsiteX17" fmla="*/ 273409 w 552016"/>
                <a:gd name="connsiteY17" fmla="*/ 921542 h 1591638"/>
                <a:gd name="connsiteX18" fmla="*/ 309128 w 552016"/>
                <a:gd name="connsiteY18" fmla="*/ 1278729 h 1591638"/>
                <a:gd name="connsiteX19" fmla="*/ 285316 w 552016"/>
                <a:gd name="connsiteY19" fmla="*/ 1547812 h 1591638"/>
                <a:gd name="connsiteX20" fmla="*/ 32904 w 552016"/>
                <a:gd name="connsiteY20" fmla="*/ 1552574 h 1591638"/>
                <a:gd name="connsiteX21" fmla="*/ 40047 w 552016"/>
                <a:gd name="connsiteY21" fmla="*/ 652463 h 1591638"/>
                <a:gd name="connsiteX22" fmla="*/ 11472 w 552016"/>
                <a:gd name="connsiteY22" fmla="*/ 597695 h 1591638"/>
                <a:gd name="connsiteX23" fmla="*/ 20997 w 552016"/>
                <a:gd name="connsiteY23" fmla="*/ 504825 h 1591638"/>
                <a:gd name="connsiteX24" fmla="*/ 30522 w 552016"/>
                <a:gd name="connsiteY24" fmla="*/ 107155 h 1591638"/>
                <a:gd name="connsiteX0" fmla="*/ 30522 w 552016"/>
                <a:gd name="connsiteY0" fmla="*/ 107155 h 1591638"/>
                <a:gd name="connsiteX1" fmla="*/ 156729 w 552016"/>
                <a:gd name="connsiteY1" fmla="*/ 50006 h 1591638"/>
                <a:gd name="connsiteX2" fmla="*/ 75766 w 552016"/>
                <a:gd name="connsiteY2" fmla="*/ 511969 h 1591638"/>
                <a:gd name="connsiteX3" fmla="*/ 66242 w 552016"/>
                <a:gd name="connsiteY3" fmla="*/ 552451 h 1591638"/>
                <a:gd name="connsiteX4" fmla="*/ 354373 w 552016"/>
                <a:gd name="connsiteY4" fmla="*/ 578644 h 1591638"/>
                <a:gd name="connsiteX5" fmla="*/ 294841 w 552016"/>
                <a:gd name="connsiteY5" fmla="*/ 0 h 1591638"/>
                <a:gd name="connsiteX6" fmla="*/ 475816 w 552016"/>
                <a:gd name="connsiteY6" fmla="*/ 109538 h 1591638"/>
                <a:gd name="connsiteX7" fmla="*/ 552016 w 552016"/>
                <a:gd name="connsiteY7" fmla="*/ 426244 h 1591638"/>
                <a:gd name="connsiteX8" fmla="*/ 475815 w 552016"/>
                <a:gd name="connsiteY8" fmla="*/ 583407 h 1591638"/>
                <a:gd name="connsiteX9" fmla="*/ 530584 w 552016"/>
                <a:gd name="connsiteY9" fmla="*/ 769144 h 1591638"/>
                <a:gd name="connsiteX10" fmla="*/ 456766 w 552016"/>
                <a:gd name="connsiteY10" fmla="*/ 814388 h 1591638"/>
                <a:gd name="connsiteX11" fmla="*/ 485341 w 552016"/>
                <a:gd name="connsiteY11" fmla="*/ 1090612 h 1591638"/>
                <a:gd name="connsiteX12" fmla="*/ 509153 w 552016"/>
                <a:gd name="connsiteY12" fmla="*/ 1276349 h 1591638"/>
                <a:gd name="connsiteX13" fmla="*/ 487722 w 552016"/>
                <a:gd name="connsiteY13" fmla="*/ 1419224 h 1591638"/>
                <a:gd name="connsiteX14" fmla="*/ 494865 w 552016"/>
                <a:gd name="connsiteY14" fmla="*/ 1576387 h 1591638"/>
                <a:gd name="connsiteX15" fmla="*/ 266265 w 552016"/>
                <a:gd name="connsiteY15" fmla="*/ 1576387 h 1591638"/>
                <a:gd name="connsiteX16" fmla="*/ 366278 w 552016"/>
                <a:gd name="connsiteY16" fmla="*/ 1431130 h 1591638"/>
                <a:gd name="connsiteX17" fmla="*/ 273409 w 552016"/>
                <a:gd name="connsiteY17" fmla="*/ 921542 h 1591638"/>
                <a:gd name="connsiteX18" fmla="*/ 309128 w 552016"/>
                <a:gd name="connsiteY18" fmla="*/ 1278729 h 1591638"/>
                <a:gd name="connsiteX19" fmla="*/ 285316 w 552016"/>
                <a:gd name="connsiteY19" fmla="*/ 1547812 h 1591638"/>
                <a:gd name="connsiteX20" fmla="*/ 32904 w 552016"/>
                <a:gd name="connsiteY20" fmla="*/ 1552574 h 1591638"/>
                <a:gd name="connsiteX21" fmla="*/ 40047 w 552016"/>
                <a:gd name="connsiteY21" fmla="*/ 652463 h 1591638"/>
                <a:gd name="connsiteX22" fmla="*/ 11472 w 552016"/>
                <a:gd name="connsiteY22" fmla="*/ 597695 h 1591638"/>
                <a:gd name="connsiteX23" fmla="*/ 20997 w 552016"/>
                <a:gd name="connsiteY23" fmla="*/ 504825 h 1591638"/>
                <a:gd name="connsiteX24" fmla="*/ 30522 w 552016"/>
                <a:gd name="connsiteY24" fmla="*/ 107155 h 1591638"/>
                <a:gd name="connsiteX0" fmla="*/ 30522 w 552016"/>
                <a:gd name="connsiteY0" fmla="*/ 107155 h 1591638"/>
                <a:gd name="connsiteX1" fmla="*/ 156729 w 552016"/>
                <a:gd name="connsiteY1" fmla="*/ 50006 h 1591638"/>
                <a:gd name="connsiteX2" fmla="*/ 75766 w 552016"/>
                <a:gd name="connsiteY2" fmla="*/ 511969 h 1591638"/>
                <a:gd name="connsiteX3" fmla="*/ 66242 w 552016"/>
                <a:gd name="connsiteY3" fmla="*/ 552451 h 1591638"/>
                <a:gd name="connsiteX4" fmla="*/ 354373 w 552016"/>
                <a:gd name="connsiteY4" fmla="*/ 578644 h 1591638"/>
                <a:gd name="connsiteX5" fmla="*/ 294841 w 552016"/>
                <a:gd name="connsiteY5" fmla="*/ 0 h 1591638"/>
                <a:gd name="connsiteX6" fmla="*/ 475816 w 552016"/>
                <a:gd name="connsiteY6" fmla="*/ 109538 h 1591638"/>
                <a:gd name="connsiteX7" fmla="*/ 552016 w 552016"/>
                <a:gd name="connsiteY7" fmla="*/ 426244 h 1591638"/>
                <a:gd name="connsiteX8" fmla="*/ 475815 w 552016"/>
                <a:gd name="connsiteY8" fmla="*/ 583407 h 1591638"/>
                <a:gd name="connsiteX9" fmla="*/ 530584 w 552016"/>
                <a:gd name="connsiteY9" fmla="*/ 769144 h 1591638"/>
                <a:gd name="connsiteX10" fmla="*/ 456766 w 552016"/>
                <a:gd name="connsiteY10" fmla="*/ 814388 h 1591638"/>
                <a:gd name="connsiteX11" fmla="*/ 485341 w 552016"/>
                <a:gd name="connsiteY11" fmla="*/ 1090612 h 1591638"/>
                <a:gd name="connsiteX12" fmla="*/ 509153 w 552016"/>
                <a:gd name="connsiteY12" fmla="*/ 1276349 h 1591638"/>
                <a:gd name="connsiteX13" fmla="*/ 487722 w 552016"/>
                <a:gd name="connsiteY13" fmla="*/ 1419224 h 1591638"/>
                <a:gd name="connsiteX14" fmla="*/ 494865 w 552016"/>
                <a:gd name="connsiteY14" fmla="*/ 1576387 h 1591638"/>
                <a:gd name="connsiteX15" fmla="*/ 266265 w 552016"/>
                <a:gd name="connsiteY15" fmla="*/ 1576387 h 1591638"/>
                <a:gd name="connsiteX16" fmla="*/ 366278 w 552016"/>
                <a:gd name="connsiteY16" fmla="*/ 1431130 h 1591638"/>
                <a:gd name="connsiteX17" fmla="*/ 273409 w 552016"/>
                <a:gd name="connsiteY17" fmla="*/ 921542 h 1591638"/>
                <a:gd name="connsiteX18" fmla="*/ 309128 w 552016"/>
                <a:gd name="connsiteY18" fmla="*/ 1278729 h 1591638"/>
                <a:gd name="connsiteX19" fmla="*/ 285316 w 552016"/>
                <a:gd name="connsiteY19" fmla="*/ 1547812 h 1591638"/>
                <a:gd name="connsiteX20" fmla="*/ 32904 w 552016"/>
                <a:gd name="connsiteY20" fmla="*/ 1552574 h 1591638"/>
                <a:gd name="connsiteX21" fmla="*/ 40047 w 552016"/>
                <a:gd name="connsiteY21" fmla="*/ 652463 h 1591638"/>
                <a:gd name="connsiteX22" fmla="*/ 11472 w 552016"/>
                <a:gd name="connsiteY22" fmla="*/ 597695 h 1591638"/>
                <a:gd name="connsiteX23" fmla="*/ 20997 w 552016"/>
                <a:gd name="connsiteY23" fmla="*/ 504825 h 1591638"/>
                <a:gd name="connsiteX24" fmla="*/ 30522 w 552016"/>
                <a:gd name="connsiteY24" fmla="*/ 107155 h 1591638"/>
                <a:gd name="connsiteX0" fmla="*/ 30522 w 552016"/>
                <a:gd name="connsiteY0" fmla="*/ 107155 h 1591638"/>
                <a:gd name="connsiteX1" fmla="*/ 156729 w 552016"/>
                <a:gd name="connsiteY1" fmla="*/ 50006 h 1591638"/>
                <a:gd name="connsiteX2" fmla="*/ 75766 w 552016"/>
                <a:gd name="connsiteY2" fmla="*/ 511969 h 1591638"/>
                <a:gd name="connsiteX3" fmla="*/ 66242 w 552016"/>
                <a:gd name="connsiteY3" fmla="*/ 552451 h 1591638"/>
                <a:gd name="connsiteX4" fmla="*/ 354373 w 552016"/>
                <a:gd name="connsiteY4" fmla="*/ 578644 h 1591638"/>
                <a:gd name="connsiteX5" fmla="*/ 294841 w 552016"/>
                <a:gd name="connsiteY5" fmla="*/ 0 h 1591638"/>
                <a:gd name="connsiteX6" fmla="*/ 475816 w 552016"/>
                <a:gd name="connsiteY6" fmla="*/ 109538 h 1591638"/>
                <a:gd name="connsiteX7" fmla="*/ 552016 w 552016"/>
                <a:gd name="connsiteY7" fmla="*/ 426244 h 1591638"/>
                <a:gd name="connsiteX8" fmla="*/ 475815 w 552016"/>
                <a:gd name="connsiteY8" fmla="*/ 583407 h 1591638"/>
                <a:gd name="connsiteX9" fmla="*/ 530584 w 552016"/>
                <a:gd name="connsiteY9" fmla="*/ 769144 h 1591638"/>
                <a:gd name="connsiteX10" fmla="*/ 456766 w 552016"/>
                <a:gd name="connsiteY10" fmla="*/ 814388 h 1591638"/>
                <a:gd name="connsiteX11" fmla="*/ 485341 w 552016"/>
                <a:gd name="connsiteY11" fmla="*/ 1090612 h 1591638"/>
                <a:gd name="connsiteX12" fmla="*/ 509153 w 552016"/>
                <a:gd name="connsiteY12" fmla="*/ 1276349 h 1591638"/>
                <a:gd name="connsiteX13" fmla="*/ 487722 w 552016"/>
                <a:gd name="connsiteY13" fmla="*/ 1419224 h 1591638"/>
                <a:gd name="connsiteX14" fmla="*/ 494865 w 552016"/>
                <a:gd name="connsiteY14" fmla="*/ 1576387 h 1591638"/>
                <a:gd name="connsiteX15" fmla="*/ 266265 w 552016"/>
                <a:gd name="connsiteY15" fmla="*/ 1576387 h 1591638"/>
                <a:gd name="connsiteX16" fmla="*/ 366278 w 552016"/>
                <a:gd name="connsiteY16" fmla="*/ 1431130 h 1591638"/>
                <a:gd name="connsiteX17" fmla="*/ 273409 w 552016"/>
                <a:gd name="connsiteY17" fmla="*/ 921542 h 1591638"/>
                <a:gd name="connsiteX18" fmla="*/ 313890 w 552016"/>
                <a:gd name="connsiteY18" fmla="*/ 1290636 h 1591638"/>
                <a:gd name="connsiteX19" fmla="*/ 285316 w 552016"/>
                <a:gd name="connsiteY19" fmla="*/ 1547812 h 1591638"/>
                <a:gd name="connsiteX20" fmla="*/ 32904 w 552016"/>
                <a:gd name="connsiteY20" fmla="*/ 1552574 h 1591638"/>
                <a:gd name="connsiteX21" fmla="*/ 40047 w 552016"/>
                <a:gd name="connsiteY21" fmla="*/ 652463 h 1591638"/>
                <a:gd name="connsiteX22" fmla="*/ 11472 w 552016"/>
                <a:gd name="connsiteY22" fmla="*/ 597695 h 1591638"/>
                <a:gd name="connsiteX23" fmla="*/ 20997 w 552016"/>
                <a:gd name="connsiteY23" fmla="*/ 504825 h 1591638"/>
                <a:gd name="connsiteX24" fmla="*/ 30522 w 552016"/>
                <a:gd name="connsiteY24" fmla="*/ 107155 h 1591638"/>
                <a:gd name="connsiteX0" fmla="*/ 19101 w 540595"/>
                <a:gd name="connsiteY0" fmla="*/ 107155 h 1591638"/>
                <a:gd name="connsiteX1" fmla="*/ 145308 w 540595"/>
                <a:gd name="connsiteY1" fmla="*/ 50006 h 1591638"/>
                <a:gd name="connsiteX2" fmla="*/ 64345 w 540595"/>
                <a:gd name="connsiteY2" fmla="*/ 511969 h 1591638"/>
                <a:gd name="connsiteX3" fmla="*/ 54821 w 540595"/>
                <a:gd name="connsiteY3" fmla="*/ 552451 h 1591638"/>
                <a:gd name="connsiteX4" fmla="*/ 342952 w 540595"/>
                <a:gd name="connsiteY4" fmla="*/ 578644 h 1591638"/>
                <a:gd name="connsiteX5" fmla="*/ 283420 w 540595"/>
                <a:gd name="connsiteY5" fmla="*/ 0 h 1591638"/>
                <a:gd name="connsiteX6" fmla="*/ 464395 w 540595"/>
                <a:gd name="connsiteY6" fmla="*/ 109538 h 1591638"/>
                <a:gd name="connsiteX7" fmla="*/ 540595 w 540595"/>
                <a:gd name="connsiteY7" fmla="*/ 426244 h 1591638"/>
                <a:gd name="connsiteX8" fmla="*/ 464394 w 540595"/>
                <a:gd name="connsiteY8" fmla="*/ 583407 h 1591638"/>
                <a:gd name="connsiteX9" fmla="*/ 519163 w 540595"/>
                <a:gd name="connsiteY9" fmla="*/ 769144 h 1591638"/>
                <a:gd name="connsiteX10" fmla="*/ 445345 w 540595"/>
                <a:gd name="connsiteY10" fmla="*/ 814388 h 1591638"/>
                <a:gd name="connsiteX11" fmla="*/ 473920 w 540595"/>
                <a:gd name="connsiteY11" fmla="*/ 1090612 h 1591638"/>
                <a:gd name="connsiteX12" fmla="*/ 497732 w 540595"/>
                <a:gd name="connsiteY12" fmla="*/ 1276349 h 1591638"/>
                <a:gd name="connsiteX13" fmla="*/ 476301 w 540595"/>
                <a:gd name="connsiteY13" fmla="*/ 1419224 h 1591638"/>
                <a:gd name="connsiteX14" fmla="*/ 483444 w 540595"/>
                <a:gd name="connsiteY14" fmla="*/ 1576387 h 1591638"/>
                <a:gd name="connsiteX15" fmla="*/ 254844 w 540595"/>
                <a:gd name="connsiteY15" fmla="*/ 1576387 h 1591638"/>
                <a:gd name="connsiteX16" fmla="*/ 354857 w 540595"/>
                <a:gd name="connsiteY16" fmla="*/ 1431130 h 1591638"/>
                <a:gd name="connsiteX17" fmla="*/ 261988 w 540595"/>
                <a:gd name="connsiteY17" fmla="*/ 921542 h 1591638"/>
                <a:gd name="connsiteX18" fmla="*/ 302469 w 540595"/>
                <a:gd name="connsiteY18" fmla="*/ 1290636 h 1591638"/>
                <a:gd name="connsiteX19" fmla="*/ 273895 w 540595"/>
                <a:gd name="connsiteY19" fmla="*/ 1547812 h 1591638"/>
                <a:gd name="connsiteX20" fmla="*/ 21483 w 540595"/>
                <a:gd name="connsiteY20" fmla="*/ 1552574 h 1591638"/>
                <a:gd name="connsiteX21" fmla="*/ 147688 w 540595"/>
                <a:gd name="connsiteY21" fmla="*/ 1231104 h 1591638"/>
                <a:gd name="connsiteX22" fmla="*/ 28626 w 540595"/>
                <a:gd name="connsiteY22" fmla="*/ 652463 h 1591638"/>
                <a:gd name="connsiteX23" fmla="*/ 51 w 540595"/>
                <a:gd name="connsiteY23" fmla="*/ 597695 h 1591638"/>
                <a:gd name="connsiteX24" fmla="*/ 9576 w 540595"/>
                <a:gd name="connsiteY24" fmla="*/ 504825 h 1591638"/>
                <a:gd name="connsiteX25" fmla="*/ 19101 w 540595"/>
                <a:gd name="connsiteY25" fmla="*/ 107155 h 1591638"/>
                <a:gd name="connsiteX0" fmla="*/ 19101 w 540595"/>
                <a:gd name="connsiteY0" fmla="*/ 107155 h 1591638"/>
                <a:gd name="connsiteX1" fmla="*/ 145308 w 540595"/>
                <a:gd name="connsiteY1" fmla="*/ 50006 h 1591638"/>
                <a:gd name="connsiteX2" fmla="*/ 64345 w 540595"/>
                <a:gd name="connsiteY2" fmla="*/ 511969 h 1591638"/>
                <a:gd name="connsiteX3" fmla="*/ 54821 w 540595"/>
                <a:gd name="connsiteY3" fmla="*/ 552451 h 1591638"/>
                <a:gd name="connsiteX4" fmla="*/ 342952 w 540595"/>
                <a:gd name="connsiteY4" fmla="*/ 578644 h 1591638"/>
                <a:gd name="connsiteX5" fmla="*/ 283420 w 540595"/>
                <a:gd name="connsiteY5" fmla="*/ 0 h 1591638"/>
                <a:gd name="connsiteX6" fmla="*/ 464395 w 540595"/>
                <a:gd name="connsiteY6" fmla="*/ 109538 h 1591638"/>
                <a:gd name="connsiteX7" fmla="*/ 540595 w 540595"/>
                <a:gd name="connsiteY7" fmla="*/ 426244 h 1591638"/>
                <a:gd name="connsiteX8" fmla="*/ 464394 w 540595"/>
                <a:gd name="connsiteY8" fmla="*/ 583407 h 1591638"/>
                <a:gd name="connsiteX9" fmla="*/ 519163 w 540595"/>
                <a:gd name="connsiteY9" fmla="*/ 769144 h 1591638"/>
                <a:gd name="connsiteX10" fmla="*/ 445345 w 540595"/>
                <a:gd name="connsiteY10" fmla="*/ 814388 h 1591638"/>
                <a:gd name="connsiteX11" fmla="*/ 473920 w 540595"/>
                <a:gd name="connsiteY11" fmla="*/ 1090612 h 1591638"/>
                <a:gd name="connsiteX12" fmla="*/ 497732 w 540595"/>
                <a:gd name="connsiteY12" fmla="*/ 1276349 h 1591638"/>
                <a:gd name="connsiteX13" fmla="*/ 476301 w 540595"/>
                <a:gd name="connsiteY13" fmla="*/ 1419224 h 1591638"/>
                <a:gd name="connsiteX14" fmla="*/ 483444 w 540595"/>
                <a:gd name="connsiteY14" fmla="*/ 1576387 h 1591638"/>
                <a:gd name="connsiteX15" fmla="*/ 254844 w 540595"/>
                <a:gd name="connsiteY15" fmla="*/ 1576387 h 1591638"/>
                <a:gd name="connsiteX16" fmla="*/ 354857 w 540595"/>
                <a:gd name="connsiteY16" fmla="*/ 1431130 h 1591638"/>
                <a:gd name="connsiteX17" fmla="*/ 261988 w 540595"/>
                <a:gd name="connsiteY17" fmla="*/ 921542 h 1591638"/>
                <a:gd name="connsiteX18" fmla="*/ 302469 w 540595"/>
                <a:gd name="connsiteY18" fmla="*/ 1290636 h 1591638"/>
                <a:gd name="connsiteX19" fmla="*/ 273895 w 540595"/>
                <a:gd name="connsiteY19" fmla="*/ 1547812 h 1591638"/>
                <a:gd name="connsiteX20" fmla="*/ 21483 w 540595"/>
                <a:gd name="connsiteY20" fmla="*/ 1552574 h 1591638"/>
                <a:gd name="connsiteX21" fmla="*/ 145307 w 540595"/>
                <a:gd name="connsiteY21" fmla="*/ 1421604 h 1591638"/>
                <a:gd name="connsiteX22" fmla="*/ 147688 w 540595"/>
                <a:gd name="connsiteY22" fmla="*/ 1231104 h 1591638"/>
                <a:gd name="connsiteX23" fmla="*/ 28626 w 540595"/>
                <a:gd name="connsiteY23" fmla="*/ 652463 h 1591638"/>
                <a:gd name="connsiteX24" fmla="*/ 51 w 540595"/>
                <a:gd name="connsiteY24" fmla="*/ 597695 h 1591638"/>
                <a:gd name="connsiteX25" fmla="*/ 9576 w 540595"/>
                <a:gd name="connsiteY25" fmla="*/ 504825 h 1591638"/>
                <a:gd name="connsiteX26" fmla="*/ 19101 w 540595"/>
                <a:gd name="connsiteY26" fmla="*/ 107155 h 1591638"/>
                <a:gd name="connsiteX0" fmla="*/ 19101 w 540595"/>
                <a:gd name="connsiteY0" fmla="*/ 107155 h 1591638"/>
                <a:gd name="connsiteX1" fmla="*/ 145308 w 540595"/>
                <a:gd name="connsiteY1" fmla="*/ 50006 h 1591638"/>
                <a:gd name="connsiteX2" fmla="*/ 64345 w 540595"/>
                <a:gd name="connsiteY2" fmla="*/ 511969 h 1591638"/>
                <a:gd name="connsiteX3" fmla="*/ 54821 w 540595"/>
                <a:gd name="connsiteY3" fmla="*/ 552451 h 1591638"/>
                <a:gd name="connsiteX4" fmla="*/ 342952 w 540595"/>
                <a:gd name="connsiteY4" fmla="*/ 578644 h 1591638"/>
                <a:gd name="connsiteX5" fmla="*/ 283420 w 540595"/>
                <a:gd name="connsiteY5" fmla="*/ 0 h 1591638"/>
                <a:gd name="connsiteX6" fmla="*/ 464395 w 540595"/>
                <a:gd name="connsiteY6" fmla="*/ 109538 h 1591638"/>
                <a:gd name="connsiteX7" fmla="*/ 540595 w 540595"/>
                <a:gd name="connsiteY7" fmla="*/ 426244 h 1591638"/>
                <a:gd name="connsiteX8" fmla="*/ 464394 w 540595"/>
                <a:gd name="connsiteY8" fmla="*/ 583407 h 1591638"/>
                <a:gd name="connsiteX9" fmla="*/ 519163 w 540595"/>
                <a:gd name="connsiteY9" fmla="*/ 769144 h 1591638"/>
                <a:gd name="connsiteX10" fmla="*/ 445345 w 540595"/>
                <a:gd name="connsiteY10" fmla="*/ 814388 h 1591638"/>
                <a:gd name="connsiteX11" fmla="*/ 473920 w 540595"/>
                <a:gd name="connsiteY11" fmla="*/ 1090612 h 1591638"/>
                <a:gd name="connsiteX12" fmla="*/ 497732 w 540595"/>
                <a:gd name="connsiteY12" fmla="*/ 1276349 h 1591638"/>
                <a:gd name="connsiteX13" fmla="*/ 476301 w 540595"/>
                <a:gd name="connsiteY13" fmla="*/ 1419224 h 1591638"/>
                <a:gd name="connsiteX14" fmla="*/ 483444 w 540595"/>
                <a:gd name="connsiteY14" fmla="*/ 1576387 h 1591638"/>
                <a:gd name="connsiteX15" fmla="*/ 254844 w 540595"/>
                <a:gd name="connsiteY15" fmla="*/ 1576387 h 1591638"/>
                <a:gd name="connsiteX16" fmla="*/ 354857 w 540595"/>
                <a:gd name="connsiteY16" fmla="*/ 1431130 h 1591638"/>
                <a:gd name="connsiteX17" fmla="*/ 261988 w 540595"/>
                <a:gd name="connsiteY17" fmla="*/ 921542 h 1591638"/>
                <a:gd name="connsiteX18" fmla="*/ 302469 w 540595"/>
                <a:gd name="connsiteY18" fmla="*/ 1290636 h 1591638"/>
                <a:gd name="connsiteX19" fmla="*/ 273895 w 540595"/>
                <a:gd name="connsiteY19" fmla="*/ 1547812 h 1591638"/>
                <a:gd name="connsiteX20" fmla="*/ 21483 w 540595"/>
                <a:gd name="connsiteY20" fmla="*/ 1552574 h 1591638"/>
                <a:gd name="connsiteX21" fmla="*/ 145307 w 540595"/>
                <a:gd name="connsiteY21" fmla="*/ 1421604 h 1591638"/>
                <a:gd name="connsiteX22" fmla="*/ 147688 w 540595"/>
                <a:gd name="connsiteY22" fmla="*/ 1231104 h 1591638"/>
                <a:gd name="connsiteX23" fmla="*/ 28626 w 540595"/>
                <a:gd name="connsiteY23" fmla="*/ 652463 h 1591638"/>
                <a:gd name="connsiteX24" fmla="*/ 51 w 540595"/>
                <a:gd name="connsiteY24" fmla="*/ 597695 h 1591638"/>
                <a:gd name="connsiteX25" fmla="*/ 9576 w 540595"/>
                <a:gd name="connsiteY25" fmla="*/ 504825 h 1591638"/>
                <a:gd name="connsiteX26" fmla="*/ 19101 w 540595"/>
                <a:gd name="connsiteY26" fmla="*/ 107155 h 1591638"/>
                <a:gd name="connsiteX0" fmla="*/ 19101 w 540595"/>
                <a:gd name="connsiteY0" fmla="*/ 107155 h 1591638"/>
                <a:gd name="connsiteX1" fmla="*/ 145308 w 540595"/>
                <a:gd name="connsiteY1" fmla="*/ 50006 h 1591638"/>
                <a:gd name="connsiteX2" fmla="*/ 64345 w 540595"/>
                <a:gd name="connsiteY2" fmla="*/ 511969 h 1591638"/>
                <a:gd name="connsiteX3" fmla="*/ 54821 w 540595"/>
                <a:gd name="connsiteY3" fmla="*/ 552451 h 1591638"/>
                <a:gd name="connsiteX4" fmla="*/ 342952 w 540595"/>
                <a:gd name="connsiteY4" fmla="*/ 578644 h 1591638"/>
                <a:gd name="connsiteX5" fmla="*/ 283420 w 540595"/>
                <a:gd name="connsiteY5" fmla="*/ 0 h 1591638"/>
                <a:gd name="connsiteX6" fmla="*/ 464395 w 540595"/>
                <a:gd name="connsiteY6" fmla="*/ 109538 h 1591638"/>
                <a:gd name="connsiteX7" fmla="*/ 540595 w 540595"/>
                <a:gd name="connsiteY7" fmla="*/ 426244 h 1591638"/>
                <a:gd name="connsiteX8" fmla="*/ 464394 w 540595"/>
                <a:gd name="connsiteY8" fmla="*/ 583407 h 1591638"/>
                <a:gd name="connsiteX9" fmla="*/ 519163 w 540595"/>
                <a:gd name="connsiteY9" fmla="*/ 769144 h 1591638"/>
                <a:gd name="connsiteX10" fmla="*/ 445345 w 540595"/>
                <a:gd name="connsiteY10" fmla="*/ 814388 h 1591638"/>
                <a:gd name="connsiteX11" fmla="*/ 473920 w 540595"/>
                <a:gd name="connsiteY11" fmla="*/ 1090612 h 1591638"/>
                <a:gd name="connsiteX12" fmla="*/ 497732 w 540595"/>
                <a:gd name="connsiteY12" fmla="*/ 1276349 h 1591638"/>
                <a:gd name="connsiteX13" fmla="*/ 476301 w 540595"/>
                <a:gd name="connsiteY13" fmla="*/ 1419224 h 1591638"/>
                <a:gd name="connsiteX14" fmla="*/ 483444 w 540595"/>
                <a:gd name="connsiteY14" fmla="*/ 1576387 h 1591638"/>
                <a:gd name="connsiteX15" fmla="*/ 254844 w 540595"/>
                <a:gd name="connsiteY15" fmla="*/ 1576387 h 1591638"/>
                <a:gd name="connsiteX16" fmla="*/ 354857 w 540595"/>
                <a:gd name="connsiteY16" fmla="*/ 1431130 h 1591638"/>
                <a:gd name="connsiteX17" fmla="*/ 261988 w 540595"/>
                <a:gd name="connsiteY17" fmla="*/ 921542 h 1591638"/>
                <a:gd name="connsiteX18" fmla="*/ 302469 w 540595"/>
                <a:gd name="connsiteY18" fmla="*/ 1290636 h 1591638"/>
                <a:gd name="connsiteX19" fmla="*/ 273895 w 540595"/>
                <a:gd name="connsiteY19" fmla="*/ 1547812 h 1591638"/>
                <a:gd name="connsiteX20" fmla="*/ 21483 w 540595"/>
                <a:gd name="connsiteY20" fmla="*/ 1552574 h 1591638"/>
                <a:gd name="connsiteX21" fmla="*/ 145307 w 540595"/>
                <a:gd name="connsiteY21" fmla="*/ 1421604 h 1591638"/>
                <a:gd name="connsiteX22" fmla="*/ 147688 w 540595"/>
                <a:gd name="connsiteY22" fmla="*/ 1231104 h 1591638"/>
                <a:gd name="connsiteX23" fmla="*/ 28626 w 540595"/>
                <a:gd name="connsiteY23" fmla="*/ 652463 h 1591638"/>
                <a:gd name="connsiteX24" fmla="*/ 51 w 540595"/>
                <a:gd name="connsiteY24" fmla="*/ 597695 h 1591638"/>
                <a:gd name="connsiteX25" fmla="*/ 9576 w 540595"/>
                <a:gd name="connsiteY25" fmla="*/ 504825 h 1591638"/>
                <a:gd name="connsiteX26" fmla="*/ 19101 w 540595"/>
                <a:gd name="connsiteY26" fmla="*/ 107155 h 1591638"/>
                <a:gd name="connsiteX0" fmla="*/ 19101 w 540595"/>
                <a:gd name="connsiteY0" fmla="*/ 107155 h 1591638"/>
                <a:gd name="connsiteX1" fmla="*/ 145308 w 540595"/>
                <a:gd name="connsiteY1" fmla="*/ 50006 h 1591638"/>
                <a:gd name="connsiteX2" fmla="*/ 64345 w 540595"/>
                <a:gd name="connsiteY2" fmla="*/ 511969 h 1591638"/>
                <a:gd name="connsiteX3" fmla="*/ 54821 w 540595"/>
                <a:gd name="connsiteY3" fmla="*/ 552451 h 1591638"/>
                <a:gd name="connsiteX4" fmla="*/ 342952 w 540595"/>
                <a:gd name="connsiteY4" fmla="*/ 578644 h 1591638"/>
                <a:gd name="connsiteX5" fmla="*/ 283420 w 540595"/>
                <a:gd name="connsiteY5" fmla="*/ 0 h 1591638"/>
                <a:gd name="connsiteX6" fmla="*/ 464395 w 540595"/>
                <a:gd name="connsiteY6" fmla="*/ 109538 h 1591638"/>
                <a:gd name="connsiteX7" fmla="*/ 540595 w 540595"/>
                <a:gd name="connsiteY7" fmla="*/ 426244 h 1591638"/>
                <a:gd name="connsiteX8" fmla="*/ 464394 w 540595"/>
                <a:gd name="connsiteY8" fmla="*/ 583407 h 1591638"/>
                <a:gd name="connsiteX9" fmla="*/ 519163 w 540595"/>
                <a:gd name="connsiteY9" fmla="*/ 769144 h 1591638"/>
                <a:gd name="connsiteX10" fmla="*/ 445345 w 540595"/>
                <a:gd name="connsiteY10" fmla="*/ 814388 h 1591638"/>
                <a:gd name="connsiteX11" fmla="*/ 473920 w 540595"/>
                <a:gd name="connsiteY11" fmla="*/ 1090612 h 1591638"/>
                <a:gd name="connsiteX12" fmla="*/ 497732 w 540595"/>
                <a:gd name="connsiteY12" fmla="*/ 1276349 h 1591638"/>
                <a:gd name="connsiteX13" fmla="*/ 476301 w 540595"/>
                <a:gd name="connsiteY13" fmla="*/ 1419224 h 1591638"/>
                <a:gd name="connsiteX14" fmla="*/ 483444 w 540595"/>
                <a:gd name="connsiteY14" fmla="*/ 1576387 h 1591638"/>
                <a:gd name="connsiteX15" fmla="*/ 254844 w 540595"/>
                <a:gd name="connsiteY15" fmla="*/ 1576387 h 1591638"/>
                <a:gd name="connsiteX16" fmla="*/ 354857 w 540595"/>
                <a:gd name="connsiteY16" fmla="*/ 1431130 h 1591638"/>
                <a:gd name="connsiteX17" fmla="*/ 261988 w 540595"/>
                <a:gd name="connsiteY17" fmla="*/ 921542 h 1591638"/>
                <a:gd name="connsiteX18" fmla="*/ 302469 w 540595"/>
                <a:gd name="connsiteY18" fmla="*/ 1290636 h 1591638"/>
                <a:gd name="connsiteX19" fmla="*/ 273895 w 540595"/>
                <a:gd name="connsiteY19" fmla="*/ 1547812 h 1591638"/>
                <a:gd name="connsiteX20" fmla="*/ 21483 w 540595"/>
                <a:gd name="connsiteY20" fmla="*/ 1552574 h 1591638"/>
                <a:gd name="connsiteX21" fmla="*/ 145307 w 540595"/>
                <a:gd name="connsiteY21" fmla="*/ 1421604 h 1591638"/>
                <a:gd name="connsiteX22" fmla="*/ 147688 w 540595"/>
                <a:gd name="connsiteY22" fmla="*/ 1231104 h 1591638"/>
                <a:gd name="connsiteX23" fmla="*/ 28626 w 540595"/>
                <a:gd name="connsiteY23" fmla="*/ 652463 h 1591638"/>
                <a:gd name="connsiteX24" fmla="*/ 51 w 540595"/>
                <a:gd name="connsiteY24" fmla="*/ 597695 h 1591638"/>
                <a:gd name="connsiteX25" fmla="*/ 9576 w 540595"/>
                <a:gd name="connsiteY25" fmla="*/ 504825 h 1591638"/>
                <a:gd name="connsiteX26" fmla="*/ 19101 w 540595"/>
                <a:gd name="connsiteY26" fmla="*/ 107155 h 1591638"/>
                <a:gd name="connsiteX0" fmla="*/ 19101 w 540595"/>
                <a:gd name="connsiteY0" fmla="*/ 107155 h 1591638"/>
                <a:gd name="connsiteX1" fmla="*/ 145308 w 540595"/>
                <a:gd name="connsiteY1" fmla="*/ 50006 h 1591638"/>
                <a:gd name="connsiteX2" fmla="*/ 64345 w 540595"/>
                <a:gd name="connsiteY2" fmla="*/ 511969 h 1591638"/>
                <a:gd name="connsiteX3" fmla="*/ 54821 w 540595"/>
                <a:gd name="connsiteY3" fmla="*/ 552451 h 1591638"/>
                <a:gd name="connsiteX4" fmla="*/ 342952 w 540595"/>
                <a:gd name="connsiteY4" fmla="*/ 578644 h 1591638"/>
                <a:gd name="connsiteX5" fmla="*/ 283420 w 540595"/>
                <a:gd name="connsiteY5" fmla="*/ 0 h 1591638"/>
                <a:gd name="connsiteX6" fmla="*/ 464395 w 540595"/>
                <a:gd name="connsiteY6" fmla="*/ 109538 h 1591638"/>
                <a:gd name="connsiteX7" fmla="*/ 540595 w 540595"/>
                <a:gd name="connsiteY7" fmla="*/ 426244 h 1591638"/>
                <a:gd name="connsiteX8" fmla="*/ 464394 w 540595"/>
                <a:gd name="connsiteY8" fmla="*/ 583407 h 1591638"/>
                <a:gd name="connsiteX9" fmla="*/ 519163 w 540595"/>
                <a:gd name="connsiteY9" fmla="*/ 769144 h 1591638"/>
                <a:gd name="connsiteX10" fmla="*/ 445345 w 540595"/>
                <a:gd name="connsiteY10" fmla="*/ 814388 h 1591638"/>
                <a:gd name="connsiteX11" fmla="*/ 473920 w 540595"/>
                <a:gd name="connsiteY11" fmla="*/ 1090612 h 1591638"/>
                <a:gd name="connsiteX12" fmla="*/ 497732 w 540595"/>
                <a:gd name="connsiteY12" fmla="*/ 1276349 h 1591638"/>
                <a:gd name="connsiteX13" fmla="*/ 476301 w 540595"/>
                <a:gd name="connsiteY13" fmla="*/ 1419224 h 1591638"/>
                <a:gd name="connsiteX14" fmla="*/ 483444 w 540595"/>
                <a:gd name="connsiteY14" fmla="*/ 1576387 h 1591638"/>
                <a:gd name="connsiteX15" fmla="*/ 254844 w 540595"/>
                <a:gd name="connsiteY15" fmla="*/ 1576387 h 1591638"/>
                <a:gd name="connsiteX16" fmla="*/ 354857 w 540595"/>
                <a:gd name="connsiteY16" fmla="*/ 1431130 h 1591638"/>
                <a:gd name="connsiteX17" fmla="*/ 261988 w 540595"/>
                <a:gd name="connsiteY17" fmla="*/ 921542 h 1591638"/>
                <a:gd name="connsiteX18" fmla="*/ 302469 w 540595"/>
                <a:gd name="connsiteY18" fmla="*/ 1290636 h 1591638"/>
                <a:gd name="connsiteX19" fmla="*/ 273895 w 540595"/>
                <a:gd name="connsiteY19" fmla="*/ 1547812 h 1591638"/>
                <a:gd name="connsiteX20" fmla="*/ 21483 w 540595"/>
                <a:gd name="connsiteY20" fmla="*/ 1552574 h 1591638"/>
                <a:gd name="connsiteX21" fmla="*/ 145307 w 540595"/>
                <a:gd name="connsiteY21" fmla="*/ 1421604 h 1591638"/>
                <a:gd name="connsiteX22" fmla="*/ 147688 w 540595"/>
                <a:gd name="connsiteY22" fmla="*/ 1231104 h 1591638"/>
                <a:gd name="connsiteX23" fmla="*/ 28626 w 540595"/>
                <a:gd name="connsiteY23" fmla="*/ 652463 h 1591638"/>
                <a:gd name="connsiteX24" fmla="*/ 51 w 540595"/>
                <a:gd name="connsiteY24" fmla="*/ 597695 h 1591638"/>
                <a:gd name="connsiteX25" fmla="*/ 9576 w 540595"/>
                <a:gd name="connsiteY25" fmla="*/ 504825 h 1591638"/>
                <a:gd name="connsiteX26" fmla="*/ 19101 w 540595"/>
                <a:gd name="connsiteY26" fmla="*/ 107155 h 1591638"/>
                <a:gd name="connsiteX0" fmla="*/ 19101 w 540595"/>
                <a:gd name="connsiteY0" fmla="*/ 107155 h 1591638"/>
                <a:gd name="connsiteX1" fmla="*/ 145308 w 540595"/>
                <a:gd name="connsiteY1" fmla="*/ 50006 h 1591638"/>
                <a:gd name="connsiteX2" fmla="*/ 64345 w 540595"/>
                <a:gd name="connsiteY2" fmla="*/ 511969 h 1591638"/>
                <a:gd name="connsiteX3" fmla="*/ 54821 w 540595"/>
                <a:gd name="connsiteY3" fmla="*/ 552451 h 1591638"/>
                <a:gd name="connsiteX4" fmla="*/ 342952 w 540595"/>
                <a:gd name="connsiteY4" fmla="*/ 578644 h 1591638"/>
                <a:gd name="connsiteX5" fmla="*/ 283420 w 540595"/>
                <a:gd name="connsiteY5" fmla="*/ 0 h 1591638"/>
                <a:gd name="connsiteX6" fmla="*/ 464395 w 540595"/>
                <a:gd name="connsiteY6" fmla="*/ 109538 h 1591638"/>
                <a:gd name="connsiteX7" fmla="*/ 540595 w 540595"/>
                <a:gd name="connsiteY7" fmla="*/ 426244 h 1591638"/>
                <a:gd name="connsiteX8" fmla="*/ 464394 w 540595"/>
                <a:gd name="connsiteY8" fmla="*/ 583407 h 1591638"/>
                <a:gd name="connsiteX9" fmla="*/ 519163 w 540595"/>
                <a:gd name="connsiteY9" fmla="*/ 769144 h 1591638"/>
                <a:gd name="connsiteX10" fmla="*/ 445345 w 540595"/>
                <a:gd name="connsiteY10" fmla="*/ 814388 h 1591638"/>
                <a:gd name="connsiteX11" fmla="*/ 473920 w 540595"/>
                <a:gd name="connsiteY11" fmla="*/ 1090612 h 1591638"/>
                <a:gd name="connsiteX12" fmla="*/ 497732 w 540595"/>
                <a:gd name="connsiteY12" fmla="*/ 1276349 h 1591638"/>
                <a:gd name="connsiteX13" fmla="*/ 476301 w 540595"/>
                <a:gd name="connsiteY13" fmla="*/ 1419224 h 1591638"/>
                <a:gd name="connsiteX14" fmla="*/ 483444 w 540595"/>
                <a:gd name="connsiteY14" fmla="*/ 1576387 h 1591638"/>
                <a:gd name="connsiteX15" fmla="*/ 254844 w 540595"/>
                <a:gd name="connsiteY15" fmla="*/ 1576387 h 1591638"/>
                <a:gd name="connsiteX16" fmla="*/ 354857 w 540595"/>
                <a:gd name="connsiteY16" fmla="*/ 1431130 h 1591638"/>
                <a:gd name="connsiteX17" fmla="*/ 261988 w 540595"/>
                <a:gd name="connsiteY17" fmla="*/ 921542 h 1591638"/>
                <a:gd name="connsiteX18" fmla="*/ 302469 w 540595"/>
                <a:gd name="connsiteY18" fmla="*/ 1290636 h 1591638"/>
                <a:gd name="connsiteX19" fmla="*/ 273895 w 540595"/>
                <a:gd name="connsiteY19" fmla="*/ 1547812 h 1591638"/>
                <a:gd name="connsiteX20" fmla="*/ 21483 w 540595"/>
                <a:gd name="connsiteY20" fmla="*/ 1552574 h 1591638"/>
                <a:gd name="connsiteX21" fmla="*/ 145307 w 540595"/>
                <a:gd name="connsiteY21" fmla="*/ 1421604 h 1591638"/>
                <a:gd name="connsiteX22" fmla="*/ 147688 w 540595"/>
                <a:gd name="connsiteY22" fmla="*/ 1231104 h 1591638"/>
                <a:gd name="connsiteX23" fmla="*/ 28626 w 540595"/>
                <a:gd name="connsiteY23" fmla="*/ 652463 h 1591638"/>
                <a:gd name="connsiteX24" fmla="*/ 51 w 540595"/>
                <a:gd name="connsiteY24" fmla="*/ 597695 h 1591638"/>
                <a:gd name="connsiteX25" fmla="*/ 9576 w 540595"/>
                <a:gd name="connsiteY25" fmla="*/ 504825 h 1591638"/>
                <a:gd name="connsiteX26" fmla="*/ 19101 w 540595"/>
                <a:gd name="connsiteY26" fmla="*/ 107155 h 1591638"/>
                <a:gd name="connsiteX0" fmla="*/ 19101 w 540595"/>
                <a:gd name="connsiteY0" fmla="*/ 107155 h 1591638"/>
                <a:gd name="connsiteX1" fmla="*/ 145308 w 540595"/>
                <a:gd name="connsiteY1" fmla="*/ 50006 h 1591638"/>
                <a:gd name="connsiteX2" fmla="*/ 64345 w 540595"/>
                <a:gd name="connsiteY2" fmla="*/ 511969 h 1591638"/>
                <a:gd name="connsiteX3" fmla="*/ 54821 w 540595"/>
                <a:gd name="connsiteY3" fmla="*/ 552451 h 1591638"/>
                <a:gd name="connsiteX4" fmla="*/ 342952 w 540595"/>
                <a:gd name="connsiteY4" fmla="*/ 578644 h 1591638"/>
                <a:gd name="connsiteX5" fmla="*/ 283420 w 540595"/>
                <a:gd name="connsiteY5" fmla="*/ 0 h 1591638"/>
                <a:gd name="connsiteX6" fmla="*/ 464395 w 540595"/>
                <a:gd name="connsiteY6" fmla="*/ 109538 h 1591638"/>
                <a:gd name="connsiteX7" fmla="*/ 540595 w 540595"/>
                <a:gd name="connsiteY7" fmla="*/ 426244 h 1591638"/>
                <a:gd name="connsiteX8" fmla="*/ 464394 w 540595"/>
                <a:gd name="connsiteY8" fmla="*/ 583407 h 1591638"/>
                <a:gd name="connsiteX9" fmla="*/ 519163 w 540595"/>
                <a:gd name="connsiteY9" fmla="*/ 769144 h 1591638"/>
                <a:gd name="connsiteX10" fmla="*/ 445345 w 540595"/>
                <a:gd name="connsiteY10" fmla="*/ 814388 h 1591638"/>
                <a:gd name="connsiteX11" fmla="*/ 473920 w 540595"/>
                <a:gd name="connsiteY11" fmla="*/ 1090612 h 1591638"/>
                <a:gd name="connsiteX12" fmla="*/ 497732 w 540595"/>
                <a:gd name="connsiteY12" fmla="*/ 1276349 h 1591638"/>
                <a:gd name="connsiteX13" fmla="*/ 476301 w 540595"/>
                <a:gd name="connsiteY13" fmla="*/ 1419224 h 1591638"/>
                <a:gd name="connsiteX14" fmla="*/ 483444 w 540595"/>
                <a:gd name="connsiteY14" fmla="*/ 1576387 h 1591638"/>
                <a:gd name="connsiteX15" fmla="*/ 254844 w 540595"/>
                <a:gd name="connsiteY15" fmla="*/ 1576387 h 1591638"/>
                <a:gd name="connsiteX16" fmla="*/ 354857 w 540595"/>
                <a:gd name="connsiteY16" fmla="*/ 1431130 h 1591638"/>
                <a:gd name="connsiteX17" fmla="*/ 261988 w 540595"/>
                <a:gd name="connsiteY17" fmla="*/ 921542 h 1591638"/>
                <a:gd name="connsiteX18" fmla="*/ 302469 w 540595"/>
                <a:gd name="connsiteY18" fmla="*/ 1290636 h 1591638"/>
                <a:gd name="connsiteX19" fmla="*/ 273895 w 540595"/>
                <a:gd name="connsiteY19" fmla="*/ 1547812 h 1591638"/>
                <a:gd name="connsiteX20" fmla="*/ 21483 w 540595"/>
                <a:gd name="connsiteY20" fmla="*/ 1552574 h 1591638"/>
                <a:gd name="connsiteX21" fmla="*/ 145307 w 540595"/>
                <a:gd name="connsiteY21" fmla="*/ 1421604 h 1591638"/>
                <a:gd name="connsiteX22" fmla="*/ 147688 w 540595"/>
                <a:gd name="connsiteY22" fmla="*/ 1231104 h 1591638"/>
                <a:gd name="connsiteX23" fmla="*/ 28626 w 540595"/>
                <a:gd name="connsiteY23" fmla="*/ 652463 h 1591638"/>
                <a:gd name="connsiteX24" fmla="*/ 51 w 540595"/>
                <a:gd name="connsiteY24" fmla="*/ 597695 h 1591638"/>
                <a:gd name="connsiteX25" fmla="*/ 9576 w 540595"/>
                <a:gd name="connsiteY25" fmla="*/ 504825 h 1591638"/>
                <a:gd name="connsiteX26" fmla="*/ 19101 w 540595"/>
                <a:gd name="connsiteY26" fmla="*/ 107155 h 1591638"/>
                <a:gd name="connsiteX0" fmla="*/ 19101 w 540595"/>
                <a:gd name="connsiteY0" fmla="*/ 107155 h 1591638"/>
                <a:gd name="connsiteX1" fmla="*/ 145308 w 540595"/>
                <a:gd name="connsiteY1" fmla="*/ 50006 h 1591638"/>
                <a:gd name="connsiteX2" fmla="*/ 64345 w 540595"/>
                <a:gd name="connsiteY2" fmla="*/ 511969 h 1591638"/>
                <a:gd name="connsiteX3" fmla="*/ 54821 w 540595"/>
                <a:gd name="connsiteY3" fmla="*/ 552451 h 1591638"/>
                <a:gd name="connsiteX4" fmla="*/ 342952 w 540595"/>
                <a:gd name="connsiteY4" fmla="*/ 578644 h 1591638"/>
                <a:gd name="connsiteX5" fmla="*/ 283420 w 540595"/>
                <a:gd name="connsiteY5" fmla="*/ 0 h 1591638"/>
                <a:gd name="connsiteX6" fmla="*/ 464395 w 540595"/>
                <a:gd name="connsiteY6" fmla="*/ 109538 h 1591638"/>
                <a:gd name="connsiteX7" fmla="*/ 540595 w 540595"/>
                <a:gd name="connsiteY7" fmla="*/ 426244 h 1591638"/>
                <a:gd name="connsiteX8" fmla="*/ 464394 w 540595"/>
                <a:gd name="connsiteY8" fmla="*/ 583407 h 1591638"/>
                <a:gd name="connsiteX9" fmla="*/ 519163 w 540595"/>
                <a:gd name="connsiteY9" fmla="*/ 769144 h 1591638"/>
                <a:gd name="connsiteX10" fmla="*/ 445345 w 540595"/>
                <a:gd name="connsiteY10" fmla="*/ 814388 h 1591638"/>
                <a:gd name="connsiteX11" fmla="*/ 473920 w 540595"/>
                <a:gd name="connsiteY11" fmla="*/ 1090612 h 1591638"/>
                <a:gd name="connsiteX12" fmla="*/ 497732 w 540595"/>
                <a:gd name="connsiteY12" fmla="*/ 1276349 h 1591638"/>
                <a:gd name="connsiteX13" fmla="*/ 476301 w 540595"/>
                <a:gd name="connsiteY13" fmla="*/ 1419224 h 1591638"/>
                <a:gd name="connsiteX14" fmla="*/ 483444 w 540595"/>
                <a:gd name="connsiteY14" fmla="*/ 1576387 h 1591638"/>
                <a:gd name="connsiteX15" fmla="*/ 254844 w 540595"/>
                <a:gd name="connsiteY15" fmla="*/ 1576387 h 1591638"/>
                <a:gd name="connsiteX16" fmla="*/ 354857 w 540595"/>
                <a:gd name="connsiteY16" fmla="*/ 1431130 h 1591638"/>
                <a:gd name="connsiteX17" fmla="*/ 261988 w 540595"/>
                <a:gd name="connsiteY17" fmla="*/ 921542 h 1591638"/>
                <a:gd name="connsiteX18" fmla="*/ 302469 w 540595"/>
                <a:gd name="connsiteY18" fmla="*/ 1290636 h 1591638"/>
                <a:gd name="connsiteX19" fmla="*/ 273895 w 540595"/>
                <a:gd name="connsiteY19" fmla="*/ 1547812 h 1591638"/>
                <a:gd name="connsiteX20" fmla="*/ 21483 w 540595"/>
                <a:gd name="connsiteY20" fmla="*/ 1552574 h 1591638"/>
                <a:gd name="connsiteX21" fmla="*/ 145307 w 540595"/>
                <a:gd name="connsiteY21" fmla="*/ 1421604 h 1591638"/>
                <a:gd name="connsiteX22" fmla="*/ 147688 w 540595"/>
                <a:gd name="connsiteY22" fmla="*/ 1231104 h 1591638"/>
                <a:gd name="connsiteX23" fmla="*/ 28626 w 540595"/>
                <a:gd name="connsiteY23" fmla="*/ 652463 h 1591638"/>
                <a:gd name="connsiteX24" fmla="*/ 51 w 540595"/>
                <a:gd name="connsiteY24" fmla="*/ 597695 h 1591638"/>
                <a:gd name="connsiteX25" fmla="*/ 9576 w 540595"/>
                <a:gd name="connsiteY25" fmla="*/ 504825 h 1591638"/>
                <a:gd name="connsiteX26" fmla="*/ 19101 w 540595"/>
                <a:gd name="connsiteY26" fmla="*/ 107155 h 1591638"/>
                <a:gd name="connsiteX0" fmla="*/ 19101 w 540595"/>
                <a:gd name="connsiteY0" fmla="*/ 107155 h 1591638"/>
                <a:gd name="connsiteX1" fmla="*/ 145308 w 540595"/>
                <a:gd name="connsiteY1" fmla="*/ 50006 h 1591638"/>
                <a:gd name="connsiteX2" fmla="*/ 64345 w 540595"/>
                <a:gd name="connsiteY2" fmla="*/ 511969 h 1591638"/>
                <a:gd name="connsiteX3" fmla="*/ 54821 w 540595"/>
                <a:gd name="connsiteY3" fmla="*/ 552451 h 1591638"/>
                <a:gd name="connsiteX4" fmla="*/ 342952 w 540595"/>
                <a:gd name="connsiteY4" fmla="*/ 578644 h 1591638"/>
                <a:gd name="connsiteX5" fmla="*/ 283420 w 540595"/>
                <a:gd name="connsiteY5" fmla="*/ 0 h 1591638"/>
                <a:gd name="connsiteX6" fmla="*/ 464395 w 540595"/>
                <a:gd name="connsiteY6" fmla="*/ 109538 h 1591638"/>
                <a:gd name="connsiteX7" fmla="*/ 540595 w 540595"/>
                <a:gd name="connsiteY7" fmla="*/ 426244 h 1591638"/>
                <a:gd name="connsiteX8" fmla="*/ 464394 w 540595"/>
                <a:gd name="connsiteY8" fmla="*/ 583407 h 1591638"/>
                <a:gd name="connsiteX9" fmla="*/ 519163 w 540595"/>
                <a:gd name="connsiteY9" fmla="*/ 769144 h 1591638"/>
                <a:gd name="connsiteX10" fmla="*/ 445345 w 540595"/>
                <a:gd name="connsiteY10" fmla="*/ 814388 h 1591638"/>
                <a:gd name="connsiteX11" fmla="*/ 473920 w 540595"/>
                <a:gd name="connsiteY11" fmla="*/ 1090612 h 1591638"/>
                <a:gd name="connsiteX12" fmla="*/ 497732 w 540595"/>
                <a:gd name="connsiteY12" fmla="*/ 1276349 h 1591638"/>
                <a:gd name="connsiteX13" fmla="*/ 476301 w 540595"/>
                <a:gd name="connsiteY13" fmla="*/ 1419224 h 1591638"/>
                <a:gd name="connsiteX14" fmla="*/ 483444 w 540595"/>
                <a:gd name="connsiteY14" fmla="*/ 1576387 h 1591638"/>
                <a:gd name="connsiteX15" fmla="*/ 254844 w 540595"/>
                <a:gd name="connsiteY15" fmla="*/ 1576387 h 1591638"/>
                <a:gd name="connsiteX16" fmla="*/ 354857 w 540595"/>
                <a:gd name="connsiteY16" fmla="*/ 1431130 h 1591638"/>
                <a:gd name="connsiteX17" fmla="*/ 261988 w 540595"/>
                <a:gd name="connsiteY17" fmla="*/ 921542 h 1591638"/>
                <a:gd name="connsiteX18" fmla="*/ 302469 w 540595"/>
                <a:gd name="connsiteY18" fmla="*/ 1290636 h 1591638"/>
                <a:gd name="connsiteX19" fmla="*/ 273895 w 540595"/>
                <a:gd name="connsiteY19" fmla="*/ 1547812 h 1591638"/>
                <a:gd name="connsiteX20" fmla="*/ 21483 w 540595"/>
                <a:gd name="connsiteY20" fmla="*/ 1552574 h 1591638"/>
                <a:gd name="connsiteX21" fmla="*/ 145307 w 540595"/>
                <a:gd name="connsiteY21" fmla="*/ 1421604 h 1591638"/>
                <a:gd name="connsiteX22" fmla="*/ 147688 w 540595"/>
                <a:gd name="connsiteY22" fmla="*/ 1231104 h 1591638"/>
                <a:gd name="connsiteX23" fmla="*/ 28626 w 540595"/>
                <a:gd name="connsiteY23" fmla="*/ 652463 h 1591638"/>
                <a:gd name="connsiteX24" fmla="*/ 51 w 540595"/>
                <a:gd name="connsiteY24" fmla="*/ 597695 h 1591638"/>
                <a:gd name="connsiteX25" fmla="*/ 9576 w 540595"/>
                <a:gd name="connsiteY25" fmla="*/ 504825 h 1591638"/>
                <a:gd name="connsiteX26" fmla="*/ 19101 w 540595"/>
                <a:gd name="connsiteY26" fmla="*/ 107155 h 1591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40595" h="1591638">
                  <a:moveTo>
                    <a:pt x="19101" y="107155"/>
                  </a:moveTo>
                  <a:cubicBezTo>
                    <a:pt x="64345" y="88899"/>
                    <a:pt x="100064" y="68262"/>
                    <a:pt x="145308" y="50006"/>
                  </a:cubicBezTo>
                  <a:cubicBezTo>
                    <a:pt x="166739" y="43656"/>
                    <a:pt x="52440" y="320676"/>
                    <a:pt x="64345" y="511969"/>
                  </a:cubicBezTo>
                  <a:cubicBezTo>
                    <a:pt x="44502" y="519114"/>
                    <a:pt x="43708" y="531019"/>
                    <a:pt x="54821" y="552451"/>
                  </a:cubicBezTo>
                  <a:cubicBezTo>
                    <a:pt x="96096" y="573088"/>
                    <a:pt x="292152" y="596106"/>
                    <a:pt x="342952" y="578644"/>
                  </a:cubicBezTo>
                  <a:cubicBezTo>
                    <a:pt x="208808" y="369094"/>
                    <a:pt x="186584" y="338137"/>
                    <a:pt x="283420" y="0"/>
                  </a:cubicBezTo>
                  <a:cubicBezTo>
                    <a:pt x="305646" y="53975"/>
                    <a:pt x="456457" y="46038"/>
                    <a:pt x="464395" y="109538"/>
                  </a:cubicBezTo>
                  <a:cubicBezTo>
                    <a:pt x="483446" y="213519"/>
                    <a:pt x="531069" y="288925"/>
                    <a:pt x="540595" y="426244"/>
                  </a:cubicBezTo>
                  <a:cubicBezTo>
                    <a:pt x="531070" y="504031"/>
                    <a:pt x="473919" y="517526"/>
                    <a:pt x="464394" y="583407"/>
                  </a:cubicBezTo>
                  <a:cubicBezTo>
                    <a:pt x="482651" y="657226"/>
                    <a:pt x="503288" y="690563"/>
                    <a:pt x="519163" y="769144"/>
                  </a:cubicBezTo>
                  <a:cubicBezTo>
                    <a:pt x="508051" y="808832"/>
                    <a:pt x="456457" y="774700"/>
                    <a:pt x="445345" y="814388"/>
                  </a:cubicBezTo>
                  <a:cubicBezTo>
                    <a:pt x="447726" y="906463"/>
                    <a:pt x="464395" y="998537"/>
                    <a:pt x="473920" y="1090612"/>
                  </a:cubicBezTo>
                  <a:cubicBezTo>
                    <a:pt x="468364" y="1172369"/>
                    <a:pt x="496145" y="1195387"/>
                    <a:pt x="497732" y="1276349"/>
                  </a:cubicBezTo>
                  <a:cubicBezTo>
                    <a:pt x="505669" y="1338658"/>
                    <a:pt x="490588" y="1376362"/>
                    <a:pt x="476301" y="1419224"/>
                  </a:cubicBezTo>
                  <a:cubicBezTo>
                    <a:pt x="495352" y="1447799"/>
                    <a:pt x="514400" y="1509315"/>
                    <a:pt x="483444" y="1576387"/>
                  </a:cubicBezTo>
                  <a:cubicBezTo>
                    <a:pt x="442962" y="1599406"/>
                    <a:pt x="350094" y="1593850"/>
                    <a:pt x="254844" y="1576387"/>
                  </a:cubicBezTo>
                  <a:cubicBezTo>
                    <a:pt x="263178" y="1527570"/>
                    <a:pt x="384622" y="1554162"/>
                    <a:pt x="354857" y="1431130"/>
                  </a:cubicBezTo>
                  <a:cubicBezTo>
                    <a:pt x="391767" y="1322386"/>
                    <a:pt x="312788" y="914795"/>
                    <a:pt x="261988" y="921542"/>
                  </a:cubicBezTo>
                  <a:cubicBezTo>
                    <a:pt x="249288" y="985042"/>
                    <a:pt x="293341" y="1179511"/>
                    <a:pt x="302469" y="1290636"/>
                  </a:cubicBezTo>
                  <a:cubicBezTo>
                    <a:pt x="242540" y="1499392"/>
                    <a:pt x="307232" y="1491058"/>
                    <a:pt x="273895" y="1547812"/>
                  </a:cubicBezTo>
                  <a:lnTo>
                    <a:pt x="21483" y="1552574"/>
                  </a:lnTo>
                  <a:cubicBezTo>
                    <a:pt x="-20189" y="1490661"/>
                    <a:pt x="155230" y="1527569"/>
                    <a:pt x="145307" y="1421604"/>
                  </a:cubicBezTo>
                  <a:cubicBezTo>
                    <a:pt x="161578" y="1337070"/>
                    <a:pt x="127844" y="1296985"/>
                    <a:pt x="147688" y="1231104"/>
                  </a:cubicBezTo>
                  <a:cubicBezTo>
                    <a:pt x="138957" y="986629"/>
                    <a:pt x="26245" y="810022"/>
                    <a:pt x="28626" y="652463"/>
                  </a:cubicBezTo>
                  <a:cubicBezTo>
                    <a:pt x="19894" y="620713"/>
                    <a:pt x="3226" y="622301"/>
                    <a:pt x="51" y="597695"/>
                  </a:cubicBezTo>
                  <a:cubicBezTo>
                    <a:pt x="-743" y="561183"/>
                    <a:pt x="7989" y="539750"/>
                    <a:pt x="9576" y="504825"/>
                  </a:cubicBezTo>
                  <a:cubicBezTo>
                    <a:pt x="-6298" y="387746"/>
                    <a:pt x="-743" y="190102"/>
                    <a:pt x="19101" y="107155"/>
                  </a:cubicBezTo>
                  <a:close/>
                </a:path>
              </a:pathLst>
            </a:cu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a:solidFill>
                  <a:prstClr val="white"/>
                </a:solidFill>
                <a:latin typeface="Arial" panose="020B0604020202020204" pitchFamily="34" charset="0"/>
                <a:cs typeface="Arial" panose="020B0604020202020204" pitchFamily="34" charset="0"/>
              </a:endParaRPr>
            </a:p>
          </p:txBody>
        </p:sp>
        <p:sp>
          <p:nvSpPr>
            <p:cNvPr id="139" name="Rectangle 4098">
              <a:extLst>
                <a:ext uri="{FF2B5EF4-FFF2-40B4-BE49-F238E27FC236}">
                  <a16:creationId xmlns:a16="http://schemas.microsoft.com/office/drawing/2014/main" id="{601C35B3-D59F-221E-F2F9-CF55D8DBADE5}"/>
                </a:ext>
              </a:extLst>
            </p:cNvPr>
            <p:cNvSpPr/>
            <p:nvPr/>
          </p:nvSpPr>
          <p:spPr>
            <a:xfrm rot="361497">
              <a:off x="6053895" y="2342736"/>
              <a:ext cx="97358" cy="71171"/>
            </a:xfrm>
            <a:custGeom>
              <a:avLst/>
              <a:gdLst>
                <a:gd name="connsiteX0" fmla="*/ 0 w 45719"/>
                <a:gd name="connsiteY0" fmla="*/ 0 h 152400"/>
                <a:gd name="connsiteX1" fmla="*/ 45719 w 45719"/>
                <a:gd name="connsiteY1" fmla="*/ 0 h 152400"/>
                <a:gd name="connsiteX2" fmla="*/ 45719 w 45719"/>
                <a:gd name="connsiteY2" fmla="*/ 152400 h 152400"/>
                <a:gd name="connsiteX3" fmla="*/ 0 w 45719"/>
                <a:gd name="connsiteY3" fmla="*/ 152400 h 152400"/>
                <a:gd name="connsiteX4" fmla="*/ 0 w 45719"/>
                <a:gd name="connsiteY4" fmla="*/ 0 h 152400"/>
                <a:gd name="connsiteX0" fmla="*/ 0 w 71913"/>
                <a:gd name="connsiteY0" fmla="*/ 7143 h 152400"/>
                <a:gd name="connsiteX1" fmla="*/ 71913 w 71913"/>
                <a:gd name="connsiteY1" fmla="*/ 0 h 152400"/>
                <a:gd name="connsiteX2" fmla="*/ 71913 w 71913"/>
                <a:gd name="connsiteY2" fmla="*/ 152400 h 152400"/>
                <a:gd name="connsiteX3" fmla="*/ 26194 w 71913"/>
                <a:gd name="connsiteY3" fmla="*/ 152400 h 152400"/>
                <a:gd name="connsiteX4" fmla="*/ 0 w 71913"/>
                <a:gd name="connsiteY4" fmla="*/ 7143 h 152400"/>
                <a:gd name="connsiteX0" fmla="*/ 0 w 71913"/>
                <a:gd name="connsiteY0" fmla="*/ 28574 h 173831"/>
                <a:gd name="connsiteX1" fmla="*/ 24288 w 71913"/>
                <a:gd name="connsiteY1" fmla="*/ 0 h 173831"/>
                <a:gd name="connsiteX2" fmla="*/ 71913 w 71913"/>
                <a:gd name="connsiteY2" fmla="*/ 173831 h 173831"/>
                <a:gd name="connsiteX3" fmla="*/ 26194 w 71913"/>
                <a:gd name="connsiteY3" fmla="*/ 173831 h 173831"/>
                <a:gd name="connsiteX4" fmla="*/ 0 w 71913"/>
                <a:gd name="connsiteY4" fmla="*/ 28574 h 173831"/>
                <a:gd name="connsiteX0" fmla="*/ 0 w 69532"/>
                <a:gd name="connsiteY0" fmla="*/ 28574 h 173831"/>
                <a:gd name="connsiteX1" fmla="*/ 24288 w 69532"/>
                <a:gd name="connsiteY1" fmla="*/ 0 h 173831"/>
                <a:gd name="connsiteX2" fmla="*/ 69532 w 69532"/>
                <a:gd name="connsiteY2" fmla="*/ 54768 h 173831"/>
                <a:gd name="connsiteX3" fmla="*/ 26194 w 69532"/>
                <a:gd name="connsiteY3" fmla="*/ 173831 h 173831"/>
                <a:gd name="connsiteX4" fmla="*/ 0 w 69532"/>
                <a:gd name="connsiteY4" fmla="*/ 28574 h 173831"/>
                <a:gd name="connsiteX0" fmla="*/ 0 w 69532"/>
                <a:gd name="connsiteY0" fmla="*/ 28574 h 76199"/>
                <a:gd name="connsiteX1" fmla="*/ 24288 w 69532"/>
                <a:gd name="connsiteY1" fmla="*/ 0 h 76199"/>
                <a:gd name="connsiteX2" fmla="*/ 69532 w 69532"/>
                <a:gd name="connsiteY2" fmla="*/ 54768 h 76199"/>
                <a:gd name="connsiteX3" fmla="*/ 52388 w 69532"/>
                <a:gd name="connsiteY3" fmla="*/ 76199 h 76199"/>
                <a:gd name="connsiteX4" fmla="*/ 0 w 69532"/>
                <a:gd name="connsiteY4" fmla="*/ 28574 h 76199"/>
                <a:gd name="connsiteX0" fmla="*/ 0 w 69532"/>
                <a:gd name="connsiteY0" fmla="*/ 26192 h 73817"/>
                <a:gd name="connsiteX1" fmla="*/ 12382 w 69532"/>
                <a:gd name="connsiteY1" fmla="*/ 0 h 73817"/>
                <a:gd name="connsiteX2" fmla="*/ 69532 w 69532"/>
                <a:gd name="connsiteY2" fmla="*/ 52386 h 73817"/>
                <a:gd name="connsiteX3" fmla="*/ 52388 w 69532"/>
                <a:gd name="connsiteY3" fmla="*/ 73817 h 73817"/>
                <a:gd name="connsiteX4" fmla="*/ 0 w 69532"/>
                <a:gd name="connsiteY4" fmla="*/ 26192 h 73817"/>
                <a:gd name="connsiteX0" fmla="*/ 0 w 74294"/>
                <a:gd name="connsiteY0" fmla="*/ 14285 h 73817"/>
                <a:gd name="connsiteX1" fmla="*/ 17144 w 74294"/>
                <a:gd name="connsiteY1" fmla="*/ 0 h 73817"/>
                <a:gd name="connsiteX2" fmla="*/ 74294 w 74294"/>
                <a:gd name="connsiteY2" fmla="*/ 52386 h 73817"/>
                <a:gd name="connsiteX3" fmla="*/ 57150 w 74294"/>
                <a:gd name="connsiteY3" fmla="*/ 73817 h 73817"/>
                <a:gd name="connsiteX4" fmla="*/ 0 w 74294"/>
                <a:gd name="connsiteY4" fmla="*/ 14285 h 73817"/>
                <a:gd name="connsiteX0" fmla="*/ 0 w 74294"/>
                <a:gd name="connsiteY0" fmla="*/ 14285 h 71436"/>
                <a:gd name="connsiteX1" fmla="*/ 17144 w 74294"/>
                <a:gd name="connsiteY1" fmla="*/ 0 h 71436"/>
                <a:gd name="connsiteX2" fmla="*/ 74294 w 74294"/>
                <a:gd name="connsiteY2" fmla="*/ 52386 h 71436"/>
                <a:gd name="connsiteX3" fmla="*/ 61913 w 74294"/>
                <a:gd name="connsiteY3" fmla="*/ 71436 h 71436"/>
                <a:gd name="connsiteX4" fmla="*/ 0 w 74294"/>
                <a:gd name="connsiteY4" fmla="*/ 14285 h 71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294" h="71436">
                  <a:moveTo>
                    <a:pt x="0" y="14285"/>
                  </a:moveTo>
                  <a:lnTo>
                    <a:pt x="17144" y="0"/>
                  </a:lnTo>
                  <a:lnTo>
                    <a:pt x="74294" y="52386"/>
                  </a:lnTo>
                  <a:lnTo>
                    <a:pt x="61913" y="71436"/>
                  </a:lnTo>
                  <a:lnTo>
                    <a:pt x="0" y="14285"/>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a:solidFill>
                  <a:prstClr val="white"/>
                </a:solidFill>
                <a:latin typeface="Arial" panose="020B0604020202020204" pitchFamily="34" charset="0"/>
                <a:cs typeface="Arial" panose="020B0604020202020204" pitchFamily="34" charset="0"/>
              </a:endParaRPr>
            </a:p>
          </p:txBody>
        </p:sp>
      </p:grpSp>
      <p:grpSp>
        <p:nvGrpSpPr>
          <p:cNvPr id="10258" name="Group 139">
            <a:extLst>
              <a:ext uri="{FF2B5EF4-FFF2-40B4-BE49-F238E27FC236}">
                <a16:creationId xmlns:a16="http://schemas.microsoft.com/office/drawing/2014/main" id="{905B7BF8-7BD2-A5A5-DF68-E5A155BEBE6E}"/>
              </a:ext>
            </a:extLst>
          </p:cNvPr>
          <p:cNvGrpSpPr>
            <a:grpSpLocks/>
          </p:cNvGrpSpPr>
          <p:nvPr/>
        </p:nvGrpSpPr>
        <p:grpSpPr bwMode="auto">
          <a:xfrm>
            <a:off x="8578850" y="1390650"/>
            <a:ext cx="615950" cy="1100138"/>
            <a:chOff x="6753438" y="1113384"/>
            <a:chExt cx="1864452" cy="3425770"/>
          </a:xfrm>
        </p:grpSpPr>
        <p:sp>
          <p:nvSpPr>
            <p:cNvPr id="141" name="Rectangle 110">
              <a:extLst>
                <a:ext uri="{FF2B5EF4-FFF2-40B4-BE49-F238E27FC236}">
                  <a16:creationId xmlns:a16="http://schemas.microsoft.com/office/drawing/2014/main" id="{4BD10EB3-5920-8EB1-28A8-D3EE52F8718A}"/>
                </a:ext>
              </a:extLst>
            </p:cNvPr>
            <p:cNvSpPr/>
            <p:nvPr/>
          </p:nvSpPr>
          <p:spPr>
            <a:xfrm>
              <a:off x="7137861" y="1840064"/>
              <a:ext cx="643909" cy="865091"/>
            </a:xfrm>
            <a:custGeom>
              <a:avLst/>
              <a:gdLst>
                <a:gd name="connsiteX0" fmla="*/ 0 w 481038"/>
                <a:gd name="connsiteY0" fmla="*/ 0 h 762000"/>
                <a:gd name="connsiteX1" fmla="*/ 481038 w 481038"/>
                <a:gd name="connsiteY1" fmla="*/ 0 h 762000"/>
                <a:gd name="connsiteX2" fmla="*/ 481038 w 481038"/>
                <a:gd name="connsiteY2" fmla="*/ 762000 h 762000"/>
                <a:gd name="connsiteX3" fmla="*/ 0 w 481038"/>
                <a:gd name="connsiteY3" fmla="*/ 762000 h 762000"/>
                <a:gd name="connsiteX4" fmla="*/ 0 w 481038"/>
                <a:gd name="connsiteY4" fmla="*/ 0 h 762000"/>
                <a:gd name="connsiteX0" fmla="*/ 179009 w 660047"/>
                <a:gd name="connsiteY0" fmla="*/ 0 h 868438"/>
                <a:gd name="connsiteX1" fmla="*/ 660047 w 660047"/>
                <a:gd name="connsiteY1" fmla="*/ 0 h 868438"/>
                <a:gd name="connsiteX2" fmla="*/ 660047 w 660047"/>
                <a:gd name="connsiteY2" fmla="*/ 762000 h 868438"/>
                <a:gd name="connsiteX3" fmla="*/ 0 w 660047"/>
                <a:gd name="connsiteY3" fmla="*/ 868438 h 868438"/>
                <a:gd name="connsiteX4" fmla="*/ 179009 w 660047"/>
                <a:gd name="connsiteY4" fmla="*/ 0 h 868438"/>
                <a:gd name="connsiteX0" fmla="*/ 179009 w 660047"/>
                <a:gd name="connsiteY0" fmla="*/ 0 h 950686"/>
                <a:gd name="connsiteX1" fmla="*/ 660047 w 660047"/>
                <a:gd name="connsiteY1" fmla="*/ 0 h 950686"/>
                <a:gd name="connsiteX2" fmla="*/ 601990 w 660047"/>
                <a:gd name="connsiteY2" fmla="*/ 950686 h 950686"/>
                <a:gd name="connsiteX3" fmla="*/ 0 w 660047"/>
                <a:gd name="connsiteY3" fmla="*/ 868438 h 950686"/>
                <a:gd name="connsiteX4" fmla="*/ 179009 w 660047"/>
                <a:gd name="connsiteY4" fmla="*/ 0 h 950686"/>
                <a:gd name="connsiteX0" fmla="*/ 179009 w 660047"/>
                <a:gd name="connsiteY0" fmla="*/ 0 h 936171"/>
                <a:gd name="connsiteX1" fmla="*/ 660047 w 660047"/>
                <a:gd name="connsiteY1" fmla="*/ 0 h 936171"/>
                <a:gd name="connsiteX2" fmla="*/ 628599 w 660047"/>
                <a:gd name="connsiteY2" fmla="*/ 936171 h 936171"/>
                <a:gd name="connsiteX3" fmla="*/ 0 w 660047"/>
                <a:gd name="connsiteY3" fmla="*/ 868438 h 936171"/>
                <a:gd name="connsiteX4" fmla="*/ 179009 w 660047"/>
                <a:gd name="connsiteY4" fmla="*/ 0 h 936171"/>
                <a:gd name="connsiteX0" fmla="*/ 179009 w 701023"/>
                <a:gd name="connsiteY0" fmla="*/ 0 h 936171"/>
                <a:gd name="connsiteX1" fmla="*/ 660047 w 701023"/>
                <a:gd name="connsiteY1" fmla="*/ 0 h 936171"/>
                <a:gd name="connsiteX2" fmla="*/ 700315 w 701023"/>
                <a:gd name="connsiteY2" fmla="*/ 679753 h 936171"/>
                <a:gd name="connsiteX3" fmla="*/ 628599 w 701023"/>
                <a:gd name="connsiteY3" fmla="*/ 936171 h 936171"/>
                <a:gd name="connsiteX4" fmla="*/ 0 w 701023"/>
                <a:gd name="connsiteY4" fmla="*/ 868438 h 936171"/>
                <a:gd name="connsiteX5" fmla="*/ 179009 w 701023"/>
                <a:gd name="connsiteY5" fmla="*/ 0 h 936171"/>
                <a:gd name="connsiteX0" fmla="*/ 179009 w 701023"/>
                <a:gd name="connsiteY0" fmla="*/ 0 h 936171"/>
                <a:gd name="connsiteX1" fmla="*/ 660047 w 701023"/>
                <a:gd name="connsiteY1" fmla="*/ 0 h 936171"/>
                <a:gd name="connsiteX2" fmla="*/ 700315 w 701023"/>
                <a:gd name="connsiteY2" fmla="*/ 679753 h 936171"/>
                <a:gd name="connsiteX3" fmla="*/ 628599 w 701023"/>
                <a:gd name="connsiteY3" fmla="*/ 936171 h 936171"/>
                <a:gd name="connsiteX4" fmla="*/ 0 w 701023"/>
                <a:gd name="connsiteY4" fmla="*/ 868438 h 936171"/>
                <a:gd name="connsiteX5" fmla="*/ 179009 w 701023"/>
                <a:gd name="connsiteY5" fmla="*/ 0 h 936171"/>
                <a:gd name="connsiteX0" fmla="*/ 179009 w 701023"/>
                <a:gd name="connsiteY0" fmla="*/ 0 h 936171"/>
                <a:gd name="connsiteX1" fmla="*/ 660047 w 701023"/>
                <a:gd name="connsiteY1" fmla="*/ 0 h 936171"/>
                <a:gd name="connsiteX2" fmla="*/ 700315 w 701023"/>
                <a:gd name="connsiteY2" fmla="*/ 679753 h 936171"/>
                <a:gd name="connsiteX3" fmla="*/ 628599 w 701023"/>
                <a:gd name="connsiteY3" fmla="*/ 936171 h 936171"/>
                <a:gd name="connsiteX4" fmla="*/ 0 w 701023"/>
                <a:gd name="connsiteY4" fmla="*/ 868438 h 936171"/>
                <a:gd name="connsiteX5" fmla="*/ 179009 w 701023"/>
                <a:gd name="connsiteY5" fmla="*/ 0 h 936171"/>
                <a:gd name="connsiteX0" fmla="*/ 179009 w 701023"/>
                <a:gd name="connsiteY0" fmla="*/ 0 h 937647"/>
                <a:gd name="connsiteX1" fmla="*/ 660047 w 701023"/>
                <a:gd name="connsiteY1" fmla="*/ 0 h 937647"/>
                <a:gd name="connsiteX2" fmla="*/ 700315 w 701023"/>
                <a:gd name="connsiteY2" fmla="*/ 679753 h 937647"/>
                <a:gd name="connsiteX3" fmla="*/ 628599 w 701023"/>
                <a:gd name="connsiteY3" fmla="*/ 936171 h 937647"/>
                <a:gd name="connsiteX4" fmla="*/ 0 w 701023"/>
                <a:gd name="connsiteY4" fmla="*/ 868438 h 937647"/>
                <a:gd name="connsiteX5" fmla="*/ 179009 w 701023"/>
                <a:gd name="connsiteY5" fmla="*/ 0 h 937647"/>
                <a:gd name="connsiteX0" fmla="*/ 179009 w 701023"/>
                <a:gd name="connsiteY0" fmla="*/ 0 h 937701"/>
                <a:gd name="connsiteX1" fmla="*/ 660047 w 701023"/>
                <a:gd name="connsiteY1" fmla="*/ 0 h 937701"/>
                <a:gd name="connsiteX2" fmla="*/ 700315 w 701023"/>
                <a:gd name="connsiteY2" fmla="*/ 679753 h 937701"/>
                <a:gd name="connsiteX3" fmla="*/ 628599 w 701023"/>
                <a:gd name="connsiteY3" fmla="*/ 936171 h 937701"/>
                <a:gd name="connsiteX4" fmla="*/ 0 w 701023"/>
                <a:gd name="connsiteY4" fmla="*/ 868438 h 937701"/>
                <a:gd name="connsiteX5" fmla="*/ 179009 w 701023"/>
                <a:gd name="connsiteY5" fmla="*/ 0 h 937701"/>
                <a:gd name="connsiteX0" fmla="*/ 179009 w 701023"/>
                <a:gd name="connsiteY0" fmla="*/ 0 h 937701"/>
                <a:gd name="connsiteX1" fmla="*/ 660047 w 701023"/>
                <a:gd name="connsiteY1" fmla="*/ 0 h 937701"/>
                <a:gd name="connsiteX2" fmla="*/ 700315 w 701023"/>
                <a:gd name="connsiteY2" fmla="*/ 679753 h 937701"/>
                <a:gd name="connsiteX3" fmla="*/ 628599 w 701023"/>
                <a:gd name="connsiteY3" fmla="*/ 936171 h 937701"/>
                <a:gd name="connsiteX4" fmla="*/ 0 w 701023"/>
                <a:gd name="connsiteY4" fmla="*/ 868438 h 937701"/>
                <a:gd name="connsiteX5" fmla="*/ 52010 w 701023"/>
                <a:gd name="connsiteY5" fmla="*/ 389468 h 937701"/>
                <a:gd name="connsiteX6" fmla="*/ 179009 w 701023"/>
                <a:gd name="connsiteY6" fmla="*/ 0 h 937701"/>
                <a:gd name="connsiteX0" fmla="*/ 179009 w 701023"/>
                <a:gd name="connsiteY0" fmla="*/ 0 h 937701"/>
                <a:gd name="connsiteX1" fmla="*/ 660047 w 701023"/>
                <a:gd name="connsiteY1" fmla="*/ 0 h 937701"/>
                <a:gd name="connsiteX2" fmla="*/ 700315 w 701023"/>
                <a:gd name="connsiteY2" fmla="*/ 679753 h 937701"/>
                <a:gd name="connsiteX3" fmla="*/ 628599 w 701023"/>
                <a:gd name="connsiteY3" fmla="*/ 936171 h 937701"/>
                <a:gd name="connsiteX4" fmla="*/ 0 w 701023"/>
                <a:gd name="connsiteY4" fmla="*/ 868438 h 937701"/>
                <a:gd name="connsiteX5" fmla="*/ 52010 w 701023"/>
                <a:gd name="connsiteY5" fmla="*/ 389468 h 937701"/>
                <a:gd name="connsiteX6" fmla="*/ 179009 w 701023"/>
                <a:gd name="connsiteY6" fmla="*/ 0 h 937701"/>
                <a:gd name="connsiteX0" fmla="*/ 179009 w 701023"/>
                <a:gd name="connsiteY0" fmla="*/ 0 h 937701"/>
                <a:gd name="connsiteX1" fmla="*/ 660047 w 701023"/>
                <a:gd name="connsiteY1" fmla="*/ 0 h 937701"/>
                <a:gd name="connsiteX2" fmla="*/ 700315 w 701023"/>
                <a:gd name="connsiteY2" fmla="*/ 679753 h 937701"/>
                <a:gd name="connsiteX3" fmla="*/ 628599 w 701023"/>
                <a:gd name="connsiteY3" fmla="*/ 936171 h 937701"/>
                <a:gd name="connsiteX4" fmla="*/ 0 w 701023"/>
                <a:gd name="connsiteY4" fmla="*/ 868438 h 937701"/>
                <a:gd name="connsiteX5" fmla="*/ 66524 w 701023"/>
                <a:gd name="connsiteY5" fmla="*/ 379791 h 937701"/>
                <a:gd name="connsiteX6" fmla="*/ 179009 w 701023"/>
                <a:gd name="connsiteY6" fmla="*/ 0 h 937701"/>
                <a:gd name="connsiteX0" fmla="*/ 179009 w 701023"/>
                <a:gd name="connsiteY0" fmla="*/ 0 h 937701"/>
                <a:gd name="connsiteX1" fmla="*/ 660047 w 701023"/>
                <a:gd name="connsiteY1" fmla="*/ 0 h 937701"/>
                <a:gd name="connsiteX2" fmla="*/ 700315 w 701023"/>
                <a:gd name="connsiteY2" fmla="*/ 679753 h 937701"/>
                <a:gd name="connsiteX3" fmla="*/ 628599 w 701023"/>
                <a:gd name="connsiteY3" fmla="*/ 936171 h 937701"/>
                <a:gd name="connsiteX4" fmla="*/ 0 w 701023"/>
                <a:gd name="connsiteY4" fmla="*/ 868438 h 937701"/>
                <a:gd name="connsiteX5" fmla="*/ 54429 w 701023"/>
                <a:gd name="connsiteY5" fmla="*/ 387048 h 937701"/>
                <a:gd name="connsiteX6" fmla="*/ 179009 w 701023"/>
                <a:gd name="connsiteY6" fmla="*/ 0 h 937701"/>
                <a:gd name="connsiteX0" fmla="*/ 338667 w 701023"/>
                <a:gd name="connsiteY0" fmla="*/ 0 h 937701"/>
                <a:gd name="connsiteX1" fmla="*/ 660047 w 701023"/>
                <a:gd name="connsiteY1" fmla="*/ 0 h 937701"/>
                <a:gd name="connsiteX2" fmla="*/ 700315 w 701023"/>
                <a:gd name="connsiteY2" fmla="*/ 679753 h 937701"/>
                <a:gd name="connsiteX3" fmla="*/ 628599 w 701023"/>
                <a:gd name="connsiteY3" fmla="*/ 936171 h 937701"/>
                <a:gd name="connsiteX4" fmla="*/ 0 w 701023"/>
                <a:gd name="connsiteY4" fmla="*/ 868438 h 937701"/>
                <a:gd name="connsiteX5" fmla="*/ 54429 w 701023"/>
                <a:gd name="connsiteY5" fmla="*/ 387048 h 937701"/>
                <a:gd name="connsiteX6" fmla="*/ 338667 w 701023"/>
                <a:gd name="connsiteY6" fmla="*/ 0 h 937701"/>
                <a:gd name="connsiteX0" fmla="*/ 338667 w 701023"/>
                <a:gd name="connsiteY0" fmla="*/ 0 h 937701"/>
                <a:gd name="connsiteX1" fmla="*/ 660047 w 701023"/>
                <a:gd name="connsiteY1" fmla="*/ 0 h 937701"/>
                <a:gd name="connsiteX2" fmla="*/ 700315 w 701023"/>
                <a:gd name="connsiteY2" fmla="*/ 679753 h 937701"/>
                <a:gd name="connsiteX3" fmla="*/ 628599 w 701023"/>
                <a:gd name="connsiteY3" fmla="*/ 936171 h 937701"/>
                <a:gd name="connsiteX4" fmla="*/ 0 w 701023"/>
                <a:gd name="connsiteY4" fmla="*/ 868438 h 937701"/>
                <a:gd name="connsiteX5" fmla="*/ 54429 w 701023"/>
                <a:gd name="connsiteY5" fmla="*/ 387048 h 937701"/>
                <a:gd name="connsiteX6" fmla="*/ 338667 w 701023"/>
                <a:gd name="connsiteY6" fmla="*/ 0 h 937701"/>
                <a:gd name="connsiteX0" fmla="*/ 338667 w 701023"/>
                <a:gd name="connsiteY0" fmla="*/ 0 h 937701"/>
                <a:gd name="connsiteX1" fmla="*/ 660047 w 701023"/>
                <a:gd name="connsiteY1" fmla="*/ 0 h 937701"/>
                <a:gd name="connsiteX2" fmla="*/ 700315 w 701023"/>
                <a:gd name="connsiteY2" fmla="*/ 679753 h 937701"/>
                <a:gd name="connsiteX3" fmla="*/ 628599 w 701023"/>
                <a:gd name="connsiteY3" fmla="*/ 936171 h 937701"/>
                <a:gd name="connsiteX4" fmla="*/ 0 w 701023"/>
                <a:gd name="connsiteY4" fmla="*/ 868438 h 937701"/>
                <a:gd name="connsiteX5" fmla="*/ 54429 w 701023"/>
                <a:gd name="connsiteY5" fmla="*/ 387048 h 937701"/>
                <a:gd name="connsiteX6" fmla="*/ 338667 w 701023"/>
                <a:gd name="connsiteY6" fmla="*/ 0 h 937701"/>
                <a:gd name="connsiteX0" fmla="*/ 338667 w 701023"/>
                <a:gd name="connsiteY0" fmla="*/ 0 h 937701"/>
                <a:gd name="connsiteX1" fmla="*/ 660047 w 701023"/>
                <a:gd name="connsiteY1" fmla="*/ 0 h 937701"/>
                <a:gd name="connsiteX2" fmla="*/ 700315 w 701023"/>
                <a:gd name="connsiteY2" fmla="*/ 679753 h 937701"/>
                <a:gd name="connsiteX3" fmla="*/ 628599 w 701023"/>
                <a:gd name="connsiteY3" fmla="*/ 936171 h 937701"/>
                <a:gd name="connsiteX4" fmla="*/ 0 w 701023"/>
                <a:gd name="connsiteY4" fmla="*/ 868438 h 937701"/>
                <a:gd name="connsiteX5" fmla="*/ 54429 w 701023"/>
                <a:gd name="connsiteY5" fmla="*/ 387048 h 937701"/>
                <a:gd name="connsiteX6" fmla="*/ 338667 w 701023"/>
                <a:gd name="connsiteY6" fmla="*/ 0 h 937701"/>
                <a:gd name="connsiteX0" fmla="*/ 338667 w 700690"/>
                <a:gd name="connsiteY0" fmla="*/ 0 h 937701"/>
                <a:gd name="connsiteX1" fmla="*/ 606828 w 700690"/>
                <a:gd name="connsiteY1" fmla="*/ 14514 h 937701"/>
                <a:gd name="connsiteX2" fmla="*/ 700315 w 700690"/>
                <a:gd name="connsiteY2" fmla="*/ 679753 h 937701"/>
                <a:gd name="connsiteX3" fmla="*/ 628599 w 700690"/>
                <a:gd name="connsiteY3" fmla="*/ 936171 h 937701"/>
                <a:gd name="connsiteX4" fmla="*/ 0 w 700690"/>
                <a:gd name="connsiteY4" fmla="*/ 868438 h 937701"/>
                <a:gd name="connsiteX5" fmla="*/ 54429 w 700690"/>
                <a:gd name="connsiteY5" fmla="*/ 387048 h 937701"/>
                <a:gd name="connsiteX6" fmla="*/ 338667 w 700690"/>
                <a:gd name="connsiteY6" fmla="*/ 0 h 937701"/>
                <a:gd name="connsiteX0" fmla="*/ 338667 w 700354"/>
                <a:gd name="connsiteY0" fmla="*/ 0 h 937701"/>
                <a:gd name="connsiteX1" fmla="*/ 606828 w 700354"/>
                <a:gd name="connsiteY1" fmla="*/ 14514 h 937701"/>
                <a:gd name="connsiteX2" fmla="*/ 511629 w 700354"/>
                <a:gd name="connsiteY2" fmla="*/ 176591 h 937701"/>
                <a:gd name="connsiteX3" fmla="*/ 700315 w 700354"/>
                <a:gd name="connsiteY3" fmla="*/ 679753 h 937701"/>
                <a:gd name="connsiteX4" fmla="*/ 628599 w 700354"/>
                <a:gd name="connsiteY4" fmla="*/ 936171 h 937701"/>
                <a:gd name="connsiteX5" fmla="*/ 0 w 700354"/>
                <a:gd name="connsiteY5" fmla="*/ 868438 h 937701"/>
                <a:gd name="connsiteX6" fmla="*/ 54429 w 700354"/>
                <a:gd name="connsiteY6" fmla="*/ 387048 h 937701"/>
                <a:gd name="connsiteX7" fmla="*/ 338667 w 700354"/>
                <a:gd name="connsiteY7" fmla="*/ 0 h 937701"/>
                <a:gd name="connsiteX0" fmla="*/ 338667 w 700354"/>
                <a:gd name="connsiteY0" fmla="*/ 0 h 937701"/>
                <a:gd name="connsiteX1" fmla="*/ 606828 w 700354"/>
                <a:gd name="connsiteY1" fmla="*/ 14514 h 937701"/>
                <a:gd name="connsiteX2" fmla="*/ 511629 w 700354"/>
                <a:gd name="connsiteY2" fmla="*/ 176591 h 937701"/>
                <a:gd name="connsiteX3" fmla="*/ 700315 w 700354"/>
                <a:gd name="connsiteY3" fmla="*/ 679753 h 937701"/>
                <a:gd name="connsiteX4" fmla="*/ 628599 w 700354"/>
                <a:gd name="connsiteY4" fmla="*/ 936171 h 937701"/>
                <a:gd name="connsiteX5" fmla="*/ 0 w 700354"/>
                <a:gd name="connsiteY5" fmla="*/ 868438 h 937701"/>
                <a:gd name="connsiteX6" fmla="*/ 54429 w 700354"/>
                <a:gd name="connsiteY6" fmla="*/ 387048 h 937701"/>
                <a:gd name="connsiteX7" fmla="*/ 338667 w 700354"/>
                <a:gd name="connsiteY7" fmla="*/ 0 h 937701"/>
                <a:gd name="connsiteX0" fmla="*/ 338667 w 700354"/>
                <a:gd name="connsiteY0" fmla="*/ 0 h 937701"/>
                <a:gd name="connsiteX1" fmla="*/ 606828 w 700354"/>
                <a:gd name="connsiteY1" fmla="*/ 14514 h 937701"/>
                <a:gd name="connsiteX2" fmla="*/ 511629 w 700354"/>
                <a:gd name="connsiteY2" fmla="*/ 176591 h 937701"/>
                <a:gd name="connsiteX3" fmla="*/ 700315 w 700354"/>
                <a:gd name="connsiteY3" fmla="*/ 679753 h 937701"/>
                <a:gd name="connsiteX4" fmla="*/ 628599 w 700354"/>
                <a:gd name="connsiteY4" fmla="*/ 936171 h 937701"/>
                <a:gd name="connsiteX5" fmla="*/ 0 w 700354"/>
                <a:gd name="connsiteY5" fmla="*/ 868438 h 937701"/>
                <a:gd name="connsiteX6" fmla="*/ 54429 w 700354"/>
                <a:gd name="connsiteY6" fmla="*/ 387048 h 937701"/>
                <a:gd name="connsiteX7" fmla="*/ 338667 w 700354"/>
                <a:gd name="connsiteY7" fmla="*/ 0 h 937701"/>
                <a:gd name="connsiteX0" fmla="*/ 338667 w 700315"/>
                <a:gd name="connsiteY0" fmla="*/ 0 h 937701"/>
                <a:gd name="connsiteX1" fmla="*/ 606828 w 700315"/>
                <a:gd name="connsiteY1" fmla="*/ 14514 h 937701"/>
                <a:gd name="connsiteX2" fmla="*/ 511629 w 700315"/>
                <a:gd name="connsiteY2" fmla="*/ 176591 h 937701"/>
                <a:gd name="connsiteX3" fmla="*/ 700315 w 700315"/>
                <a:gd name="connsiteY3" fmla="*/ 679753 h 937701"/>
                <a:gd name="connsiteX4" fmla="*/ 628599 w 700315"/>
                <a:gd name="connsiteY4" fmla="*/ 936171 h 937701"/>
                <a:gd name="connsiteX5" fmla="*/ 0 w 700315"/>
                <a:gd name="connsiteY5" fmla="*/ 868438 h 937701"/>
                <a:gd name="connsiteX6" fmla="*/ 54429 w 700315"/>
                <a:gd name="connsiteY6" fmla="*/ 387048 h 937701"/>
                <a:gd name="connsiteX7" fmla="*/ 338667 w 700315"/>
                <a:gd name="connsiteY7" fmla="*/ 0 h 937701"/>
                <a:gd name="connsiteX0" fmla="*/ 338667 w 700315"/>
                <a:gd name="connsiteY0" fmla="*/ 0 h 937701"/>
                <a:gd name="connsiteX1" fmla="*/ 606828 w 700315"/>
                <a:gd name="connsiteY1" fmla="*/ 14514 h 937701"/>
                <a:gd name="connsiteX2" fmla="*/ 511629 w 700315"/>
                <a:gd name="connsiteY2" fmla="*/ 176591 h 937701"/>
                <a:gd name="connsiteX3" fmla="*/ 700315 w 700315"/>
                <a:gd name="connsiteY3" fmla="*/ 679753 h 937701"/>
                <a:gd name="connsiteX4" fmla="*/ 628599 w 700315"/>
                <a:gd name="connsiteY4" fmla="*/ 936171 h 937701"/>
                <a:gd name="connsiteX5" fmla="*/ 0 w 700315"/>
                <a:gd name="connsiteY5" fmla="*/ 868438 h 937701"/>
                <a:gd name="connsiteX6" fmla="*/ 54429 w 700315"/>
                <a:gd name="connsiteY6" fmla="*/ 387048 h 937701"/>
                <a:gd name="connsiteX7" fmla="*/ 338667 w 700315"/>
                <a:gd name="connsiteY7" fmla="*/ 0 h 937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0315" h="937701">
                  <a:moveTo>
                    <a:pt x="338667" y="0"/>
                  </a:moveTo>
                  <a:lnTo>
                    <a:pt x="606828" y="14514"/>
                  </a:lnTo>
                  <a:cubicBezTo>
                    <a:pt x="634042" y="83861"/>
                    <a:pt x="488791" y="138290"/>
                    <a:pt x="511629" y="176591"/>
                  </a:cubicBezTo>
                  <a:cubicBezTo>
                    <a:pt x="500601" y="454378"/>
                    <a:pt x="679207" y="556785"/>
                    <a:pt x="700315" y="679753"/>
                  </a:cubicBezTo>
                  <a:cubicBezTo>
                    <a:pt x="681248" y="803931"/>
                    <a:pt x="657342" y="865212"/>
                    <a:pt x="628599" y="936171"/>
                  </a:cubicBezTo>
                  <a:cubicBezTo>
                    <a:pt x="324723" y="947460"/>
                    <a:pt x="42619" y="893435"/>
                    <a:pt x="0" y="868438"/>
                  </a:cubicBezTo>
                  <a:cubicBezTo>
                    <a:pt x="4435" y="719264"/>
                    <a:pt x="23384" y="538641"/>
                    <a:pt x="54429" y="387048"/>
                  </a:cubicBezTo>
                  <a:cubicBezTo>
                    <a:pt x="137080" y="250775"/>
                    <a:pt x="258435" y="213682"/>
                    <a:pt x="338667"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a:solidFill>
                  <a:prstClr val="white"/>
                </a:solidFill>
                <a:latin typeface="Arial" panose="020B0604020202020204" pitchFamily="34" charset="0"/>
                <a:cs typeface="Arial" panose="020B0604020202020204" pitchFamily="34" charset="0"/>
              </a:endParaRPr>
            </a:p>
          </p:txBody>
        </p:sp>
        <p:sp>
          <p:nvSpPr>
            <p:cNvPr id="142" name="Rectangle 1">
              <a:extLst>
                <a:ext uri="{FF2B5EF4-FFF2-40B4-BE49-F238E27FC236}">
                  <a16:creationId xmlns:a16="http://schemas.microsoft.com/office/drawing/2014/main" id="{A5DE942C-878E-334B-4D78-10B7D20FE5AF}"/>
                </a:ext>
              </a:extLst>
            </p:cNvPr>
            <p:cNvSpPr/>
            <p:nvPr/>
          </p:nvSpPr>
          <p:spPr>
            <a:xfrm>
              <a:off x="7373322" y="1459421"/>
              <a:ext cx="370006" cy="1141924"/>
            </a:xfrm>
            <a:custGeom>
              <a:avLst/>
              <a:gdLst>
                <a:gd name="connsiteX0" fmla="*/ 0 w 337267"/>
                <a:gd name="connsiteY0" fmla="*/ 0 h 457200"/>
                <a:gd name="connsiteX1" fmla="*/ 337267 w 337267"/>
                <a:gd name="connsiteY1" fmla="*/ 0 h 457200"/>
                <a:gd name="connsiteX2" fmla="*/ 337267 w 337267"/>
                <a:gd name="connsiteY2" fmla="*/ 457200 h 457200"/>
                <a:gd name="connsiteX3" fmla="*/ 0 w 337267"/>
                <a:gd name="connsiteY3" fmla="*/ 457200 h 457200"/>
                <a:gd name="connsiteX4" fmla="*/ 0 w 337267"/>
                <a:gd name="connsiteY4" fmla="*/ 0 h 457200"/>
                <a:gd name="connsiteX0" fmla="*/ 3131 w 340398"/>
                <a:gd name="connsiteY0" fmla="*/ 0 h 460331"/>
                <a:gd name="connsiteX1" fmla="*/ 340398 w 340398"/>
                <a:gd name="connsiteY1" fmla="*/ 0 h 460331"/>
                <a:gd name="connsiteX2" fmla="*/ 340398 w 340398"/>
                <a:gd name="connsiteY2" fmla="*/ 457200 h 460331"/>
                <a:gd name="connsiteX3" fmla="*/ 0 w 340398"/>
                <a:gd name="connsiteY3" fmla="*/ 460331 h 460331"/>
                <a:gd name="connsiteX4" fmla="*/ 3131 w 340398"/>
                <a:gd name="connsiteY4" fmla="*/ 0 h 460331"/>
                <a:gd name="connsiteX0" fmla="*/ 3131 w 340398"/>
                <a:gd name="connsiteY0" fmla="*/ 0 h 927970"/>
                <a:gd name="connsiteX1" fmla="*/ 340398 w 340398"/>
                <a:gd name="connsiteY1" fmla="*/ 0 h 927970"/>
                <a:gd name="connsiteX2" fmla="*/ 340398 w 340398"/>
                <a:gd name="connsiteY2" fmla="*/ 457200 h 927970"/>
                <a:gd name="connsiteX3" fmla="*/ 99164 w 340398"/>
                <a:gd name="connsiteY3" fmla="*/ 927970 h 927970"/>
                <a:gd name="connsiteX4" fmla="*/ 0 w 340398"/>
                <a:gd name="connsiteY4" fmla="*/ 460331 h 927970"/>
                <a:gd name="connsiteX5" fmla="*/ 3131 w 340398"/>
                <a:gd name="connsiteY5" fmla="*/ 0 h 927970"/>
                <a:gd name="connsiteX0" fmla="*/ 3131 w 340398"/>
                <a:gd name="connsiteY0" fmla="*/ 0 h 1284962"/>
                <a:gd name="connsiteX1" fmla="*/ 340398 w 340398"/>
                <a:gd name="connsiteY1" fmla="*/ 0 h 1284962"/>
                <a:gd name="connsiteX2" fmla="*/ 340398 w 340398"/>
                <a:gd name="connsiteY2" fmla="*/ 457200 h 1284962"/>
                <a:gd name="connsiteX3" fmla="*/ 14613 w 340398"/>
                <a:gd name="connsiteY3" fmla="*/ 1284962 h 1284962"/>
                <a:gd name="connsiteX4" fmla="*/ 0 w 340398"/>
                <a:gd name="connsiteY4" fmla="*/ 460331 h 1284962"/>
                <a:gd name="connsiteX5" fmla="*/ 3131 w 340398"/>
                <a:gd name="connsiteY5" fmla="*/ 0 h 1284962"/>
                <a:gd name="connsiteX0" fmla="*/ 3131 w 340398"/>
                <a:gd name="connsiteY0" fmla="*/ 0 h 1339415"/>
                <a:gd name="connsiteX1" fmla="*/ 340398 w 340398"/>
                <a:gd name="connsiteY1" fmla="*/ 0 h 1339415"/>
                <a:gd name="connsiteX2" fmla="*/ 340398 w 340398"/>
                <a:gd name="connsiteY2" fmla="*/ 457200 h 1339415"/>
                <a:gd name="connsiteX3" fmla="*/ 108558 w 340398"/>
                <a:gd name="connsiteY3" fmla="*/ 1194147 h 1339415"/>
                <a:gd name="connsiteX4" fmla="*/ 14613 w 340398"/>
                <a:gd name="connsiteY4" fmla="*/ 1284962 h 1339415"/>
                <a:gd name="connsiteX5" fmla="*/ 0 w 340398"/>
                <a:gd name="connsiteY5" fmla="*/ 460331 h 1339415"/>
                <a:gd name="connsiteX6" fmla="*/ 3131 w 340398"/>
                <a:gd name="connsiteY6" fmla="*/ 0 h 1339415"/>
                <a:gd name="connsiteX0" fmla="*/ 76200 w 413467"/>
                <a:gd name="connsiteY0" fmla="*/ 0 h 1295433"/>
                <a:gd name="connsiteX1" fmla="*/ 413467 w 413467"/>
                <a:gd name="connsiteY1" fmla="*/ 0 h 1295433"/>
                <a:gd name="connsiteX2" fmla="*/ 413467 w 413467"/>
                <a:gd name="connsiteY2" fmla="*/ 457200 h 1295433"/>
                <a:gd name="connsiteX3" fmla="*/ 181627 w 413467"/>
                <a:gd name="connsiteY3" fmla="*/ 1194147 h 1295433"/>
                <a:gd name="connsiteX4" fmla="*/ 87682 w 413467"/>
                <a:gd name="connsiteY4" fmla="*/ 1284962 h 1295433"/>
                <a:gd name="connsiteX5" fmla="*/ 0 w 413467"/>
                <a:gd name="connsiteY5" fmla="*/ 1175358 h 1295433"/>
                <a:gd name="connsiteX6" fmla="*/ 73069 w 413467"/>
                <a:gd name="connsiteY6" fmla="*/ 460331 h 1295433"/>
                <a:gd name="connsiteX7" fmla="*/ 76200 w 413467"/>
                <a:gd name="connsiteY7" fmla="*/ 0 h 1295433"/>
                <a:gd name="connsiteX0" fmla="*/ 76200 w 413467"/>
                <a:gd name="connsiteY0" fmla="*/ 0 h 1296560"/>
                <a:gd name="connsiteX1" fmla="*/ 413467 w 413467"/>
                <a:gd name="connsiteY1" fmla="*/ 0 h 1296560"/>
                <a:gd name="connsiteX2" fmla="*/ 413467 w 413467"/>
                <a:gd name="connsiteY2" fmla="*/ 457200 h 1296560"/>
                <a:gd name="connsiteX3" fmla="*/ 191021 w 413467"/>
                <a:gd name="connsiteY3" fmla="*/ 1197279 h 1296560"/>
                <a:gd name="connsiteX4" fmla="*/ 87682 w 413467"/>
                <a:gd name="connsiteY4" fmla="*/ 1284962 h 1296560"/>
                <a:gd name="connsiteX5" fmla="*/ 0 w 413467"/>
                <a:gd name="connsiteY5" fmla="*/ 1175358 h 1296560"/>
                <a:gd name="connsiteX6" fmla="*/ 73069 w 413467"/>
                <a:gd name="connsiteY6" fmla="*/ 460331 h 1296560"/>
                <a:gd name="connsiteX7" fmla="*/ 76200 w 413467"/>
                <a:gd name="connsiteY7" fmla="*/ 0 h 1296560"/>
                <a:gd name="connsiteX0" fmla="*/ 76200 w 413467"/>
                <a:gd name="connsiteY0" fmla="*/ 0 h 1285443"/>
                <a:gd name="connsiteX1" fmla="*/ 413467 w 413467"/>
                <a:gd name="connsiteY1" fmla="*/ 0 h 1285443"/>
                <a:gd name="connsiteX2" fmla="*/ 413467 w 413467"/>
                <a:gd name="connsiteY2" fmla="*/ 457200 h 1285443"/>
                <a:gd name="connsiteX3" fmla="*/ 191021 w 413467"/>
                <a:gd name="connsiteY3" fmla="*/ 1197279 h 1285443"/>
                <a:gd name="connsiteX4" fmla="*/ 87682 w 413467"/>
                <a:gd name="connsiteY4" fmla="*/ 1284962 h 1285443"/>
                <a:gd name="connsiteX5" fmla="*/ 0 w 413467"/>
                <a:gd name="connsiteY5" fmla="*/ 1175358 h 1285443"/>
                <a:gd name="connsiteX6" fmla="*/ 73069 w 413467"/>
                <a:gd name="connsiteY6" fmla="*/ 460331 h 1285443"/>
                <a:gd name="connsiteX7" fmla="*/ 76200 w 413467"/>
                <a:gd name="connsiteY7" fmla="*/ 0 h 1285443"/>
                <a:gd name="connsiteX0" fmla="*/ 76200 w 413467"/>
                <a:gd name="connsiteY0" fmla="*/ 0 h 1284962"/>
                <a:gd name="connsiteX1" fmla="*/ 413467 w 413467"/>
                <a:gd name="connsiteY1" fmla="*/ 0 h 1284962"/>
                <a:gd name="connsiteX2" fmla="*/ 413467 w 413467"/>
                <a:gd name="connsiteY2" fmla="*/ 457200 h 1284962"/>
                <a:gd name="connsiteX3" fmla="*/ 191021 w 413467"/>
                <a:gd name="connsiteY3" fmla="*/ 1197279 h 1284962"/>
                <a:gd name="connsiteX4" fmla="*/ 87682 w 413467"/>
                <a:gd name="connsiteY4" fmla="*/ 1284962 h 1284962"/>
                <a:gd name="connsiteX5" fmla="*/ 0 w 413467"/>
                <a:gd name="connsiteY5" fmla="*/ 1175358 h 1284962"/>
                <a:gd name="connsiteX6" fmla="*/ 73069 w 413467"/>
                <a:gd name="connsiteY6" fmla="*/ 460331 h 1284962"/>
                <a:gd name="connsiteX7" fmla="*/ 76200 w 413467"/>
                <a:gd name="connsiteY7" fmla="*/ 0 h 1284962"/>
                <a:gd name="connsiteX0" fmla="*/ 76200 w 413467"/>
                <a:gd name="connsiteY0" fmla="*/ 0 h 1284962"/>
                <a:gd name="connsiteX1" fmla="*/ 413467 w 413467"/>
                <a:gd name="connsiteY1" fmla="*/ 0 h 1284962"/>
                <a:gd name="connsiteX2" fmla="*/ 413467 w 413467"/>
                <a:gd name="connsiteY2" fmla="*/ 457200 h 1284962"/>
                <a:gd name="connsiteX3" fmla="*/ 191021 w 413467"/>
                <a:gd name="connsiteY3" fmla="*/ 1197279 h 1284962"/>
                <a:gd name="connsiteX4" fmla="*/ 87682 w 413467"/>
                <a:gd name="connsiteY4" fmla="*/ 1284962 h 1284962"/>
                <a:gd name="connsiteX5" fmla="*/ 0 w 413467"/>
                <a:gd name="connsiteY5" fmla="*/ 1175358 h 1284962"/>
                <a:gd name="connsiteX6" fmla="*/ 73069 w 413467"/>
                <a:gd name="connsiteY6" fmla="*/ 460331 h 1284962"/>
                <a:gd name="connsiteX7" fmla="*/ 76200 w 413467"/>
                <a:gd name="connsiteY7" fmla="*/ 0 h 1284962"/>
                <a:gd name="connsiteX0" fmla="*/ 76200 w 413467"/>
                <a:gd name="connsiteY0" fmla="*/ 0 h 1284962"/>
                <a:gd name="connsiteX1" fmla="*/ 413467 w 413467"/>
                <a:gd name="connsiteY1" fmla="*/ 0 h 1284962"/>
                <a:gd name="connsiteX2" fmla="*/ 413467 w 413467"/>
                <a:gd name="connsiteY2" fmla="*/ 457200 h 1284962"/>
                <a:gd name="connsiteX3" fmla="*/ 191021 w 413467"/>
                <a:gd name="connsiteY3" fmla="*/ 1197279 h 1284962"/>
                <a:gd name="connsiteX4" fmla="*/ 87682 w 413467"/>
                <a:gd name="connsiteY4" fmla="*/ 1284962 h 1284962"/>
                <a:gd name="connsiteX5" fmla="*/ 0 w 413467"/>
                <a:gd name="connsiteY5" fmla="*/ 1175358 h 1284962"/>
                <a:gd name="connsiteX6" fmla="*/ 73069 w 413467"/>
                <a:gd name="connsiteY6" fmla="*/ 460331 h 1284962"/>
                <a:gd name="connsiteX7" fmla="*/ 76200 w 413467"/>
                <a:gd name="connsiteY7" fmla="*/ 0 h 1284962"/>
                <a:gd name="connsiteX0" fmla="*/ 76200 w 413467"/>
                <a:gd name="connsiteY0" fmla="*/ 0 h 1284962"/>
                <a:gd name="connsiteX1" fmla="*/ 413467 w 413467"/>
                <a:gd name="connsiteY1" fmla="*/ 0 h 1284962"/>
                <a:gd name="connsiteX2" fmla="*/ 413467 w 413467"/>
                <a:gd name="connsiteY2" fmla="*/ 457200 h 1284962"/>
                <a:gd name="connsiteX3" fmla="*/ 191021 w 413467"/>
                <a:gd name="connsiteY3" fmla="*/ 1197279 h 1284962"/>
                <a:gd name="connsiteX4" fmla="*/ 87682 w 413467"/>
                <a:gd name="connsiteY4" fmla="*/ 1284962 h 1284962"/>
                <a:gd name="connsiteX5" fmla="*/ 0 w 413467"/>
                <a:gd name="connsiteY5" fmla="*/ 1175358 h 1284962"/>
                <a:gd name="connsiteX6" fmla="*/ 172234 w 413467"/>
                <a:gd name="connsiteY6" fmla="*/ 555320 h 1284962"/>
                <a:gd name="connsiteX7" fmla="*/ 73069 w 413467"/>
                <a:gd name="connsiteY7" fmla="*/ 460331 h 1284962"/>
                <a:gd name="connsiteX8" fmla="*/ 76200 w 413467"/>
                <a:gd name="connsiteY8" fmla="*/ 0 h 1284962"/>
                <a:gd name="connsiteX0" fmla="*/ 76200 w 413467"/>
                <a:gd name="connsiteY0" fmla="*/ 0 h 1284962"/>
                <a:gd name="connsiteX1" fmla="*/ 413467 w 413467"/>
                <a:gd name="connsiteY1" fmla="*/ 0 h 1284962"/>
                <a:gd name="connsiteX2" fmla="*/ 413467 w 413467"/>
                <a:gd name="connsiteY2" fmla="*/ 457200 h 1284962"/>
                <a:gd name="connsiteX3" fmla="*/ 191021 w 413467"/>
                <a:gd name="connsiteY3" fmla="*/ 1197279 h 1284962"/>
                <a:gd name="connsiteX4" fmla="*/ 87682 w 413467"/>
                <a:gd name="connsiteY4" fmla="*/ 1284962 h 1284962"/>
                <a:gd name="connsiteX5" fmla="*/ 0 w 413467"/>
                <a:gd name="connsiteY5" fmla="*/ 1184752 h 1284962"/>
                <a:gd name="connsiteX6" fmla="*/ 172234 w 413467"/>
                <a:gd name="connsiteY6" fmla="*/ 555320 h 1284962"/>
                <a:gd name="connsiteX7" fmla="*/ 73069 w 413467"/>
                <a:gd name="connsiteY7" fmla="*/ 460331 h 1284962"/>
                <a:gd name="connsiteX8" fmla="*/ 76200 w 413467"/>
                <a:gd name="connsiteY8" fmla="*/ 0 h 1284962"/>
                <a:gd name="connsiteX0" fmla="*/ 76200 w 413467"/>
                <a:gd name="connsiteY0" fmla="*/ 0 h 1284962"/>
                <a:gd name="connsiteX1" fmla="*/ 413467 w 413467"/>
                <a:gd name="connsiteY1" fmla="*/ 0 h 1284962"/>
                <a:gd name="connsiteX2" fmla="*/ 413467 w 413467"/>
                <a:gd name="connsiteY2" fmla="*/ 457200 h 1284962"/>
                <a:gd name="connsiteX3" fmla="*/ 191021 w 413467"/>
                <a:gd name="connsiteY3" fmla="*/ 1197279 h 1284962"/>
                <a:gd name="connsiteX4" fmla="*/ 87682 w 413467"/>
                <a:gd name="connsiteY4" fmla="*/ 1284962 h 1284962"/>
                <a:gd name="connsiteX5" fmla="*/ 0 w 413467"/>
                <a:gd name="connsiteY5" fmla="*/ 1184752 h 1284962"/>
                <a:gd name="connsiteX6" fmla="*/ 172234 w 413467"/>
                <a:gd name="connsiteY6" fmla="*/ 555320 h 1284962"/>
                <a:gd name="connsiteX7" fmla="*/ 73069 w 413467"/>
                <a:gd name="connsiteY7" fmla="*/ 460331 h 1284962"/>
                <a:gd name="connsiteX8" fmla="*/ 76200 w 413467"/>
                <a:gd name="connsiteY8" fmla="*/ 0 h 1284962"/>
                <a:gd name="connsiteX0" fmla="*/ 76200 w 413467"/>
                <a:gd name="connsiteY0" fmla="*/ 0 h 1284962"/>
                <a:gd name="connsiteX1" fmla="*/ 413467 w 413467"/>
                <a:gd name="connsiteY1" fmla="*/ 0 h 1284962"/>
                <a:gd name="connsiteX2" fmla="*/ 413467 w 413467"/>
                <a:gd name="connsiteY2" fmla="*/ 457200 h 1284962"/>
                <a:gd name="connsiteX3" fmla="*/ 222338 w 413467"/>
                <a:gd name="connsiteY3" fmla="*/ 567846 h 1284962"/>
                <a:gd name="connsiteX4" fmla="*/ 191021 w 413467"/>
                <a:gd name="connsiteY4" fmla="*/ 1197279 h 1284962"/>
                <a:gd name="connsiteX5" fmla="*/ 87682 w 413467"/>
                <a:gd name="connsiteY5" fmla="*/ 1284962 h 1284962"/>
                <a:gd name="connsiteX6" fmla="*/ 0 w 413467"/>
                <a:gd name="connsiteY6" fmla="*/ 1184752 h 1284962"/>
                <a:gd name="connsiteX7" fmla="*/ 172234 w 413467"/>
                <a:gd name="connsiteY7" fmla="*/ 555320 h 1284962"/>
                <a:gd name="connsiteX8" fmla="*/ 73069 w 413467"/>
                <a:gd name="connsiteY8" fmla="*/ 460331 h 1284962"/>
                <a:gd name="connsiteX9" fmla="*/ 76200 w 413467"/>
                <a:gd name="connsiteY9" fmla="*/ 0 h 1284962"/>
                <a:gd name="connsiteX0" fmla="*/ 76200 w 413467"/>
                <a:gd name="connsiteY0" fmla="*/ 0 h 1284962"/>
                <a:gd name="connsiteX1" fmla="*/ 413467 w 413467"/>
                <a:gd name="connsiteY1" fmla="*/ 0 h 1284962"/>
                <a:gd name="connsiteX2" fmla="*/ 413467 w 413467"/>
                <a:gd name="connsiteY2" fmla="*/ 457200 h 1284962"/>
                <a:gd name="connsiteX3" fmla="*/ 222338 w 413467"/>
                <a:gd name="connsiteY3" fmla="*/ 567846 h 1284962"/>
                <a:gd name="connsiteX4" fmla="*/ 191021 w 413467"/>
                <a:gd name="connsiteY4" fmla="*/ 1197279 h 1284962"/>
                <a:gd name="connsiteX5" fmla="*/ 87682 w 413467"/>
                <a:gd name="connsiteY5" fmla="*/ 1284962 h 1284962"/>
                <a:gd name="connsiteX6" fmla="*/ 0 w 413467"/>
                <a:gd name="connsiteY6" fmla="*/ 1184752 h 1284962"/>
                <a:gd name="connsiteX7" fmla="*/ 172234 w 413467"/>
                <a:gd name="connsiteY7" fmla="*/ 555320 h 1284962"/>
                <a:gd name="connsiteX8" fmla="*/ 73069 w 413467"/>
                <a:gd name="connsiteY8" fmla="*/ 460331 h 1284962"/>
                <a:gd name="connsiteX9" fmla="*/ 76200 w 413467"/>
                <a:gd name="connsiteY9" fmla="*/ 0 h 1284962"/>
                <a:gd name="connsiteX0" fmla="*/ 76200 w 413467"/>
                <a:gd name="connsiteY0" fmla="*/ 0 h 1284962"/>
                <a:gd name="connsiteX1" fmla="*/ 413467 w 413467"/>
                <a:gd name="connsiteY1" fmla="*/ 0 h 1284962"/>
                <a:gd name="connsiteX2" fmla="*/ 413467 w 413467"/>
                <a:gd name="connsiteY2" fmla="*/ 457200 h 1284962"/>
                <a:gd name="connsiteX3" fmla="*/ 222338 w 413467"/>
                <a:gd name="connsiteY3" fmla="*/ 567846 h 1284962"/>
                <a:gd name="connsiteX4" fmla="*/ 191021 w 413467"/>
                <a:gd name="connsiteY4" fmla="*/ 1197279 h 1284962"/>
                <a:gd name="connsiteX5" fmla="*/ 87682 w 413467"/>
                <a:gd name="connsiteY5" fmla="*/ 1284962 h 1284962"/>
                <a:gd name="connsiteX6" fmla="*/ 0 w 413467"/>
                <a:gd name="connsiteY6" fmla="*/ 1184752 h 1284962"/>
                <a:gd name="connsiteX7" fmla="*/ 172234 w 413467"/>
                <a:gd name="connsiteY7" fmla="*/ 555320 h 1284962"/>
                <a:gd name="connsiteX8" fmla="*/ 73069 w 413467"/>
                <a:gd name="connsiteY8" fmla="*/ 460331 h 1284962"/>
                <a:gd name="connsiteX9" fmla="*/ 76200 w 413467"/>
                <a:gd name="connsiteY9" fmla="*/ 0 h 1284962"/>
                <a:gd name="connsiteX0" fmla="*/ 76200 w 413467"/>
                <a:gd name="connsiteY0" fmla="*/ 0 h 1284962"/>
                <a:gd name="connsiteX1" fmla="*/ 413467 w 413467"/>
                <a:gd name="connsiteY1" fmla="*/ 0 h 1284962"/>
                <a:gd name="connsiteX2" fmla="*/ 344574 w 413467"/>
                <a:gd name="connsiteY2" fmla="*/ 454069 h 1284962"/>
                <a:gd name="connsiteX3" fmla="*/ 222338 w 413467"/>
                <a:gd name="connsiteY3" fmla="*/ 567846 h 1284962"/>
                <a:gd name="connsiteX4" fmla="*/ 191021 w 413467"/>
                <a:gd name="connsiteY4" fmla="*/ 1197279 h 1284962"/>
                <a:gd name="connsiteX5" fmla="*/ 87682 w 413467"/>
                <a:gd name="connsiteY5" fmla="*/ 1284962 h 1284962"/>
                <a:gd name="connsiteX6" fmla="*/ 0 w 413467"/>
                <a:gd name="connsiteY6" fmla="*/ 1184752 h 1284962"/>
                <a:gd name="connsiteX7" fmla="*/ 172234 w 413467"/>
                <a:gd name="connsiteY7" fmla="*/ 555320 h 1284962"/>
                <a:gd name="connsiteX8" fmla="*/ 73069 w 413467"/>
                <a:gd name="connsiteY8" fmla="*/ 460331 h 1284962"/>
                <a:gd name="connsiteX9" fmla="*/ 76200 w 413467"/>
                <a:gd name="connsiteY9" fmla="*/ 0 h 1284962"/>
                <a:gd name="connsiteX0" fmla="*/ 76200 w 413467"/>
                <a:gd name="connsiteY0" fmla="*/ 0 h 1284962"/>
                <a:gd name="connsiteX1" fmla="*/ 413467 w 413467"/>
                <a:gd name="connsiteY1" fmla="*/ 0 h 1284962"/>
                <a:gd name="connsiteX2" fmla="*/ 344574 w 413467"/>
                <a:gd name="connsiteY2" fmla="*/ 454069 h 1284962"/>
                <a:gd name="connsiteX3" fmla="*/ 222338 w 413467"/>
                <a:gd name="connsiteY3" fmla="*/ 567846 h 1284962"/>
                <a:gd name="connsiteX4" fmla="*/ 191021 w 413467"/>
                <a:gd name="connsiteY4" fmla="*/ 1197279 h 1284962"/>
                <a:gd name="connsiteX5" fmla="*/ 87682 w 413467"/>
                <a:gd name="connsiteY5" fmla="*/ 1284962 h 1284962"/>
                <a:gd name="connsiteX6" fmla="*/ 0 w 413467"/>
                <a:gd name="connsiteY6" fmla="*/ 1184752 h 1284962"/>
                <a:gd name="connsiteX7" fmla="*/ 172234 w 413467"/>
                <a:gd name="connsiteY7" fmla="*/ 555320 h 1284962"/>
                <a:gd name="connsiteX8" fmla="*/ 73069 w 413467"/>
                <a:gd name="connsiteY8" fmla="*/ 460331 h 1284962"/>
                <a:gd name="connsiteX9" fmla="*/ 76200 w 413467"/>
                <a:gd name="connsiteY9" fmla="*/ 0 h 1284962"/>
                <a:gd name="connsiteX0" fmla="*/ 76200 w 413467"/>
                <a:gd name="connsiteY0" fmla="*/ 0 h 1284962"/>
                <a:gd name="connsiteX1" fmla="*/ 413467 w 413467"/>
                <a:gd name="connsiteY1" fmla="*/ 0 h 1284962"/>
                <a:gd name="connsiteX2" fmla="*/ 353969 w 413467"/>
                <a:gd name="connsiteY2" fmla="*/ 450937 h 1284962"/>
                <a:gd name="connsiteX3" fmla="*/ 222338 w 413467"/>
                <a:gd name="connsiteY3" fmla="*/ 567846 h 1284962"/>
                <a:gd name="connsiteX4" fmla="*/ 191021 w 413467"/>
                <a:gd name="connsiteY4" fmla="*/ 1197279 h 1284962"/>
                <a:gd name="connsiteX5" fmla="*/ 87682 w 413467"/>
                <a:gd name="connsiteY5" fmla="*/ 1284962 h 1284962"/>
                <a:gd name="connsiteX6" fmla="*/ 0 w 413467"/>
                <a:gd name="connsiteY6" fmla="*/ 1184752 h 1284962"/>
                <a:gd name="connsiteX7" fmla="*/ 172234 w 413467"/>
                <a:gd name="connsiteY7" fmla="*/ 555320 h 1284962"/>
                <a:gd name="connsiteX8" fmla="*/ 73069 w 413467"/>
                <a:gd name="connsiteY8" fmla="*/ 460331 h 1284962"/>
                <a:gd name="connsiteX9" fmla="*/ 76200 w 413467"/>
                <a:gd name="connsiteY9" fmla="*/ 0 h 1284962"/>
                <a:gd name="connsiteX0" fmla="*/ 76200 w 413467"/>
                <a:gd name="connsiteY0" fmla="*/ 0 h 1284962"/>
                <a:gd name="connsiteX1" fmla="*/ 413467 w 413467"/>
                <a:gd name="connsiteY1" fmla="*/ 0 h 1284962"/>
                <a:gd name="connsiteX2" fmla="*/ 353969 w 413467"/>
                <a:gd name="connsiteY2" fmla="*/ 450937 h 1284962"/>
                <a:gd name="connsiteX3" fmla="*/ 222338 w 413467"/>
                <a:gd name="connsiteY3" fmla="*/ 567846 h 1284962"/>
                <a:gd name="connsiteX4" fmla="*/ 191021 w 413467"/>
                <a:gd name="connsiteY4" fmla="*/ 1197279 h 1284962"/>
                <a:gd name="connsiteX5" fmla="*/ 87682 w 413467"/>
                <a:gd name="connsiteY5" fmla="*/ 1284962 h 1284962"/>
                <a:gd name="connsiteX6" fmla="*/ 0 w 413467"/>
                <a:gd name="connsiteY6" fmla="*/ 1184752 h 1284962"/>
                <a:gd name="connsiteX7" fmla="*/ 172234 w 413467"/>
                <a:gd name="connsiteY7" fmla="*/ 555320 h 1284962"/>
                <a:gd name="connsiteX8" fmla="*/ 73069 w 413467"/>
                <a:gd name="connsiteY8" fmla="*/ 460331 h 1284962"/>
                <a:gd name="connsiteX9" fmla="*/ 76200 w 413467"/>
                <a:gd name="connsiteY9" fmla="*/ 0 h 1284962"/>
                <a:gd name="connsiteX0" fmla="*/ 76200 w 413467"/>
                <a:gd name="connsiteY0" fmla="*/ 0 h 1284962"/>
                <a:gd name="connsiteX1" fmla="*/ 413467 w 413467"/>
                <a:gd name="connsiteY1" fmla="*/ 0 h 1284962"/>
                <a:gd name="connsiteX2" fmla="*/ 353969 w 413467"/>
                <a:gd name="connsiteY2" fmla="*/ 450937 h 1284962"/>
                <a:gd name="connsiteX3" fmla="*/ 222338 w 413467"/>
                <a:gd name="connsiteY3" fmla="*/ 567846 h 1284962"/>
                <a:gd name="connsiteX4" fmla="*/ 191021 w 413467"/>
                <a:gd name="connsiteY4" fmla="*/ 1197279 h 1284962"/>
                <a:gd name="connsiteX5" fmla="*/ 87682 w 413467"/>
                <a:gd name="connsiteY5" fmla="*/ 1284962 h 1284962"/>
                <a:gd name="connsiteX6" fmla="*/ 0 w 413467"/>
                <a:gd name="connsiteY6" fmla="*/ 1184752 h 1284962"/>
                <a:gd name="connsiteX7" fmla="*/ 172234 w 413467"/>
                <a:gd name="connsiteY7" fmla="*/ 555320 h 1284962"/>
                <a:gd name="connsiteX8" fmla="*/ 82463 w 413467"/>
                <a:gd name="connsiteY8" fmla="*/ 457200 h 1284962"/>
                <a:gd name="connsiteX9" fmla="*/ 76200 w 413467"/>
                <a:gd name="connsiteY9" fmla="*/ 0 h 1284962"/>
                <a:gd name="connsiteX0" fmla="*/ 76200 w 413467"/>
                <a:gd name="connsiteY0" fmla="*/ 0 h 1284962"/>
                <a:gd name="connsiteX1" fmla="*/ 413467 w 413467"/>
                <a:gd name="connsiteY1" fmla="*/ 0 h 1284962"/>
                <a:gd name="connsiteX2" fmla="*/ 353969 w 413467"/>
                <a:gd name="connsiteY2" fmla="*/ 450937 h 1284962"/>
                <a:gd name="connsiteX3" fmla="*/ 222338 w 413467"/>
                <a:gd name="connsiteY3" fmla="*/ 567846 h 1284962"/>
                <a:gd name="connsiteX4" fmla="*/ 191021 w 413467"/>
                <a:gd name="connsiteY4" fmla="*/ 1197279 h 1284962"/>
                <a:gd name="connsiteX5" fmla="*/ 87682 w 413467"/>
                <a:gd name="connsiteY5" fmla="*/ 1284962 h 1284962"/>
                <a:gd name="connsiteX6" fmla="*/ 0 w 413467"/>
                <a:gd name="connsiteY6" fmla="*/ 1184752 h 1284962"/>
                <a:gd name="connsiteX7" fmla="*/ 172234 w 413467"/>
                <a:gd name="connsiteY7" fmla="*/ 555320 h 1284962"/>
                <a:gd name="connsiteX8" fmla="*/ 82463 w 413467"/>
                <a:gd name="connsiteY8" fmla="*/ 457200 h 1284962"/>
                <a:gd name="connsiteX9" fmla="*/ 76200 w 413467"/>
                <a:gd name="connsiteY9" fmla="*/ 0 h 1284962"/>
                <a:gd name="connsiteX0" fmla="*/ 88295 w 413467"/>
                <a:gd name="connsiteY0" fmla="*/ 229810 h 1284962"/>
                <a:gd name="connsiteX1" fmla="*/ 413467 w 413467"/>
                <a:gd name="connsiteY1" fmla="*/ 0 h 1284962"/>
                <a:gd name="connsiteX2" fmla="*/ 353969 w 413467"/>
                <a:gd name="connsiteY2" fmla="*/ 450937 h 1284962"/>
                <a:gd name="connsiteX3" fmla="*/ 222338 w 413467"/>
                <a:gd name="connsiteY3" fmla="*/ 567846 h 1284962"/>
                <a:gd name="connsiteX4" fmla="*/ 191021 w 413467"/>
                <a:gd name="connsiteY4" fmla="*/ 1197279 h 1284962"/>
                <a:gd name="connsiteX5" fmla="*/ 87682 w 413467"/>
                <a:gd name="connsiteY5" fmla="*/ 1284962 h 1284962"/>
                <a:gd name="connsiteX6" fmla="*/ 0 w 413467"/>
                <a:gd name="connsiteY6" fmla="*/ 1184752 h 1284962"/>
                <a:gd name="connsiteX7" fmla="*/ 172234 w 413467"/>
                <a:gd name="connsiteY7" fmla="*/ 555320 h 1284962"/>
                <a:gd name="connsiteX8" fmla="*/ 82463 w 413467"/>
                <a:gd name="connsiteY8" fmla="*/ 457200 h 1284962"/>
                <a:gd name="connsiteX9" fmla="*/ 88295 w 413467"/>
                <a:gd name="connsiteY9" fmla="*/ 229810 h 1284962"/>
                <a:gd name="connsiteX0" fmla="*/ 88295 w 413467"/>
                <a:gd name="connsiteY0" fmla="*/ 229810 h 1284962"/>
                <a:gd name="connsiteX1" fmla="*/ 413467 w 413467"/>
                <a:gd name="connsiteY1" fmla="*/ 0 h 1284962"/>
                <a:gd name="connsiteX2" fmla="*/ 353969 w 413467"/>
                <a:gd name="connsiteY2" fmla="*/ 450937 h 1284962"/>
                <a:gd name="connsiteX3" fmla="*/ 222338 w 413467"/>
                <a:gd name="connsiteY3" fmla="*/ 567846 h 1284962"/>
                <a:gd name="connsiteX4" fmla="*/ 191021 w 413467"/>
                <a:gd name="connsiteY4" fmla="*/ 1197279 h 1284962"/>
                <a:gd name="connsiteX5" fmla="*/ 87682 w 413467"/>
                <a:gd name="connsiteY5" fmla="*/ 1284962 h 1284962"/>
                <a:gd name="connsiteX6" fmla="*/ 0 w 413467"/>
                <a:gd name="connsiteY6" fmla="*/ 1184752 h 1284962"/>
                <a:gd name="connsiteX7" fmla="*/ 172234 w 413467"/>
                <a:gd name="connsiteY7" fmla="*/ 555320 h 1284962"/>
                <a:gd name="connsiteX8" fmla="*/ 82463 w 413467"/>
                <a:gd name="connsiteY8" fmla="*/ 457200 h 1284962"/>
                <a:gd name="connsiteX9" fmla="*/ 88295 w 413467"/>
                <a:gd name="connsiteY9" fmla="*/ 229810 h 1284962"/>
                <a:gd name="connsiteX0" fmla="*/ 88295 w 413467"/>
                <a:gd name="connsiteY0" fmla="*/ 229810 h 1284962"/>
                <a:gd name="connsiteX1" fmla="*/ 413467 w 413467"/>
                <a:gd name="connsiteY1" fmla="*/ 0 h 1284962"/>
                <a:gd name="connsiteX2" fmla="*/ 353969 w 413467"/>
                <a:gd name="connsiteY2" fmla="*/ 450937 h 1284962"/>
                <a:gd name="connsiteX3" fmla="*/ 222338 w 413467"/>
                <a:gd name="connsiteY3" fmla="*/ 567846 h 1284962"/>
                <a:gd name="connsiteX4" fmla="*/ 191021 w 413467"/>
                <a:gd name="connsiteY4" fmla="*/ 1197279 h 1284962"/>
                <a:gd name="connsiteX5" fmla="*/ 87682 w 413467"/>
                <a:gd name="connsiteY5" fmla="*/ 1284962 h 1284962"/>
                <a:gd name="connsiteX6" fmla="*/ 0 w 413467"/>
                <a:gd name="connsiteY6" fmla="*/ 1184752 h 1284962"/>
                <a:gd name="connsiteX7" fmla="*/ 172234 w 413467"/>
                <a:gd name="connsiteY7" fmla="*/ 555320 h 1284962"/>
                <a:gd name="connsiteX8" fmla="*/ 82463 w 413467"/>
                <a:gd name="connsiteY8" fmla="*/ 457200 h 1284962"/>
                <a:gd name="connsiteX9" fmla="*/ 106439 w 413467"/>
                <a:gd name="connsiteY9" fmla="*/ 341085 h 1284962"/>
                <a:gd name="connsiteX10" fmla="*/ 88295 w 413467"/>
                <a:gd name="connsiteY10" fmla="*/ 229810 h 1284962"/>
                <a:gd name="connsiteX0" fmla="*/ 88295 w 413467"/>
                <a:gd name="connsiteY0" fmla="*/ 229810 h 1284962"/>
                <a:gd name="connsiteX1" fmla="*/ 413467 w 413467"/>
                <a:gd name="connsiteY1" fmla="*/ 0 h 1284962"/>
                <a:gd name="connsiteX2" fmla="*/ 353969 w 413467"/>
                <a:gd name="connsiteY2" fmla="*/ 450937 h 1284962"/>
                <a:gd name="connsiteX3" fmla="*/ 222338 w 413467"/>
                <a:gd name="connsiteY3" fmla="*/ 567846 h 1284962"/>
                <a:gd name="connsiteX4" fmla="*/ 191021 w 413467"/>
                <a:gd name="connsiteY4" fmla="*/ 1197279 h 1284962"/>
                <a:gd name="connsiteX5" fmla="*/ 87682 w 413467"/>
                <a:gd name="connsiteY5" fmla="*/ 1284962 h 1284962"/>
                <a:gd name="connsiteX6" fmla="*/ 0 w 413467"/>
                <a:gd name="connsiteY6" fmla="*/ 1184752 h 1284962"/>
                <a:gd name="connsiteX7" fmla="*/ 172234 w 413467"/>
                <a:gd name="connsiteY7" fmla="*/ 555320 h 1284962"/>
                <a:gd name="connsiteX8" fmla="*/ 82463 w 413467"/>
                <a:gd name="connsiteY8" fmla="*/ 457200 h 1284962"/>
                <a:gd name="connsiteX9" fmla="*/ 106439 w 413467"/>
                <a:gd name="connsiteY9" fmla="*/ 341085 h 1284962"/>
                <a:gd name="connsiteX10" fmla="*/ 88295 w 413467"/>
                <a:gd name="connsiteY10" fmla="*/ 229810 h 1284962"/>
                <a:gd name="connsiteX0" fmla="*/ 88295 w 413467"/>
                <a:gd name="connsiteY0" fmla="*/ 229810 h 1284962"/>
                <a:gd name="connsiteX1" fmla="*/ 413467 w 413467"/>
                <a:gd name="connsiteY1" fmla="*/ 0 h 1284962"/>
                <a:gd name="connsiteX2" fmla="*/ 353969 w 413467"/>
                <a:gd name="connsiteY2" fmla="*/ 450937 h 1284962"/>
                <a:gd name="connsiteX3" fmla="*/ 222338 w 413467"/>
                <a:gd name="connsiteY3" fmla="*/ 567846 h 1284962"/>
                <a:gd name="connsiteX4" fmla="*/ 191021 w 413467"/>
                <a:gd name="connsiteY4" fmla="*/ 1197279 h 1284962"/>
                <a:gd name="connsiteX5" fmla="*/ 87682 w 413467"/>
                <a:gd name="connsiteY5" fmla="*/ 1284962 h 1284962"/>
                <a:gd name="connsiteX6" fmla="*/ 0 w 413467"/>
                <a:gd name="connsiteY6" fmla="*/ 1184752 h 1284962"/>
                <a:gd name="connsiteX7" fmla="*/ 172234 w 413467"/>
                <a:gd name="connsiteY7" fmla="*/ 555320 h 1284962"/>
                <a:gd name="connsiteX8" fmla="*/ 82463 w 413467"/>
                <a:gd name="connsiteY8" fmla="*/ 457200 h 1284962"/>
                <a:gd name="connsiteX9" fmla="*/ 106439 w 413467"/>
                <a:gd name="connsiteY9" fmla="*/ 341085 h 1284962"/>
                <a:gd name="connsiteX10" fmla="*/ 88295 w 413467"/>
                <a:gd name="connsiteY10" fmla="*/ 229810 h 1284962"/>
                <a:gd name="connsiteX0" fmla="*/ 88295 w 413467"/>
                <a:gd name="connsiteY0" fmla="*/ 229810 h 1284962"/>
                <a:gd name="connsiteX1" fmla="*/ 413467 w 413467"/>
                <a:gd name="connsiteY1" fmla="*/ 0 h 1284962"/>
                <a:gd name="connsiteX2" fmla="*/ 353969 w 413467"/>
                <a:gd name="connsiteY2" fmla="*/ 450937 h 1284962"/>
                <a:gd name="connsiteX3" fmla="*/ 222338 w 413467"/>
                <a:gd name="connsiteY3" fmla="*/ 567846 h 1284962"/>
                <a:gd name="connsiteX4" fmla="*/ 191021 w 413467"/>
                <a:gd name="connsiteY4" fmla="*/ 1197279 h 1284962"/>
                <a:gd name="connsiteX5" fmla="*/ 87682 w 413467"/>
                <a:gd name="connsiteY5" fmla="*/ 1284962 h 1284962"/>
                <a:gd name="connsiteX6" fmla="*/ 0 w 413467"/>
                <a:gd name="connsiteY6" fmla="*/ 1184752 h 1284962"/>
                <a:gd name="connsiteX7" fmla="*/ 172234 w 413467"/>
                <a:gd name="connsiteY7" fmla="*/ 555320 h 1284962"/>
                <a:gd name="connsiteX8" fmla="*/ 82463 w 413467"/>
                <a:gd name="connsiteY8" fmla="*/ 459619 h 1284962"/>
                <a:gd name="connsiteX9" fmla="*/ 106439 w 413467"/>
                <a:gd name="connsiteY9" fmla="*/ 341085 h 1284962"/>
                <a:gd name="connsiteX10" fmla="*/ 88295 w 413467"/>
                <a:gd name="connsiteY10" fmla="*/ 229810 h 1284962"/>
                <a:gd name="connsiteX0" fmla="*/ 88295 w 413467"/>
                <a:gd name="connsiteY0" fmla="*/ 229810 h 1284962"/>
                <a:gd name="connsiteX1" fmla="*/ 413467 w 413467"/>
                <a:gd name="connsiteY1" fmla="*/ 0 h 1284962"/>
                <a:gd name="connsiteX2" fmla="*/ 353969 w 413467"/>
                <a:gd name="connsiteY2" fmla="*/ 450937 h 1284962"/>
                <a:gd name="connsiteX3" fmla="*/ 222338 w 413467"/>
                <a:gd name="connsiteY3" fmla="*/ 567846 h 1284962"/>
                <a:gd name="connsiteX4" fmla="*/ 191021 w 413467"/>
                <a:gd name="connsiteY4" fmla="*/ 1197279 h 1284962"/>
                <a:gd name="connsiteX5" fmla="*/ 87682 w 413467"/>
                <a:gd name="connsiteY5" fmla="*/ 1284962 h 1284962"/>
                <a:gd name="connsiteX6" fmla="*/ 0 w 413467"/>
                <a:gd name="connsiteY6" fmla="*/ 1184752 h 1284962"/>
                <a:gd name="connsiteX7" fmla="*/ 172234 w 413467"/>
                <a:gd name="connsiteY7" fmla="*/ 555320 h 1284962"/>
                <a:gd name="connsiteX8" fmla="*/ 82463 w 413467"/>
                <a:gd name="connsiteY8" fmla="*/ 459619 h 1284962"/>
                <a:gd name="connsiteX9" fmla="*/ 106439 w 413467"/>
                <a:gd name="connsiteY9" fmla="*/ 341085 h 1284962"/>
                <a:gd name="connsiteX10" fmla="*/ 88295 w 413467"/>
                <a:gd name="connsiteY10" fmla="*/ 229810 h 1284962"/>
                <a:gd name="connsiteX0" fmla="*/ 88295 w 413467"/>
                <a:gd name="connsiteY0" fmla="*/ 229810 h 1284962"/>
                <a:gd name="connsiteX1" fmla="*/ 413467 w 413467"/>
                <a:gd name="connsiteY1" fmla="*/ 0 h 1284962"/>
                <a:gd name="connsiteX2" fmla="*/ 353969 w 413467"/>
                <a:gd name="connsiteY2" fmla="*/ 450937 h 1284962"/>
                <a:gd name="connsiteX3" fmla="*/ 222338 w 413467"/>
                <a:gd name="connsiteY3" fmla="*/ 567846 h 1284962"/>
                <a:gd name="connsiteX4" fmla="*/ 191021 w 413467"/>
                <a:gd name="connsiteY4" fmla="*/ 1197279 h 1284962"/>
                <a:gd name="connsiteX5" fmla="*/ 87682 w 413467"/>
                <a:gd name="connsiteY5" fmla="*/ 1284962 h 1284962"/>
                <a:gd name="connsiteX6" fmla="*/ 0 w 413467"/>
                <a:gd name="connsiteY6" fmla="*/ 1184752 h 1284962"/>
                <a:gd name="connsiteX7" fmla="*/ 172234 w 413467"/>
                <a:gd name="connsiteY7" fmla="*/ 555320 h 1284962"/>
                <a:gd name="connsiteX8" fmla="*/ 82463 w 413467"/>
                <a:gd name="connsiteY8" fmla="*/ 459619 h 1284962"/>
                <a:gd name="connsiteX9" fmla="*/ 106439 w 413467"/>
                <a:gd name="connsiteY9" fmla="*/ 341085 h 1284962"/>
                <a:gd name="connsiteX10" fmla="*/ 88295 w 413467"/>
                <a:gd name="connsiteY10" fmla="*/ 229810 h 1284962"/>
                <a:gd name="connsiteX0" fmla="*/ 88295 w 389277"/>
                <a:gd name="connsiteY0" fmla="*/ 2419 h 1057571"/>
                <a:gd name="connsiteX1" fmla="*/ 389277 w 389277"/>
                <a:gd name="connsiteY1" fmla="*/ 0 h 1057571"/>
                <a:gd name="connsiteX2" fmla="*/ 353969 w 389277"/>
                <a:gd name="connsiteY2" fmla="*/ 223546 h 1057571"/>
                <a:gd name="connsiteX3" fmla="*/ 222338 w 389277"/>
                <a:gd name="connsiteY3" fmla="*/ 340455 h 1057571"/>
                <a:gd name="connsiteX4" fmla="*/ 191021 w 389277"/>
                <a:gd name="connsiteY4" fmla="*/ 969888 h 1057571"/>
                <a:gd name="connsiteX5" fmla="*/ 87682 w 389277"/>
                <a:gd name="connsiteY5" fmla="*/ 1057571 h 1057571"/>
                <a:gd name="connsiteX6" fmla="*/ 0 w 389277"/>
                <a:gd name="connsiteY6" fmla="*/ 957361 h 1057571"/>
                <a:gd name="connsiteX7" fmla="*/ 172234 w 389277"/>
                <a:gd name="connsiteY7" fmla="*/ 327929 h 1057571"/>
                <a:gd name="connsiteX8" fmla="*/ 82463 w 389277"/>
                <a:gd name="connsiteY8" fmla="*/ 232228 h 1057571"/>
                <a:gd name="connsiteX9" fmla="*/ 106439 w 389277"/>
                <a:gd name="connsiteY9" fmla="*/ 113694 h 1057571"/>
                <a:gd name="connsiteX10" fmla="*/ 88295 w 389277"/>
                <a:gd name="connsiteY10" fmla="*/ 2419 h 1057571"/>
                <a:gd name="connsiteX0" fmla="*/ 88295 w 389277"/>
                <a:gd name="connsiteY0" fmla="*/ 2419 h 1057571"/>
                <a:gd name="connsiteX1" fmla="*/ 389277 w 389277"/>
                <a:gd name="connsiteY1" fmla="*/ 0 h 1057571"/>
                <a:gd name="connsiteX2" fmla="*/ 355601 w 389277"/>
                <a:gd name="connsiteY2" fmla="*/ 128208 h 1057571"/>
                <a:gd name="connsiteX3" fmla="*/ 353969 w 389277"/>
                <a:gd name="connsiteY3" fmla="*/ 223546 h 1057571"/>
                <a:gd name="connsiteX4" fmla="*/ 222338 w 389277"/>
                <a:gd name="connsiteY4" fmla="*/ 340455 h 1057571"/>
                <a:gd name="connsiteX5" fmla="*/ 191021 w 389277"/>
                <a:gd name="connsiteY5" fmla="*/ 969888 h 1057571"/>
                <a:gd name="connsiteX6" fmla="*/ 87682 w 389277"/>
                <a:gd name="connsiteY6" fmla="*/ 1057571 h 1057571"/>
                <a:gd name="connsiteX7" fmla="*/ 0 w 389277"/>
                <a:gd name="connsiteY7" fmla="*/ 957361 h 1057571"/>
                <a:gd name="connsiteX8" fmla="*/ 172234 w 389277"/>
                <a:gd name="connsiteY8" fmla="*/ 327929 h 1057571"/>
                <a:gd name="connsiteX9" fmla="*/ 82463 w 389277"/>
                <a:gd name="connsiteY9" fmla="*/ 232228 h 1057571"/>
                <a:gd name="connsiteX10" fmla="*/ 106439 w 389277"/>
                <a:gd name="connsiteY10" fmla="*/ 113694 h 1057571"/>
                <a:gd name="connsiteX11" fmla="*/ 88295 w 389277"/>
                <a:gd name="connsiteY11" fmla="*/ 2419 h 1057571"/>
                <a:gd name="connsiteX0" fmla="*/ 88295 w 389277"/>
                <a:gd name="connsiteY0" fmla="*/ 2419 h 1057571"/>
                <a:gd name="connsiteX1" fmla="*/ 389277 w 389277"/>
                <a:gd name="connsiteY1" fmla="*/ 0 h 1057571"/>
                <a:gd name="connsiteX2" fmla="*/ 355601 w 389277"/>
                <a:gd name="connsiteY2" fmla="*/ 128208 h 1057571"/>
                <a:gd name="connsiteX3" fmla="*/ 353969 w 389277"/>
                <a:gd name="connsiteY3" fmla="*/ 223546 h 1057571"/>
                <a:gd name="connsiteX4" fmla="*/ 222338 w 389277"/>
                <a:gd name="connsiteY4" fmla="*/ 340455 h 1057571"/>
                <a:gd name="connsiteX5" fmla="*/ 191021 w 389277"/>
                <a:gd name="connsiteY5" fmla="*/ 969888 h 1057571"/>
                <a:gd name="connsiteX6" fmla="*/ 87682 w 389277"/>
                <a:gd name="connsiteY6" fmla="*/ 1057571 h 1057571"/>
                <a:gd name="connsiteX7" fmla="*/ 0 w 389277"/>
                <a:gd name="connsiteY7" fmla="*/ 957361 h 1057571"/>
                <a:gd name="connsiteX8" fmla="*/ 172234 w 389277"/>
                <a:gd name="connsiteY8" fmla="*/ 327929 h 1057571"/>
                <a:gd name="connsiteX9" fmla="*/ 82463 w 389277"/>
                <a:gd name="connsiteY9" fmla="*/ 232228 h 1057571"/>
                <a:gd name="connsiteX10" fmla="*/ 106439 w 389277"/>
                <a:gd name="connsiteY10" fmla="*/ 113694 h 1057571"/>
                <a:gd name="connsiteX11" fmla="*/ 88295 w 389277"/>
                <a:gd name="connsiteY11" fmla="*/ 2419 h 1057571"/>
                <a:gd name="connsiteX0" fmla="*/ 88295 w 389277"/>
                <a:gd name="connsiteY0" fmla="*/ 2419 h 1057571"/>
                <a:gd name="connsiteX1" fmla="*/ 389277 w 389277"/>
                <a:gd name="connsiteY1" fmla="*/ 0 h 1057571"/>
                <a:gd name="connsiteX2" fmla="*/ 355601 w 389277"/>
                <a:gd name="connsiteY2" fmla="*/ 128208 h 1057571"/>
                <a:gd name="connsiteX3" fmla="*/ 353969 w 389277"/>
                <a:gd name="connsiteY3" fmla="*/ 223546 h 1057571"/>
                <a:gd name="connsiteX4" fmla="*/ 222338 w 389277"/>
                <a:gd name="connsiteY4" fmla="*/ 340455 h 1057571"/>
                <a:gd name="connsiteX5" fmla="*/ 191021 w 389277"/>
                <a:gd name="connsiteY5" fmla="*/ 969888 h 1057571"/>
                <a:gd name="connsiteX6" fmla="*/ 87682 w 389277"/>
                <a:gd name="connsiteY6" fmla="*/ 1057571 h 1057571"/>
                <a:gd name="connsiteX7" fmla="*/ 0 w 389277"/>
                <a:gd name="connsiteY7" fmla="*/ 957361 h 1057571"/>
                <a:gd name="connsiteX8" fmla="*/ 172234 w 389277"/>
                <a:gd name="connsiteY8" fmla="*/ 327929 h 1057571"/>
                <a:gd name="connsiteX9" fmla="*/ 82463 w 389277"/>
                <a:gd name="connsiteY9" fmla="*/ 232228 h 1057571"/>
                <a:gd name="connsiteX10" fmla="*/ 106439 w 389277"/>
                <a:gd name="connsiteY10" fmla="*/ 113694 h 1057571"/>
                <a:gd name="connsiteX11" fmla="*/ 88295 w 389277"/>
                <a:gd name="connsiteY11" fmla="*/ 2419 h 1057571"/>
                <a:gd name="connsiteX0" fmla="*/ 88295 w 404838"/>
                <a:gd name="connsiteY0" fmla="*/ 2419 h 1057571"/>
                <a:gd name="connsiteX1" fmla="*/ 389277 w 404838"/>
                <a:gd name="connsiteY1" fmla="*/ 0 h 1057571"/>
                <a:gd name="connsiteX2" fmla="*/ 355601 w 404838"/>
                <a:gd name="connsiteY2" fmla="*/ 128208 h 1057571"/>
                <a:gd name="connsiteX3" fmla="*/ 353969 w 404838"/>
                <a:gd name="connsiteY3" fmla="*/ 223546 h 1057571"/>
                <a:gd name="connsiteX4" fmla="*/ 222338 w 404838"/>
                <a:gd name="connsiteY4" fmla="*/ 340455 h 1057571"/>
                <a:gd name="connsiteX5" fmla="*/ 191021 w 404838"/>
                <a:gd name="connsiteY5" fmla="*/ 969888 h 1057571"/>
                <a:gd name="connsiteX6" fmla="*/ 87682 w 404838"/>
                <a:gd name="connsiteY6" fmla="*/ 1057571 h 1057571"/>
                <a:gd name="connsiteX7" fmla="*/ 0 w 404838"/>
                <a:gd name="connsiteY7" fmla="*/ 957361 h 1057571"/>
                <a:gd name="connsiteX8" fmla="*/ 172234 w 404838"/>
                <a:gd name="connsiteY8" fmla="*/ 327929 h 1057571"/>
                <a:gd name="connsiteX9" fmla="*/ 82463 w 404838"/>
                <a:gd name="connsiteY9" fmla="*/ 232228 h 1057571"/>
                <a:gd name="connsiteX10" fmla="*/ 106439 w 404838"/>
                <a:gd name="connsiteY10" fmla="*/ 113694 h 1057571"/>
                <a:gd name="connsiteX11" fmla="*/ 88295 w 404838"/>
                <a:gd name="connsiteY11" fmla="*/ 2419 h 1057571"/>
                <a:gd name="connsiteX0" fmla="*/ 88295 w 404838"/>
                <a:gd name="connsiteY0" fmla="*/ 111277 h 1166429"/>
                <a:gd name="connsiteX1" fmla="*/ 389277 w 404838"/>
                <a:gd name="connsiteY1" fmla="*/ 108858 h 1166429"/>
                <a:gd name="connsiteX2" fmla="*/ 355601 w 404838"/>
                <a:gd name="connsiteY2" fmla="*/ 237066 h 1166429"/>
                <a:gd name="connsiteX3" fmla="*/ 353969 w 404838"/>
                <a:gd name="connsiteY3" fmla="*/ 332404 h 1166429"/>
                <a:gd name="connsiteX4" fmla="*/ 222338 w 404838"/>
                <a:gd name="connsiteY4" fmla="*/ 449313 h 1166429"/>
                <a:gd name="connsiteX5" fmla="*/ 191021 w 404838"/>
                <a:gd name="connsiteY5" fmla="*/ 1078746 h 1166429"/>
                <a:gd name="connsiteX6" fmla="*/ 87682 w 404838"/>
                <a:gd name="connsiteY6" fmla="*/ 1166429 h 1166429"/>
                <a:gd name="connsiteX7" fmla="*/ 0 w 404838"/>
                <a:gd name="connsiteY7" fmla="*/ 1066219 h 1166429"/>
                <a:gd name="connsiteX8" fmla="*/ 172234 w 404838"/>
                <a:gd name="connsiteY8" fmla="*/ 436787 h 1166429"/>
                <a:gd name="connsiteX9" fmla="*/ 82463 w 404838"/>
                <a:gd name="connsiteY9" fmla="*/ 341086 h 1166429"/>
                <a:gd name="connsiteX10" fmla="*/ 106439 w 404838"/>
                <a:gd name="connsiteY10" fmla="*/ 222552 h 1166429"/>
                <a:gd name="connsiteX11" fmla="*/ 88295 w 404838"/>
                <a:gd name="connsiteY11" fmla="*/ 111277 h 1166429"/>
                <a:gd name="connsiteX0" fmla="*/ 88295 w 404838"/>
                <a:gd name="connsiteY0" fmla="*/ 189903 h 1245055"/>
                <a:gd name="connsiteX1" fmla="*/ 389277 w 404838"/>
                <a:gd name="connsiteY1" fmla="*/ 187484 h 1245055"/>
                <a:gd name="connsiteX2" fmla="*/ 355601 w 404838"/>
                <a:gd name="connsiteY2" fmla="*/ 315692 h 1245055"/>
                <a:gd name="connsiteX3" fmla="*/ 353969 w 404838"/>
                <a:gd name="connsiteY3" fmla="*/ 411030 h 1245055"/>
                <a:gd name="connsiteX4" fmla="*/ 222338 w 404838"/>
                <a:gd name="connsiteY4" fmla="*/ 527939 h 1245055"/>
                <a:gd name="connsiteX5" fmla="*/ 191021 w 404838"/>
                <a:gd name="connsiteY5" fmla="*/ 1157372 h 1245055"/>
                <a:gd name="connsiteX6" fmla="*/ 87682 w 404838"/>
                <a:gd name="connsiteY6" fmla="*/ 1245055 h 1245055"/>
                <a:gd name="connsiteX7" fmla="*/ 0 w 404838"/>
                <a:gd name="connsiteY7" fmla="*/ 1144845 h 1245055"/>
                <a:gd name="connsiteX8" fmla="*/ 172234 w 404838"/>
                <a:gd name="connsiteY8" fmla="*/ 515413 h 1245055"/>
                <a:gd name="connsiteX9" fmla="*/ 82463 w 404838"/>
                <a:gd name="connsiteY9" fmla="*/ 419712 h 1245055"/>
                <a:gd name="connsiteX10" fmla="*/ 106439 w 404838"/>
                <a:gd name="connsiteY10" fmla="*/ 301178 h 1245055"/>
                <a:gd name="connsiteX11" fmla="*/ 88295 w 404838"/>
                <a:gd name="connsiteY11" fmla="*/ 189903 h 1245055"/>
                <a:gd name="connsiteX0" fmla="*/ 88295 w 404838"/>
                <a:gd name="connsiteY0" fmla="*/ 188105 h 1243257"/>
                <a:gd name="connsiteX1" fmla="*/ 389277 w 404838"/>
                <a:gd name="connsiteY1" fmla="*/ 185686 h 1243257"/>
                <a:gd name="connsiteX2" fmla="*/ 355601 w 404838"/>
                <a:gd name="connsiteY2" fmla="*/ 313894 h 1243257"/>
                <a:gd name="connsiteX3" fmla="*/ 353969 w 404838"/>
                <a:gd name="connsiteY3" fmla="*/ 409232 h 1243257"/>
                <a:gd name="connsiteX4" fmla="*/ 222338 w 404838"/>
                <a:gd name="connsiteY4" fmla="*/ 526141 h 1243257"/>
                <a:gd name="connsiteX5" fmla="*/ 191021 w 404838"/>
                <a:gd name="connsiteY5" fmla="*/ 1155574 h 1243257"/>
                <a:gd name="connsiteX6" fmla="*/ 87682 w 404838"/>
                <a:gd name="connsiteY6" fmla="*/ 1243257 h 1243257"/>
                <a:gd name="connsiteX7" fmla="*/ 0 w 404838"/>
                <a:gd name="connsiteY7" fmla="*/ 1143047 h 1243257"/>
                <a:gd name="connsiteX8" fmla="*/ 172234 w 404838"/>
                <a:gd name="connsiteY8" fmla="*/ 513615 h 1243257"/>
                <a:gd name="connsiteX9" fmla="*/ 82463 w 404838"/>
                <a:gd name="connsiteY9" fmla="*/ 417914 h 1243257"/>
                <a:gd name="connsiteX10" fmla="*/ 106439 w 404838"/>
                <a:gd name="connsiteY10" fmla="*/ 299380 h 1243257"/>
                <a:gd name="connsiteX11" fmla="*/ 88295 w 404838"/>
                <a:gd name="connsiteY11" fmla="*/ 188105 h 1243257"/>
                <a:gd name="connsiteX0" fmla="*/ 88295 w 404838"/>
                <a:gd name="connsiteY0" fmla="*/ 189943 h 1245095"/>
                <a:gd name="connsiteX1" fmla="*/ 389277 w 404838"/>
                <a:gd name="connsiteY1" fmla="*/ 187524 h 1245095"/>
                <a:gd name="connsiteX2" fmla="*/ 355601 w 404838"/>
                <a:gd name="connsiteY2" fmla="*/ 315732 h 1245095"/>
                <a:gd name="connsiteX3" fmla="*/ 353969 w 404838"/>
                <a:gd name="connsiteY3" fmla="*/ 411070 h 1245095"/>
                <a:gd name="connsiteX4" fmla="*/ 222338 w 404838"/>
                <a:gd name="connsiteY4" fmla="*/ 527979 h 1245095"/>
                <a:gd name="connsiteX5" fmla="*/ 191021 w 404838"/>
                <a:gd name="connsiteY5" fmla="*/ 1157412 h 1245095"/>
                <a:gd name="connsiteX6" fmla="*/ 87682 w 404838"/>
                <a:gd name="connsiteY6" fmla="*/ 1245095 h 1245095"/>
                <a:gd name="connsiteX7" fmla="*/ 0 w 404838"/>
                <a:gd name="connsiteY7" fmla="*/ 1144885 h 1245095"/>
                <a:gd name="connsiteX8" fmla="*/ 172234 w 404838"/>
                <a:gd name="connsiteY8" fmla="*/ 515453 h 1245095"/>
                <a:gd name="connsiteX9" fmla="*/ 82463 w 404838"/>
                <a:gd name="connsiteY9" fmla="*/ 419752 h 1245095"/>
                <a:gd name="connsiteX10" fmla="*/ 106439 w 404838"/>
                <a:gd name="connsiteY10" fmla="*/ 301218 h 1245095"/>
                <a:gd name="connsiteX11" fmla="*/ 88295 w 404838"/>
                <a:gd name="connsiteY11" fmla="*/ 189943 h 1245095"/>
                <a:gd name="connsiteX0" fmla="*/ 88295 w 404838"/>
                <a:gd name="connsiteY0" fmla="*/ 187277 h 1242429"/>
                <a:gd name="connsiteX1" fmla="*/ 389277 w 404838"/>
                <a:gd name="connsiteY1" fmla="*/ 184858 h 1242429"/>
                <a:gd name="connsiteX2" fmla="*/ 355601 w 404838"/>
                <a:gd name="connsiteY2" fmla="*/ 313066 h 1242429"/>
                <a:gd name="connsiteX3" fmla="*/ 353969 w 404838"/>
                <a:gd name="connsiteY3" fmla="*/ 408404 h 1242429"/>
                <a:gd name="connsiteX4" fmla="*/ 222338 w 404838"/>
                <a:gd name="connsiteY4" fmla="*/ 525313 h 1242429"/>
                <a:gd name="connsiteX5" fmla="*/ 191021 w 404838"/>
                <a:gd name="connsiteY5" fmla="*/ 1154746 h 1242429"/>
                <a:gd name="connsiteX6" fmla="*/ 87682 w 404838"/>
                <a:gd name="connsiteY6" fmla="*/ 1242429 h 1242429"/>
                <a:gd name="connsiteX7" fmla="*/ 0 w 404838"/>
                <a:gd name="connsiteY7" fmla="*/ 1142219 h 1242429"/>
                <a:gd name="connsiteX8" fmla="*/ 172234 w 404838"/>
                <a:gd name="connsiteY8" fmla="*/ 512787 h 1242429"/>
                <a:gd name="connsiteX9" fmla="*/ 82463 w 404838"/>
                <a:gd name="connsiteY9" fmla="*/ 417086 h 1242429"/>
                <a:gd name="connsiteX10" fmla="*/ 106439 w 404838"/>
                <a:gd name="connsiteY10" fmla="*/ 298552 h 1242429"/>
                <a:gd name="connsiteX11" fmla="*/ 88295 w 404838"/>
                <a:gd name="connsiteY11" fmla="*/ 187277 h 1242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4838" h="1242429">
                  <a:moveTo>
                    <a:pt x="88295" y="187277"/>
                  </a:moveTo>
                  <a:cubicBezTo>
                    <a:pt x="55574" y="-74787"/>
                    <a:pt x="455864" y="-48982"/>
                    <a:pt x="389277" y="184858"/>
                  </a:cubicBezTo>
                  <a:cubicBezTo>
                    <a:pt x="427238" y="198566"/>
                    <a:pt x="387791" y="277587"/>
                    <a:pt x="355601" y="313066"/>
                  </a:cubicBezTo>
                  <a:cubicBezTo>
                    <a:pt x="333286" y="366616"/>
                    <a:pt x="354513" y="376625"/>
                    <a:pt x="353969" y="408404"/>
                  </a:cubicBezTo>
                  <a:cubicBezTo>
                    <a:pt x="318983" y="471207"/>
                    <a:pt x="253149" y="442676"/>
                    <a:pt x="222338" y="525313"/>
                  </a:cubicBezTo>
                  <a:cubicBezTo>
                    <a:pt x="213448" y="645527"/>
                    <a:pt x="197806" y="1028442"/>
                    <a:pt x="191021" y="1154746"/>
                  </a:cubicBezTo>
                  <a:cubicBezTo>
                    <a:pt x="168039" y="1192498"/>
                    <a:pt x="106992" y="1233035"/>
                    <a:pt x="87682" y="1242429"/>
                  </a:cubicBezTo>
                  <a:cubicBezTo>
                    <a:pt x="67849" y="1209026"/>
                    <a:pt x="13570" y="1185017"/>
                    <a:pt x="0" y="1142219"/>
                  </a:cubicBezTo>
                  <a:cubicBezTo>
                    <a:pt x="16702" y="967898"/>
                    <a:pt x="86639" y="752870"/>
                    <a:pt x="172234" y="512787"/>
                  </a:cubicBezTo>
                  <a:cubicBezTo>
                    <a:pt x="148573" y="464423"/>
                    <a:pt x="112387" y="449793"/>
                    <a:pt x="82463" y="417086"/>
                  </a:cubicBezTo>
                  <a:cubicBezTo>
                    <a:pt x="84400" y="384606"/>
                    <a:pt x="127238" y="367897"/>
                    <a:pt x="106439" y="298552"/>
                  </a:cubicBezTo>
                  <a:cubicBezTo>
                    <a:pt x="97735" y="270330"/>
                    <a:pt x="33092" y="201388"/>
                    <a:pt x="88295" y="187277"/>
                  </a:cubicBezTo>
                  <a:close/>
                </a:path>
              </a:pathLst>
            </a:cu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a:solidFill>
                  <a:prstClr val="white"/>
                </a:solidFill>
                <a:latin typeface="Arial" panose="020B0604020202020204" pitchFamily="34" charset="0"/>
                <a:cs typeface="Arial" panose="020B0604020202020204" pitchFamily="34" charset="0"/>
              </a:endParaRPr>
            </a:p>
          </p:txBody>
        </p:sp>
        <p:sp>
          <p:nvSpPr>
            <p:cNvPr id="143" name="Rectangle 111">
              <a:extLst>
                <a:ext uri="{FF2B5EF4-FFF2-40B4-BE49-F238E27FC236}">
                  <a16:creationId xmlns:a16="http://schemas.microsoft.com/office/drawing/2014/main" id="{0AA91C34-4D28-CEE5-A636-DAD9BB062F26}"/>
                </a:ext>
              </a:extLst>
            </p:cNvPr>
            <p:cNvSpPr/>
            <p:nvPr/>
          </p:nvSpPr>
          <p:spPr>
            <a:xfrm>
              <a:off x="6753438" y="1113384"/>
              <a:ext cx="1864452" cy="3425770"/>
            </a:xfrm>
            <a:custGeom>
              <a:avLst/>
              <a:gdLst>
                <a:gd name="connsiteX0" fmla="*/ 0 w 1031735"/>
                <a:gd name="connsiteY0" fmla="*/ 0 h 3468206"/>
                <a:gd name="connsiteX1" fmla="*/ 1031735 w 1031735"/>
                <a:gd name="connsiteY1" fmla="*/ 0 h 3468206"/>
                <a:gd name="connsiteX2" fmla="*/ 1031735 w 1031735"/>
                <a:gd name="connsiteY2" fmla="*/ 3468206 h 3468206"/>
                <a:gd name="connsiteX3" fmla="*/ 0 w 1031735"/>
                <a:gd name="connsiteY3" fmla="*/ 3468206 h 3468206"/>
                <a:gd name="connsiteX4" fmla="*/ 0 w 1031735"/>
                <a:gd name="connsiteY4" fmla="*/ 0 h 3468206"/>
                <a:gd name="connsiteX0" fmla="*/ 0 w 1934229"/>
                <a:gd name="connsiteY0" fmla="*/ 0 h 3468206"/>
                <a:gd name="connsiteX1" fmla="*/ 1934229 w 1934229"/>
                <a:gd name="connsiteY1" fmla="*/ 16669 h 3468206"/>
                <a:gd name="connsiteX2" fmla="*/ 1031735 w 1934229"/>
                <a:gd name="connsiteY2" fmla="*/ 3468206 h 3468206"/>
                <a:gd name="connsiteX3" fmla="*/ 0 w 1934229"/>
                <a:gd name="connsiteY3" fmla="*/ 3468206 h 3468206"/>
                <a:gd name="connsiteX4" fmla="*/ 0 w 1934229"/>
                <a:gd name="connsiteY4" fmla="*/ 0 h 3468206"/>
                <a:gd name="connsiteX0" fmla="*/ 0 w 1934229"/>
                <a:gd name="connsiteY0" fmla="*/ 0 h 3468206"/>
                <a:gd name="connsiteX1" fmla="*/ 1050441 w 1934229"/>
                <a:gd name="connsiteY1" fmla="*/ 735806 h 3468206"/>
                <a:gd name="connsiteX2" fmla="*/ 1934229 w 1934229"/>
                <a:gd name="connsiteY2" fmla="*/ 16669 h 3468206"/>
                <a:gd name="connsiteX3" fmla="*/ 1031735 w 1934229"/>
                <a:gd name="connsiteY3" fmla="*/ 3468206 h 3468206"/>
                <a:gd name="connsiteX4" fmla="*/ 0 w 1934229"/>
                <a:gd name="connsiteY4" fmla="*/ 3468206 h 3468206"/>
                <a:gd name="connsiteX5" fmla="*/ 0 w 1934229"/>
                <a:gd name="connsiteY5" fmla="*/ 0 h 3468206"/>
                <a:gd name="connsiteX0" fmla="*/ 0 w 1934229"/>
                <a:gd name="connsiteY0" fmla="*/ 0 h 3468206"/>
                <a:gd name="connsiteX1" fmla="*/ 1050441 w 1934229"/>
                <a:gd name="connsiteY1" fmla="*/ 735806 h 3468206"/>
                <a:gd name="connsiteX2" fmla="*/ 1338572 w 1934229"/>
                <a:gd name="connsiteY2" fmla="*/ 697706 h 3468206"/>
                <a:gd name="connsiteX3" fmla="*/ 1934229 w 1934229"/>
                <a:gd name="connsiteY3" fmla="*/ 16669 h 3468206"/>
                <a:gd name="connsiteX4" fmla="*/ 1031735 w 1934229"/>
                <a:gd name="connsiteY4" fmla="*/ 3468206 h 3468206"/>
                <a:gd name="connsiteX5" fmla="*/ 0 w 1934229"/>
                <a:gd name="connsiteY5" fmla="*/ 3468206 h 3468206"/>
                <a:gd name="connsiteX6" fmla="*/ 0 w 1934229"/>
                <a:gd name="connsiteY6" fmla="*/ 0 h 3468206"/>
                <a:gd name="connsiteX0" fmla="*/ 0 w 1934229"/>
                <a:gd name="connsiteY0" fmla="*/ 0 h 3468206"/>
                <a:gd name="connsiteX1" fmla="*/ 1050441 w 1934229"/>
                <a:gd name="connsiteY1" fmla="*/ 735806 h 3468206"/>
                <a:gd name="connsiteX2" fmla="*/ 1214747 w 1934229"/>
                <a:gd name="connsiteY2" fmla="*/ 650081 h 3468206"/>
                <a:gd name="connsiteX3" fmla="*/ 1338572 w 1934229"/>
                <a:gd name="connsiteY3" fmla="*/ 697706 h 3468206"/>
                <a:gd name="connsiteX4" fmla="*/ 1934229 w 1934229"/>
                <a:gd name="connsiteY4" fmla="*/ 16669 h 3468206"/>
                <a:gd name="connsiteX5" fmla="*/ 1031735 w 1934229"/>
                <a:gd name="connsiteY5" fmla="*/ 3468206 h 3468206"/>
                <a:gd name="connsiteX6" fmla="*/ 0 w 1934229"/>
                <a:gd name="connsiteY6" fmla="*/ 3468206 h 3468206"/>
                <a:gd name="connsiteX7" fmla="*/ 0 w 1934229"/>
                <a:gd name="connsiteY7" fmla="*/ 0 h 3468206"/>
                <a:gd name="connsiteX0" fmla="*/ 0 w 1934229"/>
                <a:gd name="connsiteY0" fmla="*/ 0 h 3468206"/>
                <a:gd name="connsiteX1" fmla="*/ 1050441 w 1934229"/>
                <a:gd name="connsiteY1" fmla="*/ 735806 h 3468206"/>
                <a:gd name="connsiteX2" fmla="*/ 1214747 w 1934229"/>
                <a:gd name="connsiteY2" fmla="*/ 650081 h 3468206"/>
                <a:gd name="connsiteX3" fmla="*/ 1338572 w 1934229"/>
                <a:gd name="connsiteY3" fmla="*/ 697706 h 3468206"/>
                <a:gd name="connsiteX4" fmla="*/ 1934229 w 1934229"/>
                <a:gd name="connsiteY4" fmla="*/ 16669 h 3468206"/>
                <a:gd name="connsiteX5" fmla="*/ 1031735 w 1934229"/>
                <a:gd name="connsiteY5" fmla="*/ 3468206 h 3468206"/>
                <a:gd name="connsiteX6" fmla="*/ 0 w 1934229"/>
                <a:gd name="connsiteY6" fmla="*/ 3468206 h 3468206"/>
                <a:gd name="connsiteX7" fmla="*/ 0 w 1934229"/>
                <a:gd name="connsiteY7" fmla="*/ 0 h 3468206"/>
                <a:gd name="connsiteX0" fmla="*/ 0 w 1934229"/>
                <a:gd name="connsiteY0" fmla="*/ 0 h 3468206"/>
                <a:gd name="connsiteX1" fmla="*/ 936141 w 1934229"/>
                <a:gd name="connsiteY1" fmla="*/ 847724 h 3468206"/>
                <a:gd name="connsiteX2" fmla="*/ 1214747 w 1934229"/>
                <a:gd name="connsiteY2" fmla="*/ 650081 h 3468206"/>
                <a:gd name="connsiteX3" fmla="*/ 1338572 w 1934229"/>
                <a:gd name="connsiteY3" fmla="*/ 697706 h 3468206"/>
                <a:gd name="connsiteX4" fmla="*/ 1934229 w 1934229"/>
                <a:gd name="connsiteY4" fmla="*/ 16669 h 3468206"/>
                <a:gd name="connsiteX5" fmla="*/ 1031735 w 1934229"/>
                <a:gd name="connsiteY5" fmla="*/ 3468206 h 3468206"/>
                <a:gd name="connsiteX6" fmla="*/ 0 w 1934229"/>
                <a:gd name="connsiteY6" fmla="*/ 3468206 h 3468206"/>
                <a:gd name="connsiteX7" fmla="*/ 0 w 1934229"/>
                <a:gd name="connsiteY7" fmla="*/ 0 h 3468206"/>
                <a:gd name="connsiteX0" fmla="*/ 0 w 1934229"/>
                <a:gd name="connsiteY0" fmla="*/ 0 h 3468206"/>
                <a:gd name="connsiteX1" fmla="*/ 1040916 w 1934229"/>
                <a:gd name="connsiteY1" fmla="*/ 733424 h 3468206"/>
                <a:gd name="connsiteX2" fmla="*/ 1214747 w 1934229"/>
                <a:gd name="connsiteY2" fmla="*/ 650081 h 3468206"/>
                <a:gd name="connsiteX3" fmla="*/ 1338572 w 1934229"/>
                <a:gd name="connsiteY3" fmla="*/ 697706 h 3468206"/>
                <a:gd name="connsiteX4" fmla="*/ 1934229 w 1934229"/>
                <a:gd name="connsiteY4" fmla="*/ 16669 h 3468206"/>
                <a:gd name="connsiteX5" fmla="*/ 1031735 w 1934229"/>
                <a:gd name="connsiteY5" fmla="*/ 3468206 h 3468206"/>
                <a:gd name="connsiteX6" fmla="*/ 0 w 1934229"/>
                <a:gd name="connsiteY6" fmla="*/ 3468206 h 3468206"/>
                <a:gd name="connsiteX7" fmla="*/ 0 w 1934229"/>
                <a:gd name="connsiteY7" fmla="*/ 0 h 3468206"/>
                <a:gd name="connsiteX0" fmla="*/ 0 w 1934229"/>
                <a:gd name="connsiteY0" fmla="*/ 105041 h 3573247"/>
                <a:gd name="connsiteX1" fmla="*/ 931378 w 1934229"/>
                <a:gd name="connsiteY1" fmla="*/ 952766 h 3573247"/>
                <a:gd name="connsiteX2" fmla="*/ 1040916 w 1934229"/>
                <a:gd name="connsiteY2" fmla="*/ 838465 h 3573247"/>
                <a:gd name="connsiteX3" fmla="*/ 1214747 w 1934229"/>
                <a:gd name="connsiteY3" fmla="*/ 755122 h 3573247"/>
                <a:gd name="connsiteX4" fmla="*/ 1338572 w 1934229"/>
                <a:gd name="connsiteY4" fmla="*/ 802747 h 3573247"/>
                <a:gd name="connsiteX5" fmla="*/ 1934229 w 1934229"/>
                <a:gd name="connsiteY5" fmla="*/ 121710 h 3573247"/>
                <a:gd name="connsiteX6" fmla="*/ 1031735 w 1934229"/>
                <a:gd name="connsiteY6" fmla="*/ 3573247 h 3573247"/>
                <a:gd name="connsiteX7" fmla="*/ 0 w 1934229"/>
                <a:gd name="connsiteY7" fmla="*/ 3573247 h 3573247"/>
                <a:gd name="connsiteX8" fmla="*/ 0 w 1934229"/>
                <a:gd name="connsiteY8" fmla="*/ 105041 h 3573247"/>
                <a:gd name="connsiteX0" fmla="*/ 0 w 1934229"/>
                <a:gd name="connsiteY0" fmla="*/ 105041 h 3573247"/>
                <a:gd name="connsiteX1" fmla="*/ 931378 w 1934229"/>
                <a:gd name="connsiteY1" fmla="*/ 952766 h 3573247"/>
                <a:gd name="connsiteX2" fmla="*/ 1040916 w 1934229"/>
                <a:gd name="connsiteY2" fmla="*/ 838465 h 3573247"/>
                <a:gd name="connsiteX3" fmla="*/ 1214747 w 1934229"/>
                <a:gd name="connsiteY3" fmla="*/ 755122 h 3573247"/>
                <a:gd name="connsiteX4" fmla="*/ 1338572 w 1934229"/>
                <a:gd name="connsiteY4" fmla="*/ 802747 h 3573247"/>
                <a:gd name="connsiteX5" fmla="*/ 1934229 w 1934229"/>
                <a:gd name="connsiteY5" fmla="*/ 121710 h 3573247"/>
                <a:gd name="connsiteX6" fmla="*/ 1031735 w 1934229"/>
                <a:gd name="connsiteY6" fmla="*/ 3573247 h 3573247"/>
                <a:gd name="connsiteX7" fmla="*/ 0 w 1934229"/>
                <a:gd name="connsiteY7" fmla="*/ 3573247 h 3573247"/>
                <a:gd name="connsiteX8" fmla="*/ 0 w 1934229"/>
                <a:gd name="connsiteY8" fmla="*/ 105041 h 3573247"/>
                <a:gd name="connsiteX0" fmla="*/ 0 w 1934229"/>
                <a:gd name="connsiteY0" fmla="*/ 105041 h 3573247"/>
                <a:gd name="connsiteX1" fmla="*/ 931378 w 1934229"/>
                <a:gd name="connsiteY1" fmla="*/ 952766 h 3573247"/>
                <a:gd name="connsiteX2" fmla="*/ 1040916 w 1934229"/>
                <a:gd name="connsiteY2" fmla="*/ 838465 h 3573247"/>
                <a:gd name="connsiteX3" fmla="*/ 1214747 w 1934229"/>
                <a:gd name="connsiteY3" fmla="*/ 755122 h 3573247"/>
                <a:gd name="connsiteX4" fmla="*/ 1338572 w 1934229"/>
                <a:gd name="connsiteY4" fmla="*/ 802747 h 3573247"/>
                <a:gd name="connsiteX5" fmla="*/ 1934229 w 1934229"/>
                <a:gd name="connsiteY5" fmla="*/ 121710 h 3573247"/>
                <a:gd name="connsiteX6" fmla="*/ 1031735 w 1934229"/>
                <a:gd name="connsiteY6" fmla="*/ 3573247 h 3573247"/>
                <a:gd name="connsiteX7" fmla="*/ 0 w 1934229"/>
                <a:gd name="connsiteY7" fmla="*/ 3573247 h 3573247"/>
                <a:gd name="connsiteX8" fmla="*/ 0 w 1934229"/>
                <a:gd name="connsiteY8" fmla="*/ 105041 h 3573247"/>
                <a:gd name="connsiteX0" fmla="*/ 0 w 1934229"/>
                <a:gd name="connsiteY0" fmla="*/ 105041 h 3573247"/>
                <a:gd name="connsiteX1" fmla="*/ 931378 w 1934229"/>
                <a:gd name="connsiteY1" fmla="*/ 952766 h 3573247"/>
                <a:gd name="connsiteX2" fmla="*/ 1040916 w 1934229"/>
                <a:gd name="connsiteY2" fmla="*/ 838465 h 3573247"/>
                <a:gd name="connsiteX3" fmla="*/ 1214747 w 1934229"/>
                <a:gd name="connsiteY3" fmla="*/ 755122 h 3573247"/>
                <a:gd name="connsiteX4" fmla="*/ 1343334 w 1934229"/>
                <a:gd name="connsiteY4" fmla="*/ 783697 h 3573247"/>
                <a:gd name="connsiteX5" fmla="*/ 1934229 w 1934229"/>
                <a:gd name="connsiteY5" fmla="*/ 121710 h 3573247"/>
                <a:gd name="connsiteX6" fmla="*/ 1031735 w 1934229"/>
                <a:gd name="connsiteY6" fmla="*/ 3573247 h 3573247"/>
                <a:gd name="connsiteX7" fmla="*/ 0 w 1934229"/>
                <a:gd name="connsiteY7" fmla="*/ 3573247 h 3573247"/>
                <a:gd name="connsiteX8" fmla="*/ 0 w 1934229"/>
                <a:gd name="connsiteY8" fmla="*/ 105041 h 3573247"/>
                <a:gd name="connsiteX0" fmla="*/ 0 w 1934229"/>
                <a:gd name="connsiteY0" fmla="*/ 105041 h 3573247"/>
                <a:gd name="connsiteX1" fmla="*/ 931378 w 1934229"/>
                <a:gd name="connsiteY1" fmla="*/ 952766 h 3573247"/>
                <a:gd name="connsiteX2" fmla="*/ 1040916 w 1934229"/>
                <a:gd name="connsiteY2" fmla="*/ 838465 h 3573247"/>
                <a:gd name="connsiteX3" fmla="*/ 1214747 w 1934229"/>
                <a:gd name="connsiteY3" fmla="*/ 755122 h 3573247"/>
                <a:gd name="connsiteX4" fmla="*/ 1343334 w 1934229"/>
                <a:gd name="connsiteY4" fmla="*/ 783697 h 3573247"/>
                <a:gd name="connsiteX5" fmla="*/ 1934229 w 1934229"/>
                <a:gd name="connsiteY5" fmla="*/ 121710 h 3573247"/>
                <a:gd name="connsiteX6" fmla="*/ 1031735 w 1934229"/>
                <a:gd name="connsiteY6" fmla="*/ 3573247 h 3573247"/>
                <a:gd name="connsiteX7" fmla="*/ 0 w 1934229"/>
                <a:gd name="connsiteY7" fmla="*/ 3573247 h 3573247"/>
                <a:gd name="connsiteX8" fmla="*/ 0 w 1934229"/>
                <a:gd name="connsiteY8" fmla="*/ 105041 h 3573247"/>
                <a:gd name="connsiteX0" fmla="*/ 0 w 1934229"/>
                <a:gd name="connsiteY0" fmla="*/ 105041 h 3573247"/>
                <a:gd name="connsiteX1" fmla="*/ 931378 w 1934229"/>
                <a:gd name="connsiteY1" fmla="*/ 952766 h 3573247"/>
                <a:gd name="connsiteX2" fmla="*/ 1040916 w 1934229"/>
                <a:gd name="connsiteY2" fmla="*/ 838465 h 3573247"/>
                <a:gd name="connsiteX3" fmla="*/ 1214747 w 1934229"/>
                <a:gd name="connsiteY3" fmla="*/ 755122 h 3573247"/>
                <a:gd name="connsiteX4" fmla="*/ 1343334 w 1934229"/>
                <a:gd name="connsiteY4" fmla="*/ 783697 h 3573247"/>
                <a:gd name="connsiteX5" fmla="*/ 1850541 w 1934229"/>
                <a:gd name="connsiteY5" fmla="*/ 305067 h 3573247"/>
                <a:gd name="connsiteX6" fmla="*/ 1934229 w 1934229"/>
                <a:gd name="connsiteY6" fmla="*/ 121710 h 3573247"/>
                <a:gd name="connsiteX7" fmla="*/ 1031735 w 1934229"/>
                <a:gd name="connsiteY7" fmla="*/ 3573247 h 3573247"/>
                <a:gd name="connsiteX8" fmla="*/ 0 w 1934229"/>
                <a:gd name="connsiteY8" fmla="*/ 3573247 h 3573247"/>
                <a:gd name="connsiteX9" fmla="*/ 0 w 1934229"/>
                <a:gd name="connsiteY9" fmla="*/ 105041 h 3573247"/>
                <a:gd name="connsiteX0" fmla="*/ 0 w 1936221"/>
                <a:gd name="connsiteY0" fmla="*/ 105041 h 3573247"/>
                <a:gd name="connsiteX1" fmla="*/ 931378 w 1936221"/>
                <a:gd name="connsiteY1" fmla="*/ 952766 h 3573247"/>
                <a:gd name="connsiteX2" fmla="*/ 1040916 w 1936221"/>
                <a:gd name="connsiteY2" fmla="*/ 838465 h 3573247"/>
                <a:gd name="connsiteX3" fmla="*/ 1214747 w 1936221"/>
                <a:gd name="connsiteY3" fmla="*/ 755122 h 3573247"/>
                <a:gd name="connsiteX4" fmla="*/ 1343334 w 1936221"/>
                <a:gd name="connsiteY4" fmla="*/ 783697 h 3573247"/>
                <a:gd name="connsiteX5" fmla="*/ 1850541 w 1936221"/>
                <a:gd name="connsiteY5" fmla="*/ 305067 h 3573247"/>
                <a:gd name="connsiteX6" fmla="*/ 1934229 w 1936221"/>
                <a:gd name="connsiteY6" fmla="*/ 121710 h 3573247"/>
                <a:gd name="connsiteX7" fmla="*/ 1929122 w 1936221"/>
                <a:gd name="connsiteY7" fmla="*/ 436036 h 3573247"/>
                <a:gd name="connsiteX8" fmla="*/ 1031735 w 1936221"/>
                <a:gd name="connsiteY8" fmla="*/ 3573247 h 3573247"/>
                <a:gd name="connsiteX9" fmla="*/ 0 w 1936221"/>
                <a:gd name="connsiteY9" fmla="*/ 3573247 h 3573247"/>
                <a:gd name="connsiteX10" fmla="*/ 0 w 1936221"/>
                <a:gd name="connsiteY10" fmla="*/ 105041 h 3573247"/>
                <a:gd name="connsiteX0" fmla="*/ 0 w 1936221"/>
                <a:gd name="connsiteY0" fmla="*/ 105041 h 3573247"/>
                <a:gd name="connsiteX1" fmla="*/ 931378 w 1936221"/>
                <a:gd name="connsiteY1" fmla="*/ 952766 h 3573247"/>
                <a:gd name="connsiteX2" fmla="*/ 1040916 w 1936221"/>
                <a:gd name="connsiteY2" fmla="*/ 838465 h 3573247"/>
                <a:gd name="connsiteX3" fmla="*/ 1214747 w 1936221"/>
                <a:gd name="connsiteY3" fmla="*/ 755122 h 3573247"/>
                <a:gd name="connsiteX4" fmla="*/ 1343334 w 1936221"/>
                <a:gd name="connsiteY4" fmla="*/ 783697 h 3573247"/>
                <a:gd name="connsiteX5" fmla="*/ 1860066 w 1936221"/>
                <a:gd name="connsiteY5" fmla="*/ 312211 h 3573247"/>
                <a:gd name="connsiteX6" fmla="*/ 1934229 w 1936221"/>
                <a:gd name="connsiteY6" fmla="*/ 121710 h 3573247"/>
                <a:gd name="connsiteX7" fmla="*/ 1929122 w 1936221"/>
                <a:gd name="connsiteY7" fmla="*/ 436036 h 3573247"/>
                <a:gd name="connsiteX8" fmla="*/ 1031735 w 1936221"/>
                <a:gd name="connsiteY8" fmla="*/ 3573247 h 3573247"/>
                <a:gd name="connsiteX9" fmla="*/ 0 w 1936221"/>
                <a:gd name="connsiteY9" fmla="*/ 3573247 h 3573247"/>
                <a:gd name="connsiteX10" fmla="*/ 0 w 1936221"/>
                <a:gd name="connsiteY10" fmla="*/ 105041 h 3573247"/>
                <a:gd name="connsiteX0" fmla="*/ 0 w 1936221"/>
                <a:gd name="connsiteY0" fmla="*/ 105041 h 3573247"/>
                <a:gd name="connsiteX1" fmla="*/ 931378 w 1936221"/>
                <a:gd name="connsiteY1" fmla="*/ 952766 h 3573247"/>
                <a:gd name="connsiteX2" fmla="*/ 1040916 w 1936221"/>
                <a:gd name="connsiteY2" fmla="*/ 838465 h 3573247"/>
                <a:gd name="connsiteX3" fmla="*/ 1214747 w 1936221"/>
                <a:gd name="connsiteY3" fmla="*/ 755122 h 3573247"/>
                <a:gd name="connsiteX4" fmla="*/ 1343334 w 1936221"/>
                <a:gd name="connsiteY4" fmla="*/ 783697 h 3573247"/>
                <a:gd name="connsiteX5" fmla="*/ 1860066 w 1936221"/>
                <a:gd name="connsiteY5" fmla="*/ 312211 h 3573247"/>
                <a:gd name="connsiteX6" fmla="*/ 1934229 w 1936221"/>
                <a:gd name="connsiteY6" fmla="*/ 121710 h 3573247"/>
                <a:gd name="connsiteX7" fmla="*/ 1929122 w 1936221"/>
                <a:gd name="connsiteY7" fmla="*/ 436036 h 3573247"/>
                <a:gd name="connsiteX8" fmla="*/ 1031735 w 1936221"/>
                <a:gd name="connsiteY8" fmla="*/ 3573247 h 3573247"/>
                <a:gd name="connsiteX9" fmla="*/ 0 w 1936221"/>
                <a:gd name="connsiteY9" fmla="*/ 3573247 h 3573247"/>
                <a:gd name="connsiteX10" fmla="*/ 0 w 1936221"/>
                <a:gd name="connsiteY10" fmla="*/ 105041 h 3573247"/>
                <a:gd name="connsiteX0" fmla="*/ 0 w 1936221"/>
                <a:gd name="connsiteY0" fmla="*/ 105041 h 3573247"/>
                <a:gd name="connsiteX1" fmla="*/ 931378 w 1936221"/>
                <a:gd name="connsiteY1" fmla="*/ 952766 h 3573247"/>
                <a:gd name="connsiteX2" fmla="*/ 1040916 w 1936221"/>
                <a:gd name="connsiteY2" fmla="*/ 838465 h 3573247"/>
                <a:gd name="connsiteX3" fmla="*/ 1214747 w 1936221"/>
                <a:gd name="connsiteY3" fmla="*/ 755122 h 3573247"/>
                <a:gd name="connsiteX4" fmla="*/ 1343334 w 1936221"/>
                <a:gd name="connsiteY4" fmla="*/ 783697 h 3573247"/>
                <a:gd name="connsiteX5" fmla="*/ 1860066 w 1936221"/>
                <a:gd name="connsiteY5" fmla="*/ 312211 h 3573247"/>
                <a:gd name="connsiteX6" fmla="*/ 1934229 w 1936221"/>
                <a:gd name="connsiteY6" fmla="*/ 121710 h 3573247"/>
                <a:gd name="connsiteX7" fmla="*/ 1929122 w 1936221"/>
                <a:gd name="connsiteY7" fmla="*/ 436036 h 3573247"/>
                <a:gd name="connsiteX8" fmla="*/ 1031735 w 1936221"/>
                <a:gd name="connsiteY8" fmla="*/ 3573247 h 3573247"/>
                <a:gd name="connsiteX9" fmla="*/ 0 w 1936221"/>
                <a:gd name="connsiteY9" fmla="*/ 3573247 h 3573247"/>
                <a:gd name="connsiteX10" fmla="*/ 0 w 1936221"/>
                <a:gd name="connsiteY10" fmla="*/ 105041 h 3573247"/>
                <a:gd name="connsiteX0" fmla="*/ 0 w 1936221"/>
                <a:gd name="connsiteY0" fmla="*/ 105041 h 3573247"/>
                <a:gd name="connsiteX1" fmla="*/ 931378 w 1936221"/>
                <a:gd name="connsiteY1" fmla="*/ 952766 h 3573247"/>
                <a:gd name="connsiteX2" fmla="*/ 1040916 w 1936221"/>
                <a:gd name="connsiteY2" fmla="*/ 838465 h 3573247"/>
                <a:gd name="connsiteX3" fmla="*/ 1214747 w 1936221"/>
                <a:gd name="connsiteY3" fmla="*/ 755122 h 3573247"/>
                <a:gd name="connsiteX4" fmla="*/ 1343334 w 1936221"/>
                <a:gd name="connsiteY4" fmla="*/ 783697 h 3573247"/>
                <a:gd name="connsiteX5" fmla="*/ 1860066 w 1936221"/>
                <a:gd name="connsiteY5" fmla="*/ 312211 h 3573247"/>
                <a:gd name="connsiteX6" fmla="*/ 1934229 w 1936221"/>
                <a:gd name="connsiteY6" fmla="*/ 121710 h 3573247"/>
                <a:gd name="connsiteX7" fmla="*/ 1929122 w 1936221"/>
                <a:gd name="connsiteY7" fmla="*/ 436036 h 3573247"/>
                <a:gd name="connsiteX8" fmla="*/ 1031735 w 1936221"/>
                <a:gd name="connsiteY8" fmla="*/ 3573247 h 3573247"/>
                <a:gd name="connsiteX9" fmla="*/ 0 w 1936221"/>
                <a:gd name="connsiteY9" fmla="*/ 3573247 h 3573247"/>
                <a:gd name="connsiteX10" fmla="*/ 0 w 1936221"/>
                <a:gd name="connsiteY10" fmla="*/ 105041 h 3573247"/>
                <a:gd name="connsiteX0" fmla="*/ 0 w 1936221"/>
                <a:gd name="connsiteY0" fmla="*/ 74883 h 3543089"/>
                <a:gd name="connsiteX1" fmla="*/ 428935 w 1936221"/>
                <a:gd name="connsiteY1" fmla="*/ 1625078 h 3543089"/>
                <a:gd name="connsiteX2" fmla="*/ 931378 w 1936221"/>
                <a:gd name="connsiteY2" fmla="*/ 922608 h 3543089"/>
                <a:gd name="connsiteX3" fmla="*/ 1040916 w 1936221"/>
                <a:gd name="connsiteY3" fmla="*/ 808307 h 3543089"/>
                <a:gd name="connsiteX4" fmla="*/ 1214747 w 1936221"/>
                <a:gd name="connsiteY4" fmla="*/ 724964 h 3543089"/>
                <a:gd name="connsiteX5" fmla="*/ 1343334 w 1936221"/>
                <a:gd name="connsiteY5" fmla="*/ 753539 h 3543089"/>
                <a:gd name="connsiteX6" fmla="*/ 1860066 w 1936221"/>
                <a:gd name="connsiteY6" fmla="*/ 282053 h 3543089"/>
                <a:gd name="connsiteX7" fmla="*/ 1934229 w 1936221"/>
                <a:gd name="connsiteY7" fmla="*/ 91552 h 3543089"/>
                <a:gd name="connsiteX8" fmla="*/ 1929122 w 1936221"/>
                <a:gd name="connsiteY8" fmla="*/ 405878 h 3543089"/>
                <a:gd name="connsiteX9" fmla="*/ 1031735 w 1936221"/>
                <a:gd name="connsiteY9" fmla="*/ 3543089 h 3543089"/>
                <a:gd name="connsiteX10" fmla="*/ 0 w 1936221"/>
                <a:gd name="connsiteY10" fmla="*/ 3543089 h 3543089"/>
                <a:gd name="connsiteX11" fmla="*/ 0 w 1936221"/>
                <a:gd name="connsiteY11" fmla="*/ 74883 h 3543089"/>
                <a:gd name="connsiteX0" fmla="*/ 0 w 1936221"/>
                <a:gd name="connsiteY0" fmla="*/ 74883 h 3543089"/>
                <a:gd name="connsiteX1" fmla="*/ 428935 w 1936221"/>
                <a:gd name="connsiteY1" fmla="*/ 1625078 h 3543089"/>
                <a:gd name="connsiteX2" fmla="*/ 1055203 w 1936221"/>
                <a:gd name="connsiteY2" fmla="*/ 1686990 h 3543089"/>
                <a:gd name="connsiteX3" fmla="*/ 931378 w 1936221"/>
                <a:gd name="connsiteY3" fmla="*/ 922608 h 3543089"/>
                <a:gd name="connsiteX4" fmla="*/ 1040916 w 1936221"/>
                <a:gd name="connsiteY4" fmla="*/ 808307 h 3543089"/>
                <a:gd name="connsiteX5" fmla="*/ 1214747 w 1936221"/>
                <a:gd name="connsiteY5" fmla="*/ 724964 h 3543089"/>
                <a:gd name="connsiteX6" fmla="*/ 1343334 w 1936221"/>
                <a:gd name="connsiteY6" fmla="*/ 753539 h 3543089"/>
                <a:gd name="connsiteX7" fmla="*/ 1860066 w 1936221"/>
                <a:gd name="connsiteY7" fmla="*/ 282053 h 3543089"/>
                <a:gd name="connsiteX8" fmla="*/ 1934229 w 1936221"/>
                <a:gd name="connsiteY8" fmla="*/ 91552 h 3543089"/>
                <a:gd name="connsiteX9" fmla="*/ 1929122 w 1936221"/>
                <a:gd name="connsiteY9" fmla="*/ 405878 h 3543089"/>
                <a:gd name="connsiteX10" fmla="*/ 1031735 w 1936221"/>
                <a:gd name="connsiteY10" fmla="*/ 3543089 h 3543089"/>
                <a:gd name="connsiteX11" fmla="*/ 0 w 1936221"/>
                <a:gd name="connsiteY11" fmla="*/ 3543089 h 3543089"/>
                <a:gd name="connsiteX12" fmla="*/ 0 w 1936221"/>
                <a:gd name="connsiteY12" fmla="*/ 74883 h 3543089"/>
                <a:gd name="connsiteX0" fmla="*/ 0 w 1936221"/>
                <a:gd name="connsiteY0" fmla="*/ 74883 h 3543089"/>
                <a:gd name="connsiteX1" fmla="*/ 428935 w 1936221"/>
                <a:gd name="connsiteY1" fmla="*/ 1625078 h 3543089"/>
                <a:gd name="connsiteX2" fmla="*/ 1055203 w 1936221"/>
                <a:gd name="connsiteY2" fmla="*/ 1686990 h 3543089"/>
                <a:gd name="connsiteX3" fmla="*/ 1124260 w 1936221"/>
                <a:gd name="connsiteY3" fmla="*/ 1429815 h 3543089"/>
                <a:gd name="connsiteX4" fmla="*/ 931378 w 1936221"/>
                <a:gd name="connsiteY4" fmla="*/ 922608 h 3543089"/>
                <a:gd name="connsiteX5" fmla="*/ 1040916 w 1936221"/>
                <a:gd name="connsiteY5" fmla="*/ 808307 h 3543089"/>
                <a:gd name="connsiteX6" fmla="*/ 1214747 w 1936221"/>
                <a:gd name="connsiteY6" fmla="*/ 724964 h 3543089"/>
                <a:gd name="connsiteX7" fmla="*/ 1343334 w 1936221"/>
                <a:gd name="connsiteY7" fmla="*/ 753539 h 3543089"/>
                <a:gd name="connsiteX8" fmla="*/ 1860066 w 1936221"/>
                <a:gd name="connsiteY8" fmla="*/ 282053 h 3543089"/>
                <a:gd name="connsiteX9" fmla="*/ 1934229 w 1936221"/>
                <a:gd name="connsiteY9" fmla="*/ 91552 h 3543089"/>
                <a:gd name="connsiteX10" fmla="*/ 1929122 w 1936221"/>
                <a:gd name="connsiteY10" fmla="*/ 405878 h 3543089"/>
                <a:gd name="connsiteX11" fmla="*/ 1031735 w 1936221"/>
                <a:gd name="connsiteY11" fmla="*/ 3543089 h 3543089"/>
                <a:gd name="connsiteX12" fmla="*/ 0 w 1936221"/>
                <a:gd name="connsiteY12" fmla="*/ 3543089 h 3543089"/>
                <a:gd name="connsiteX13" fmla="*/ 0 w 1936221"/>
                <a:gd name="connsiteY13" fmla="*/ 74883 h 3543089"/>
                <a:gd name="connsiteX0" fmla="*/ 0 w 1936221"/>
                <a:gd name="connsiteY0" fmla="*/ 74883 h 3543089"/>
                <a:gd name="connsiteX1" fmla="*/ 428935 w 1936221"/>
                <a:gd name="connsiteY1" fmla="*/ 1625078 h 3543089"/>
                <a:gd name="connsiteX2" fmla="*/ 1055203 w 1936221"/>
                <a:gd name="connsiteY2" fmla="*/ 1686990 h 3543089"/>
                <a:gd name="connsiteX3" fmla="*/ 1124260 w 1936221"/>
                <a:gd name="connsiteY3" fmla="*/ 1429815 h 3543089"/>
                <a:gd name="connsiteX4" fmla="*/ 931378 w 1936221"/>
                <a:gd name="connsiteY4" fmla="*/ 922608 h 3543089"/>
                <a:gd name="connsiteX5" fmla="*/ 1040916 w 1936221"/>
                <a:gd name="connsiteY5" fmla="*/ 808307 h 3543089"/>
                <a:gd name="connsiteX6" fmla="*/ 1214747 w 1936221"/>
                <a:gd name="connsiteY6" fmla="*/ 724964 h 3543089"/>
                <a:gd name="connsiteX7" fmla="*/ 1343334 w 1936221"/>
                <a:gd name="connsiteY7" fmla="*/ 753539 h 3543089"/>
                <a:gd name="connsiteX8" fmla="*/ 1860066 w 1936221"/>
                <a:gd name="connsiteY8" fmla="*/ 282053 h 3543089"/>
                <a:gd name="connsiteX9" fmla="*/ 1934229 w 1936221"/>
                <a:gd name="connsiteY9" fmla="*/ 91552 h 3543089"/>
                <a:gd name="connsiteX10" fmla="*/ 1929122 w 1936221"/>
                <a:gd name="connsiteY10" fmla="*/ 405878 h 3543089"/>
                <a:gd name="connsiteX11" fmla="*/ 1031735 w 1936221"/>
                <a:gd name="connsiteY11" fmla="*/ 3543089 h 3543089"/>
                <a:gd name="connsiteX12" fmla="*/ 0 w 1936221"/>
                <a:gd name="connsiteY12" fmla="*/ 3543089 h 3543089"/>
                <a:gd name="connsiteX13" fmla="*/ 0 w 1936221"/>
                <a:gd name="connsiteY13" fmla="*/ 74883 h 3543089"/>
                <a:gd name="connsiteX0" fmla="*/ 0 w 1936221"/>
                <a:gd name="connsiteY0" fmla="*/ 74883 h 3543089"/>
                <a:gd name="connsiteX1" fmla="*/ 428935 w 1936221"/>
                <a:gd name="connsiteY1" fmla="*/ 1625078 h 3543089"/>
                <a:gd name="connsiteX2" fmla="*/ 1055203 w 1936221"/>
                <a:gd name="connsiteY2" fmla="*/ 1686990 h 3543089"/>
                <a:gd name="connsiteX3" fmla="*/ 1124260 w 1936221"/>
                <a:gd name="connsiteY3" fmla="*/ 1429815 h 3543089"/>
                <a:gd name="connsiteX4" fmla="*/ 931378 w 1936221"/>
                <a:gd name="connsiteY4" fmla="*/ 922608 h 3543089"/>
                <a:gd name="connsiteX5" fmla="*/ 1040916 w 1936221"/>
                <a:gd name="connsiteY5" fmla="*/ 808307 h 3543089"/>
                <a:gd name="connsiteX6" fmla="*/ 1214747 w 1936221"/>
                <a:gd name="connsiteY6" fmla="*/ 724964 h 3543089"/>
                <a:gd name="connsiteX7" fmla="*/ 1343334 w 1936221"/>
                <a:gd name="connsiteY7" fmla="*/ 753539 h 3543089"/>
                <a:gd name="connsiteX8" fmla="*/ 1860066 w 1936221"/>
                <a:gd name="connsiteY8" fmla="*/ 282053 h 3543089"/>
                <a:gd name="connsiteX9" fmla="*/ 1934229 w 1936221"/>
                <a:gd name="connsiteY9" fmla="*/ 91552 h 3543089"/>
                <a:gd name="connsiteX10" fmla="*/ 1929122 w 1936221"/>
                <a:gd name="connsiteY10" fmla="*/ 405878 h 3543089"/>
                <a:gd name="connsiteX11" fmla="*/ 1031735 w 1936221"/>
                <a:gd name="connsiteY11" fmla="*/ 3543089 h 3543089"/>
                <a:gd name="connsiteX12" fmla="*/ 0 w 1936221"/>
                <a:gd name="connsiteY12" fmla="*/ 3543089 h 3543089"/>
                <a:gd name="connsiteX13" fmla="*/ 0 w 1936221"/>
                <a:gd name="connsiteY13" fmla="*/ 74883 h 3543089"/>
                <a:gd name="connsiteX0" fmla="*/ 0 w 1936221"/>
                <a:gd name="connsiteY0" fmla="*/ 74883 h 3543089"/>
                <a:gd name="connsiteX1" fmla="*/ 428935 w 1936221"/>
                <a:gd name="connsiteY1" fmla="*/ 1625078 h 3543089"/>
                <a:gd name="connsiteX2" fmla="*/ 1055203 w 1936221"/>
                <a:gd name="connsiteY2" fmla="*/ 1686990 h 3543089"/>
                <a:gd name="connsiteX3" fmla="*/ 1124260 w 1936221"/>
                <a:gd name="connsiteY3" fmla="*/ 1429815 h 3543089"/>
                <a:gd name="connsiteX4" fmla="*/ 931378 w 1936221"/>
                <a:gd name="connsiteY4" fmla="*/ 922608 h 3543089"/>
                <a:gd name="connsiteX5" fmla="*/ 1040916 w 1936221"/>
                <a:gd name="connsiteY5" fmla="*/ 808307 h 3543089"/>
                <a:gd name="connsiteX6" fmla="*/ 1214747 w 1936221"/>
                <a:gd name="connsiteY6" fmla="*/ 724964 h 3543089"/>
                <a:gd name="connsiteX7" fmla="*/ 1343334 w 1936221"/>
                <a:gd name="connsiteY7" fmla="*/ 753539 h 3543089"/>
                <a:gd name="connsiteX8" fmla="*/ 1860066 w 1936221"/>
                <a:gd name="connsiteY8" fmla="*/ 282053 h 3543089"/>
                <a:gd name="connsiteX9" fmla="*/ 1934229 w 1936221"/>
                <a:gd name="connsiteY9" fmla="*/ 91552 h 3543089"/>
                <a:gd name="connsiteX10" fmla="*/ 1929122 w 1936221"/>
                <a:gd name="connsiteY10" fmla="*/ 405878 h 3543089"/>
                <a:gd name="connsiteX11" fmla="*/ 1031735 w 1936221"/>
                <a:gd name="connsiteY11" fmla="*/ 3543089 h 3543089"/>
                <a:gd name="connsiteX12" fmla="*/ 0 w 1936221"/>
                <a:gd name="connsiteY12" fmla="*/ 3543089 h 3543089"/>
                <a:gd name="connsiteX13" fmla="*/ 0 w 1936221"/>
                <a:gd name="connsiteY13" fmla="*/ 74883 h 3543089"/>
                <a:gd name="connsiteX0" fmla="*/ 0 w 1936221"/>
                <a:gd name="connsiteY0" fmla="*/ 74883 h 3543089"/>
                <a:gd name="connsiteX1" fmla="*/ 428935 w 1936221"/>
                <a:gd name="connsiteY1" fmla="*/ 1625078 h 3543089"/>
                <a:gd name="connsiteX2" fmla="*/ 1055203 w 1936221"/>
                <a:gd name="connsiteY2" fmla="*/ 1686990 h 3543089"/>
                <a:gd name="connsiteX3" fmla="*/ 1124260 w 1936221"/>
                <a:gd name="connsiteY3" fmla="*/ 1429815 h 3543089"/>
                <a:gd name="connsiteX4" fmla="*/ 931378 w 1936221"/>
                <a:gd name="connsiteY4" fmla="*/ 922608 h 3543089"/>
                <a:gd name="connsiteX5" fmla="*/ 1040916 w 1936221"/>
                <a:gd name="connsiteY5" fmla="*/ 808307 h 3543089"/>
                <a:gd name="connsiteX6" fmla="*/ 1214747 w 1936221"/>
                <a:gd name="connsiteY6" fmla="*/ 724964 h 3543089"/>
                <a:gd name="connsiteX7" fmla="*/ 1343334 w 1936221"/>
                <a:gd name="connsiteY7" fmla="*/ 753539 h 3543089"/>
                <a:gd name="connsiteX8" fmla="*/ 1860066 w 1936221"/>
                <a:gd name="connsiteY8" fmla="*/ 282053 h 3543089"/>
                <a:gd name="connsiteX9" fmla="*/ 1934229 w 1936221"/>
                <a:gd name="connsiteY9" fmla="*/ 91552 h 3543089"/>
                <a:gd name="connsiteX10" fmla="*/ 1929122 w 1936221"/>
                <a:gd name="connsiteY10" fmla="*/ 405878 h 3543089"/>
                <a:gd name="connsiteX11" fmla="*/ 1031735 w 1936221"/>
                <a:gd name="connsiteY11" fmla="*/ 3543089 h 3543089"/>
                <a:gd name="connsiteX12" fmla="*/ 0 w 1936221"/>
                <a:gd name="connsiteY12" fmla="*/ 3543089 h 3543089"/>
                <a:gd name="connsiteX13" fmla="*/ 0 w 1936221"/>
                <a:gd name="connsiteY13" fmla="*/ 74883 h 3543089"/>
                <a:gd name="connsiteX0" fmla="*/ 0 w 1936221"/>
                <a:gd name="connsiteY0" fmla="*/ 74883 h 3543089"/>
                <a:gd name="connsiteX1" fmla="*/ 428935 w 1936221"/>
                <a:gd name="connsiteY1" fmla="*/ 1625078 h 3543089"/>
                <a:gd name="connsiteX2" fmla="*/ 1055203 w 1936221"/>
                <a:gd name="connsiteY2" fmla="*/ 1686990 h 3543089"/>
                <a:gd name="connsiteX3" fmla="*/ 1124260 w 1936221"/>
                <a:gd name="connsiteY3" fmla="*/ 1429815 h 3543089"/>
                <a:gd name="connsiteX4" fmla="*/ 931378 w 1936221"/>
                <a:gd name="connsiteY4" fmla="*/ 922608 h 3543089"/>
                <a:gd name="connsiteX5" fmla="*/ 1040916 w 1936221"/>
                <a:gd name="connsiteY5" fmla="*/ 808307 h 3543089"/>
                <a:gd name="connsiteX6" fmla="*/ 1214747 w 1936221"/>
                <a:gd name="connsiteY6" fmla="*/ 724964 h 3543089"/>
                <a:gd name="connsiteX7" fmla="*/ 1343334 w 1936221"/>
                <a:gd name="connsiteY7" fmla="*/ 753539 h 3543089"/>
                <a:gd name="connsiteX8" fmla="*/ 1860066 w 1936221"/>
                <a:gd name="connsiteY8" fmla="*/ 282053 h 3543089"/>
                <a:gd name="connsiteX9" fmla="*/ 1934229 w 1936221"/>
                <a:gd name="connsiteY9" fmla="*/ 91552 h 3543089"/>
                <a:gd name="connsiteX10" fmla="*/ 1929122 w 1936221"/>
                <a:gd name="connsiteY10" fmla="*/ 405878 h 3543089"/>
                <a:gd name="connsiteX11" fmla="*/ 1031735 w 1936221"/>
                <a:gd name="connsiteY11" fmla="*/ 3543089 h 3543089"/>
                <a:gd name="connsiteX12" fmla="*/ 0 w 1936221"/>
                <a:gd name="connsiteY12" fmla="*/ 3543089 h 3543089"/>
                <a:gd name="connsiteX13" fmla="*/ 0 w 1936221"/>
                <a:gd name="connsiteY13" fmla="*/ 74883 h 3543089"/>
                <a:gd name="connsiteX0" fmla="*/ 0 w 1936221"/>
                <a:gd name="connsiteY0" fmla="*/ 77937 h 3546143"/>
                <a:gd name="connsiteX1" fmla="*/ 478941 w 1936221"/>
                <a:gd name="connsiteY1" fmla="*/ 1147119 h 3546143"/>
                <a:gd name="connsiteX2" fmla="*/ 428935 w 1936221"/>
                <a:gd name="connsiteY2" fmla="*/ 1628132 h 3546143"/>
                <a:gd name="connsiteX3" fmla="*/ 1055203 w 1936221"/>
                <a:gd name="connsiteY3" fmla="*/ 1690044 h 3546143"/>
                <a:gd name="connsiteX4" fmla="*/ 1124260 w 1936221"/>
                <a:gd name="connsiteY4" fmla="*/ 1432869 h 3546143"/>
                <a:gd name="connsiteX5" fmla="*/ 931378 w 1936221"/>
                <a:gd name="connsiteY5" fmla="*/ 925662 h 3546143"/>
                <a:gd name="connsiteX6" fmla="*/ 1040916 w 1936221"/>
                <a:gd name="connsiteY6" fmla="*/ 811361 h 3546143"/>
                <a:gd name="connsiteX7" fmla="*/ 1214747 w 1936221"/>
                <a:gd name="connsiteY7" fmla="*/ 728018 h 3546143"/>
                <a:gd name="connsiteX8" fmla="*/ 1343334 w 1936221"/>
                <a:gd name="connsiteY8" fmla="*/ 756593 h 3546143"/>
                <a:gd name="connsiteX9" fmla="*/ 1860066 w 1936221"/>
                <a:gd name="connsiteY9" fmla="*/ 285107 h 3546143"/>
                <a:gd name="connsiteX10" fmla="*/ 1934229 w 1936221"/>
                <a:gd name="connsiteY10" fmla="*/ 94606 h 3546143"/>
                <a:gd name="connsiteX11" fmla="*/ 1929122 w 1936221"/>
                <a:gd name="connsiteY11" fmla="*/ 408932 h 3546143"/>
                <a:gd name="connsiteX12" fmla="*/ 1031735 w 1936221"/>
                <a:gd name="connsiteY12" fmla="*/ 3546143 h 3546143"/>
                <a:gd name="connsiteX13" fmla="*/ 0 w 1936221"/>
                <a:gd name="connsiteY13" fmla="*/ 3546143 h 3546143"/>
                <a:gd name="connsiteX14" fmla="*/ 0 w 1936221"/>
                <a:gd name="connsiteY14" fmla="*/ 77937 h 3546143"/>
                <a:gd name="connsiteX0" fmla="*/ 0 w 1936221"/>
                <a:gd name="connsiteY0" fmla="*/ 77937 h 3546143"/>
                <a:gd name="connsiteX1" fmla="*/ 478941 w 1936221"/>
                <a:gd name="connsiteY1" fmla="*/ 1147119 h 3546143"/>
                <a:gd name="connsiteX2" fmla="*/ 428935 w 1936221"/>
                <a:gd name="connsiteY2" fmla="*/ 1628132 h 3546143"/>
                <a:gd name="connsiteX3" fmla="*/ 1055203 w 1936221"/>
                <a:gd name="connsiteY3" fmla="*/ 1690044 h 3546143"/>
                <a:gd name="connsiteX4" fmla="*/ 1124260 w 1936221"/>
                <a:gd name="connsiteY4" fmla="*/ 1432869 h 3546143"/>
                <a:gd name="connsiteX5" fmla="*/ 931378 w 1936221"/>
                <a:gd name="connsiteY5" fmla="*/ 925662 h 3546143"/>
                <a:gd name="connsiteX6" fmla="*/ 1040916 w 1936221"/>
                <a:gd name="connsiteY6" fmla="*/ 811361 h 3546143"/>
                <a:gd name="connsiteX7" fmla="*/ 1214747 w 1936221"/>
                <a:gd name="connsiteY7" fmla="*/ 728018 h 3546143"/>
                <a:gd name="connsiteX8" fmla="*/ 1343334 w 1936221"/>
                <a:gd name="connsiteY8" fmla="*/ 756593 h 3546143"/>
                <a:gd name="connsiteX9" fmla="*/ 1860066 w 1936221"/>
                <a:gd name="connsiteY9" fmla="*/ 285107 h 3546143"/>
                <a:gd name="connsiteX10" fmla="*/ 1934229 w 1936221"/>
                <a:gd name="connsiteY10" fmla="*/ 94606 h 3546143"/>
                <a:gd name="connsiteX11" fmla="*/ 1929122 w 1936221"/>
                <a:gd name="connsiteY11" fmla="*/ 408932 h 3546143"/>
                <a:gd name="connsiteX12" fmla="*/ 1031735 w 1936221"/>
                <a:gd name="connsiteY12" fmla="*/ 3546143 h 3546143"/>
                <a:gd name="connsiteX13" fmla="*/ 0 w 1936221"/>
                <a:gd name="connsiteY13" fmla="*/ 3546143 h 3546143"/>
                <a:gd name="connsiteX14" fmla="*/ 0 w 1936221"/>
                <a:gd name="connsiteY14" fmla="*/ 77937 h 3546143"/>
                <a:gd name="connsiteX0" fmla="*/ 0 w 1936221"/>
                <a:gd name="connsiteY0" fmla="*/ 77937 h 3546143"/>
                <a:gd name="connsiteX1" fmla="*/ 478941 w 1936221"/>
                <a:gd name="connsiteY1" fmla="*/ 1147119 h 3546143"/>
                <a:gd name="connsiteX2" fmla="*/ 428935 w 1936221"/>
                <a:gd name="connsiteY2" fmla="*/ 1628132 h 3546143"/>
                <a:gd name="connsiteX3" fmla="*/ 1055203 w 1936221"/>
                <a:gd name="connsiteY3" fmla="*/ 1690044 h 3546143"/>
                <a:gd name="connsiteX4" fmla="*/ 1124260 w 1936221"/>
                <a:gd name="connsiteY4" fmla="*/ 1432869 h 3546143"/>
                <a:gd name="connsiteX5" fmla="*/ 931378 w 1936221"/>
                <a:gd name="connsiteY5" fmla="*/ 925662 h 3546143"/>
                <a:gd name="connsiteX6" fmla="*/ 1040916 w 1936221"/>
                <a:gd name="connsiteY6" fmla="*/ 811361 h 3546143"/>
                <a:gd name="connsiteX7" fmla="*/ 1214747 w 1936221"/>
                <a:gd name="connsiteY7" fmla="*/ 728018 h 3546143"/>
                <a:gd name="connsiteX8" fmla="*/ 1343334 w 1936221"/>
                <a:gd name="connsiteY8" fmla="*/ 756593 h 3546143"/>
                <a:gd name="connsiteX9" fmla="*/ 1860066 w 1936221"/>
                <a:gd name="connsiteY9" fmla="*/ 285107 h 3546143"/>
                <a:gd name="connsiteX10" fmla="*/ 1934229 w 1936221"/>
                <a:gd name="connsiteY10" fmla="*/ 94606 h 3546143"/>
                <a:gd name="connsiteX11" fmla="*/ 1929122 w 1936221"/>
                <a:gd name="connsiteY11" fmla="*/ 408932 h 3546143"/>
                <a:gd name="connsiteX12" fmla="*/ 1031735 w 1936221"/>
                <a:gd name="connsiteY12" fmla="*/ 3546143 h 3546143"/>
                <a:gd name="connsiteX13" fmla="*/ 0 w 1936221"/>
                <a:gd name="connsiteY13" fmla="*/ 3546143 h 3546143"/>
                <a:gd name="connsiteX14" fmla="*/ 0 w 1936221"/>
                <a:gd name="connsiteY14" fmla="*/ 77937 h 3546143"/>
                <a:gd name="connsiteX0" fmla="*/ 0 w 1936221"/>
                <a:gd name="connsiteY0" fmla="*/ 77937 h 3546143"/>
                <a:gd name="connsiteX1" fmla="*/ 478941 w 1936221"/>
                <a:gd name="connsiteY1" fmla="*/ 1147119 h 3546143"/>
                <a:gd name="connsiteX2" fmla="*/ 428935 w 1936221"/>
                <a:gd name="connsiteY2" fmla="*/ 1628132 h 3546143"/>
                <a:gd name="connsiteX3" fmla="*/ 1055203 w 1936221"/>
                <a:gd name="connsiteY3" fmla="*/ 1690044 h 3546143"/>
                <a:gd name="connsiteX4" fmla="*/ 1124260 w 1936221"/>
                <a:gd name="connsiteY4" fmla="*/ 1432869 h 3546143"/>
                <a:gd name="connsiteX5" fmla="*/ 931378 w 1936221"/>
                <a:gd name="connsiteY5" fmla="*/ 925662 h 3546143"/>
                <a:gd name="connsiteX6" fmla="*/ 1040916 w 1936221"/>
                <a:gd name="connsiteY6" fmla="*/ 811361 h 3546143"/>
                <a:gd name="connsiteX7" fmla="*/ 1214747 w 1936221"/>
                <a:gd name="connsiteY7" fmla="*/ 728018 h 3546143"/>
                <a:gd name="connsiteX8" fmla="*/ 1343334 w 1936221"/>
                <a:gd name="connsiteY8" fmla="*/ 756593 h 3546143"/>
                <a:gd name="connsiteX9" fmla="*/ 1860066 w 1936221"/>
                <a:gd name="connsiteY9" fmla="*/ 285107 h 3546143"/>
                <a:gd name="connsiteX10" fmla="*/ 1934229 w 1936221"/>
                <a:gd name="connsiteY10" fmla="*/ 94606 h 3546143"/>
                <a:gd name="connsiteX11" fmla="*/ 1929122 w 1936221"/>
                <a:gd name="connsiteY11" fmla="*/ 408932 h 3546143"/>
                <a:gd name="connsiteX12" fmla="*/ 1031735 w 1936221"/>
                <a:gd name="connsiteY12" fmla="*/ 3546143 h 3546143"/>
                <a:gd name="connsiteX13" fmla="*/ 0 w 1936221"/>
                <a:gd name="connsiteY13" fmla="*/ 3546143 h 3546143"/>
                <a:gd name="connsiteX14" fmla="*/ 0 w 1936221"/>
                <a:gd name="connsiteY14" fmla="*/ 77937 h 3546143"/>
                <a:gd name="connsiteX0" fmla="*/ 0 w 1936221"/>
                <a:gd name="connsiteY0" fmla="*/ 77937 h 3546143"/>
                <a:gd name="connsiteX1" fmla="*/ 478941 w 1936221"/>
                <a:gd name="connsiteY1" fmla="*/ 1147119 h 3546143"/>
                <a:gd name="connsiteX2" fmla="*/ 428935 w 1936221"/>
                <a:gd name="connsiteY2" fmla="*/ 1628132 h 3546143"/>
                <a:gd name="connsiteX3" fmla="*/ 1055203 w 1936221"/>
                <a:gd name="connsiteY3" fmla="*/ 1690044 h 3546143"/>
                <a:gd name="connsiteX4" fmla="*/ 1124260 w 1936221"/>
                <a:gd name="connsiteY4" fmla="*/ 1432869 h 3546143"/>
                <a:gd name="connsiteX5" fmla="*/ 931378 w 1936221"/>
                <a:gd name="connsiteY5" fmla="*/ 925662 h 3546143"/>
                <a:gd name="connsiteX6" fmla="*/ 1040916 w 1936221"/>
                <a:gd name="connsiteY6" fmla="*/ 811361 h 3546143"/>
                <a:gd name="connsiteX7" fmla="*/ 1214747 w 1936221"/>
                <a:gd name="connsiteY7" fmla="*/ 728018 h 3546143"/>
                <a:gd name="connsiteX8" fmla="*/ 1343334 w 1936221"/>
                <a:gd name="connsiteY8" fmla="*/ 756593 h 3546143"/>
                <a:gd name="connsiteX9" fmla="*/ 1860066 w 1936221"/>
                <a:gd name="connsiteY9" fmla="*/ 285107 h 3546143"/>
                <a:gd name="connsiteX10" fmla="*/ 1934229 w 1936221"/>
                <a:gd name="connsiteY10" fmla="*/ 94606 h 3546143"/>
                <a:gd name="connsiteX11" fmla="*/ 1929122 w 1936221"/>
                <a:gd name="connsiteY11" fmla="*/ 408932 h 3546143"/>
                <a:gd name="connsiteX12" fmla="*/ 1031735 w 1936221"/>
                <a:gd name="connsiteY12" fmla="*/ 3546143 h 3546143"/>
                <a:gd name="connsiteX13" fmla="*/ 0 w 1936221"/>
                <a:gd name="connsiteY13" fmla="*/ 3546143 h 3546143"/>
                <a:gd name="connsiteX14" fmla="*/ 0 w 1936221"/>
                <a:gd name="connsiteY14" fmla="*/ 77937 h 3546143"/>
                <a:gd name="connsiteX0" fmla="*/ 0 w 1936221"/>
                <a:gd name="connsiteY0" fmla="*/ 121162 h 3589368"/>
                <a:gd name="connsiteX1" fmla="*/ 759928 w 1936221"/>
                <a:gd name="connsiteY1" fmla="*/ 804582 h 3589368"/>
                <a:gd name="connsiteX2" fmla="*/ 478941 w 1936221"/>
                <a:gd name="connsiteY2" fmla="*/ 1190344 h 3589368"/>
                <a:gd name="connsiteX3" fmla="*/ 428935 w 1936221"/>
                <a:gd name="connsiteY3" fmla="*/ 1671357 h 3589368"/>
                <a:gd name="connsiteX4" fmla="*/ 1055203 w 1936221"/>
                <a:gd name="connsiteY4" fmla="*/ 1733269 h 3589368"/>
                <a:gd name="connsiteX5" fmla="*/ 1124260 w 1936221"/>
                <a:gd name="connsiteY5" fmla="*/ 1476094 h 3589368"/>
                <a:gd name="connsiteX6" fmla="*/ 931378 w 1936221"/>
                <a:gd name="connsiteY6" fmla="*/ 968887 h 3589368"/>
                <a:gd name="connsiteX7" fmla="*/ 1040916 w 1936221"/>
                <a:gd name="connsiteY7" fmla="*/ 854586 h 3589368"/>
                <a:gd name="connsiteX8" fmla="*/ 1214747 w 1936221"/>
                <a:gd name="connsiteY8" fmla="*/ 771243 h 3589368"/>
                <a:gd name="connsiteX9" fmla="*/ 1343334 w 1936221"/>
                <a:gd name="connsiteY9" fmla="*/ 799818 h 3589368"/>
                <a:gd name="connsiteX10" fmla="*/ 1860066 w 1936221"/>
                <a:gd name="connsiteY10" fmla="*/ 328332 h 3589368"/>
                <a:gd name="connsiteX11" fmla="*/ 1934229 w 1936221"/>
                <a:gd name="connsiteY11" fmla="*/ 137831 h 3589368"/>
                <a:gd name="connsiteX12" fmla="*/ 1929122 w 1936221"/>
                <a:gd name="connsiteY12" fmla="*/ 452157 h 3589368"/>
                <a:gd name="connsiteX13" fmla="*/ 1031735 w 1936221"/>
                <a:gd name="connsiteY13" fmla="*/ 3589368 h 3589368"/>
                <a:gd name="connsiteX14" fmla="*/ 0 w 1936221"/>
                <a:gd name="connsiteY14" fmla="*/ 3589368 h 3589368"/>
                <a:gd name="connsiteX15" fmla="*/ 0 w 1936221"/>
                <a:gd name="connsiteY15" fmla="*/ 121162 h 3589368"/>
                <a:gd name="connsiteX0" fmla="*/ 0 w 1936221"/>
                <a:gd name="connsiteY0" fmla="*/ 121162 h 3589368"/>
                <a:gd name="connsiteX1" fmla="*/ 759928 w 1936221"/>
                <a:gd name="connsiteY1" fmla="*/ 804582 h 3589368"/>
                <a:gd name="connsiteX2" fmla="*/ 478941 w 1936221"/>
                <a:gd name="connsiteY2" fmla="*/ 1190344 h 3589368"/>
                <a:gd name="connsiteX3" fmla="*/ 428935 w 1936221"/>
                <a:gd name="connsiteY3" fmla="*/ 1671357 h 3589368"/>
                <a:gd name="connsiteX4" fmla="*/ 1055203 w 1936221"/>
                <a:gd name="connsiteY4" fmla="*/ 1733269 h 3589368"/>
                <a:gd name="connsiteX5" fmla="*/ 1124260 w 1936221"/>
                <a:gd name="connsiteY5" fmla="*/ 1476094 h 3589368"/>
                <a:gd name="connsiteX6" fmla="*/ 931378 w 1936221"/>
                <a:gd name="connsiteY6" fmla="*/ 968887 h 3589368"/>
                <a:gd name="connsiteX7" fmla="*/ 1040916 w 1936221"/>
                <a:gd name="connsiteY7" fmla="*/ 854586 h 3589368"/>
                <a:gd name="connsiteX8" fmla="*/ 1214747 w 1936221"/>
                <a:gd name="connsiteY8" fmla="*/ 771243 h 3589368"/>
                <a:gd name="connsiteX9" fmla="*/ 1343334 w 1936221"/>
                <a:gd name="connsiteY9" fmla="*/ 799818 h 3589368"/>
                <a:gd name="connsiteX10" fmla="*/ 1860066 w 1936221"/>
                <a:gd name="connsiteY10" fmla="*/ 328332 h 3589368"/>
                <a:gd name="connsiteX11" fmla="*/ 1934229 w 1936221"/>
                <a:gd name="connsiteY11" fmla="*/ 137831 h 3589368"/>
                <a:gd name="connsiteX12" fmla="*/ 1929122 w 1936221"/>
                <a:gd name="connsiteY12" fmla="*/ 452157 h 3589368"/>
                <a:gd name="connsiteX13" fmla="*/ 1031735 w 1936221"/>
                <a:gd name="connsiteY13" fmla="*/ 3589368 h 3589368"/>
                <a:gd name="connsiteX14" fmla="*/ 0 w 1936221"/>
                <a:gd name="connsiteY14" fmla="*/ 3589368 h 3589368"/>
                <a:gd name="connsiteX15" fmla="*/ 0 w 1936221"/>
                <a:gd name="connsiteY15" fmla="*/ 121162 h 3589368"/>
                <a:gd name="connsiteX0" fmla="*/ 0 w 1936221"/>
                <a:gd name="connsiteY0" fmla="*/ 121162 h 3589368"/>
                <a:gd name="connsiteX1" fmla="*/ 759928 w 1936221"/>
                <a:gd name="connsiteY1" fmla="*/ 804582 h 3589368"/>
                <a:gd name="connsiteX2" fmla="*/ 478941 w 1936221"/>
                <a:gd name="connsiteY2" fmla="*/ 1190344 h 3589368"/>
                <a:gd name="connsiteX3" fmla="*/ 428935 w 1936221"/>
                <a:gd name="connsiteY3" fmla="*/ 1671357 h 3589368"/>
                <a:gd name="connsiteX4" fmla="*/ 1055203 w 1936221"/>
                <a:gd name="connsiteY4" fmla="*/ 1733269 h 3589368"/>
                <a:gd name="connsiteX5" fmla="*/ 1124260 w 1936221"/>
                <a:gd name="connsiteY5" fmla="*/ 1476094 h 3589368"/>
                <a:gd name="connsiteX6" fmla="*/ 931378 w 1936221"/>
                <a:gd name="connsiteY6" fmla="*/ 968887 h 3589368"/>
                <a:gd name="connsiteX7" fmla="*/ 1040916 w 1936221"/>
                <a:gd name="connsiteY7" fmla="*/ 854586 h 3589368"/>
                <a:gd name="connsiteX8" fmla="*/ 1214747 w 1936221"/>
                <a:gd name="connsiteY8" fmla="*/ 771243 h 3589368"/>
                <a:gd name="connsiteX9" fmla="*/ 1343334 w 1936221"/>
                <a:gd name="connsiteY9" fmla="*/ 799818 h 3589368"/>
                <a:gd name="connsiteX10" fmla="*/ 1860066 w 1936221"/>
                <a:gd name="connsiteY10" fmla="*/ 328332 h 3589368"/>
                <a:gd name="connsiteX11" fmla="*/ 1934229 w 1936221"/>
                <a:gd name="connsiteY11" fmla="*/ 137831 h 3589368"/>
                <a:gd name="connsiteX12" fmla="*/ 1929122 w 1936221"/>
                <a:gd name="connsiteY12" fmla="*/ 452157 h 3589368"/>
                <a:gd name="connsiteX13" fmla="*/ 1031735 w 1936221"/>
                <a:gd name="connsiteY13" fmla="*/ 3589368 h 3589368"/>
                <a:gd name="connsiteX14" fmla="*/ 0 w 1936221"/>
                <a:gd name="connsiteY14" fmla="*/ 3589368 h 3589368"/>
                <a:gd name="connsiteX15" fmla="*/ 0 w 1936221"/>
                <a:gd name="connsiteY15" fmla="*/ 121162 h 3589368"/>
                <a:gd name="connsiteX0" fmla="*/ 0 w 1936221"/>
                <a:gd name="connsiteY0" fmla="*/ 121162 h 3589368"/>
                <a:gd name="connsiteX1" fmla="*/ 759928 w 1936221"/>
                <a:gd name="connsiteY1" fmla="*/ 804582 h 3589368"/>
                <a:gd name="connsiteX2" fmla="*/ 481322 w 1936221"/>
                <a:gd name="connsiteY2" fmla="*/ 1192725 h 3589368"/>
                <a:gd name="connsiteX3" fmla="*/ 428935 w 1936221"/>
                <a:gd name="connsiteY3" fmla="*/ 1671357 h 3589368"/>
                <a:gd name="connsiteX4" fmla="*/ 1055203 w 1936221"/>
                <a:gd name="connsiteY4" fmla="*/ 1733269 h 3589368"/>
                <a:gd name="connsiteX5" fmla="*/ 1124260 w 1936221"/>
                <a:gd name="connsiteY5" fmla="*/ 1476094 h 3589368"/>
                <a:gd name="connsiteX6" fmla="*/ 931378 w 1936221"/>
                <a:gd name="connsiteY6" fmla="*/ 968887 h 3589368"/>
                <a:gd name="connsiteX7" fmla="*/ 1040916 w 1936221"/>
                <a:gd name="connsiteY7" fmla="*/ 854586 h 3589368"/>
                <a:gd name="connsiteX8" fmla="*/ 1214747 w 1936221"/>
                <a:gd name="connsiteY8" fmla="*/ 771243 h 3589368"/>
                <a:gd name="connsiteX9" fmla="*/ 1343334 w 1936221"/>
                <a:gd name="connsiteY9" fmla="*/ 799818 h 3589368"/>
                <a:gd name="connsiteX10" fmla="*/ 1860066 w 1936221"/>
                <a:gd name="connsiteY10" fmla="*/ 328332 h 3589368"/>
                <a:gd name="connsiteX11" fmla="*/ 1934229 w 1936221"/>
                <a:gd name="connsiteY11" fmla="*/ 137831 h 3589368"/>
                <a:gd name="connsiteX12" fmla="*/ 1929122 w 1936221"/>
                <a:gd name="connsiteY12" fmla="*/ 452157 h 3589368"/>
                <a:gd name="connsiteX13" fmla="*/ 1031735 w 1936221"/>
                <a:gd name="connsiteY13" fmla="*/ 3589368 h 3589368"/>
                <a:gd name="connsiteX14" fmla="*/ 0 w 1936221"/>
                <a:gd name="connsiteY14" fmla="*/ 3589368 h 3589368"/>
                <a:gd name="connsiteX15" fmla="*/ 0 w 1936221"/>
                <a:gd name="connsiteY15" fmla="*/ 121162 h 3589368"/>
                <a:gd name="connsiteX0" fmla="*/ 0 w 1936221"/>
                <a:gd name="connsiteY0" fmla="*/ 121162 h 3589368"/>
                <a:gd name="connsiteX1" fmla="*/ 759928 w 1936221"/>
                <a:gd name="connsiteY1" fmla="*/ 804582 h 3589368"/>
                <a:gd name="connsiteX2" fmla="*/ 481322 w 1936221"/>
                <a:gd name="connsiteY2" fmla="*/ 1192725 h 3589368"/>
                <a:gd name="connsiteX3" fmla="*/ 428935 w 1936221"/>
                <a:gd name="connsiteY3" fmla="*/ 1671357 h 3589368"/>
                <a:gd name="connsiteX4" fmla="*/ 1055203 w 1936221"/>
                <a:gd name="connsiteY4" fmla="*/ 1733269 h 3589368"/>
                <a:gd name="connsiteX5" fmla="*/ 1124260 w 1936221"/>
                <a:gd name="connsiteY5" fmla="*/ 1476094 h 3589368"/>
                <a:gd name="connsiteX6" fmla="*/ 931378 w 1936221"/>
                <a:gd name="connsiteY6" fmla="*/ 968887 h 3589368"/>
                <a:gd name="connsiteX7" fmla="*/ 1040916 w 1936221"/>
                <a:gd name="connsiteY7" fmla="*/ 854586 h 3589368"/>
                <a:gd name="connsiteX8" fmla="*/ 1214747 w 1936221"/>
                <a:gd name="connsiteY8" fmla="*/ 771243 h 3589368"/>
                <a:gd name="connsiteX9" fmla="*/ 1343334 w 1936221"/>
                <a:gd name="connsiteY9" fmla="*/ 799818 h 3589368"/>
                <a:gd name="connsiteX10" fmla="*/ 1860066 w 1936221"/>
                <a:gd name="connsiteY10" fmla="*/ 328332 h 3589368"/>
                <a:gd name="connsiteX11" fmla="*/ 1934229 w 1936221"/>
                <a:gd name="connsiteY11" fmla="*/ 137831 h 3589368"/>
                <a:gd name="connsiteX12" fmla="*/ 1929122 w 1936221"/>
                <a:gd name="connsiteY12" fmla="*/ 452157 h 3589368"/>
                <a:gd name="connsiteX13" fmla="*/ 1031735 w 1936221"/>
                <a:gd name="connsiteY13" fmla="*/ 3589368 h 3589368"/>
                <a:gd name="connsiteX14" fmla="*/ 0 w 1936221"/>
                <a:gd name="connsiteY14" fmla="*/ 3589368 h 3589368"/>
                <a:gd name="connsiteX15" fmla="*/ 0 w 1936221"/>
                <a:gd name="connsiteY15" fmla="*/ 121162 h 3589368"/>
                <a:gd name="connsiteX0" fmla="*/ 0 w 1936221"/>
                <a:gd name="connsiteY0" fmla="*/ 147400 h 3615606"/>
                <a:gd name="connsiteX1" fmla="*/ 533710 w 1936221"/>
                <a:gd name="connsiteY1" fmla="*/ 728426 h 3615606"/>
                <a:gd name="connsiteX2" fmla="*/ 759928 w 1936221"/>
                <a:gd name="connsiteY2" fmla="*/ 830820 h 3615606"/>
                <a:gd name="connsiteX3" fmla="*/ 481322 w 1936221"/>
                <a:gd name="connsiteY3" fmla="*/ 1218963 h 3615606"/>
                <a:gd name="connsiteX4" fmla="*/ 428935 w 1936221"/>
                <a:gd name="connsiteY4" fmla="*/ 1697595 h 3615606"/>
                <a:gd name="connsiteX5" fmla="*/ 1055203 w 1936221"/>
                <a:gd name="connsiteY5" fmla="*/ 1759507 h 3615606"/>
                <a:gd name="connsiteX6" fmla="*/ 1124260 w 1936221"/>
                <a:gd name="connsiteY6" fmla="*/ 1502332 h 3615606"/>
                <a:gd name="connsiteX7" fmla="*/ 931378 w 1936221"/>
                <a:gd name="connsiteY7" fmla="*/ 995125 h 3615606"/>
                <a:gd name="connsiteX8" fmla="*/ 1040916 w 1936221"/>
                <a:gd name="connsiteY8" fmla="*/ 880824 h 3615606"/>
                <a:gd name="connsiteX9" fmla="*/ 1214747 w 1936221"/>
                <a:gd name="connsiteY9" fmla="*/ 797481 h 3615606"/>
                <a:gd name="connsiteX10" fmla="*/ 1343334 w 1936221"/>
                <a:gd name="connsiteY10" fmla="*/ 826056 h 3615606"/>
                <a:gd name="connsiteX11" fmla="*/ 1860066 w 1936221"/>
                <a:gd name="connsiteY11" fmla="*/ 354570 h 3615606"/>
                <a:gd name="connsiteX12" fmla="*/ 1934229 w 1936221"/>
                <a:gd name="connsiteY12" fmla="*/ 164069 h 3615606"/>
                <a:gd name="connsiteX13" fmla="*/ 1929122 w 1936221"/>
                <a:gd name="connsiteY13" fmla="*/ 478395 h 3615606"/>
                <a:gd name="connsiteX14" fmla="*/ 1031735 w 1936221"/>
                <a:gd name="connsiteY14" fmla="*/ 3615606 h 3615606"/>
                <a:gd name="connsiteX15" fmla="*/ 0 w 1936221"/>
                <a:gd name="connsiteY15" fmla="*/ 3615606 h 3615606"/>
                <a:gd name="connsiteX16" fmla="*/ 0 w 1936221"/>
                <a:gd name="connsiteY16" fmla="*/ 147400 h 3615606"/>
                <a:gd name="connsiteX0" fmla="*/ 0 w 1936221"/>
                <a:gd name="connsiteY0" fmla="*/ 147400 h 3615606"/>
                <a:gd name="connsiteX1" fmla="*/ 533710 w 1936221"/>
                <a:gd name="connsiteY1" fmla="*/ 728426 h 3615606"/>
                <a:gd name="connsiteX2" fmla="*/ 759928 w 1936221"/>
                <a:gd name="connsiteY2" fmla="*/ 830820 h 3615606"/>
                <a:gd name="connsiteX3" fmla="*/ 481322 w 1936221"/>
                <a:gd name="connsiteY3" fmla="*/ 1218963 h 3615606"/>
                <a:gd name="connsiteX4" fmla="*/ 428935 w 1936221"/>
                <a:gd name="connsiteY4" fmla="*/ 1697595 h 3615606"/>
                <a:gd name="connsiteX5" fmla="*/ 1055203 w 1936221"/>
                <a:gd name="connsiteY5" fmla="*/ 1759507 h 3615606"/>
                <a:gd name="connsiteX6" fmla="*/ 1124260 w 1936221"/>
                <a:gd name="connsiteY6" fmla="*/ 1502332 h 3615606"/>
                <a:gd name="connsiteX7" fmla="*/ 931378 w 1936221"/>
                <a:gd name="connsiteY7" fmla="*/ 995125 h 3615606"/>
                <a:gd name="connsiteX8" fmla="*/ 1040916 w 1936221"/>
                <a:gd name="connsiteY8" fmla="*/ 880824 h 3615606"/>
                <a:gd name="connsiteX9" fmla="*/ 1214747 w 1936221"/>
                <a:gd name="connsiteY9" fmla="*/ 797481 h 3615606"/>
                <a:gd name="connsiteX10" fmla="*/ 1343334 w 1936221"/>
                <a:gd name="connsiteY10" fmla="*/ 826056 h 3615606"/>
                <a:gd name="connsiteX11" fmla="*/ 1860066 w 1936221"/>
                <a:gd name="connsiteY11" fmla="*/ 354570 h 3615606"/>
                <a:gd name="connsiteX12" fmla="*/ 1934229 w 1936221"/>
                <a:gd name="connsiteY12" fmla="*/ 164069 h 3615606"/>
                <a:gd name="connsiteX13" fmla="*/ 1929122 w 1936221"/>
                <a:gd name="connsiteY13" fmla="*/ 478395 h 3615606"/>
                <a:gd name="connsiteX14" fmla="*/ 1031735 w 1936221"/>
                <a:gd name="connsiteY14" fmla="*/ 3615606 h 3615606"/>
                <a:gd name="connsiteX15" fmla="*/ 0 w 1936221"/>
                <a:gd name="connsiteY15" fmla="*/ 3615606 h 3615606"/>
                <a:gd name="connsiteX16" fmla="*/ 0 w 1936221"/>
                <a:gd name="connsiteY16" fmla="*/ 147400 h 3615606"/>
                <a:gd name="connsiteX0" fmla="*/ 0 w 1936221"/>
                <a:gd name="connsiteY0" fmla="*/ 147400 h 3615606"/>
                <a:gd name="connsiteX1" fmla="*/ 533710 w 1936221"/>
                <a:gd name="connsiteY1" fmla="*/ 728426 h 3615606"/>
                <a:gd name="connsiteX2" fmla="*/ 759928 w 1936221"/>
                <a:gd name="connsiteY2" fmla="*/ 830820 h 3615606"/>
                <a:gd name="connsiteX3" fmla="*/ 481322 w 1936221"/>
                <a:gd name="connsiteY3" fmla="*/ 1218963 h 3615606"/>
                <a:gd name="connsiteX4" fmla="*/ 428935 w 1936221"/>
                <a:gd name="connsiteY4" fmla="*/ 1697595 h 3615606"/>
                <a:gd name="connsiteX5" fmla="*/ 1055203 w 1936221"/>
                <a:gd name="connsiteY5" fmla="*/ 1759507 h 3615606"/>
                <a:gd name="connsiteX6" fmla="*/ 1124260 w 1936221"/>
                <a:gd name="connsiteY6" fmla="*/ 1502332 h 3615606"/>
                <a:gd name="connsiteX7" fmla="*/ 931378 w 1936221"/>
                <a:gd name="connsiteY7" fmla="*/ 995125 h 3615606"/>
                <a:gd name="connsiteX8" fmla="*/ 1040916 w 1936221"/>
                <a:gd name="connsiteY8" fmla="*/ 880824 h 3615606"/>
                <a:gd name="connsiteX9" fmla="*/ 1214747 w 1936221"/>
                <a:gd name="connsiteY9" fmla="*/ 797481 h 3615606"/>
                <a:gd name="connsiteX10" fmla="*/ 1343334 w 1936221"/>
                <a:gd name="connsiteY10" fmla="*/ 826056 h 3615606"/>
                <a:gd name="connsiteX11" fmla="*/ 1860066 w 1936221"/>
                <a:gd name="connsiteY11" fmla="*/ 354570 h 3615606"/>
                <a:gd name="connsiteX12" fmla="*/ 1934229 w 1936221"/>
                <a:gd name="connsiteY12" fmla="*/ 164069 h 3615606"/>
                <a:gd name="connsiteX13" fmla="*/ 1929122 w 1936221"/>
                <a:gd name="connsiteY13" fmla="*/ 478395 h 3615606"/>
                <a:gd name="connsiteX14" fmla="*/ 1031735 w 1936221"/>
                <a:gd name="connsiteY14" fmla="*/ 3615606 h 3615606"/>
                <a:gd name="connsiteX15" fmla="*/ 0 w 1936221"/>
                <a:gd name="connsiteY15" fmla="*/ 3615606 h 3615606"/>
                <a:gd name="connsiteX16" fmla="*/ 0 w 1936221"/>
                <a:gd name="connsiteY16" fmla="*/ 147400 h 3615606"/>
                <a:gd name="connsiteX0" fmla="*/ 0 w 1936221"/>
                <a:gd name="connsiteY0" fmla="*/ 145451 h 3613657"/>
                <a:gd name="connsiteX1" fmla="*/ 433697 w 1936221"/>
                <a:gd name="connsiteY1" fmla="*/ 707427 h 3613657"/>
                <a:gd name="connsiteX2" fmla="*/ 533710 w 1936221"/>
                <a:gd name="connsiteY2" fmla="*/ 726477 h 3613657"/>
                <a:gd name="connsiteX3" fmla="*/ 759928 w 1936221"/>
                <a:gd name="connsiteY3" fmla="*/ 828871 h 3613657"/>
                <a:gd name="connsiteX4" fmla="*/ 481322 w 1936221"/>
                <a:gd name="connsiteY4" fmla="*/ 1217014 h 3613657"/>
                <a:gd name="connsiteX5" fmla="*/ 428935 w 1936221"/>
                <a:gd name="connsiteY5" fmla="*/ 1695646 h 3613657"/>
                <a:gd name="connsiteX6" fmla="*/ 1055203 w 1936221"/>
                <a:gd name="connsiteY6" fmla="*/ 1757558 h 3613657"/>
                <a:gd name="connsiteX7" fmla="*/ 1124260 w 1936221"/>
                <a:gd name="connsiteY7" fmla="*/ 1500383 h 3613657"/>
                <a:gd name="connsiteX8" fmla="*/ 931378 w 1936221"/>
                <a:gd name="connsiteY8" fmla="*/ 993176 h 3613657"/>
                <a:gd name="connsiteX9" fmla="*/ 1040916 w 1936221"/>
                <a:gd name="connsiteY9" fmla="*/ 878875 h 3613657"/>
                <a:gd name="connsiteX10" fmla="*/ 1214747 w 1936221"/>
                <a:gd name="connsiteY10" fmla="*/ 795532 h 3613657"/>
                <a:gd name="connsiteX11" fmla="*/ 1343334 w 1936221"/>
                <a:gd name="connsiteY11" fmla="*/ 824107 h 3613657"/>
                <a:gd name="connsiteX12" fmla="*/ 1860066 w 1936221"/>
                <a:gd name="connsiteY12" fmla="*/ 352621 h 3613657"/>
                <a:gd name="connsiteX13" fmla="*/ 1934229 w 1936221"/>
                <a:gd name="connsiteY13" fmla="*/ 162120 h 3613657"/>
                <a:gd name="connsiteX14" fmla="*/ 1929122 w 1936221"/>
                <a:gd name="connsiteY14" fmla="*/ 476446 h 3613657"/>
                <a:gd name="connsiteX15" fmla="*/ 1031735 w 1936221"/>
                <a:gd name="connsiteY15" fmla="*/ 3613657 h 3613657"/>
                <a:gd name="connsiteX16" fmla="*/ 0 w 1936221"/>
                <a:gd name="connsiteY16" fmla="*/ 3613657 h 3613657"/>
                <a:gd name="connsiteX17" fmla="*/ 0 w 1936221"/>
                <a:gd name="connsiteY17" fmla="*/ 145451 h 3613657"/>
                <a:gd name="connsiteX0" fmla="*/ 0 w 1936221"/>
                <a:gd name="connsiteY0" fmla="*/ 145451 h 3613657"/>
                <a:gd name="connsiteX1" fmla="*/ 433697 w 1936221"/>
                <a:gd name="connsiteY1" fmla="*/ 707427 h 3613657"/>
                <a:gd name="connsiteX2" fmla="*/ 533710 w 1936221"/>
                <a:gd name="connsiteY2" fmla="*/ 726477 h 3613657"/>
                <a:gd name="connsiteX3" fmla="*/ 759928 w 1936221"/>
                <a:gd name="connsiteY3" fmla="*/ 828871 h 3613657"/>
                <a:gd name="connsiteX4" fmla="*/ 481322 w 1936221"/>
                <a:gd name="connsiteY4" fmla="*/ 1217014 h 3613657"/>
                <a:gd name="connsiteX5" fmla="*/ 428935 w 1936221"/>
                <a:gd name="connsiteY5" fmla="*/ 1695646 h 3613657"/>
                <a:gd name="connsiteX6" fmla="*/ 1055203 w 1936221"/>
                <a:gd name="connsiteY6" fmla="*/ 1757558 h 3613657"/>
                <a:gd name="connsiteX7" fmla="*/ 1124260 w 1936221"/>
                <a:gd name="connsiteY7" fmla="*/ 1500383 h 3613657"/>
                <a:gd name="connsiteX8" fmla="*/ 931378 w 1936221"/>
                <a:gd name="connsiteY8" fmla="*/ 993176 h 3613657"/>
                <a:gd name="connsiteX9" fmla="*/ 1040916 w 1936221"/>
                <a:gd name="connsiteY9" fmla="*/ 878875 h 3613657"/>
                <a:gd name="connsiteX10" fmla="*/ 1214747 w 1936221"/>
                <a:gd name="connsiteY10" fmla="*/ 795532 h 3613657"/>
                <a:gd name="connsiteX11" fmla="*/ 1343334 w 1936221"/>
                <a:gd name="connsiteY11" fmla="*/ 824107 h 3613657"/>
                <a:gd name="connsiteX12" fmla="*/ 1860066 w 1936221"/>
                <a:gd name="connsiteY12" fmla="*/ 352621 h 3613657"/>
                <a:gd name="connsiteX13" fmla="*/ 1934229 w 1936221"/>
                <a:gd name="connsiteY13" fmla="*/ 162120 h 3613657"/>
                <a:gd name="connsiteX14" fmla="*/ 1929122 w 1936221"/>
                <a:gd name="connsiteY14" fmla="*/ 476446 h 3613657"/>
                <a:gd name="connsiteX15" fmla="*/ 1031735 w 1936221"/>
                <a:gd name="connsiteY15" fmla="*/ 3613657 h 3613657"/>
                <a:gd name="connsiteX16" fmla="*/ 0 w 1936221"/>
                <a:gd name="connsiteY16" fmla="*/ 3613657 h 3613657"/>
                <a:gd name="connsiteX17" fmla="*/ 0 w 1936221"/>
                <a:gd name="connsiteY17" fmla="*/ 145451 h 3613657"/>
                <a:gd name="connsiteX0" fmla="*/ 0 w 1936221"/>
                <a:gd name="connsiteY0" fmla="*/ 238559 h 3706765"/>
                <a:gd name="connsiteX1" fmla="*/ 169378 w 1936221"/>
                <a:gd name="connsiteY1" fmla="*/ 381435 h 3706765"/>
                <a:gd name="connsiteX2" fmla="*/ 433697 w 1936221"/>
                <a:gd name="connsiteY2" fmla="*/ 800535 h 3706765"/>
                <a:gd name="connsiteX3" fmla="*/ 533710 w 1936221"/>
                <a:gd name="connsiteY3" fmla="*/ 819585 h 3706765"/>
                <a:gd name="connsiteX4" fmla="*/ 759928 w 1936221"/>
                <a:gd name="connsiteY4" fmla="*/ 921979 h 3706765"/>
                <a:gd name="connsiteX5" fmla="*/ 481322 w 1936221"/>
                <a:gd name="connsiteY5" fmla="*/ 1310122 h 3706765"/>
                <a:gd name="connsiteX6" fmla="*/ 428935 w 1936221"/>
                <a:gd name="connsiteY6" fmla="*/ 1788754 h 3706765"/>
                <a:gd name="connsiteX7" fmla="*/ 1055203 w 1936221"/>
                <a:gd name="connsiteY7" fmla="*/ 1850666 h 3706765"/>
                <a:gd name="connsiteX8" fmla="*/ 1124260 w 1936221"/>
                <a:gd name="connsiteY8" fmla="*/ 1593491 h 3706765"/>
                <a:gd name="connsiteX9" fmla="*/ 931378 w 1936221"/>
                <a:gd name="connsiteY9" fmla="*/ 1086284 h 3706765"/>
                <a:gd name="connsiteX10" fmla="*/ 1040916 w 1936221"/>
                <a:gd name="connsiteY10" fmla="*/ 971983 h 3706765"/>
                <a:gd name="connsiteX11" fmla="*/ 1214747 w 1936221"/>
                <a:gd name="connsiteY11" fmla="*/ 888640 h 3706765"/>
                <a:gd name="connsiteX12" fmla="*/ 1343334 w 1936221"/>
                <a:gd name="connsiteY12" fmla="*/ 917215 h 3706765"/>
                <a:gd name="connsiteX13" fmla="*/ 1860066 w 1936221"/>
                <a:gd name="connsiteY13" fmla="*/ 445729 h 3706765"/>
                <a:gd name="connsiteX14" fmla="*/ 1934229 w 1936221"/>
                <a:gd name="connsiteY14" fmla="*/ 255228 h 3706765"/>
                <a:gd name="connsiteX15" fmla="*/ 1929122 w 1936221"/>
                <a:gd name="connsiteY15" fmla="*/ 569554 h 3706765"/>
                <a:gd name="connsiteX16" fmla="*/ 1031735 w 1936221"/>
                <a:gd name="connsiteY16" fmla="*/ 3706765 h 3706765"/>
                <a:gd name="connsiteX17" fmla="*/ 0 w 1936221"/>
                <a:gd name="connsiteY17" fmla="*/ 3706765 h 3706765"/>
                <a:gd name="connsiteX18" fmla="*/ 0 w 1936221"/>
                <a:gd name="connsiteY18" fmla="*/ 238559 h 3706765"/>
                <a:gd name="connsiteX0" fmla="*/ 0 w 1936221"/>
                <a:gd name="connsiteY0" fmla="*/ 238559 h 3706765"/>
                <a:gd name="connsiteX1" fmla="*/ 169378 w 1936221"/>
                <a:gd name="connsiteY1" fmla="*/ 381435 h 3706765"/>
                <a:gd name="connsiteX2" fmla="*/ 433697 w 1936221"/>
                <a:gd name="connsiteY2" fmla="*/ 800535 h 3706765"/>
                <a:gd name="connsiteX3" fmla="*/ 533710 w 1936221"/>
                <a:gd name="connsiteY3" fmla="*/ 819585 h 3706765"/>
                <a:gd name="connsiteX4" fmla="*/ 759928 w 1936221"/>
                <a:gd name="connsiteY4" fmla="*/ 921979 h 3706765"/>
                <a:gd name="connsiteX5" fmla="*/ 481322 w 1936221"/>
                <a:gd name="connsiteY5" fmla="*/ 1310122 h 3706765"/>
                <a:gd name="connsiteX6" fmla="*/ 428935 w 1936221"/>
                <a:gd name="connsiteY6" fmla="*/ 1788754 h 3706765"/>
                <a:gd name="connsiteX7" fmla="*/ 1055203 w 1936221"/>
                <a:gd name="connsiteY7" fmla="*/ 1850666 h 3706765"/>
                <a:gd name="connsiteX8" fmla="*/ 1124260 w 1936221"/>
                <a:gd name="connsiteY8" fmla="*/ 1593491 h 3706765"/>
                <a:gd name="connsiteX9" fmla="*/ 931378 w 1936221"/>
                <a:gd name="connsiteY9" fmla="*/ 1086284 h 3706765"/>
                <a:gd name="connsiteX10" fmla="*/ 1040916 w 1936221"/>
                <a:gd name="connsiteY10" fmla="*/ 971983 h 3706765"/>
                <a:gd name="connsiteX11" fmla="*/ 1214747 w 1936221"/>
                <a:gd name="connsiteY11" fmla="*/ 888640 h 3706765"/>
                <a:gd name="connsiteX12" fmla="*/ 1343334 w 1936221"/>
                <a:gd name="connsiteY12" fmla="*/ 917215 h 3706765"/>
                <a:gd name="connsiteX13" fmla="*/ 1860066 w 1936221"/>
                <a:gd name="connsiteY13" fmla="*/ 445729 h 3706765"/>
                <a:gd name="connsiteX14" fmla="*/ 1934229 w 1936221"/>
                <a:gd name="connsiteY14" fmla="*/ 255228 h 3706765"/>
                <a:gd name="connsiteX15" fmla="*/ 1929122 w 1936221"/>
                <a:gd name="connsiteY15" fmla="*/ 569554 h 3706765"/>
                <a:gd name="connsiteX16" fmla="*/ 1031735 w 1936221"/>
                <a:gd name="connsiteY16" fmla="*/ 3706765 h 3706765"/>
                <a:gd name="connsiteX17" fmla="*/ 0 w 1936221"/>
                <a:gd name="connsiteY17" fmla="*/ 3706765 h 3706765"/>
                <a:gd name="connsiteX18" fmla="*/ 0 w 1936221"/>
                <a:gd name="connsiteY18" fmla="*/ 238559 h 3706765"/>
                <a:gd name="connsiteX0" fmla="*/ 0 w 1936221"/>
                <a:gd name="connsiteY0" fmla="*/ 68045 h 3536251"/>
                <a:gd name="connsiteX1" fmla="*/ 169378 w 1936221"/>
                <a:gd name="connsiteY1" fmla="*/ 210921 h 3536251"/>
                <a:gd name="connsiteX2" fmla="*/ 433697 w 1936221"/>
                <a:gd name="connsiteY2" fmla="*/ 630021 h 3536251"/>
                <a:gd name="connsiteX3" fmla="*/ 533710 w 1936221"/>
                <a:gd name="connsiteY3" fmla="*/ 649071 h 3536251"/>
                <a:gd name="connsiteX4" fmla="*/ 759928 w 1936221"/>
                <a:gd name="connsiteY4" fmla="*/ 751465 h 3536251"/>
                <a:gd name="connsiteX5" fmla="*/ 481322 w 1936221"/>
                <a:gd name="connsiteY5" fmla="*/ 1139608 h 3536251"/>
                <a:gd name="connsiteX6" fmla="*/ 428935 w 1936221"/>
                <a:gd name="connsiteY6" fmla="*/ 1618240 h 3536251"/>
                <a:gd name="connsiteX7" fmla="*/ 1055203 w 1936221"/>
                <a:gd name="connsiteY7" fmla="*/ 1680152 h 3536251"/>
                <a:gd name="connsiteX8" fmla="*/ 1124260 w 1936221"/>
                <a:gd name="connsiteY8" fmla="*/ 1422977 h 3536251"/>
                <a:gd name="connsiteX9" fmla="*/ 931378 w 1936221"/>
                <a:gd name="connsiteY9" fmla="*/ 915770 h 3536251"/>
                <a:gd name="connsiteX10" fmla="*/ 1040916 w 1936221"/>
                <a:gd name="connsiteY10" fmla="*/ 801469 h 3536251"/>
                <a:gd name="connsiteX11" fmla="*/ 1214747 w 1936221"/>
                <a:gd name="connsiteY11" fmla="*/ 718126 h 3536251"/>
                <a:gd name="connsiteX12" fmla="*/ 1343334 w 1936221"/>
                <a:gd name="connsiteY12" fmla="*/ 746701 h 3536251"/>
                <a:gd name="connsiteX13" fmla="*/ 1860066 w 1936221"/>
                <a:gd name="connsiteY13" fmla="*/ 275215 h 3536251"/>
                <a:gd name="connsiteX14" fmla="*/ 1934229 w 1936221"/>
                <a:gd name="connsiteY14" fmla="*/ 84714 h 3536251"/>
                <a:gd name="connsiteX15" fmla="*/ 1929122 w 1936221"/>
                <a:gd name="connsiteY15" fmla="*/ 399040 h 3536251"/>
                <a:gd name="connsiteX16" fmla="*/ 1031735 w 1936221"/>
                <a:gd name="connsiteY16" fmla="*/ 3536251 h 3536251"/>
                <a:gd name="connsiteX17" fmla="*/ 0 w 1936221"/>
                <a:gd name="connsiteY17" fmla="*/ 3536251 h 3536251"/>
                <a:gd name="connsiteX18" fmla="*/ 0 w 1936221"/>
                <a:gd name="connsiteY18" fmla="*/ 68045 h 3536251"/>
                <a:gd name="connsiteX0" fmla="*/ 0 w 1936221"/>
                <a:gd name="connsiteY0" fmla="*/ 264321 h 3732527"/>
                <a:gd name="connsiteX1" fmla="*/ 195572 w 1936221"/>
                <a:gd name="connsiteY1" fmla="*/ 245272 h 3732527"/>
                <a:gd name="connsiteX2" fmla="*/ 169378 w 1936221"/>
                <a:gd name="connsiteY2" fmla="*/ 407197 h 3732527"/>
                <a:gd name="connsiteX3" fmla="*/ 433697 w 1936221"/>
                <a:gd name="connsiteY3" fmla="*/ 826297 h 3732527"/>
                <a:gd name="connsiteX4" fmla="*/ 533710 w 1936221"/>
                <a:gd name="connsiteY4" fmla="*/ 845347 h 3732527"/>
                <a:gd name="connsiteX5" fmla="*/ 759928 w 1936221"/>
                <a:gd name="connsiteY5" fmla="*/ 947741 h 3732527"/>
                <a:gd name="connsiteX6" fmla="*/ 481322 w 1936221"/>
                <a:gd name="connsiteY6" fmla="*/ 1335884 h 3732527"/>
                <a:gd name="connsiteX7" fmla="*/ 428935 w 1936221"/>
                <a:gd name="connsiteY7" fmla="*/ 1814516 h 3732527"/>
                <a:gd name="connsiteX8" fmla="*/ 1055203 w 1936221"/>
                <a:gd name="connsiteY8" fmla="*/ 1876428 h 3732527"/>
                <a:gd name="connsiteX9" fmla="*/ 1124260 w 1936221"/>
                <a:gd name="connsiteY9" fmla="*/ 1619253 h 3732527"/>
                <a:gd name="connsiteX10" fmla="*/ 931378 w 1936221"/>
                <a:gd name="connsiteY10" fmla="*/ 1112046 h 3732527"/>
                <a:gd name="connsiteX11" fmla="*/ 1040916 w 1936221"/>
                <a:gd name="connsiteY11" fmla="*/ 997745 h 3732527"/>
                <a:gd name="connsiteX12" fmla="*/ 1214747 w 1936221"/>
                <a:gd name="connsiteY12" fmla="*/ 914402 h 3732527"/>
                <a:gd name="connsiteX13" fmla="*/ 1343334 w 1936221"/>
                <a:gd name="connsiteY13" fmla="*/ 942977 h 3732527"/>
                <a:gd name="connsiteX14" fmla="*/ 1860066 w 1936221"/>
                <a:gd name="connsiteY14" fmla="*/ 471491 h 3732527"/>
                <a:gd name="connsiteX15" fmla="*/ 1934229 w 1936221"/>
                <a:gd name="connsiteY15" fmla="*/ 280990 h 3732527"/>
                <a:gd name="connsiteX16" fmla="*/ 1929122 w 1936221"/>
                <a:gd name="connsiteY16" fmla="*/ 595316 h 3732527"/>
                <a:gd name="connsiteX17" fmla="*/ 1031735 w 1936221"/>
                <a:gd name="connsiteY17" fmla="*/ 3732527 h 3732527"/>
                <a:gd name="connsiteX18" fmla="*/ 0 w 1936221"/>
                <a:gd name="connsiteY18" fmla="*/ 3732527 h 3732527"/>
                <a:gd name="connsiteX19" fmla="*/ 0 w 1936221"/>
                <a:gd name="connsiteY19" fmla="*/ 264321 h 3732527"/>
                <a:gd name="connsiteX0" fmla="*/ 0 w 1936221"/>
                <a:gd name="connsiteY0" fmla="*/ 146122 h 3614328"/>
                <a:gd name="connsiteX1" fmla="*/ 195572 w 1936221"/>
                <a:gd name="connsiteY1" fmla="*/ 127073 h 3614328"/>
                <a:gd name="connsiteX2" fmla="*/ 169378 w 1936221"/>
                <a:gd name="connsiteY2" fmla="*/ 288998 h 3614328"/>
                <a:gd name="connsiteX3" fmla="*/ 433697 w 1936221"/>
                <a:gd name="connsiteY3" fmla="*/ 708098 h 3614328"/>
                <a:gd name="connsiteX4" fmla="*/ 533710 w 1936221"/>
                <a:gd name="connsiteY4" fmla="*/ 727148 h 3614328"/>
                <a:gd name="connsiteX5" fmla="*/ 759928 w 1936221"/>
                <a:gd name="connsiteY5" fmla="*/ 829542 h 3614328"/>
                <a:gd name="connsiteX6" fmla="*/ 481322 w 1936221"/>
                <a:gd name="connsiteY6" fmla="*/ 1217685 h 3614328"/>
                <a:gd name="connsiteX7" fmla="*/ 428935 w 1936221"/>
                <a:gd name="connsiteY7" fmla="*/ 1696317 h 3614328"/>
                <a:gd name="connsiteX8" fmla="*/ 1055203 w 1936221"/>
                <a:gd name="connsiteY8" fmla="*/ 1758229 h 3614328"/>
                <a:gd name="connsiteX9" fmla="*/ 1124260 w 1936221"/>
                <a:gd name="connsiteY9" fmla="*/ 1501054 h 3614328"/>
                <a:gd name="connsiteX10" fmla="*/ 931378 w 1936221"/>
                <a:gd name="connsiteY10" fmla="*/ 993847 h 3614328"/>
                <a:gd name="connsiteX11" fmla="*/ 1040916 w 1936221"/>
                <a:gd name="connsiteY11" fmla="*/ 879546 h 3614328"/>
                <a:gd name="connsiteX12" fmla="*/ 1214747 w 1936221"/>
                <a:gd name="connsiteY12" fmla="*/ 796203 h 3614328"/>
                <a:gd name="connsiteX13" fmla="*/ 1343334 w 1936221"/>
                <a:gd name="connsiteY13" fmla="*/ 824778 h 3614328"/>
                <a:gd name="connsiteX14" fmla="*/ 1860066 w 1936221"/>
                <a:gd name="connsiteY14" fmla="*/ 353292 h 3614328"/>
                <a:gd name="connsiteX15" fmla="*/ 1934229 w 1936221"/>
                <a:gd name="connsiteY15" fmla="*/ 162791 h 3614328"/>
                <a:gd name="connsiteX16" fmla="*/ 1929122 w 1936221"/>
                <a:gd name="connsiteY16" fmla="*/ 477117 h 3614328"/>
                <a:gd name="connsiteX17" fmla="*/ 1031735 w 1936221"/>
                <a:gd name="connsiteY17" fmla="*/ 3614328 h 3614328"/>
                <a:gd name="connsiteX18" fmla="*/ 0 w 1936221"/>
                <a:gd name="connsiteY18" fmla="*/ 3614328 h 3614328"/>
                <a:gd name="connsiteX19" fmla="*/ 0 w 1936221"/>
                <a:gd name="connsiteY19" fmla="*/ 146122 h 3614328"/>
                <a:gd name="connsiteX0" fmla="*/ 0 w 1936221"/>
                <a:gd name="connsiteY0" fmla="*/ 146834 h 3615040"/>
                <a:gd name="connsiteX1" fmla="*/ 205097 w 1936221"/>
                <a:gd name="connsiteY1" fmla="*/ 125404 h 3615040"/>
                <a:gd name="connsiteX2" fmla="*/ 169378 w 1936221"/>
                <a:gd name="connsiteY2" fmla="*/ 289710 h 3615040"/>
                <a:gd name="connsiteX3" fmla="*/ 433697 w 1936221"/>
                <a:gd name="connsiteY3" fmla="*/ 708810 h 3615040"/>
                <a:gd name="connsiteX4" fmla="*/ 533710 w 1936221"/>
                <a:gd name="connsiteY4" fmla="*/ 727860 h 3615040"/>
                <a:gd name="connsiteX5" fmla="*/ 759928 w 1936221"/>
                <a:gd name="connsiteY5" fmla="*/ 830254 h 3615040"/>
                <a:gd name="connsiteX6" fmla="*/ 481322 w 1936221"/>
                <a:gd name="connsiteY6" fmla="*/ 1218397 h 3615040"/>
                <a:gd name="connsiteX7" fmla="*/ 428935 w 1936221"/>
                <a:gd name="connsiteY7" fmla="*/ 1697029 h 3615040"/>
                <a:gd name="connsiteX8" fmla="*/ 1055203 w 1936221"/>
                <a:gd name="connsiteY8" fmla="*/ 1758941 h 3615040"/>
                <a:gd name="connsiteX9" fmla="*/ 1124260 w 1936221"/>
                <a:gd name="connsiteY9" fmla="*/ 1501766 h 3615040"/>
                <a:gd name="connsiteX10" fmla="*/ 931378 w 1936221"/>
                <a:gd name="connsiteY10" fmla="*/ 994559 h 3615040"/>
                <a:gd name="connsiteX11" fmla="*/ 1040916 w 1936221"/>
                <a:gd name="connsiteY11" fmla="*/ 880258 h 3615040"/>
                <a:gd name="connsiteX12" fmla="*/ 1214747 w 1936221"/>
                <a:gd name="connsiteY12" fmla="*/ 796915 h 3615040"/>
                <a:gd name="connsiteX13" fmla="*/ 1343334 w 1936221"/>
                <a:gd name="connsiteY13" fmla="*/ 825490 h 3615040"/>
                <a:gd name="connsiteX14" fmla="*/ 1860066 w 1936221"/>
                <a:gd name="connsiteY14" fmla="*/ 354004 h 3615040"/>
                <a:gd name="connsiteX15" fmla="*/ 1934229 w 1936221"/>
                <a:gd name="connsiteY15" fmla="*/ 163503 h 3615040"/>
                <a:gd name="connsiteX16" fmla="*/ 1929122 w 1936221"/>
                <a:gd name="connsiteY16" fmla="*/ 477829 h 3615040"/>
                <a:gd name="connsiteX17" fmla="*/ 1031735 w 1936221"/>
                <a:gd name="connsiteY17" fmla="*/ 3615040 h 3615040"/>
                <a:gd name="connsiteX18" fmla="*/ 0 w 1936221"/>
                <a:gd name="connsiteY18" fmla="*/ 3615040 h 3615040"/>
                <a:gd name="connsiteX19" fmla="*/ 0 w 1936221"/>
                <a:gd name="connsiteY19" fmla="*/ 146834 h 3615040"/>
                <a:gd name="connsiteX0" fmla="*/ 0 w 1936221"/>
                <a:gd name="connsiteY0" fmla="*/ 296114 h 3764320"/>
                <a:gd name="connsiteX1" fmla="*/ 121753 w 1936221"/>
                <a:gd name="connsiteY1" fmla="*/ 193720 h 3764320"/>
                <a:gd name="connsiteX2" fmla="*/ 205097 w 1936221"/>
                <a:gd name="connsiteY2" fmla="*/ 274684 h 3764320"/>
                <a:gd name="connsiteX3" fmla="*/ 169378 w 1936221"/>
                <a:gd name="connsiteY3" fmla="*/ 438990 h 3764320"/>
                <a:gd name="connsiteX4" fmla="*/ 433697 w 1936221"/>
                <a:gd name="connsiteY4" fmla="*/ 858090 h 3764320"/>
                <a:gd name="connsiteX5" fmla="*/ 533710 w 1936221"/>
                <a:gd name="connsiteY5" fmla="*/ 877140 h 3764320"/>
                <a:gd name="connsiteX6" fmla="*/ 759928 w 1936221"/>
                <a:gd name="connsiteY6" fmla="*/ 979534 h 3764320"/>
                <a:gd name="connsiteX7" fmla="*/ 481322 w 1936221"/>
                <a:gd name="connsiteY7" fmla="*/ 1367677 h 3764320"/>
                <a:gd name="connsiteX8" fmla="*/ 428935 w 1936221"/>
                <a:gd name="connsiteY8" fmla="*/ 1846309 h 3764320"/>
                <a:gd name="connsiteX9" fmla="*/ 1055203 w 1936221"/>
                <a:gd name="connsiteY9" fmla="*/ 1908221 h 3764320"/>
                <a:gd name="connsiteX10" fmla="*/ 1124260 w 1936221"/>
                <a:gd name="connsiteY10" fmla="*/ 1651046 h 3764320"/>
                <a:gd name="connsiteX11" fmla="*/ 931378 w 1936221"/>
                <a:gd name="connsiteY11" fmla="*/ 1143839 h 3764320"/>
                <a:gd name="connsiteX12" fmla="*/ 1040916 w 1936221"/>
                <a:gd name="connsiteY12" fmla="*/ 1029538 h 3764320"/>
                <a:gd name="connsiteX13" fmla="*/ 1214747 w 1936221"/>
                <a:gd name="connsiteY13" fmla="*/ 946195 h 3764320"/>
                <a:gd name="connsiteX14" fmla="*/ 1343334 w 1936221"/>
                <a:gd name="connsiteY14" fmla="*/ 974770 h 3764320"/>
                <a:gd name="connsiteX15" fmla="*/ 1860066 w 1936221"/>
                <a:gd name="connsiteY15" fmla="*/ 503284 h 3764320"/>
                <a:gd name="connsiteX16" fmla="*/ 1934229 w 1936221"/>
                <a:gd name="connsiteY16" fmla="*/ 312783 h 3764320"/>
                <a:gd name="connsiteX17" fmla="*/ 1929122 w 1936221"/>
                <a:gd name="connsiteY17" fmla="*/ 627109 h 3764320"/>
                <a:gd name="connsiteX18" fmla="*/ 1031735 w 1936221"/>
                <a:gd name="connsiteY18" fmla="*/ 3764320 h 3764320"/>
                <a:gd name="connsiteX19" fmla="*/ 0 w 1936221"/>
                <a:gd name="connsiteY19" fmla="*/ 3764320 h 3764320"/>
                <a:gd name="connsiteX20" fmla="*/ 0 w 1936221"/>
                <a:gd name="connsiteY20" fmla="*/ 296114 h 3764320"/>
                <a:gd name="connsiteX0" fmla="*/ 0 w 1940983"/>
                <a:gd name="connsiteY0" fmla="*/ 299925 h 3756225"/>
                <a:gd name="connsiteX1" fmla="*/ 126515 w 1940983"/>
                <a:gd name="connsiteY1" fmla="*/ 185625 h 3756225"/>
                <a:gd name="connsiteX2" fmla="*/ 209859 w 1940983"/>
                <a:gd name="connsiteY2" fmla="*/ 266589 h 3756225"/>
                <a:gd name="connsiteX3" fmla="*/ 174140 w 1940983"/>
                <a:gd name="connsiteY3" fmla="*/ 430895 h 3756225"/>
                <a:gd name="connsiteX4" fmla="*/ 438459 w 1940983"/>
                <a:gd name="connsiteY4" fmla="*/ 849995 h 3756225"/>
                <a:gd name="connsiteX5" fmla="*/ 538472 w 1940983"/>
                <a:gd name="connsiteY5" fmla="*/ 869045 h 3756225"/>
                <a:gd name="connsiteX6" fmla="*/ 764690 w 1940983"/>
                <a:gd name="connsiteY6" fmla="*/ 971439 h 3756225"/>
                <a:gd name="connsiteX7" fmla="*/ 486084 w 1940983"/>
                <a:gd name="connsiteY7" fmla="*/ 1359582 h 3756225"/>
                <a:gd name="connsiteX8" fmla="*/ 433697 w 1940983"/>
                <a:gd name="connsiteY8" fmla="*/ 1838214 h 3756225"/>
                <a:gd name="connsiteX9" fmla="*/ 1059965 w 1940983"/>
                <a:gd name="connsiteY9" fmla="*/ 1900126 h 3756225"/>
                <a:gd name="connsiteX10" fmla="*/ 1129022 w 1940983"/>
                <a:gd name="connsiteY10" fmla="*/ 1642951 h 3756225"/>
                <a:gd name="connsiteX11" fmla="*/ 936140 w 1940983"/>
                <a:gd name="connsiteY11" fmla="*/ 1135744 h 3756225"/>
                <a:gd name="connsiteX12" fmla="*/ 1045678 w 1940983"/>
                <a:gd name="connsiteY12" fmla="*/ 1021443 h 3756225"/>
                <a:gd name="connsiteX13" fmla="*/ 1219509 w 1940983"/>
                <a:gd name="connsiteY13" fmla="*/ 938100 h 3756225"/>
                <a:gd name="connsiteX14" fmla="*/ 1348096 w 1940983"/>
                <a:gd name="connsiteY14" fmla="*/ 966675 h 3756225"/>
                <a:gd name="connsiteX15" fmla="*/ 1864828 w 1940983"/>
                <a:gd name="connsiteY15" fmla="*/ 495189 h 3756225"/>
                <a:gd name="connsiteX16" fmla="*/ 1938991 w 1940983"/>
                <a:gd name="connsiteY16" fmla="*/ 304688 h 3756225"/>
                <a:gd name="connsiteX17" fmla="*/ 1933884 w 1940983"/>
                <a:gd name="connsiteY17" fmla="*/ 619014 h 3756225"/>
                <a:gd name="connsiteX18" fmla="*/ 1036497 w 1940983"/>
                <a:gd name="connsiteY18" fmla="*/ 3756225 h 3756225"/>
                <a:gd name="connsiteX19" fmla="*/ 4762 w 1940983"/>
                <a:gd name="connsiteY19" fmla="*/ 3756225 h 3756225"/>
                <a:gd name="connsiteX20" fmla="*/ 0 w 1940983"/>
                <a:gd name="connsiteY20" fmla="*/ 299925 h 3756225"/>
                <a:gd name="connsiteX0" fmla="*/ 0 w 1940983"/>
                <a:gd name="connsiteY0" fmla="*/ 131890 h 3588190"/>
                <a:gd name="connsiteX1" fmla="*/ 126515 w 1940983"/>
                <a:gd name="connsiteY1" fmla="*/ 17590 h 3588190"/>
                <a:gd name="connsiteX2" fmla="*/ 209859 w 1940983"/>
                <a:gd name="connsiteY2" fmla="*/ 98554 h 3588190"/>
                <a:gd name="connsiteX3" fmla="*/ 174140 w 1940983"/>
                <a:gd name="connsiteY3" fmla="*/ 262860 h 3588190"/>
                <a:gd name="connsiteX4" fmla="*/ 438459 w 1940983"/>
                <a:gd name="connsiteY4" fmla="*/ 681960 h 3588190"/>
                <a:gd name="connsiteX5" fmla="*/ 538472 w 1940983"/>
                <a:gd name="connsiteY5" fmla="*/ 701010 h 3588190"/>
                <a:gd name="connsiteX6" fmla="*/ 764690 w 1940983"/>
                <a:gd name="connsiteY6" fmla="*/ 803404 h 3588190"/>
                <a:gd name="connsiteX7" fmla="*/ 486084 w 1940983"/>
                <a:gd name="connsiteY7" fmla="*/ 1191547 h 3588190"/>
                <a:gd name="connsiteX8" fmla="*/ 433697 w 1940983"/>
                <a:gd name="connsiteY8" fmla="*/ 1670179 h 3588190"/>
                <a:gd name="connsiteX9" fmla="*/ 1059965 w 1940983"/>
                <a:gd name="connsiteY9" fmla="*/ 1732091 h 3588190"/>
                <a:gd name="connsiteX10" fmla="*/ 1129022 w 1940983"/>
                <a:gd name="connsiteY10" fmla="*/ 1474916 h 3588190"/>
                <a:gd name="connsiteX11" fmla="*/ 936140 w 1940983"/>
                <a:gd name="connsiteY11" fmla="*/ 967709 h 3588190"/>
                <a:gd name="connsiteX12" fmla="*/ 1045678 w 1940983"/>
                <a:gd name="connsiteY12" fmla="*/ 853408 h 3588190"/>
                <a:gd name="connsiteX13" fmla="*/ 1219509 w 1940983"/>
                <a:gd name="connsiteY13" fmla="*/ 770065 h 3588190"/>
                <a:gd name="connsiteX14" fmla="*/ 1348096 w 1940983"/>
                <a:gd name="connsiteY14" fmla="*/ 798640 h 3588190"/>
                <a:gd name="connsiteX15" fmla="*/ 1864828 w 1940983"/>
                <a:gd name="connsiteY15" fmla="*/ 327154 h 3588190"/>
                <a:gd name="connsiteX16" fmla="*/ 1938991 w 1940983"/>
                <a:gd name="connsiteY16" fmla="*/ 136653 h 3588190"/>
                <a:gd name="connsiteX17" fmla="*/ 1933884 w 1940983"/>
                <a:gd name="connsiteY17" fmla="*/ 450979 h 3588190"/>
                <a:gd name="connsiteX18" fmla="*/ 1036497 w 1940983"/>
                <a:gd name="connsiteY18" fmla="*/ 3588190 h 3588190"/>
                <a:gd name="connsiteX19" fmla="*/ 4762 w 1940983"/>
                <a:gd name="connsiteY19" fmla="*/ 3588190 h 3588190"/>
                <a:gd name="connsiteX20" fmla="*/ 0 w 1940983"/>
                <a:gd name="connsiteY20" fmla="*/ 131890 h 3588190"/>
                <a:gd name="connsiteX0" fmla="*/ 0 w 1940983"/>
                <a:gd name="connsiteY0" fmla="*/ 283494 h 3739794"/>
                <a:gd name="connsiteX1" fmla="*/ 69365 w 1940983"/>
                <a:gd name="connsiteY1" fmla="*/ 200150 h 3739794"/>
                <a:gd name="connsiteX2" fmla="*/ 126515 w 1940983"/>
                <a:gd name="connsiteY2" fmla="*/ 169194 h 3739794"/>
                <a:gd name="connsiteX3" fmla="*/ 209859 w 1940983"/>
                <a:gd name="connsiteY3" fmla="*/ 250158 h 3739794"/>
                <a:gd name="connsiteX4" fmla="*/ 174140 w 1940983"/>
                <a:gd name="connsiteY4" fmla="*/ 414464 h 3739794"/>
                <a:gd name="connsiteX5" fmla="*/ 438459 w 1940983"/>
                <a:gd name="connsiteY5" fmla="*/ 833564 h 3739794"/>
                <a:gd name="connsiteX6" fmla="*/ 538472 w 1940983"/>
                <a:gd name="connsiteY6" fmla="*/ 852614 h 3739794"/>
                <a:gd name="connsiteX7" fmla="*/ 764690 w 1940983"/>
                <a:gd name="connsiteY7" fmla="*/ 955008 h 3739794"/>
                <a:gd name="connsiteX8" fmla="*/ 486084 w 1940983"/>
                <a:gd name="connsiteY8" fmla="*/ 1343151 h 3739794"/>
                <a:gd name="connsiteX9" fmla="*/ 433697 w 1940983"/>
                <a:gd name="connsiteY9" fmla="*/ 1821783 h 3739794"/>
                <a:gd name="connsiteX10" fmla="*/ 1059965 w 1940983"/>
                <a:gd name="connsiteY10" fmla="*/ 1883695 h 3739794"/>
                <a:gd name="connsiteX11" fmla="*/ 1129022 w 1940983"/>
                <a:gd name="connsiteY11" fmla="*/ 1626520 h 3739794"/>
                <a:gd name="connsiteX12" fmla="*/ 936140 w 1940983"/>
                <a:gd name="connsiteY12" fmla="*/ 1119313 h 3739794"/>
                <a:gd name="connsiteX13" fmla="*/ 1045678 w 1940983"/>
                <a:gd name="connsiteY13" fmla="*/ 1005012 h 3739794"/>
                <a:gd name="connsiteX14" fmla="*/ 1219509 w 1940983"/>
                <a:gd name="connsiteY14" fmla="*/ 921669 h 3739794"/>
                <a:gd name="connsiteX15" fmla="*/ 1348096 w 1940983"/>
                <a:gd name="connsiteY15" fmla="*/ 950244 h 3739794"/>
                <a:gd name="connsiteX16" fmla="*/ 1864828 w 1940983"/>
                <a:gd name="connsiteY16" fmla="*/ 478758 h 3739794"/>
                <a:gd name="connsiteX17" fmla="*/ 1938991 w 1940983"/>
                <a:gd name="connsiteY17" fmla="*/ 288257 h 3739794"/>
                <a:gd name="connsiteX18" fmla="*/ 1933884 w 1940983"/>
                <a:gd name="connsiteY18" fmla="*/ 602583 h 3739794"/>
                <a:gd name="connsiteX19" fmla="*/ 1036497 w 1940983"/>
                <a:gd name="connsiteY19" fmla="*/ 3739794 h 3739794"/>
                <a:gd name="connsiteX20" fmla="*/ 4762 w 1940983"/>
                <a:gd name="connsiteY20" fmla="*/ 3739794 h 3739794"/>
                <a:gd name="connsiteX21" fmla="*/ 0 w 1940983"/>
                <a:gd name="connsiteY21" fmla="*/ 283494 h 3739794"/>
                <a:gd name="connsiteX0" fmla="*/ 0 w 1940983"/>
                <a:gd name="connsiteY0" fmla="*/ 118396 h 3574696"/>
                <a:gd name="connsiteX1" fmla="*/ 69365 w 1940983"/>
                <a:gd name="connsiteY1" fmla="*/ 35052 h 3574696"/>
                <a:gd name="connsiteX2" fmla="*/ 126515 w 1940983"/>
                <a:gd name="connsiteY2" fmla="*/ 4096 h 3574696"/>
                <a:gd name="connsiteX3" fmla="*/ 209859 w 1940983"/>
                <a:gd name="connsiteY3" fmla="*/ 85060 h 3574696"/>
                <a:gd name="connsiteX4" fmla="*/ 174140 w 1940983"/>
                <a:gd name="connsiteY4" fmla="*/ 249366 h 3574696"/>
                <a:gd name="connsiteX5" fmla="*/ 438459 w 1940983"/>
                <a:gd name="connsiteY5" fmla="*/ 668466 h 3574696"/>
                <a:gd name="connsiteX6" fmla="*/ 538472 w 1940983"/>
                <a:gd name="connsiteY6" fmla="*/ 687516 h 3574696"/>
                <a:gd name="connsiteX7" fmla="*/ 764690 w 1940983"/>
                <a:gd name="connsiteY7" fmla="*/ 789910 h 3574696"/>
                <a:gd name="connsiteX8" fmla="*/ 486084 w 1940983"/>
                <a:gd name="connsiteY8" fmla="*/ 1178053 h 3574696"/>
                <a:gd name="connsiteX9" fmla="*/ 433697 w 1940983"/>
                <a:gd name="connsiteY9" fmla="*/ 1656685 h 3574696"/>
                <a:gd name="connsiteX10" fmla="*/ 1059965 w 1940983"/>
                <a:gd name="connsiteY10" fmla="*/ 1718597 h 3574696"/>
                <a:gd name="connsiteX11" fmla="*/ 1129022 w 1940983"/>
                <a:gd name="connsiteY11" fmla="*/ 1461422 h 3574696"/>
                <a:gd name="connsiteX12" fmla="*/ 936140 w 1940983"/>
                <a:gd name="connsiteY12" fmla="*/ 954215 h 3574696"/>
                <a:gd name="connsiteX13" fmla="*/ 1045678 w 1940983"/>
                <a:gd name="connsiteY13" fmla="*/ 839914 h 3574696"/>
                <a:gd name="connsiteX14" fmla="*/ 1219509 w 1940983"/>
                <a:gd name="connsiteY14" fmla="*/ 756571 h 3574696"/>
                <a:gd name="connsiteX15" fmla="*/ 1348096 w 1940983"/>
                <a:gd name="connsiteY15" fmla="*/ 785146 h 3574696"/>
                <a:gd name="connsiteX16" fmla="*/ 1864828 w 1940983"/>
                <a:gd name="connsiteY16" fmla="*/ 313660 h 3574696"/>
                <a:gd name="connsiteX17" fmla="*/ 1938991 w 1940983"/>
                <a:gd name="connsiteY17" fmla="*/ 123159 h 3574696"/>
                <a:gd name="connsiteX18" fmla="*/ 1933884 w 1940983"/>
                <a:gd name="connsiteY18" fmla="*/ 437485 h 3574696"/>
                <a:gd name="connsiteX19" fmla="*/ 1036497 w 1940983"/>
                <a:gd name="connsiteY19" fmla="*/ 3574696 h 3574696"/>
                <a:gd name="connsiteX20" fmla="*/ 4762 w 1940983"/>
                <a:gd name="connsiteY20" fmla="*/ 3574696 h 3574696"/>
                <a:gd name="connsiteX21" fmla="*/ 0 w 1940983"/>
                <a:gd name="connsiteY21" fmla="*/ 118396 h 3574696"/>
                <a:gd name="connsiteX0" fmla="*/ 7311 w 1936388"/>
                <a:gd name="connsiteY0" fmla="*/ 146971 h 3574696"/>
                <a:gd name="connsiteX1" fmla="*/ 64770 w 1936388"/>
                <a:gd name="connsiteY1" fmla="*/ 35052 h 3574696"/>
                <a:gd name="connsiteX2" fmla="*/ 121920 w 1936388"/>
                <a:gd name="connsiteY2" fmla="*/ 4096 h 3574696"/>
                <a:gd name="connsiteX3" fmla="*/ 205264 w 1936388"/>
                <a:gd name="connsiteY3" fmla="*/ 85060 h 3574696"/>
                <a:gd name="connsiteX4" fmla="*/ 169545 w 1936388"/>
                <a:gd name="connsiteY4" fmla="*/ 249366 h 3574696"/>
                <a:gd name="connsiteX5" fmla="*/ 433864 w 1936388"/>
                <a:gd name="connsiteY5" fmla="*/ 668466 h 3574696"/>
                <a:gd name="connsiteX6" fmla="*/ 533877 w 1936388"/>
                <a:gd name="connsiteY6" fmla="*/ 687516 h 3574696"/>
                <a:gd name="connsiteX7" fmla="*/ 760095 w 1936388"/>
                <a:gd name="connsiteY7" fmla="*/ 789910 h 3574696"/>
                <a:gd name="connsiteX8" fmla="*/ 481489 w 1936388"/>
                <a:gd name="connsiteY8" fmla="*/ 1178053 h 3574696"/>
                <a:gd name="connsiteX9" fmla="*/ 429102 w 1936388"/>
                <a:gd name="connsiteY9" fmla="*/ 1656685 h 3574696"/>
                <a:gd name="connsiteX10" fmla="*/ 1055370 w 1936388"/>
                <a:gd name="connsiteY10" fmla="*/ 1718597 h 3574696"/>
                <a:gd name="connsiteX11" fmla="*/ 1124427 w 1936388"/>
                <a:gd name="connsiteY11" fmla="*/ 1461422 h 3574696"/>
                <a:gd name="connsiteX12" fmla="*/ 931545 w 1936388"/>
                <a:gd name="connsiteY12" fmla="*/ 954215 h 3574696"/>
                <a:gd name="connsiteX13" fmla="*/ 1041083 w 1936388"/>
                <a:gd name="connsiteY13" fmla="*/ 839914 h 3574696"/>
                <a:gd name="connsiteX14" fmla="*/ 1214914 w 1936388"/>
                <a:gd name="connsiteY14" fmla="*/ 756571 h 3574696"/>
                <a:gd name="connsiteX15" fmla="*/ 1343501 w 1936388"/>
                <a:gd name="connsiteY15" fmla="*/ 785146 h 3574696"/>
                <a:gd name="connsiteX16" fmla="*/ 1860233 w 1936388"/>
                <a:gd name="connsiteY16" fmla="*/ 313660 h 3574696"/>
                <a:gd name="connsiteX17" fmla="*/ 1934396 w 1936388"/>
                <a:gd name="connsiteY17" fmla="*/ 123159 h 3574696"/>
                <a:gd name="connsiteX18" fmla="*/ 1929289 w 1936388"/>
                <a:gd name="connsiteY18" fmla="*/ 437485 h 3574696"/>
                <a:gd name="connsiteX19" fmla="*/ 1031902 w 1936388"/>
                <a:gd name="connsiteY19" fmla="*/ 3574696 h 3574696"/>
                <a:gd name="connsiteX20" fmla="*/ 167 w 1936388"/>
                <a:gd name="connsiteY20" fmla="*/ 3574696 h 3574696"/>
                <a:gd name="connsiteX21" fmla="*/ 7311 w 1936388"/>
                <a:gd name="connsiteY21" fmla="*/ 146971 h 3574696"/>
                <a:gd name="connsiteX0" fmla="*/ 0 w 1945746"/>
                <a:gd name="connsiteY0" fmla="*/ 108871 h 3574696"/>
                <a:gd name="connsiteX1" fmla="*/ 74128 w 1945746"/>
                <a:gd name="connsiteY1" fmla="*/ 35052 h 3574696"/>
                <a:gd name="connsiteX2" fmla="*/ 131278 w 1945746"/>
                <a:gd name="connsiteY2" fmla="*/ 4096 h 3574696"/>
                <a:gd name="connsiteX3" fmla="*/ 214622 w 1945746"/>
                <a:gd name="connsiteY3" fmla="*/ 85060 h 3574696"/>
                <a:gd name="connsiteX4" fmla="*/ 178903 w 1945746"/>
                <a:gd name="connsiteY4" fmla="*/ 249366 h 3574696"/>
                <a:gd name="connsiteX5" fmla="*/ 443222 w 1945746"/>
                <a:gd name="connsiteY5" fmla="*/ 668466 h 3574696"/>
                <a:gd name="connsiteX6" fmla="*/ 543235 w 1945746"/>
                <a:gd name="connsiteY6" fmla="*/ 687516 h 3574696"/>
                <a:gd name="connsiteX7" fmla="*/ 769453 w 1945746"/>
                <a:gd name="connsiteY7" fmla="*/ 789910 h 3574696"/>
                <a:gd name="connsiteX8" fmla="*/ 490847 w 1945746"/>
                <a:gd name="connsiteY8" fmla="*/ 1178053 h 3574696"/>
                <a:gd name="connsiteX9" fmla="*/ 438460 w 1945746"/>
                <a:gd name="connsiteY9" fmla="*/ 1656685 h 3574696"/>
                <a:gd name="connsiteX10" fmla="*/ 1064728 w 1945746"/>
                <a:gd name="connsiteY10" fmla="*/ 1718597 h 3574696"/>
                <a:gd name="connsiteX11" fmla="*/ 1133785 w 1945746"/>
                <a:gd name="connsiteY11" fmla="*/ 1461422 h 3574696"/>
                <a:gd name="connsiteX12" fmla="*/ 940903 w 1945746"/>
                <a:gd name="connsiteY12" fmla="*/ 954215 h 3574696"/>
                <a:gd name="connsiteX13" fmla="*/ 1050441 w 1945746"/>
                <a:gd name="connsiteY13" fmla="*/ 839914 h 3574696"/>
                <a:gd name="connsiteX14" fmla="*/ 1224272 w 1945746"/>
                <a:gd name="connsiteY14" fmla="*/ 756571 h 3574696"/>
                <a:gd name="connsiteX15" fmla="*/ 1352859 w 1945746"/>
                <a:gd name="connsiteY15" fmla="*/ 785146 h 3574696"/>
                <a:gd name="connsiteX16" fmla="*/ 1869591 w 1945746"/>
                <a:gd name="connsiteY16" fmla="*/ 313660 h 3574696"/>
                <a:gd name="connsiteX17" fmla="*/ 1943754 w 1945746"/>
                <a:gd name="connsiteY17" fmla="*/ 123159 h 3574696"/>
                <a:gd name="connsiteX18" fmla="*/ 1938647 w 1945746"/>
                <a:gd name="connsiteY18" fmla="*/ 437485 h 3574696"/>
                <a:gd name="connsiteX19" fmla="*/ 1041260 w 1945746"/>
                <a:gd name="connsiteY19" fmla="*/ 3574696 h 3574696"/>
                <a:gd name="connsiteX20" fmla="*/ 9525 w 1945746"/>
                <a:gd name="connsiteY20" fmla="*/ 3574696 h 3574696"/>
                <a:gd name="connsiteX21" fmla="*/ 0 w 1945746"/>
                <a:gd name="connsiteY21" fmla="*/ 108871 h 3574696"/>
                <a:gd name="connsiteX0" fmla="*/ 0 w 1945746"/>
                <a:gd name="connsiteY0" fmla="*/ 110144 h 3575969"/>
                <a:gd name="connsiteX1" fmla="*/ 93178 w 1945746"/>
                <a:gd name="connsiteY1" fmla="*/ 26800 h 3575969"/>
                <a:gd name="connsiteX2" fmla="*/ 131278 w 1945746"/>
                <a:gd name="connsiteY2" fmla="*/ 5369 h 3575969"/>
                <a:gd name="connsiteX3" fmla="*/ 214622 w 1945746"/>
                <a:gd name="connsiteY3" fmla="*/ 86333 h 3575969"/>
                <a:gd name="connsiteX4" fmla="*/ 178903 w 1945746"/>
                <a:gd name="connsiteY4" fmla="*/ 250639 h 3575969"/>
                <a:gd name="connsiteX5" fmla="*/ 443222 w 1945746"/>
                <a:gd name="connsiteY5" fmla="*/ 669739 h 3575969"/>
                <a:gd name="connsiteX6" fmla="*/ 543235 w 1945746"/>
                <a:gd name="connsiteY6" fmla="*/ 688789 h 3575969"/>
                <a:gd name="connsiteX7" fmla="*/ 769453 w 1945746"/>
                <a:gd name="connsiteY7" fmla="*/ 791183 h 3575969"/>
                <a:gd name="connsiteX8" fmla="*/ 490847 w 1945746"/>
                <a:gd name="connsiteY8" fmla="*/ 1179326 h 3575969"/>
                <a:gd name="connsiteX9" fmla="*/ 438460 w 1945746"/>
                <a:gd name="connsiteY9" fmla="*/ 1657958 h 3575969"/>
                <a:gd name="connsiteX10" fmla="*/ 1064728 w 1945746"/>
                <a:gd name="connsiteY10" fmla="*/ 1719870 h 3575969"/>
                <a:gd name="connsiteX11" fmla="*/ 1133785 w 1945746"/>
                <a:gd name="connsiteY11" fmla="*/ 1462695 h 3575969"/>
                <a:gd name="connsiteX12" fmla="*/ 940903 w 1945746"/>
                <a:gd name="connsiteY12" fmla="*/ 955488 h 3575969"/>
                <a:gd name="connsiteX13" fmla="*/ 1050441 w 1945746"/>
                <a:gd name="connsiteY13" fmla="*/ 841187 h 3575969"/>
                <a:gd name="connsiteX14" fmla="*/ 1224272 w 1945746"/>
                <a:gd name="connsiteY14" fmla="*/ 757844 h 3575969"/>
                <a:gd name="connsiteX15" fmla="*/ 1352859 w 1945746"/>
                <a:gd name="connsiteY15" fmla="*/ 786419 h 3575969"/>
                <a:gd name="connsiteX16" fmla="*/ 1869591 w 1945746"/>
                <a:gd name="connsiteY16" fmla="*/ 314933 h 3575969"/>
                <a:gd name="connsiteX17" fmla="*/ 1943754 w 1945746"/>
                <a:gd name="connsiteY17" fmla="*/ 124432 h 3575969"/>
                <a:gd name="connsiteX18" fmla="*/ 1938647 w 1945746"/>
                <a:gd name="connsiteY18" fmla="*/ 438758 h 3575969"/>
                <a:gd name="connsiteX19" fmla="*/ 1041260 w 1945746"/>
                <a:gd name="connsiteY19" fmla="*/ 3575969 h 3575969"/>
                <a:gd name="connsiteX20" fmla="*/ 9525 w 1945746"/>
                <a:gd name="connsiteY20" fmla="*/ 3575969 h 3575969"/>
                <a:gd name="connsiteX21" fmla="*/ 0 w 1945746"/>
                <a:gd name="connsiteY21" fmla="*/ 110144 h 3575969"/>
                <a:gd name="connsiteX0" fmla="*/ 0 w 1945746"/>
                <a:gd name="connsiteY0" fmla="*/ 268656 h 3734481"/>
                <a:gd name="connsiteX1" fmla="*/ 33646 w 1945746"/>
                <a:gd name="connsiteY1" fmla="*/ 230556 h 3734481"/>
                <a:gd name="connsiteX2" fmla="*/ 93178 w 1945746"/>
                <a:gd name="connsiteY2" fmla="*/ 185312 h 3734481"/>
                <a:gd name="connsiteX3" fmla="*/ 131278 w 1945746"/>
                <a:gd name="connsiteY3" fmla="*/ 163881 h 3734481"/>
                <a:gd name="connsiteX4" fmla="*/ 214622 w 1945746"/>
                <a:gd name="connsiteY4" fmla="*/ 244845 h 3734481"/>
                <a:gd name="connsiteX5" fmla="*/ 178903 w 1945746"/>
                <a:gd name="connsiteY5" fmla="*/ 409151 h 3734481"/>
                <a:gd name="connsiteX6" fmla="*/ 443222 w 1945746"/>
                <a:gd name="connsiteY6" fmla="*/ 828251 h 3734481"/>
                <a:gd name="connsiteX7" fmla="*/ 543235 w 1945746"/>
                <a:gd name="connsiteY7" fmla="*/ 847301 h 3734481"/>
                <a:gd name="connsiteX8" fmla="*/ 769453 w 1945746"/>
                <a:gd name="connsiteY8" fmla="*/ 949695 h 3734481"/>
                <a:gd name="connsiteX9" fmla="*/ 490847 w 1945746"/>
                <a:gd name="connsiteY9" fmla="*/ 1337838 h 3734481"/>
                <a:gd name="connsiteX10" fmla="*/ 438460 w 1945746"/>
                <a:gd name="connsiteY10" fmla="*/ 1816470 h 3734481"/>
                <a:gd name="connsiteX11" fmla="*/ 1064728 w 1945746"/>
                <a:gd name="connsiteY11" fmla="*/ 1878382 h 3734481"/>
                <a:gd name="connsiteX12" fmla="*/ 1133785 w 1945746"/>
                <a:gd name="connsiteY12" fmla="*/ 1621207 h 3734481"/>
                <a:gd name="connsiteX13" fmla="*/ 940903 w 1945746"/>
                <a:gd name="connsiteY13" fmla="*/ 1114000 h 3734481"/>
                <a:gd name="connsiteX14" fmla="*/ 1050441 w 1945746"/>
                <a:gd name="connsiteY14" fmla="*/ 999699 h 3734481"/>
                <a:gd name="connsiteX15" fmla="*/ 1224272 w 1945746"/>
                <a:gd name="connsiteY15" fmla="*/ 916356 h 3734481"/>
                <a:gd name="connsiteX16" fmla="*/ 1352859 w 1945746"/>
                <a:gd name="connsiteY16" fmla="*/ 944931 h 3734481"/>
                <a:gd name="connsiteX17" fmla="*/ 1869591 w 1945746"/>
                <a:gd name="connsiteY17" fmla="*/ 473445 h 3734481"/>
                <a:gd name="connsiteX18" fmla="*/ 1943754 w 1945746"/>
                <a:gd name="connsiteY18" fmla="*/ 282944 h 3734481"/>
                <a:gd name="connsiteX19" fmla="*/ 1938647 w 1945746"/>
                <a:gd name="connsiteY19" fmla="*/ 597270 h 3734481"/>
                <a:gd name="connsiteX20" fmla="*/ 1041260 w 1945746"/>
                <a:gd name="connsiteY20" fmla="*/ 3734481 h 3734481"/>
                <a:gd name="connsiteX21" fmla="*/ 9525 w 1945746"/>
                <a:gd name="connsiteY21" fmla="*/ 3734481 h 3734481"/>
                <a:gd name="connsiteX22" fmla="*/ 0 w 1945746"/>
                <a:gd name="connsiteY22" fmla="*/ 268656 h 3734481"/>
                <a:gd name="connsiteX0" fmla="*/ 0 w 1945746"/>
                <a:gd name="connsiteY0" fmla="*/ 108649 h 3574474"/>
                <a:gd name="connsiteX1" fmla="*/ 33646 w 1945746"/>
                <a:gd name="connsiteY1" fmla="*/ 70549 h 3574474"/>
                <a:gd name="connsiteX2" fmla="*/ 93178 w 1945746"/>
                <a:gd name="connsiteY2" fmla="*/ 25305 h 3574474"/>
                <a:gd name="connsiteX3" fmla="*/ 131278 w 1945746"/>
                <a:gd name="connsiteY3" fmla="*/ 3874 h 3574474"/>
                <a:gd name="connsiteX4" fmla="*/ 214622 w 1945746"/>
                <a:gd name="connsiteY4" fmla="*/ 84838 h 3574474"/>
                <a:gd name="connsiteX5" fmla="*/ 178903 w 1945746"/>
                <a:gd name="connsiteY5" fmla="*/ 249144 h 3574474"/>
                <a:gd name="connsiteX6" fmla="*/ 443222 w 1945746"/>
                <a:gd name="connsiteY6" fmla="*/ 668244 h 3574474"/>
                <a:gd name="connsiteX7" fmla="*/ 543235 w 1945746"/>
                <a:gd name="connsiteY7" fmla="*/ 687294 h 3574474"/>
                <a:gd name="connsiteX8" fmla="*/ 769453 w 1945746"/>
                <a:gd name="connsiteY8" fmla="*/ 789688 h 3574474"/>
                <a:gd name="connsiteX9" fmla="*/ 490847 w 1945746"/>
                <a:gd name="connsiteY9" fmla="*/ 1177831 h 3574474"/>
                <a:gd name="connsiteX10" fmla="*/ 438460 w 1945746"/>
                <a:gd name="connsiteY10" fmla="*/ 1656463 h 3574474"/>
                <a:gd name="connsiteX11" fmla="*/ 1064728 w 1945746"/>
                <a:gd name="connsiteY11" fmla="*/ 1718375 h 3574474"/>
                <a:gd name="connsiteX12" fmla="*/ 1133785 w 1945746"/>
                <a:gd name="connsiteY12" fmla="*/ 1461200 h 3574474"/>
                <a:gd name="connsiteX13" fmla="*/ 940903 w 1945746"/>
                <a:gd name="connsiteY13" fmla="*/ 953993 h 3574474"/>
                <a:gd name="connsiteX14" fmla="*/ 1050441 w 1945746"/>
                <a:gd name="connsiteY14" fmla="*/ 839692 h 3574474"/>
                <a:gd name="connsiteX15" fmla="*/ 1224272 w 1945746"/>
                <a:gd name="connsiteY15" fmla="*/ 756349 h 3574474"/>
                <a:gd name="connsiteX16" fmla="*/ 1352859 w 1945746"/>
                <a:gd name="connsiteY16" fmla="*/ 784924 h 3574474"/>
                <a:gd name="connsiteX17" fmla="*/ 1869591 w 1945746"/>
                <a:gd name="connsiteY17" fmla="*/ 313438 h 3574474"/>
                <a:gd name="connsiteX18" fmla="*/ 1943754 w 1945746"/>
                <a:gd name="connsiteY18" fmla="*/ 122937 h 3574474"/>
                <a:gd name="connsiteX19" fmla="*/ 1938647 w 1945746"/>
                <a:gd name="connsiteY19" fmla="*/ 437263 h 3574474"/>
                <a:gd name="connsiteX20" fmla="*/ 1041260 w 1945746"/>
                <a:gd name="connsiteY20" fmla="*/ 3574474 h 3574474"/>
                <a:gd name="connsiteX21" fmla="*/ 9525 w 1945746"/>
                <a:gd name="connsiteY21" fmla="*/ 3574474 h 3574474"/>
                <a:gd name="connsiteX22" fmla="*/ 0 w 1945746"/>
                <a:gd name="connsiteY22" fmla="*/ 108649 h 3574474"/>
                <a:gd name="connsiteX0" fmla="*/ 0 w 1945746"/>
                <a:gd name="connsiteY0" fmla="*/ 108649 h 3574474"/>
                <a:gd name="connsiteX1" fmla="*/ 47934 w 1945746"/>
                <a:gd name="connsiteY1" fmla="*/ 58642 h 3574474"/>
                <a:gd name="connsiteX2" fmla="*/ 93178 w 1945746"/>
                <a:gd name="connsiteY2" fmla="*/ 25305 h 3574474"/>
                <a:gd name="connsiteX3" fmla="*/ 131278 w 1945746"/>
                <a:gd name="connsiteY3" fmla="*/ 3874 h 3574474"/>
                <a:gd name="connsiteX4" fmla="*/ 214622 w 1945746"/>
                <a:gd name="connsiteY4" fmla="*/ 84838 h 3574474"/>
                <a:gd name="connsiteX5" fmla="*/ 178903 w 1945746"/>
                <a:gd name="connsiteY5" fmla="*/ 249144 h 3574474"/>
                <a:gd name="connsiteX6" fmla="*/ 443222 w 1945746"/>
                <a:gd name="connsiteY6" fmla="*/ 668244 h 3574474"/>
                <a:gd name="connsiteX7" fmla="*/ 543235 w 1945746"/>
                <a:gd name="connsiteY7" fmla="*/ 687294 h 3574474"/>
                <a:gd name="connsiteX8" fmla="*/ 769453 w 1945746"/>
                <a:gd name="connsiteY8" fmla="*/ 789688 h 3574474"/>
                <a:gd name="connsiteX9" fmla="*/ 490847 w 1945746"/>
                <a:gd name="connsiteY9" fmla="*/ 1177831 h 3574474"/>
                <a:gd name="connsiteX10" fmla="*/ 438460 w 1945746"/>
                <a:gd name="connsiteY10" fmla="*/ 1656463 h 3574474"/>
                <a:gd name="connsiteX11" fmla="*/ 1064728 w 1945746"/>
                <a:gd name="connsiteY11" fmla="*/ 1718375 h 3574474"/>
                <a:gd name="connsiteX12" fmla="*/ 1133785 w 1945746"/>
                <a:gd name="connsiteY12" fmla="*/ 1461200 h 3574474"/>
                <a:gd name="connsiteX13" fmla="*/ 940903 w 1945746"/>
                <a:gd name="connsiteY13" fmla="*/ 953993 h 3574474"/>
                <a:gd name="connsiteX14" fmla="*/ 1050441 w 1945746"/>
                <a:gd name="connsiteY14" fmla="*/ 839692 h 3574474"/>
                <a:gd name="connsiteX15" fmla="*/ 1224272 w 1945746"/>
                <a:gd name="connsiteY15" fmla="*/ 756349 h 3574474"/>
                <a:gd name="connsiteX16" fmla="*/ 1352859 w 1945746"/>
                <a:gd name="connsiteY16" fmla="*/ 784924 h 3574474"/>
                <a:gd name="connsiteX17" fmla="*/ 1869591 w 1945746"/>
                <a:gd name="connsiteY17" fmla="*/ 313438 h 3574474"/>
                <a:gd name="connsiteX18" fmla="*/ 1943754 w 1945746"/>
                <a:gd name="connsiteY18" fmla="*/ 122937 h 3574474"/>
                <a:gd name="connsiteX19" fmla="*/ 1938647 w 1945746"/>
                <a:gd name="connsiteY19" fmla="*/ 437263 h 3574474"/>
                <a:gd name="connsiteX20" fmla="*/ 1041260 w 1945746"/>
                <a:gd name="connsiteY20" fmla="*/ 3574474 h 3574474"/>
                <a:gd name="connsiteX21" fmla="*/ 9525 w 1945746"/>
                <a:gd name="connsiteY21" fmla="*/ 3574474 h 3574474"/>
                <a:gd name="connsiteX22" fmla="*/ 0 w 1945746"/>
                <a:gd name="connsiteY22" fmla="*/ 108649 h 3574474"/>
                <a:gd name="connsiteX0" fmla="*/ 0 w 1945746"/>
                <a:gd name="connsiteY0" fmla="*/ 108649 h 3574474"/>
                <a:gd name="connsiteX1" fmla="*/ 47934 w 1945746"/>
                <a:gd name="connsiteY1" fmla="*/ 58642 h 3574474"/>
                <a:gd name="connsiteX2" fmla="*/ 93178 w 1945746"/>
                <a:gd name="connsiteY2" fmla="*/ 25305 h 3574474"/>
                <a:gd name="connsiteX3" fmla="*/ 131278 w 1945746"/>
                <a:gd name="connsiteY3" fmla="*/ 3874 h 3574474"/>
                <a:gd name="connsiteX4" fmla="*/ 214622 w 1945746"/>
                <a:gd name="connsiteY4" fmla="*/ 84838 h 3574474"/>
                <a:gd name="connsiteX5" fmla="*/ 178903 w 1945746"/>
                <a:gd name="connsiteY5" fmla="*/ 249144 h 3574474"/>
                <a:gd name="connsiteX6" fmla="*/ 443222 w 1945746"/>
                <a:gd name="connsiteY6" fmla="*/ 668244 h 3574474"/>
                <a:gd name="connsiteX7" fmla="*/ 543235 w 1945746"/>
                <a:gd name="connsiteY7" fmla="*/ 687294 h 3574474"/>
                <a:gd name="connsiteX8" fmla="*/ 769453 w 1945746"/>
                <a:gd name="connsiteY8" fmla="*/ 789688 h 3574474"/>
                <a:gd name="connsiteX9" fmla="*/ 490847 w 1945746"/>
                <a:gd name="connsiteY9" fmla="*/ 1177831 h 3574474"/>
                <a:gd name="connsiteX10" fmla="*/ 438460 w 1945746"/>
                <a:gd name="connsiteY10" fmla="*/ 1656463 h 3574474"/>
                <a:gd name="connsiteX11" fmla="*/ 1064728 w 1945746"/>
                <a:gd name="connsiteY11" fmla="*/ 1718375 h 3574474"/>
                <a:gd name="connsiteX12" fmla="*/ 1133785 w 1945746"/>
                <a:gd name="connsiteY12" fmla="*/ 1461200 h 3574474"/>
                <a:gd name="connsiteX13" fmla="*/ 940903 w 1945746"/>
                <a:gd name="connsiteY13" fmla="*/ 953993 h 3574474"/>
                <a:gd name="connsiteX14" fmla="*/ 1050441 w 1945746"/>
                <a:gd name="connsiteY14" fmla="*/ 839692 h 3574474"/>
                <a:gd name="connsiteX15" fmla="*/ 1224272 w 1945746"/>
                <a:gd name="connsiteY15" fmla="*/ 756349 h 3574474"/>
                <a:gd name="connsiteX16" fmla="*/ 1352859 w 1945746"/>
                <a:gd name="connsiteY16" fmla="*/ 784924 h 3574474"/>
                <a:gd name="connsiteX17" fmla="*/ 1869591 w 1945746"/>
                <a:gd name="connsiteY17" fmla="*/ 313438 h 3574474"/>
                <a:gd name="connsiteX18" fmla="*/ 1943754 w 1945746"/>
                <a:gd name="connsiteY18" fmla="*/ 122937 h 3574474"/>
                <a:gd name="connsiteX19" fmla="*/ 1938647 w 1945746"/>
                <a:gd name="connsiteY19" fmla="*/ 437263 h 3574474"/>
                <a:gd name="connsiteX20" fmla="*/ 1041260 w 1945746"/>
                <a:gd name="connsiteY20" fmla="*/ 3574474 h 3574474"/>
                <a:gd name="connsiteX21" fmla="*/ 9525 w 1945746"/>
                <a:gd name="connsiteY21" fmla="*/ 3574474 h 3574474"/>
                <a:gd name="connsiteX22" fmla="*/ 0 w 1945746"/>
                <a:gd name="connsiteY22" fmla="*/ 108649 h 3574474"/>
                <a:gd name="connsiteX0" fmla="*/ 0 w 1945746"/>
                <a:gd name="connsiteY0" fmla="*/ 108649 h 3574474"/>
                <a:gd name="connsiteX1" fmla="*/ 47934 w 1945746"/>
                <a:gd name="connsiteY1" fmla="*/ 58642 h 3574474"/>
                <a:gd name="connsiteX2" fmla="*/ 93178 w 1945746"/>
                <a:gd name="connsiteY2" fmla="*/ 25305 h 3574474"/>
                <a:gd name="connsiteX3" fmla="*/ 131278 w 1945746"/>
                <a:gd name="connsiteY3" fmla="*/ 3874 h 3574474"/>
                <a:gd name="connsiteX4" fmla="*/ 214622 w 1945746"/>
                <a:gd name="connsiteY4" fmla="*/ 84838 h 3574474"/>
                <a:gd name="connsiteX5" fmla="*/ 178903 w 1945746"/>
                <a:gd name="connsiteY5" fmla="*/ 249144 h 3574474"/>
                <a:gd name="connsiteX6" fmla="*/ 443222 w 1945746"/>
                <a:gd name="connsiteY6" fmla="*/ 668244 h 3574474"/>
                <a:gd name="connsiteX7" fmla="*/ 543235 w 1945746"/>
                <a:gd name="connsiteY7" fmla="*/ 687294 h 3574474"/>
                <a:gd name="connsiteX8" fmla="*/ 769453 w 1945746"/>
                <a:gd name="connsiteY8" fmla="*/ 789688 h 3574474"/>
                <a:gd name="connsiteX9" fmla="*/ 490847 w 1945746"/>
                <a:gd name="connsiteY9" fmla="*/ 1177831 h 3574474"/>
                <a:gd name="connsiteX10" fmla="*/ 438460 w 1945746"/>
                <a:gd name="connsiteY10" fmla="*/ 1656463 h 3574474"/>
                <a:gd name="connsiteX11" fmla="*/ 1064728 w 1945746"/>
                <a:gd name="connsiteY11" fmla="*/ 1718375 h 3574474"/>
                <a:gd name="connsiteX12" fmla="*/ 1133785 w 1945746"/>
                <a:gd name="connsiteY12" fmla="*/ 1461200 h 3574474"/>
                <a:gd name="connsiteX13" fmla="*/ 940903 w 1945746"/>
                <a:gd name="connsiteY13" fmla="*/ 953993 h 3574474"/>
                <a:gd name="connsiteX14" fmla="*/ 1050441 w 1945746"/>
                <a:gd name="connsiteY14" fmla="*/ 839692 h 3574474"/>
                <a:gd name="connsiteX15" fmla="*/ 1224272 w 1945746"/>
                <a:gd name="connsiteY15" fmla="*/ 756349 h 3574474"/>
                <a:gd name="connsiteX16" fmla="*/ 1352859 w 1945746"/>
                <a:gd name="connsiteY16" fmla="*/ 784924 h 3574474"/>
                <a:gd name="connsiteX17" fmla="*/ 1869591 w 1945746"/>
                <a:gd name="connsiteY17" fmla="*/ 313438 h 3574474"/>
                <a:gd name="connsiteX18" fmla="*/ 1943754 w 1945746"/>
                <a:gd name="connsiteY18" fmla="*/ 122937 h 3574474"/>
                <a:gd name="connsiteX19" fmla="*/ 1938647 w 1945746"/>
                <a:gd name="connsiteY19" fmla="*/ 437263 h 3574474"/>
                <a:gd name="connsiteX20" fmla="*/ 1041260 w 1945746"/>
                <a:gd name="connsiteY20" fmla="*/ 3574474 h 3574474"/>
                <a:gd name="connsiteX21" fmla="*/ 9525 w 1945746"/>
                <a:gd name="connsiteY21" fmla="*/ 3574474 h 3574474"/>
                <a:gd name="connsiteX22" fmla="*/ 0 w 1945746"/>
                <a:gd name="connsiteY22" fmla="*/ 108649 h 3574474"/>
                <a:gd name="connsiteX0" fmla="*/ 0 w 1945746"/>
                <a:gd name="connsiteY0" fmla="*/ 109117 h 3574942"/>
                <a:gd name="connsiteX1" fmla="*/ 47934 w 1945746"/>
                <a:gd name="connsiteY1" fmla="*/ 59110 h 3574942"/>
                <a:gd name="connsiteX2" fmla="*/ 93178 w 1945746"/>
                <a:gd name="connsiteY2" fmla="*/ 25773 h 3574942"/>
                <a:gd name="connsiteX3" fmla="*/ 131278 w 1945746"/>
                <a:gd name="connsiteY3" fmla="*/ 4342 h 3574942"/>
                <a:gd name="connsiteX4" fmla="*/ 214622 w 1945746"/>
                <a:gd name="connsiteY4" fmla="*/ 85306 h 3574942"/>
                <a:gd name="connsiteX5" fmla="*/ 178903 w 1945746"/>
                <a:gd name="connsiteY5" fmla="*/ 249612 h 3574942"/>
                <a:gd name="connsiteX6" fmla="*/ 443222 w 1945746"/>
                <a:gd name="connsiteY6" fmla="*/ 668712 h 3574942"/>
                <a:gd name="connsiteX7" fmla="*/ 543235 w 1945746"/>
                <a:gd name="connsiteY7" fmla="*/ 687762 h 3574942"/>
                <a:gd name="connsiteX8" fmla="*/ 769453 w 1945746"/>
                <a:gd name="connsiteY8" fmla="*/ 790156 h 3574942"/>
                <a:gd name="connsiteX9" fmla="*/ 490847 w 1945746"/>
                <a:gd name="connsiteY9" fmla="*/ 1178299 h 3574942"/>
                <a:gd name="connsiteX10" fmla="*/ 438460 w 1945746"/>
                <a:gd name="connsiteY10" fmla="*/ 1656931 h 3574942"/>
                <a:gd name="connsiteX11" fmla="*/ 1064728 w 1945746"/>
                <a:gd name="connsiteY11" fmla="*/ 1718843 h 3574942"/>
                <a:gd name="connsiteX12" fmla="*/ 1133785 w 1945746"/>
                <a:gd name="connsiteY12" fmla="*/ 1461668 h 3574942"/>
                <a:gd name="connsiteX13" fmla="*/ 940903 w 1945746"/>
                <a:gd name="connsiteY13" fmla="*/ 954461 h 3574942"/>
                <a:gd name="connsiteX14" fmla="*/ 1050441 w 1945746"/>
                <a:gd name="connsiteY14" fmla="*/ 840160 h 3574942"/>
                <a:gd name="connsiteX15" fmla="*/ 1224272 w 1945746"/>
                <a:gd name="connsiteY15" fmla="*/ 756817 h 3574942"/>
                <a:gd name="connsiteX16" fmla="*/ 1352859 w 1945746"/>
                <a:gd name="connsiteY16" fmla="*/ 785392 h 3574942"/>
                <a:gd name="connsiteX17" fmla="*/ 1869591 w 1945746"/>
                <a:gd name="connsiteY17" fmla="*/ 313906 h 3574942"/>
                <a:gd name="connsiteX18" fmla="*/ 1943754 w 1945746"/>
                <a:gd name="connsiteY18" fmla="*/ 123405 h 3574942"/>
                <a:gd name="connsiteX19" fmla="*/ 1938647 w 1945746"/>
                <a:gd name="connsiteY19" fmla="*/ 437731 h 3574942"/>
                <a:gd name="connsiteX20" fmla="*/ 1041260 w 1945746"/>
                <a:gd name="connsiteY20" fmla="*/ 3574942 h 3574942"/>
                <a:gd name="connsiteX21" fmla="*/ 9525 w 1945746"/>
                <a:gd name="connsiteY21" fmla="*/ 3574942 h 3574942"/>
                <a:gd name="connsiteX22" fmla="*/ 0 w 1945746"/>
                <a:gd name="connsiteY22" fmla="*/ 109117 h 3574942"/>
                <a:gd name="connsiteX0" fmla="*/ 0 w 1945746"/>
                <a:gd name="connsiteY0" fmla="*/ 109117 h 3574942"/>
                <a:gd name="connsiteX1" fmla="*/ 47934 w 1945746"/>
                <a:gd name="connsiteY1" fmla="*/ 59110 h 3574942"/>
                <a:gd name="connsiteX2" fmla="*/ 93178 w 1945746"/>
                <a:gd name="connsiteY2" fmla="*/ 25773 h 3574942"/>
                <a:gd name="connsiteX3" fmla="*/ 131278 w 1945746"/>
                <a:gd name="connsiteY3" fmla="*/ 4342 h 3574942"/>
                <a:gd name="connsiteX4" fmla="*/ 214622 w 1945746"/>
                <a:gd name="connsiteY4" fmla="*/ 85306 h 3574942"/>
                <a:gd name="connsiteX5" fmla="*/ 178903 w 1945746"/>
                <a:gd name="connsiteY5" fmla="*/ 249612 h 3574942"/>
                <a:gd name="connsiteX6" fmla="*/ 443222 w 1945746"/>
                <a:gd name="connsiteY6" fmla="*/ 668712 h 3574942"/>
                <a:gd name="connsiteX7" fmla="*/ 543235 w 1945746"/>
                <a:gd name="connsiteY7" fmla="*/ 687762 h 3574942"/>
                <a:gd name="connsiteX8" fmla="*/ 769453 w 1945746"/>
                <a:gd name="connsiteY8" fmla="*/ 790156 h 3574942"/>
                <a:gd name="connsiteX9" fmla="*/ 490847 w 1945746"/>
                <a:gd name="connsiteY9" fmla="*/ 1178299 h 3574942"/>
                <a:gd name="connsiteX10" fmla="*/ 438460 w 1945746"/>
                <a:gd name="connsiteY10" fmla="*/ 1656931 h 3574942"/>
                <a:gd name="connsiteX11" fmla="*/ 1064728 w 1945746"/>
                <a:gd name="connsiteY11" fmla="*/ 1718843 h 3574942"/>
                <a:gd name="connsiteX12" fmla="*/ 1133785 w 1945746"/>
                <a:gd name="connsiteY12" fmla="*/ 1461668 h 3574942"/>
                <a:gd name="connsiteX13" fmla="*/ 940903 w 1945746"/>
                <a:gd name="connsiteY13" fmla="*/ 954461 h 3574942"/>
                <a:gd name="connsiteX14" fmla="*/ 1050441 w 1945746"/>
                <a:gd name="connsiteY14" fmla="*/ 840160 h 3574942"/>
                <a:gd name="connsiteX15" fmla="*/ 1224272 w 1945746"/>
                <a:gd name="connsiteY15" fmla="*/ 756817 h 3574942"/>
                <a:gd name="connsiteX16" fmla="*/ 1352859 w 1945746"/>
                <a:gd name="connsiteY16" fmla="*/ 785392 h 3574942"/>
                <a:gd name="connsiteX17" fmla="*/ 1869591 w 1945746"/>
                <a:gd name="connsiteY17" fmla="*/ 313906 h 3574942"/>
                <a:gd name="connsiteX18" fmla="*/ 1943754 w 1945746"/>
                <a:gd name="connsiteY18" fmla="*/ 123405 h 3574942"/>
                <a:gd name="connsiteX19" fmla="*/ 1938647 w 1945746"/>
                <a:gd name="connsiteY19" fmla="*/ 437731 h 3574942"/>
                <a:gd name="connsiteX20" fmla="*/ 1041260 w 1945746"/>
                <a:gd name="connsiteY20" fmla="*/ 3574942 h 3574942"/>
                <a:gd name="connsiteX21" fmla="*/ 9525 w 1945746"/>
                <a:gd name="connsiteY21" fmla="*/ 3574942 h 3574942"/>
                <a:gd name="connsiteX22" fmla="*/ 0 w 1945746"/>
                <a:gd name="connsiteY22" fmla="*/ 109117 h 3574942"/>
                <a:gd name="connsiteX0" fmla="*/ 0 w 1945746"/>
                <a:gd name="connsiteY0" fmla="*/ 109117 h 3574942"/>
                <a:gd name="connsiteX1" fmla="*/ 47934 w 1945746"/>
                <a:gd name="connsiteY1" fmla="*/ 59110 h 3574942"/>
                <a:gd name="connsiteX2" fmla="*/ 93178 w 1945746"/>
                <a:gd name="connsiteY2" fmla="*/ 25773 h 3574942"/>
                <a:gd name="connsiteX3" fmla="*/ 131278 w 1945746"/>
                <a:gd name="connsiteY3" fmla="*/ 4342 h 3574942"/>
                <a:gd name="connsiteX4" fmla="*/ 214622 w 1945746"/>
                <a:gd name="connsiteY4" fmla="*/ 85306 h 3574942"/>
                <a:gd name="connsiteX5" fmla="*/ 178903 w 1945746"/>
                <a:gd name="connsiteY5" fmla="*/ 249612 h 3574942"/>
                <a:gd name="connsiteX6" fmla="*/ 443222 w 1945746"/>
                <a:gd name="connsiteY6" fmla="*/ 668712 h 3574942"/>
                <a:gd name="connsiteX7" fmla="*/ 543235 w 1945746"/>
                <a:gd name="connsiteY7" fmla="*/ 687762 h 3574942"/>
                <a:gd name="connsiteX8" fmla="*/ 769453 w 1945746"/>
                <a:gd name="connsiteY8" fmla="*/ 790156 h 3574942"/>
                <a:gd name="connsiteX9" fmla="*/ 490847 w 1945746"/>
                <a:gd name="connsiteY9" fmla="*/ 1178299 h 3574942"/>
                <a:gd name="connsiteX10" fmla="*/ 438460 w 1945746"/>
                <a:gd name="connsiteY10" fmla="*/ 1656931 h 3574942"/>
                <a:gd name="connsiteX11" fmla="*/ 1064728 w 1945746"/>
                <a:gd name="connsiteY11" fmla="*/ 1718843 h 3574942"/>
                <a:gd name="connsiteX12" fmla="*/ 1133785 w 1945746"/>
                <a:gd name="connsiteY12" fmla="*/ 1461668 h 3574942"/>
                <a:gd name="connsiteX13" fmla="*/ 940903 w 1945746"/>
                <a:gd name="connsiteY13" fmla="*/ 954461 h 3574942"/>
                <a:gd name="connsiteX14" fmla="*/ 1050441 w 1945746"/>
                <a:gd name="connsiteY14" fmla="*/ 840160 h 3574942"/>
                <a:gd name="connsiteX15" fmla="*/ 1224272 w 1945746"/>
                <a:gd name="connsiteY15" fmla="*/ 756817 h 3574942"/>
                <a:gd name="connsiteX16" fmla="*/ 1352859 w 1945746"/>
                <a:gd name="connsiteY16" fmla="*/ 785392 h 3574942"/>
                <a:gd name="connsiteX17" fmla="*/ 1869591 w 1945746"/>
                <a:gd name="connsiteY17" fmla="*/ 313906 h 3574942"/>
                <a:gd name="connsiteX18" fmla="*/ 1943754 w 1945746"/>
                <a:gd name="connsiteY18" fmla="*/ 123405 h 3574942"/>
                <a:gd name="connsiteX19" fmla="*/ 1938647 w 1945746"/>
                <a:gd name="connsiteY19" fmla="*/ 437731 h 3574942"/>
                <a:gd name="connsiteX20" fmla="*/ 1041260 w 1945746"/>
                <a:gd name="connsiteY20" fmla="*/ 3574942 h 3574942"/>
                <a:gd name="connsiteX21" fmla="*/ 9525 w 1945746"/>
                <a:gd name="connsiteY21" fmla="*/ 3574942 h 3574942"/>
                <a:gd name="connsiteX22" fmla="*/ 0 w 1945746"/>
                <a:gd name="connsiteY22" fmla="*/ 109117 h 3574942"/>
                <a:gd name="connsiteX0" fmla="*/ 19132 w 1936303"/>
                <a:gd name="connsiteY0" fmla="*/ 171030 h 3574942"/>
                <a:gd name="connsiteX1" fmla="*/ 38491 w 1936303"/>
                <a:gd name="connsiteY1" fmla="*/ 59110 h 3574942"/>
                <a:gd name="connsiteX2" fmla="*/ 83735 w 1936303"/>
                <a:gd name="connsiteY2" fmla="*/ 25773 h 3574942"/>
                <a:gd name="connsiteX3" fmla="*/ 121835 w 1936303"/>
                <a:gd name="connsiteY3" fmla="*/ 4342 h 3574942"/>
                <a:gd name="connsiteX4" fmla="*/ 205179 w 1936303"/>
                <a:gd name="connsiteY4" fmla="*/ 85306 h 3574942"/>
                <a:gd name="connsiteX5" fmla="*/ 169460 w 1936303"/>
                <a:gd name="connsiteY5" fmla="*/ 249612 h 3574942"/>
                <a:gd name="connsiteX6" fmla="*/ 433779 w 1936303"/>
                <a:gd name="connsiteY6" fmla="*/ 668712 h 3574942"/>
                <a:gd name="connsiteX7" fmla="*/ 533792 w 1936303"/>
                <a:gd name="connsiteY7" fmla="*/ 687762 h 3574942"/>
                <a:gd name="connsiteX8" fmla="*/ 760010 w 1936303"/>
                <a:gd name="connsiteY8" fmla="*/ 790156 h 3574942"/>
                <a:gd name="connsiteX9" fmla="*/ 481404 w 1936303"/>
                <a:gd name="connsiteY9" fmla="*/ 1178299 h 3574942"/>
                <a:gd name="connsiteX10" fmla="*/ 429017 w 1936303"/>
                <a:gd name="connsiteY10" fmla="*/ 1656931 h 3574942"/>
                <a:gd name="connsiteX11" fmla="*/ 1055285 w 1936303"/>
                <a:gd name="connsiteY11" fmla="*/ 1718843 h 3574942"/>
                <a:gd name="connsiteX12" fmla="*/ 1124342 w 1936303"/>
                <a:gd name="connsiteY12" fmla="*/ 1461668 h 3574942"/>
                <a:gd name="connsiteX13" fmla="*/ 931460 w 1936303"/>
                <a:gd name="connsiteY13" fmla="*/ 954461 h 3574942"/>
                <a:gd name="connsiteX14" fmla="*/ 1040998 w 1936303"/>
                <a:gd name="connsiteY14" fmla="*/ 840160 h 3574942"/>
                <a:gd name="connsiteX15" fmla="*/ 1214829 w 1936303"/>
                <a:gd name="connsiteY15" fmla="*/ 756817 h 3574942"/>
                <a:gd name="connsiteX16" fmla="*/ 1343416 w 1936303"/>
                <a:gd name="connsiteY16" fmla="*/ 785392 h 3574942"/>
                <a:gd name="connsiteX17" fmla="*/ 1860148 w 1936303"/>
                <a:gd name="connsiteY17" fmla="*/ 313906 h 3574942"/>
                <a:gd name="connsiteX18" fmla="*/ 1934311 w 1936303"/>
                <a:gd name="connsiteY18" fmla="*/ 123405 h 3574942"/>
                <a:gd name="connsiteX19" fmla="*/ 1929204 w 1936303"/>
                <a:gd name="connsiteY19" fmla="*/ 437731 h 3574942"/>
                <a:gd name="connsiteX20" fmla="*/ 1031817 w 1936303"/>
                <a:gd name="connsiteY20" fmla="*/ 3574942 h 3574942"/>
                <a:gd name="connsiteX21" fmla="*/ 82 w 1936303"/>
                <a:gd name="connsiteY21" fmla="*/ 3574942 h 3574942"/>
                <a:gd name="connsiteX22" fmla="*/ 19132 w 1936303"/>
                <a:gd name="connsiteY22" fmla="*/ 171030 h 3574942"/>
                <a:gd name="connsiteX0" fmla="*/ 19132 w 1936303"/>
                <a:gd name="connsiteY0" fmla="*/ 171030 h 3574942"/>
                <a:gd name="connsiteX1" fmla="*/ 38491 w 1936303"/>
                <a:gd name="connsiteY1" fmla="*/ 59110 h 3574942"/>
                <a:gd name="connsiteX2" fmla="*/ 83735 w 1936303"/>
                <a:gd name="connsiteY2" fmla="*/ 25773 h 3574942"/>
                <a:gd name="connsiteX3" fmla="*/ 121835 w 1936303"/>
                <a:gd name="connsiteY3" fmla="*/ 4342 h 3574942"/>
                <a:gd name="connsiteX4" fmla="*/ 205179 w 1936303"/>
                <a:gd name="connsiteY4" fmla="*/ 85306 h 3574942"/>
                <a:gd name="connsiteX5" fmla="*/ 169460 w 1936303"/>
                <a:gd name="connsiteY5" fmla="*/ 249612 h 3574942"/>
                <a:gd name="connsiteX6" fmla="*/ 433779 w 1936303"/>
                <a:gd name="connsiteY6" fmla="*/ 668712 h 3574942"/>
                <a:gd name="connsiteX7" fmla="*/ 533792 w 1936303"/>
                <a:gd name="connsiteY7" fmla="*/ 687762 h 3574942"/>
                <a:gd name="connsiteX8" fmla="*/ 760010 w 1936303"/>
                <a:gd name="connsiteY8" fmla="*/ 790156 h 3574942"/>
                <a:gd name="connsiteX9" fmla="*/ 481404 w 1936303"/>
                <a:gd name="connsiteY9" fmla="*/ 1178299 h 3574942"/>
                <a:gd name="connsiteX10" fmla="*/ 429017 w 1936303"/>
                <a:gd name="connsiteY10" fmla="*/ 1656931 h 3574942"/>
                <a:gd name="connsiteX11" fmla="*/ 1055285 w 1936303"/>
                <a:gd name="connsiteY11" fmla="*/ 1718843 h 3574942"/>
                <a:gd name="connsiteX12" fmla="*/ 1124342 w 1936303"/>
                <a:gd name="connsiteY12" fmla="*/ 1461668 h 3574942"/>
                <a:gd name="connsiteX13" fmla="*/ 931460 w 1936303"/>
                <a:gd name="connsiteY13" fmla="*/ 954461 h 3574942"/>
                <a:gd name="connsiteX14" fmla="*/ 1040998 w 1936303"/>
                <a:gd name="connsiteY14" fmla="*/ 840160 h 3574942"/>
                <a:gd name="connsiteX15" fmla="*/ 1214829 w 1936303"/>
                <a:gd name="connsiteY15" fmla="*/ 756817 h 3574942"/>
                <a:gd name="connsiteX16" fmla="*/ 1343416 w 1936303"/>
                <a:gd name="connsiteY16" fmla="*/ 785392 h 3574942"/>
                <a:gd name="connsiteX17" fmla="*/ 1860148 w 1936303"/>
                <a:gd name="connsiteY17" fmla="*/ 313906 h 3574942"/>
                <a:gd name="connsiteX18" fmla="*/ 1934311 w 1936303"/>
                <a:gd name="connsiteY18" fmla="*/ 123405 h 3574942"/>
                <a:gd name="connsiteX19" fmla="*/ 1929204 w 1936303"/>
                <a:gd name="connsiteY19" fmla="*/ 437731 h 3574942"/>
                <a:gd name="connsiteX20" fmla="*/ 1031817 w 1936303"/>
                <a:gd name="connsiteY20" fmla="*/ 3574942 h 3574942"/>
                <a:gd name="connsiteX21" fmla="*/ 82 w 1936303"/>
                <a:gd name="connsiteY21" fmla="*/ 3574942 h 3574942"/>
                <a:gd name="connsiteX22" fmla="*/ 19132 w 1936303"/>
                <a:gd name="connsiteY22" fmla="*/ 171030 h 3574942"/>
                <a:gd name="connsiteX0" fmla="*/ 19132 w 1936303"/>
                <a:gd name="connsiteY0" fmla="*/ 171030 h 3574942"/>
                <a:gd name="connsiteX1" fmla="*/ 38491 w 1936303"/>
                <a:gd name="connsiteY1" fmla="*/ 59110 h 3574942"/>
                <a:gd name="connsiteX2" fmla="*/ 83735 w 1936303"/>
                <a:gd name="connsiteY2" fmla="*/ 25773 h 3574942"/>
                <a:gd name="connsiteX3" fmla="*/ 121835 w 1936303"/>
                <a:gd name="connsiteY3" fmla="*/ 4342 h 3574942"/>
                <a:gd name="connsiteX4" fmla="*/ 205179 w 1936303"/>
                <a:gd name="connsiteY4" fmla="*/ 85306 h 3574942"/>
                <a:gd name="connsiteX5" fmla="*/ 169460 w 1936303"/>
                <a:gd name="connsiteY5" fmla="*/ 249612 h 3574942"/>
                <a:gd name="connsiteX6" fmla="*/ 433779 w 1936303"/>
                <a:gd name="connsiteY6" fmla="*/ 668712 h 3574942"/>
                <a:gd name="connsiteX7" fmla="*/ 533792 w 1936303"/>
                <a:gd name="connsiteY7" fmla="*/ 687762 h 3574942"/>
                <a:gd name="connsiteX8" fmla="*/ 760010 w 1936303"/>
                <a:gd name="connsiteY8" fmla="*/ 790156 h 3574942"/>
                <a:gd name="connsiteX9" fmla="*/ 481404 w 1936303"/>
                <a:gd name="connsiteY9" fmla="*/ 1178299 h 3574942"/>
                <a:gd name="connsiteX10" fmla="*/ 429017 w 1936303"/>
                <a:gd name="connsiteY10" fmla="*/ 1656931 h 3574942"/>
                <a:gd name="connsiteX11" fmla="*/ 1055285 w 1936303"/>
                <a:gd name="connsiteY11" fmla="*/ 1718843 h 3574942"/>
                <a:gd name="connsiteX12" fmla="*/ 1124342 w 1936303"/>
                <a:gd name="connsiteY12" fmla="*/ 1461668 h 3574942"/>
                <a:gd name="connsiteX13" fmla="*/ 931460 w 1936303"/>
                <a:gd name="connsiteY13" fmla="*/ 954461 h 3574942"/>
                <a:gd name="connsiteX14" fmla="*/ 1040998 w 1936303"/>
                <a:gd name="connsiteY14" fmla="*/ 840160 h 3574942"/>
                <a:gd name="connsiteX15" fmla="*/ 1214829 w 1936303"/>
                <a:gd name="connsiteY15" fmla="*/ 756817 h 3574942"/>
                <a:gd name="connsiteX16" fmla="*/ 1343416 w 1936303"/>
                <a:gd name="connsiteY16" fmla="*/ 785392 h 3574942"/>
                <a:gd name="connsiteX17" fmla="*/ 1860148 w 1936303"/>
                <a:gd name="connsiteY17" fmla="*/ 313906 h 3574942"/>
                <a:gd name="connsiteX18" fmla="*/ 1934311 w 1936303"/>
                <a:gd name="connsiteY18" fmla="*/ 123405 h 3574942"/>
                <a:gd name="connsiteX19" fmla="*/ 1929204 w 1936303"/>
                <a:gd name="connsiteY19" fmla="*/ 437731 h 3574942"/>
                <a:gd name="connsiteX20" fmla="*/ 1031817 w 1936303"/>
                <a:gd name="connsiteY20" fmla="*/ 3574942 h 3574942"/>
                <a:gd name="connsiteX21" fmla="*/ 82 w 1936303"/>
                <a:gd name="connsiteY21" fmla="*/ 3574942 h 3574942"/>
                <a:gd name="connsiteX22" fmla="*/ 19132 w 1936303"/>
                <a:gd name="connsiteY22" fmla="*/ 171030 h 3574942"/>
                <a:gd name="connsiteX0" fmla="*/ 19132 w 1936303"/>
                <a:gd name="connsiteY0" fmla="*/ 171030 h 3574942"/>
                <a:gd name="connsiteX1" fmla="*/ 38491 w 1936303"/>
                <a:gd name="connsiteY1" fmla="*/ 59110 h 3574942"/>
                <a:gd name="connsiteX2" fmla="*/ 83735 w 1936303"/>
                <a:gd name="connsiteY2" fmla="*/ 25773 h 3574942"/>
                <a:gd name="connsiteX3" fmla="*/ 121835 w 1936303"/>
                <a:gd name="connsiteY3" fmla="*/ 4342 h 3574942"/>
                <a:gd name="connsiteX4" fmla="*/ 205179 w 1936303"/>
                <a:gd name="connsiteY4" fmla="*/ 85306 h 3574942"/>
                <a:gd name="connsiteX5" fmla="*/ 169460 w 1936303"/>
                <a:gd name="connsiteY5" fmla="*/ 249612 h 3574942"/>
                <a:gd name="connsiteX6" fmla="*/ 433779 w 1936303"/>
                <a:gd name="connsiteY6" fmla="*/ 668712 h 3574942"/>
                <a:gd name="connsiteX7" fmla="*/ 533792 w 1936303"/>
                <a:gd name="connsiteY7" fmla="*/ 687762 h 3574942"/>
                <a:gd name="connsiteX8" fmla="*/ 760010 w 1936303"/>
                <a:gd name="connsiteY8" fmla="*/ 790156 h 3574942"/>
                <a:gd name="connsiteX9" fmla="*/ 481404 w 1936303"/>
                <a:gd name="connsiteY9" fmla="*/ 1178299 h 3574942"/>
                <a:gd name="connsiteX10" fmla="*/ 429017 w 1936303"/>
                <a:gd name="connsiteY10" fmla="*/ 1656931 h 3574942"/>
                <a:gd name="connsiteX11" fmla="*/ 1055285 w 1936303"/>
                <a:gd name="connsiteY11" fmla="*/ 1718843 h 3574942"/>
                <a:gd name="connsiteX12" fmla="*/ 1124342 w 1936303"/>
                <a:gd name="connsiteY12" fmla="*/ 1461668 h 3574942"/>
                <a:gd name="connsiteX13" fmla="*/ 931460 w 1936303"/>
                <a:gd name="connsiteY13" fmla="*/ 954461 h 3574942"/>
                <a:gd name="connsiteX14" fmla="*/ 1040998 w 1936303"/>
                <a:gd name="connsiteY14" fmla="*/ 840160 h 3574942"/>
                <a:gd name="connsiteX15" fmla="*/ 1214829 w 1936303"/>
                <a:gd name="connsiteY15" fmla="*/ 756817 h 3574942"/>
                <a:gd name="connsiteX16" fmla="*/ 1343416 w 1936303"/>
                <a:gd name="connsiteY16" fmla="*/ 785392 h 3574942"/>
                <a:gd name="connsiteX17" fmla="*/ 1860148 w 1936303"/>
                <a:gd name="connsiteY17" fmla="*/ 313906 h 3574942"/>
                <a:gd name="connsiteX18" fmla="*/ 1934311 w 1936303"/>
                <a:gd name="connsiteY18" fmla="*/ 123405 h 3574942"/>
                <a:gd name="connsiteX19" fmla="*/ 1929204 w 1936303"/>
                <a:gd name="connsiteY19" fmla="*/ 437731 h 3574942"/>
                <a:gd name="connsiteX20" fmla="*/ 1031817 w 1936303"/>
                <a:gd name="connsiteY20" fmla="*/ 3574942 h 3574942"/>
                <a:gd name="connsiteX21" fmla="*/ 82 w 1936303"/>
                <a:gd name="connsiteY21" fmla="*/ 3574942 h 3574942"/>
                <a:gd name="connsiteX22" fmla="*/ 19132 w 1936303"/>
                <a:gd name="connsiteY22" fmla="*/ 171030 h 3574942"/>
                <a:gd name="connsiteX0" fmla="*/ 80388 w 1997559"/>
                <a:gd name="connsiteY0" fmla="*/ 171030 h 3574942"/>
                <a:gd name="connsiteX1" fmla="*/ 99747 w 1997559"/>
                <a:gd name="connsiteY1" fmla="*/ 59110 h 3574942"/>
                <a:gd name="connsiteX2" fmla="*/ 144991 w 1997559"/>
                <a:gd name="connsiteY2" fmla="*/ 25773 h 3574942"/>
                <a:gd name="connsiteX3" fmla="*/ 183091 w 1997559"/>
                <a:gd name="connsiteY3" fmla="*/ 4342 h 3574942"/>
                <a:gd name="connsiteX4" fmla="*/ 266435 w 1997559"/>
                <a:gd name="connsiteY4" fmla="*/ 85306 h 3574942"/>
                <a:gd name="connsiteX5" fmla="*/ 230716 w 1997559"/>
                <a:gd name="connsiteY5" fmla="*/ 249612 h 3574942"/>
                <a:gd name="connsiteX6" fmla="*/ 495035 w 1997559"/>
                <a:gd name="connsiteY6" fmla="*/ 668712 h 3574942"/>
                <a:gd name="connsiteX7" fmla="*/ 595048 w 1997559"/>
                <a:gd name="connsiteY7" fmla="*/ 687762 h 3574942"/>
                <a:gd name="connsiteX8" fmla="*/ 821266 w 1997559"/>
                <a:gd name="connsiteY8" fmla="*/ 790156 h 3574942"/>
                <a:gd name="connsiteX9" fmla="*/ 542660 w 1997559"/>
                <a:gd name="connsiteY9" fmla="*/ 1178299 h 3574942"/>
                <a:gd name="connsiteX10" fmla="*/ 490273 w 1997559"/>
                <a:gd name="connsiteY10" fmla="*/ 1656931 h 3574942"/>
                <a:gd name="connsiteX11" fmla="*/ 1116541 w 1997559"/>
                <a:gd name="connsiteY11" fmla="*/ 1718843 h 3574942"/>
                <a:gd name="connsiteX12" fmla="*/ 1185598 w 1997559"/>
                <a:gd name="connsiteY12" fmla="*/ 1461668 h 3574942"/>
                <a:gd name="connsiteX13" fmla="*/ 992716 w 1997559"/>
                <a:gd name="connsiteY13" fmla="*/ 954461 h 3574942"/>
                <a:gd name="connsiteX14" fmla="*/ 1102254 w 1997559"/>
                <a:gd name="connsiteY14" fmla="*/ 840160 h 3574942"/>
                <a:gd name="connsiteX15" fmla="*/ 1276085 w 1997559"/>
                <a:gd name="connsiteY15" fmla="*/ 756817 h 3574942"/>
                <a:gd name="connsiteX16" fmla="*/ 1404672 w 1997559"/>
                <a:gd name="connsiteY16" fmla="*/ 785392 h 3574942"/>
                <a:gd name="connsiteX17" fmla="*/ 1921404 w 1997559"/>
                <a:gd name="connsiteY17" fmla="*/ 313906 h 3574942"/>
                <a:gd name="connsiteX18" fmla="*/ 1995567 w 1997559"/>
                <a:gd name="connsiteY18" fmla="*/ 123405 h 3574942"/>
                <a:gd name="connsiteX19" fmla="*/ 1990460 w 1997559"/>
                <a:gd name="connsiteY19" fmla="*/ 437731 h 3574942"/>
                <a:gd name="connsiteX20" fmla="*/ 1093073 w 1997559"/>
                <a:gd name="connsiteY20" fmla="*/ 3574942 h 3574942"/>
                <a:gd name="connsiteX21" fmla="*/ 61338 w 1997559"/>
                <a:gd name="connsiteY21" fmla="*/ 3574942 h 3574942"/>
                <a:gd name="connsiteX22" fmla="*/ 128322 w 1997559"/>
                <a:gd name="connsiteY22" fmla="*/ 292473 h 3574942"/>
                <a:gd name="connsiteX23" fmla="*/ 80388 w 1997559"/>
                <a:gd name="connsiteY23" fmla="*/ 171030 h 3574942"/>
                <a:gd name="connsiteX0" fmla="*/ 80388 w 1997559"/>
                <a:gd name="connsiteY0" fmla="*/ 171030 h 3574942"/>
                <a:gd name="connsiteX1" fmla="*/ 99747 w 1997559"/>
                <a:gd name="connsiteY1" fmla="*/ 59110 h 3574942"/>
                <a:gd name="connsiteX2" fmla="*/ 144991 w 1997559"/>
                <a:gd name="connsiteY2" fmla="*/ 25773 h 3574942"/>
                <a:gd name="connsiteX3" fmla="*/ 183091 w 1997559"/>
                <a:gd name="connsiteY3" fmla="*/ 4342 h 3574942"/>
                <a:gd name="connsiteX4" fmla="*/ 266435 w 1997559"/>
                <a:gd name="connsiteY4" fmla="*/ 85306 h 3574942"/>
                <a:gd name="connsiteX5" fmla="*/ 230716 w 1997559"/>
                <a:gd name="connsiteY5" fmla="*/ 249612 h 3574942"/>
                <a:gd name="connsiteX6" fmla="*/ 495035 w 1997559"/>
                <a:gd name="connsiteY6" fmla="*/ 668712 h 3574942"/>
                <a:gd name="connsiteX7" fmla="*/ 595048 w 1997559"/>
                <a:gd name="connsiteY7" fmla="*/ 687762 h 3574942"/>
                <a:gd name="connsiteX8" fmla="*/ 821266 w 1997559"/>
                <a:gd name="connsiteY8" fmla="*/ 790156 h 3574942"/>
                <a:gd name="connsiteX9" fmla="*/ 542660 w 1997559"/>
                <a:gd name="connsiteY9" fmla="*/ 1178299 h 3574942"/>
                <a:gd name="connsiteX10" fmla="*/ 490273 w 1997559"/>
                <a:gd name="connsiteY10" fmla="*/ 1656931 h 3574942"/>
                <a:gd name="connsiteX11" fmla="*/ 1116541 w 1997559"/>
                <a:gd name="connsiteY11" fmla="*/ 1718843 h 3574942"/>
                <a:gd name="connsiteX12" fmla="*/ 1185598 w 1997559"/>
                <a:gd name="connsiteY12" fmla="*/ 1461668 h 3574942"/>
                <a:gd name="connsiteX13" fmla="*/ 992716 w 1997559"/>
                <a:gd name="connsiteY13" fmla="*/ 954461 h 3574942"/>
                <a:gd name="connsiteX14" fmla="*/ 1102254 w 1997559"/>
                <a:gd name="connsiteY14" fmla="*/ 840160 h 3574942"/>
                <a:gd name="connsiteX15" fmla="*/ 1276085 w 1997559"/>
                <a:gd name="connsiteY15" fmla="*/ 756817 h 3574942"/>
                <a:gd name="connsiteX16" fmla="*/ 1404672 w 1997559"/>
                <a:gd name="connsiteY16" fmla="*/ 785392 h 3574942"/>
                <a:gd name="connsiteX17" fmla="*/ 1921404 w 1997559"/>
                <a:gd name="connsiteY17" fmla="*/ 313906 h 3574942"/>
                <a:gd name="connsiteX18" fmla="*/ 1995567 w 1997559"/>
                <a:gd name="connsiteY18" fmla="*/ 123405 h 3574942"/>
                <a:gd name="connsiteX19" fmla="*/ 1990460 w 1997559"/>
                <a:gd name="connsiteY19" fmla="*/ 437731 h 3574942"/>
                <a:gd name="connsiteX20" fmla="*/ 1093073 w 1997559"/>
                <a:gd name="connsiteY20" fmla="*/ 3574942 h 3574942"/>
                <a:gd name="connsiteX21" fmla="*/ 61338 w 1997559"/>
                <a:gd name="connsiteY21" fmla="*/ 3574942 h 3574942"/>
                <a:gd name="connsiteX22" fmla="*/ 128322 w 1997559"/>
                <a:gd name="connsiteY22" fmla="*/ 292473 h 3574942"/>
                <a:gd name="connsiteX23" fmla="*/ 80388 w 1997559"/>
                <a:gd name="connsiteY23" fmla="*/ 171030 h 3574942"/>
                <a:gd name="connsiteX0" fmla="*/ 89010 w 2006181"/>
                <a:gd name="connsiteY0" fmla="*/ 171030 h 3574942"/>
                <a:gd name="connsiteX1" fmla="*/ 108369 w 2006181"/>
                <a:gd name="connsiteY1" fmla="*/ 59110 h 3574942"/>
                <a:gd name="connsiteX2" fmla="*/ 153613 w 2006181"/>
                <a:gd name="connsiteY2" fmla="*/ 25773 h 3574942"/>
                <a:gd name="connsiteX3" fmla="*/ 191713 w 2006181"/>
                <a:gd name="connsiteY3" fmla="*/ 4342 h 3574942"/>
                <a:gd name="connsiteX4" fmla="*/ 275057 w 2006181"/>
                <a:gd name="connsiteY4" fmla="*/ 85306 h 3574942"/>
                <a:gd name="connsiteX5" fmla="*/ 239338 w 2006181"/>
                <a:gd name="connsiteY5" fmla="*/ 249612 h 3574942"/>
                <a:gd name="connsiteX6" fmla="*/ 503657 w 2006181"/>
                <a:gd name="connsiteY6" fmla="*/ 668712 h 3574942"/>
                <a:gd name="connsiteX7" fmla="*/ 603670 w 2006181"/>
                <a:gd name="connsiteY7" fmla="*/ 687762 h 3574942"/>
                <a:gd name="connsiteX8" fmla="*/ 829888 w 2006181"/>
                <a:gd name="connsiteY8" fmla="*/ 790156 h 3574942"/>
                <a:gd name="connsiteX9" fmla="*/ 551282 w 2006181"/>
                <a:gd name="connsiteY9" fmla="*/ 1178299 h 3574942"/>
                <a:gd name="connsiteX10" fmla="*/ 498895 w 2006181"/>
                <a:gd name="connsiteY10" fmla="*/ 1656931 h 3574942"/>
                <a:gd name="connsiteX11" fmla="*/ 1125163 w 2006181"/>
                <a:gd name="connsiteY11" fmla="*/ 1718843 h 3574942"/>
                <a:gd name="connsiteX12" fmla="*/ 1194220 w 2006181"/>
                <a:gd name="connsiteY12" fmla="*/ 1461668 h 3574942"/>
                <a:gd name="connsiteX13" fmla="*/ 1001338 w 2006181"/>
                <a:gd name="connsiteY13" fmla="*/ 954461 h 3574942"/>
                <a:gd name="connsiteX14" fmla="*/ 1110876 w 2006181"/>
                <a:gd name="connsiteY14" fmla="*/ 840160 h 3574942"/>
                <a:gd name="connsiteX15" fmla="*/ 1284707 w 2006181"/>
                <a:gd name="connsiteY15" fmla="*/ 756817 h 3574942"/>
                <a:gd name="connsiteX16" fmla="*/ 1413294 w 2006181"/>
                <a:gd name="connsiteY16" fmla="*/ 785392 h 3574942"/>
                <a:gd name="connsiteX17" fmla="*/ 1930026 w 2006181"/>
                <a:gd name="connsiteY17" fmla="*/ 313906 h 3574942"/>
                <a:gd name="connsiteX18" fmla="*/ 2004189 w 2006181"/>
                <a:gd name="connsiteY18" fmla="*/ 123405 h 3574942"/>
                <a:gd name="connsiteX19" fmla="*/ 1999082 w 2006181"/>
                <a:gd name="connsiteY19" fmla="*/ 437731 h 3574942"/>
                <a:gd name="connsiteX20" fmla="*/ 1101695 w 2006181"/>
                <a:gd name="connsiteY20" fmla="*/ 3574942 h 3574942"/>
                <a:gd name="connsiteX21" fmla="*/ 69960 w 2006181"/>
                <a:gd name="connsiteY21" fmla="*/ 3574942 h 3574942"/>
                <a:gd name="connsiteX22" fmla="*/ 86937 w 2006181"/>
                <a:gd name="connsiteY22" fmla="*/ 352004 h 3574942"/>
                <a:gd name="connsiteX23" fmla="*/ 136944 w 2006181"/>
                <a:gd name="connsiteY23" fmla="*/ 292473 h 3574942"/>
                <a:gd name="connsiteX24" fmla="*/ 89010 w 2006181"/>
                <a:gd name="connsiteY24" fmla="*/ 171030 h 3574942"/>
                <a:gd name="connsiteX0" fmla="*/ 89010 w 2006181"/>
                <a:gd name="connsiteY0" fmla="*/ 171030 h 3574942"/>
                <a:gd name="connsiteX1" fmla="*/ 108369 w 2006181"/>
                <a:gd name="connsiteY1" fmla="*/ 59110 h 3574942"/>
                <a:gd name="connsiteX2" fmla="*/ 153613 w 2006181"/>
                <a:gd name="connsiteY2" fmla="*/ 25773 h 3574942"/>
                <a:gd name="connsiteX3" fmla="*/ 191713 w 2006181"/>
                <a:gd name="connsiteY3" fmla="*/ 4342 h 3574942"/>
                <a:gd name="connsiteX4" fmla="*/ 275057 w 2006181"/>
                <a:gd name="connsiteY4" fmla="*/ 85306 h 3574942"/>
                <a:gd name="connsiteX5" fmla="*/ 239338 w 2006181"/>
                <a:gd name="connsiteY5" fmla="*/ 249612 h 3574942"/>
                <a:gd name="connsiteX6" fmla="*/ 503657 w 2006181"/>
                <a:gd name="connsiteY6" fmla="*/ 668712 h 3574942"/>
                <a:gd name="connsiteX7" fmla="*/ 603670 w 2006181"/>
                <a:gd name="connsiteY7" fmla="*/ 687762 h 3574942"/>
                <a:gd name="connsiteX8" fmla="*/ 829888 w 2006181"/>
                <a:gd name="connsiteY8" fmla="*/ 790156 h 3574942"/>
                <a:gd name="connsiteX9" fmla="*/ 551282 w 2006181"/>
                <a:gd name="connsiteY9" fmla="*/ 1178299 h 3574942"/>
                <a:gd name="connsiteX10" fmla="*/ 498895 w 2006181"/>
                <a:gd name="connsiteY10" fmla="*/ 1656931 h 3574942"/>
                <a:gd name="connsiteX11" fmla="*/ 1125163 w 2006181"/>
                <a:gd name="connsiteY11" fmla="*/ 1718843 h 3574942"/>
                <a:gd name="connsiteX12" fmla="*/ 1194220 w 2006181"/>
                <a:gd name="connsiteY12" fmla="*/ 1461668 h 3574942"/>
                <a:gd name="connsiteX13" fmla="*/ 1001338 w 2006181"/>
                <a:gd name="connsiteY13" fmla="*/ 954461 h 3574942"/>
                <a:gd name="connsiteX14" fmla="*/ 1110876 w 2006181"/>
                <a:gd name="connsiteY14" fmla="*/ 840160 h 3574942"/>
                <a:gd name="connsiteX15" fmla="*/ 1284707 w 2006181"/>
                <a:gd name="connsiteY15" fmla="*/ 756817 h 3574942"/>
                <a:gd name="connsiteX16" fmla="*/ 1413294 w 2006181"/>
                <a:gd name="connsiteY16" fmla="*/ 785392 h 3574942"/>
                <a:gd name="connsiteX17" fmla="*/ 1930026 w 2006181"/>
                <a:gd name="connsiteY17" fmla="*/ 313906 h 3574942"/>
                <a:gd name="connsiteX18" fmla="*/ 2004189 w 2006181"/>
                <a:gd name="connsiteY18" fmla="*/ 123405 h 3574942"/>
                <a:gd name="connsiteX19" fmla="*/ 1999082 w 2006181"/>
                <a:gd name="connsiteY19" fmla="*/ 437731 h 3574942"/>
                <a:gd name="connsiteX20" fmla="*/ 1101695 w 2006181"/>
                <a:gd name="connsiteY20" fmla="*/ 3574942 h 3574942"/>
                <a:gd name="connsiteX21" fmla="*/ 69960 w 2006181"/>
                <a:gd name="connsiteY21" fmla="*/ 3574942 h 3574942"/>
                <a:gd name="connsiteX22" fmla="*/ 86937 w 2006181"/>
                <a:gd name="connsiteY22" fmla="*/ 352004 h 3574942"/>
                <a:gd name="connsiteX23" fmla="*/ 136944 w 2006181"/>
                <a:gd name="connsiteY23" fmla="*/ 292473 h 3574942"/>
                <a:gd name="connsiteX24" fmla="*/ 89010 w 2006181"/>
                <a:gd name="connsiteY24" fmla="*/ 171030 h 3574942"/>
                <a:gd name="connsiteX0" fmla="*/ 51664 w 1968835"/>
                <a:gd name="connsiteY0" fmla="*/ 171030 h 3574942"/>
                <a:gd name="connsiteX1" fmla="*/ 71023 w 1968835"/>
                <a:gd name="connsiteY1" fmla="*/ 59110 h 3574942"/>
                <a:gd name="connsiteX2" fmla="*/ 116267 w 1968835"/>
                <a:gd name="connsiteY2" fmla="*/ 25773 h 3574942"/>
                <a:gd name="connsiteX3" fmla="*/ 154367 w 1968835"/>
                <a:gd name="connsiteY3" fmla="*/ 4342 h 3574942"/>
                <a:gd name="connsiteX4" fmla="*/ 237711 w 1968835"/>
                <a:gd name="connsiteY4" fmla="*/ 85306 h 3574942"/>
                <a:gd name="connsiteX5" fmla="*/ 201992 w 1968835"/>
                <a:gd name="connsiteY5" fmla="*/ 249612 h 3574942"/>
                <a:gd name="connsiteX6" fmla="*/ 466311 w 1968835"/>
                <a:gd name="connsiteY6" fmla="*/ 668712 h 3574942"/>
                <a:gd name="connsiteX7" fmla="*/ 566324 w 1968835"/>
                <a:gd name="connsiteY7" fmla="*/ 687762 h 3574942"/>
                <a:gd name="connsiteX8" fmla="*/ 792542 w 1968835"/>
                <a:gd name="connsiteY8" fmla="*/ 790156 h 3574942"/>
                <a:gd name="connsiteX9" fmla="*/ 513936 w 1968835"/>
                <a:gd name="connsiteY9" fmla="*/ 1178299 h 3574942"/>
                <a:gd name="connsiteX10" fmla="*/ 461549 w 1968835"/>
                <a:gd name="connsiteY10" fmla="*/ 1656931 h 3574942"/>
                <a:gd name="connsiteX11" fmla="*/ 1087817 w 1968835"/>
                <a:gd name="connsiteY11" fmla="*/ 1718843 h 3574942"/>
                <a:gd name="connsiteX12" fmla="*/ 1156874 w 1968835"/>
                <a:gd name="connsiteY12" fmla="*/ 1461668 h 3574942"/>
                <a:gd name="connsiteX13" fmla="*/ 963992 w 1968835"/>
                <a:gd name="connsiteY13" fmla="*/ 954461 h 3574942"/>
                <a:gd name="connsiteX14" fmla="*/ 1073530 w 1968835"/>
                <a:gd name="connsiteY14" fmla="*/ 840160 h 3574942"/>
                <a:gd name="connsiteX15" fmla="*/ 1247361 w 1968835"/>
                <a:gd name="connsiteY15" fmla="*/ 756817 h 3574942"/>
                <a:gd name="connsiteX16" fmla="*/ 1375948 w 1968835"/>
                <a:gd name="connsiteY16" fmla="*/ 785392 h 3574942"/>
                <a:gd name="connsiteX17" fmla="*/ 1892680 w 1968835"/>
                <a:gd name="connsiteY17" fmla="*/ 313906 h 3574942"/>
                <a:gd name="connsiteX18" fmla="*/ 1966843 w 1968835"/>
                <a:gd name="connsiteY18" fmla="*/ 123405 h 3574942"/>
                <a:gd name="connsiteX19" fmla="*/ 1961736 w 1968835"/>
                <a:gd name="connsiteY19" fmla="*/ 437731 h 3574942"/>
                <a:gd name="connsiteX20" fmla="*/ 1064349 w 1968835"/>
                <a:gd name="connsiteY20" fmla="*/ 3574942 h 3574942"/>
                <a:gd name="connsiteX21" fmla="*/ 32614 w 1968835"/>
                <a:gd name="connsiteY21" fmla="*/ 3574942 h 3574942"/>
                <a:gd name="connsiteX22" fmla="*/ 449641 w 1968835"/>
                <a:gd name="connsiteY22" fmla="*/ 997323 h 3574942"/>
                <a:gd name="connsiteX23" fmla="*/ 49591 w 1968835"/>
                <a:gd name="connsiteY23" fmla="*/ 352004 h 3574942"/>
                <a:gd name="connsiteX24" fmla="*/ 99598 w 1968835"/>
                <a:gd name="connsiteY24" fmla="*/ 292473 h 3574942"/>
                <a:gd name="connsiteX25" fmla="*/ 51664 w 1968835"/>
                <a:gd name="connsiteY25" fmla="*/ 171030 h 3574942"/>
                <a:gd name="connsiteX0" fmla="*/ 51664 w 1968835"/>
                <a:gd name="connsiteY0" fmla="*/ 171030 h 3574942"/>
                <a:gd name="connsiteX1" fmla="*/ 71023 w 1968835"/>
                <a:gd name="connsiteY1" fmla="*/ 59110 h 3574942"/>
                <a:gd name="connsiteX2" fmla="*/ 116267 w 1968835"/>
                <a:gd name="connsiteY2" fmla="*/ 25773 h 3574942"/>
                <a:gd name="connsiteX3" fmla="*/ 154367 w 1968835"/>
                <a:gd name="connsiteY3" fmla="*/ 4342 h 3574942"/>
                <a:gd name="connsiteX4" fmla="*/ 237711 w 1968835"/>
                <a:gd name="connsiteY4" fmla="*/ 85306 h 3574942"/>
                <a:gd name="connsiteX5" fmla="*/ 201992 w 1968835"/>
                <a:gd name="connsiteY5" fmla="*/ 249612 h 3574942"/>
                <a:gd name="connsiteX6" fmla="*/ 466311 w 1968835"/>
                <a:gd name="connsiteY6" fmla="*/ 668712 h 3574942"/>
                <a:gd name="connsiteX7" fmla="*/ 566324 w 1968835"/>
                <a:gd name="connsiteY7" fmla="*/ 687762 h 3574942"/>
                <a:gd name="connsiteX8" fmla="*/ 792542 w 1968835"/>
                <a:gd name="connsiteY8" fmla="*/ 790156 h 3574942"/>
                <a:gd name="connsiteX9" fmla="*/ 513936 w 1968835"/>
                <a:gd name="connsiteY9" fmla="*/ 1178299 h 3574942"/>
                <a:gd name="connsiteX10" fmla="*/ 461549 w 1968835"/>
                <a:gd name="connsiteY10" fmla="*/ 1656931 h 3574942"/>
                <a:gd name="connsiteX11" fmla="*/ 1087817 w 1968835"/>
                <a:gd name="connsiteY11" fmla="*/ 1718843 h 3574942"/>
                <a:gd name="connsiteX12" fmla="*/ 1156874 w 1968835"/>
                <a:gd name="connsiteY12" fmla="*/ 1461668 h 3574942"/>
                <a:gd name="connsiteX13" fmla="*/ 963992 w 1968835"/>
                <a:gd name="connsiteY13" fmla="*/ 954461 h 3574942"/>
                <a:gd name="connsiteX14" fmla="*/ 1073530 w 1968835"/>
                <a:gd name="connsiteY14" fmla="*/ 840160 h 3574942"/>
                <a:gd name="connsiteX15" fmla="*/ 1247361 w 1968835"/>
                <a:gd name="connsiteY15" fmla="*/ 756817 h 3574942"/>
                <a:gd name="connsiteX16" fmla="*/ 1375948 w 1968835"/>
                <a:gd name="connsiteY16" fmla="*/ 785392 h 3574942"/>
                <a:gd name="connsiteX17" fmla="*/ 1892680 w 1968835"/>
                <a:gd name="connsiteY17" fmla="*/ 313906 h 3574942"/>
                <a:gd name="connsiteX18" fmla="*/ 1966843 w 1968835"/>
                <a:gd name="connsiteY18" fmla="*/ 123405 h 3574942"/>
                <a:gd name="connsiteX19" fmla="*/ 1961736 w 1968835"/>
                <a:gd name="connsiteY19" fmla="*/ 437731 h 3574942"/>
                <a:gd name="connsiteX20" fmla="*/ 1064349 w 1968835"/>
                <a:gd name="connsiteY20" fmla="*/ 3574942 h 3574942"/>
                <a:gd name="connsiteX21" fmla="*/ 32614 w 1968835"/>
                <a:gd name="connsiteY21" fmla="*/ 3574942 h 3574942"/>
                <a:gd name="connsiteX22" fmla="*/ 449641 w 1968835"/>
                <a:gd name="connsiteY22" fmla="*/ 997323 h 3574942"/>
                <a:gd name="connsiteX23" fmla="*/ 49591 w 1968835"/>
                <a:gd name="connsiteY23" fmla="*/ 352004 h 3574942"/>
                <a:gd name="connsiteX24" fmla="*/ 99598 w 1968835"/>
                <a:gd name="connsiteY24" fmla="*/ 292473 h 3574942"/>
                <a:gd name="connsiteX25" fmla="*/ 51664 w 1968835"/>
                <a:gd name="connsiteY25" fmla="*/ 171030 h 3574942"/>
                <a:gd name="connsiteX0" fmla="*/ 51664 w 1968835"/>
                <a:gd name="connsiteY0" fmla="*/ 171030 h 3574942"/>
                <a:gd name="connsiteX1" fmla="*/ 71023 w 1968835"/>
                <a:gd name="connsiteY1" fmla="*/ 59110 h 3574942"/>
                <a:gd name="connsiteX2" fmla="*/ 116267 w 1968835"/>
                <a:gd name="connsiteY2" fmla="*/ 25773 h 3574942"/>
                <a:gd name="connsiteX3" fmla="*/ 154367 w 1968835"/>
                <a:gd name="connsiteY3" fmla="*/ 4342 h 3574942"/>
                <a:gd name="connsiteX4" fmla="*/ 237711 w 1968835"/>
                <a:gd name="connsiteY4" fmla="*/ 85306 h 3574942"/>
                <a:gd name="connsiteX5" fmla="*/ 201992 w 1968835"/>
                <a:gd name="connsiteY5" fmla="*/ 249612 h 3574942"/>
                <a:gd name="connsiteX6" fmla="*/ 466311 w 1968835"/>
                <a:gd name="connsiteY6" fmla="*/ 668712 h 3574942"/>
                <a:gd name="connsiteX7" fmla="*/ 566324 w 1968835"/>
                <a:gd name="connsiteY7" fmla="*/ 687762 h 3574942"/>
                <a:gd name="connsiteX8" fmla="*/ 792542 w 1968835"/>
                <a:gd name="connsiteY8" fmla="*/ 790156 h 3574942"/>
                <a:gd name="connsiteX9" fmla="*/ 513936 w 1968835"/>
                <a:gd name="connsiteY9" fmla="*/ 1178299 h 3574942"/>
                <a:gd name="connsiteX10" fmla="*/ 461549 w 1968835"/>
                <a:gd name="connsiteY10" fmla="*/ 1656931 h 3574942"/>
                <a:gd name="connsiteX11" fmla="*/ 1087817 w 1968835"/>
                <a:gd name="connsiteY11" fmla="*/ 1718843 h 3574942"/>
                <a:gd name="connsiteX12" fmla="*/ 1156874 w 1968835"/>
                <a:gd name="connsiteY12" fmla="*/ 1461668 h 3574942"/>
                <a:gd name="connsiteX13" fmla="*/ 963992 w 1968835"/>
                <a:gd name="connsiteY13" fmla="*/ 954461 h 3574942"/>
                <a:gd name="connsiteX14" fmla="*/ 1073530 w 1968835"/>
                <a:gd name="connsiteY14" fmla="*/ 840160 h 3574942"/>
                <a:gd name="connsiteX15" fmla="*/ 1247361 w 1968835"/>
                <a:gd name="connsiteY15" fmla="*/ 756817 h 3574942"/>
                <a:gd name="connsiteX16" fmla="*/ 1375948 w 1968835"/>
                <a:gd name="connsiteY16" fmla="*/ 785392 h 3574942"/>
                <a:gd name="connsiteX17" fmla="*/ 1892680 w 1968835"/>
                <a:gd name="connsiteY17" fmla="*/ 313906 h 3574942"/>
                <a:gd name="connsiteX18" fmla="*/ 1966843 w 1968835"/>
                <a:gd name="connsiteY18" fmla="*/ 123405 h 3574942"/>
                <a:gd name="connsiteX19" fmla="*/ 1961736 w 1968835"/>
                <a:gd name="connsiteY19" fmla="*/ 437731 h 3574942"/>
                <a:gd name="connsiteX20" fmla="*/ 1064349 w 1968835"/>
                <a:gd name="connsiteY20" fmla="*/ 3574942 h 3574942"/>
                <a:gd name="connsiteX21" fmla="*/ 32614 w 1968835"/>
                <a:gd name="connsiteY21" fmla="*/ 3574942 h 3574942"/>
                <a:gd name="connsiteX22" fmla="*/ 449641 w 1968835"/>
                <a:gd name="connsiteY22" fmla="*/ 997323 h 3574942"/>
                <a:gd name="connsiteX23" fmla="*/ 168654 w 1968835"/>
                <a:gd name="connsiteY23" fmla="*/ 652041 h 3574942"/>
                <a:gd name="connsiteX24" fmla="*/ 49591 w 1968835"/>
                <a:gd name="connsiteY24" fmla="*/ 352004 h 3574942"/>
                <a:gd name="connsiteX25" fmla="*/ 99598 w 1968835"/>
                <a:gd name="connsiteY25" fmla="*/ 292473 h 3574942"/>
                <a:gd name="connsiteX26" fmla="*/ 51664 w 1968835"/>
                <a:gd name="connsiteY26" fmla="*/ 171030 h 3574942"/>
                <a:gd name="connsiteX0" fmla="*/ 51664 w 1968835"/>
                <a:gd name="connsiteY0" fmla="*/ 171030 h 3574942"/>
                <a:gd name="connsiteX1" fmla="*/ 71023 w 1968835"/>
                <a:gd name="connsiteY1" fmla="*/ 59110 h 3574942"/>
                <a:gd name="connsiteX2" fmla="*/ 116267 w 1968835"/>
                <a:gd name="connsiteY2" fmla="*/ 25773 h 3574942"/>
                <a:gd name="connsiteX3" fmla="*/ 154367 w 1968835"/>
                <a:gd name="connsiteY3" fmla="*/ 4342 h 3574942"/>
                <a:gd name="connsiteX4" fmla="*/ 237711 w 1968835"/>
                <a:gd name="connsiteY4" fmla="*/ 85306 h 3574942"/>
                <a:gd name="connsiteX5" fmla="*/ 201992 w 1968835"/>
                <a:gd name="connsiteY5" fmla="*/ 249612 h 3574942"/>
                <a:gd name="connsiteX6" fmla="*/ 466311 w 1968835"/>
                <a:gd name="connsiteY6" fmla="*/ 668712 h 3574942"/>
                <a:gd name="connsiteX7" fmla="*/ 566324 w 1968835"/>
                <a:gd name="connsiteY7" fmla="*/ 687762 h 3574942"/>
                <a:gd name="connsiteX8" fmla="*/ 792542 w 1968835"/>
                <a:gd name="connsiteY8" fmla="*/ 790156 h 3574942"/>
                <a:gd name="connsiteX9" fmla="*/ 513936 w 1968835"/>
                <a:gd name="connsiteY9" fmla="*/ 1178299 h 3574942"/>
                <a:gd name="connsiteX10" fmla="*/ 461549 w 1968835"/>
                <a:gd name="connsiteY10" fmla="*/ 1656931 h 3574942"/>
                <a:gd name="connsiteX11" fmla="*/ 1087817 w 1968835"/>
                <a:gd name="connsiteY11" fmla="*/ 1718843 h 3574942"/>
                <a:gd name="connsiteX12" fmla="*/ 1156874 w 1968835"/>
                <a:gd name="connsiteY12" fmla="*/ 1461668 h 3574942"/>
                <a:gd name="connsiteX13" fmla="*/ 963992 w 1968835"/>
                <a:gd name="connsiteY13" fmla="*/ 954461 h 3574942"/>
                <a:gd name="connsiteX14" fmla="*/ 1073530 w 1968835"/>
                <a:gd name="connsiteY14" fmla="*/ 840160 h 3574942"/>
                <a:gd name="connsiteX15" fmla="*/ 1247361 w 1968835"/>
                <a:gd name="connsiteY15" fmla="*/ 756817 h 3574942"/>
                <a:gd name="connsiteX16" fmla="*/ 1375948 w 1968835"/>
                <a:gd name="connsiteY16" fmla="*/ 785392 h 3574942"/>
                <a:gd name="connsiteX17" fmla="*/ 1892680 w 1968835"/>
                <a:gd name="connsiteY17" fmla="*/ 313906 h 3574942"/>
                <a:gd name="connsiteX18" fmla="*/ 1966843 w 1968835"/>
                <a:gd name="connsiteY18" fmla="*/ 123405 h 3574942"/>
                <a:gd name="connsiteX19" fmla="*/ 1961736 w 1968835"/>
                <a:gd name="connsiteY19" fmla="*/ 437731 h 3574942"/>
                <a:gd name="connsiteX20" fmla="*/ 1064349 w 1968835"/>
                <a:gd name="connsiteY20" fmla="*/ 3574942 h 3574942"/>
                <a:gd name="connsiteX21" fmla="*/ 32614 w 1968835"/>
                <a:gd name="connsiteY21" fmla="*/ 3574942 h 3574942"/>
                <a:gd name="connsiteX22" fmla="*/ 449641 w 1968835"/>
                <a:gd name="connsiteY22" fmla="*/ 997323 h 3574942"/>
                <a:gd name="connsiteX23" fmla="*/ 168654 w 1968835"/>
                <a:gd name="connsiteY23" fmla="*/ 652041 h 3574942"/>
                <a:gd name="connsiteX24" fmla="*/ 49591 w 1968835"/>
                <a:gd name="connsiteY24" fmla="*/ 352004 h 3574942"/>
                <a:gd name="connsiteX25" fmla="*/ 99598 w 1968835"/>
                <a:gd name="connsiteY25" fmla="*/ 292473 h 3574942"/>
                <a:gd name="connsiteX26" fmla="*/ 51664 w 1968835"/>
                <a:gd name="connsiteY26" fmla="*/ 171030 h 3574942"/>
                <a:gd name="connsiteX0" fmla="*/ 51664 w 1968835"/>
                <a:gd name="connsiteY0" fmla="*/ 171030 h 3574942"/>
                <a:gd name="connsiteX1" fmla="*/ 71023 w 1968835"/>
                <a:gd name="connsiteY1" fmla="*/ 59110 h 3574942"/>
                <a:gd name="connsiteX2" fmla="*/ 116267 w 1968835"/>
                <a:gd name="connsiteY2" fmla="*/ 25773 h 3574942"/>
                <a:gd name="connsiteX3" fmla="*/ 154367 w 1968835"/>
                <a:gd name="connsiteY3" fmla="*/ 4342 h 3574942"/>
                <a:gd name="connsiteX4" fmla="*/ 237711 w 1968835"/>
                <a:gd name="connsiteY4" fmla="*/ 85306 h 3574942"/>
                <a:gd name="connsiteX5" fmla="*/ 201992 w 1968835"/>
                <a:gd name="connsiteY5" fmla="*/ 249612 h 3574942"/>
                <a:gd name="connsiteX6" fmla="*/ 466311 w 1968835"/>
                <a:gd name="connsiteY6" fmla="*/ 668712 h 3574942"/>
                <a:gd name="connsiteX7" fmla="*/ 566324 w 1968835"/>
                <a:gd name="connsiteY7" fmla="*/ 687762 h 3574942"/>
                <a:gd name="connsiteX8" fmla="*/ 792542 w 1968835"/>
                <a:gd name="connsiteY8" fmla="*/ 790156 h 3574942"/>
                <a:gd name="connsiteX9" fmla="*/ 513936 w 1968835"/>
                <a:gd name="connsiteY9" fmla="*/ 1178299 h 3574942"/>
                <a:gd name="connsiteX10" fmla="*/ 461549 w 1968835"/>
                <a:gd name="connsiteY10" fmla="*/ 1656931 h 3574942"/>
                <a:gd name="connsiteX11" fmla="*/ 1087817 w 1968835"/>
                <a:gd name="connsiteY11" fmla="*/ 1718843 h 3574942"/>
                <a:gd name="connsiteX12" fmla="*/ 1156874 w 1968835"/>
                <a:gd name="connsiteY12" fmla="*/ 1461668 h 3574942"/>
                <a:gd name="connsiteX13" fmla="*/ 963992 w 1968835"/>
                <a:gd name="connsiteY13" fmla="*/ 954461 h 3574942"/>
                <a:gd name="connsiteX14" fmla="*/ 1073530 w 1968835"/>
                <a:gd name="connsiteY14" fmla="*/ 840160 h 3574942"/>
                <a:gd name="connsiteX15" fmla="*/ 1247361 w 1968835"/>
                <a:gd name="connsiteY15" fmla="*/ 756817 h 3574942"/>
                <a:gd name="connsiteX16" fmla="*/ 1375948 w 1968835"/>
                <a:gd name="connsiteY16" fmla="*/ 785392 h 3574942"/>
                <a:gd name="connsiteX17" fmla="*/ 1892680 w 1968835"/>
                <a:gd name="connsiteY17" fmla="*/ 313906 h 3574942"/>
                <a:gd name="connsiteX18" fmla="*/ 1966843 w 1968835"/>
                <a:gd name="connsiteY18" fmla="*/ 123405 h 3574942"/>
                <a:gd name="connsiteX19" fmla="*/ 1961736 w 1968835"/>
                <a:gd name="connsiteY19" fmla="*/ 437731 h 3574942"/>
                <a:gd name="connsiteX20" fmla="*/ 1064349 w 1968835"/>
                <a:gd name="connsiteY20" fmla="*/ 3574942 h 3574942"/>
                <a:gd name="connsiteX21" fmla="*/ 32614 w 1968835"/>
                <a:gd name="connsiteY21" fmla="*/ 3574942 h 3574942"/>
                <a:gd name="connsiteX22" fmla="*/ 449641 w 1968835"/>
                <a:gd name="connsiteY22" fmla="*/ 997323 h 3574942"/>
                <a:gd name="connsiteX23" fmla="*/ 168654 w 1968835"/>
                <a:gd name="connsiteY23" fmla="*/ 652041 h 3574942"/>
                <a:gd name="connsiteX24" fmla="*/ 49591 w 1968835"/>
                <a:gd name="connsiteY24" fmla="*/ 352004 h 3574942"/>
                <a:gd name="connsiteX25" fmla="*/ 99598 w 1968835"/>
                <a:gd name="connsiteY25" fmla="*/ 292473 h 3574942"/>
                <a:gd name="connsiteX26" fmla="*/ 51664 w 1968835"/>
                <a:gd name="connsiteY26" fmla="*/ 171030 h 3574942"/>
                <a:gd name="connsiteX0" fmla="*/ 51664 w 1968835"/>
                <a:gd name="connsiteY0" fmla="*/ 171030 h 3574942"/>
                <a:gd name="connsiteX1" fmla="*/ 71023 w 1968835"/>
                <a:gd name="connsiteY1" fmla="*/ 59110 h 3574942"/>
                <a:gd name="connsiteX2" fmla="*/ 116267 w 1968835"/>
                <a:gd name="connsiteY2" fmla="*/ 25773 h 3574942"/>
                <a:gd name="connsiteX3" fmla="*/ 154367 w 1968835"/>
                <a:gd name="connsiteY3" fmla="*/ 4342 h 3574942"/>
                <a:gd name="connsiteX4" fmla="*/ 237711 w 1968835"/>
                <a:gd name="connsiteY4" fmla="*/ 85306 h 3574942"/>
                <a:gd name="connsiteX5" fmla="*/ 201992 w 1968835"/>
                <a:gd name="connsiteY5" fmla="*/ 249612 h 3574942"/>
                <a:gd name="connsiteX6" fmla="*/ 466311 w 1968835"/>
                <a:gd name="connsiteY6" fmla="*/ 668712 h 3574942"/>
                <a:gd name="connsiteX7" fmla="*/ 566324 w 1968835"/>
                <a:gd name="connsiteY7" fmla="*/ 687762 h 3574942"/>
                <a:gd name="connsiteX8" fmla="*/ 792542 w 1968835"/>
                <a:gd name="connsiteY8" fmla="*/ 790156 h 3574942"/>
                <a:gd name="connsiteX9" fmla="*/ 513936 w 1968835"/>
                <a:gd name="connsiteY9" fmla="*/ 1178299 h 3574942"/>
                <a:gd name="connsiteX10" fmla="*/ 461549 w 1968835"/>
                <a:gd name="connsiteY10" fmla="*/ 1656931 h 3574942"/>
                <a:gd name="connsiteX11" fmla="*/ 1087817 w 1968835"/>
                <a:gd name="connsiteY11" fmla="*/ 1718843 h 3574942"/>
                <a:gd name="connsiteX12" fmla="*/ 1156874 w 1968835"/>
                <a:gd name="connsiteY12" fmla="*/ 1461668 h 3574942"/>
                <a:gd name="connsiteX13" fmla="*/ 963992 w 1968835"/>
                <a:gd name="connsiteY13" fmla="*/ 954461 h 3574942"/>
                <a:gd name="connsiteX14" fmla="*/ 1073530 w 1968835"/>
                <a:gd name="connsiteY14" fmla="*/ 840160 h 3574942"/>
                <a:gd name="connsiteX15" fmla="*/ 1247361 w 1968835"/>
                <a:gd name="connsiteY15" fmla="*/ 756817 h 3574942"/>
                <a:gd name="connsiteX16" fmla="*/ 1375948 w 1968835"/>
                <a:gd name="connsiteY16" fmla="*/ 785392 h 3574942"/>
                <a:gd name="connsiteX17" fmla="*/ 1892680 w 1968835"/>
                <a:gd name="connsiteY17" fmla="*/ 313906 h 3574942"/>
                <a:gd name="connsiteX18" fmla="*/ 1966843 w 1968835"/>
                <a:gd name="connsiteY18" fmla="*/ 123405 h 3574942"/>
                <a:gd name="connsiteX19" fmla="*/ 1961736 w 1968835"/>
                <a:gd name="connsiteY19" fmla="*/ 437731 h 3574942"/>
                <a:gd name="connsiteX20" fmla="*/ 1064349 w 1968835"/>
                <a:gd name="connsiteY20" fmla="*/ 3574942 h 3574942"/>
                <a:gd name="connsiteX21" fmla="*/ 32614 w 1968835"/>
                <a:gd name="connsiteY21" fmla="*/ 3574942 h 3574942"/>
                <a:gd name="connsiteX22" fmla="*/ 449641 w 1968835"/>
                <a:gd name="connsiteY22" fmla="*/ 997323 h 3574942"/>
                <a:gd name="connsiteX23" fmla="*/ 168654 w 1968835"/>
                <a:gd name="connsiteY23" fmla="*/ 652041 h 3574942"/>
                <a:gd name="connsiteX24" fmla="*/ 49591 w 1968835"/>
                <a:gd name="connsiteY24" fmla="*/ 352004 h 3574942"/>
                <a:gd name="connsiteX25" fmla="*/ 99598 w 1968835"/>
                <a:gd name="connsiteY25" fmla="*/ 292473 h 3574942"/>
                <a:gd name="connsiteX26" fmla="*/ 51664 w 1968835"/>
                <a:gd name="connsiteY26" fmla="*/ 171030 h 3574942"/>
                <a:gd name="connsiteX0" fmla="*/ 51664 w 1968835"/>
                <a:gd name="connsiteY0" fmla="*/ 171030 h 3574942"/>
                <a:gd name="connsiteX1" fmla="*/ 71023 w 1968835"/>
                <a:gd name="connsiteY1" fmla="*/ 59110 h 3574942"/>
                <a:gd name="connsiteX2" fmla="*/ 116267 w 1968835"/>
                <a:gd name="connsiteY2" fmla="*/ 25773 h 3574942"/>
                <a:gd name="connsiteX3" fmla="*/ 154367 w 1968835"/>
                <a:gd name="connsiteY3" fmla="*/ 4342 h 3574942"/>
                <a:gd name="connsiteX4" fmla="*/ 237711 w 1968835"/>
                <a:gd name="connsiteY4" fmla="*/ 85306 h 3574942"/>
                <a:gd name="connsiteX5" fmla="*/ 201992 w 1968835"/>
                <a:gd name="connsiteY5" fmla="*/ 249612 h 3574942"/>
                <a:gd name="connsiteX6" fmla="*/ 466311 w 1968835"/>
                <a:gd name="connsiteY6" fmla="*/ 668712 h 3574942"/>
                <a:gd name="connsiteX7" fmla="*/ 566324 w 1968835"/>
                <a:gd name="connsiteY7" fmla="*/ 687762 h 3574942"/>
                <a:gd name="connsiteX8" fmla="*/ 792542 w 1968835"/>
                <a:gd name="connsiteY8" fmla="*/ 790156 h 3574942"/>
                <a:gd name="connsiteX9" fmla="*/ 513936 w 1968835"/>
                <a:gd name="connsiteY9" fmla="*/ 1178299 h 3574942"/>
                <a:gd name="connsiteX10" fmla="*/ 461549 w 1968835"/>
                <a:gd name="connsiteY10" fmla="*/ 1656931 h 3574942"/>
                <a:gd name="connsiteX11" fmla="*/ 1087817 w 1968835"/>
                <a:gd name="connsiteY11" fmla="*/ 1718843 h 3574942"/>
                <a:gd name="connsiteX12" fmla="*/ 1156874 w 1968835"/>
                <a:gd name="connsiteY12" fmla="*/ 1461668 h 3574942"/>
                <a:gd name="connsiteX13" fmla="*/ 963992 w 1968835"/>
                <a:gd name="connsiteY13" fmla="*/ 954461 h 3574942"/>
                <a:gd name="connsiteX14" fmla="*/ 1073530 w 1968835"/>
                <a:gd name="connsiteY14" fmla="*/ 840160 h 3574942"/>
                <a:gd name="connsiteX15" fmla="*/ 1247361 w 1968835"/>
                <a:gd name="connsiteY15" fmla="*/ 756817 h 3574942"/>
                <a:gd name="connsiteX16" fmla="*/ 1375948 w 1968835"/>
                <a:gd name="connsiteY16" fmla="*/ 785392 h 3574942"/>
                <a:gd name="connsiteX17" fmla="*/ 1892680 w 1968835"/>
                <a:gd name="connsiteY17" fmla="*/ 313906 h 3574942"/>
                <a:gd name="connsiteX18" fmla="*/ 1966843 w 1968835"/>
                <a:gd name="connsiteY18" fmla="*/ 123405 h 3574942"/>
                <a:gd name="connsiteX19" fmla="*/ 1961736 w 1968835"/>
                <a:gd name="connsiteY19" fmla="*/ 437731 h 3574942"/>
                <a:gd name="connsiteX20" fmla="*/ 1064349 w 1968835"/>
                <a:gd name="connsiteY20" fmla="*/ 3574942 h 3574942"/>
                <a:gd name="connsiteX21" fmla="*/ 32614 w 1968835"/>
                <a:gd name="connsiteY21" fmla="*/ 3574942 h 3574942"/>
                <a:gd name="connsiteX22" fmla="*/ 449641 w 1968835"/>
                <a:gd name="connsiteY22" fmla="*/ 997323 h 3574942"/>
                <a:gd name="connsiteX23" fmla="*/ 168654 w 1968835"/>
                <a:gd name="connsiteY23" fmla="*/ 652041 h 3574942"/>
                <a:gd name="connsiteX24" fmla="*/ 49591 w 1968835"/>
                <a:gd name="connsiteY24" fmla="*/ 352004 h 3574942"/>
                <a:gd name="connsiteX25" fmla="*/ 99598 w 1968835"/>
                <a:gd name="connsiteY25" fmla="*/ 292473 h 3574942"/>
                <a:gd name="connsiteX26" fmla="*/ 51664 w 1968835"/>
                <a:gd name="connsiteY26" fmla="*/ 171030 h 3574942"/>
                <a:gd name="connsiteX0" fmla="*/ 51664 w 1968835"/>
                <a:gd name="connsiteY0" fmla="*/ 171030 h 3574942"/>
                <a:gd name="connsiteX1" fmla="*/ 71023 w 1968835"/>
                <a:gd name="connsiteY1" fmla="*/ 59110 h 3574942"/>
                <a:gd name="connsiteX2" fmla="*/ 116267 w 1968835"/>
                <a:gd name="connsiteY2" fmla="*/ 25773 h 3574942"/>
                <a:gd name="connsiteX3" fmla="*/ 154367 w 1968835"/>
                <a:gd name="connsiteY3" fmla="*/ 4342 h 3574942"/>
                <a:gd name="connsiteX4" fmla="*/ 237711 w 1968835"/>
                <a:gd name="connsiteY4" fmla="*/ 85306 h 3574942"/>
                <a:gd name="connsiteX5" fmla="*/ 201992 w 1968835"/>
                <a:gd name="connsiteY5" fmla="*/ 249612 h 3574942"/>
                <a:gd name="connsiteX6" fmla="*/ 466311 w 1968835"/>
                <a:gd name="connsiteY6" fmla="*/ 668712 h 3574942"/>
                <a:gd name="connsiteX7" fmla="*/ 566324 w 1968835"/>
                <a:gd name="connsiteY7" fmla="*/ 687762 h 3574942"/>
                <a:gd name="connsiteX8" fmla="*/ 792542 w 1968835"/>
                <a:gd name="connsiteY8" fmla="*/ 790156 h 3574942"/>
                <a:gd name="connsiteX9" fmla="*/ 513936 w 1968835"/>
                <a:gd name="connsiteY9" fmla="*/ 1178299 h 3574942"/>
                <a:gd name="connsiteX10" fmla="*/ 461549 w 1968835"/>
                <a:gd name="connsiteY10" fmla="*/ 1656931 h 3574942"/>
                <a:gd name="connsiteX11" fmla="*/ 1087817 w 1968835"/>
                <a:gd name="connsiteY11" fmla="*/ 1718843 h 3574942"/>
                <a:gd name="connsiteX12" fmla="*/ 1156874 w 1968835"/>
                <a:gd name="connsiteY12" fmla="*/ 1461668 h 3574942"/>
                <a:gd name="connsiteX13" fmla="*/ 963992 w 1968835"/>
                <a:gd name="connsiteY13" fmla="*/ 954461 h 3574942"/>
                <a:gd name="connsiteX14" fmla="*/ 1073530 w 1968835"/>
                <a:gd name="connsiteY14" fmla="*/ 840160 h 3574942"/>
                <a:gd name="connsiteX15" fmla="*/ 1247361 w 1968835"/>
                <a:gd name="connsiteY15" fmla="*/ 756817 h 3574942"/>
                <a:gd name="connsiteX16" fmla="*/ 1375948 w 1968835"/>
                <a:gd name="connsiteY16" fmla="*/ 785392 h 3574942"/>
                <a:gd name="connsiteX17" fmla="*/ 1892680 w 1968835"/>
                <a:gd name="connsiteY17" fmla="*/ 313906 h 3574942"/>
                <a:gd name="connsiteX18" fmla="*/ 1966843 w 1968835"/>
                <a:gd name="connsiteY18" fmla="*/ 123405 h 3574942"/>
                <a:gd name="connsiteX19" fmla="*/ 1961736 w 1968835"/>
                <a:gd name="connsiteY19" fmla="*/ 437731 h 3574942"/>
                <a:gd name="connsiteX20" fmla="*/ 1064349 w 1968835"/>
                <a:gd name="connsiteY20" fmla="*/ 3574942 h 3574942"/>
                <a:gd name="connsiteX21" fmla="*/ 32614 w 1968835"/>
                <a:gd name="connsiteY21" fmla="*/ 3574942 h 3574942"/>
                <a:gd name="connsiteX22" fmla="*/ 449641 w 1968835"/>
                <a:gd name="connsiteY22" fmla="*/ 997323 h 3574942"/>
                <a:gd name="connsiteX23" fmla="*/ 168654 w 1968835"/>
                <a:gd name="connsiteY23" fmla="*/ 652041 h 3574942"/>
                <a:gd name="connsiteX24" fmla="*/ 49591 w 1968835"/>
                <a:gd name="connsiteY24" fmla="*/ 352004 h 3574942"/>
                <a:gd name="connsiteX25" fmla="*/ 99598 w 1968835"/>
                <a:gd name="connsiteY25" fmla="*/ 292473 h 3574942"/>
                <a:gd name="connsiteX26" fmla="*/ 51664 w 1968835"/>
                <a:gd name="connsiteY26" fmla="*/ 171030 h 3574942"/>
                <a:gd name="connsiteX0" fmla="*/ 39729 w 1956900"/>
                <a:gd name="connsiteY0" fmla="*/ 171030 h 3574942"/>
                <a:gd name="connsiteX1" fmla="*/ 59088 w 1956900"/>
                <a:gd name="connsiteY1" fmla="*/ 59110 h 3574942"/>
                <a:gd name="connsiteX2" fmla="*/ 104332 w 1956900"/>
                <a:gd name="connsiteY2" fmla="*/ 25773 h 3574942"/>
                <a:gd name="connsiteX3" fmla="*/ 142432 w 1956900"/>
                <a:gd name="connsiteY3" fmla="*/ 4342 h 3574942"/>
                <a:gd name="connsiteX4" fmla="*/ 225776 w 1956900"/>
                <a:gd name="connsiteY4" fmla="*/ 85306 h 3574942"/>
                <a:gd name="connsiteX5" fmla="*/ 190057 w 1956900"/>
                <a:gd name="connsiteY5" fmla="*/ 249612 h 3574942"/>
                <a:gd name="connsiteX6" fmla="*/ 454376 w 1956900"/>
                <a:gd name="connsiteY6" fmla="*/ 668712 h 3574942"/>
                <a:gd name="connsiteX7" fmla="*/ 554389 w 1956900"/>
                <a:gd name="connsiteY7" fmla="*/ 687762 h 3574942"/>
                <a:gd name="connsiteX8" fmla="*/ 780607 w 1956900"/>
                <a:gd name="connsiteY8" fmla="*/ 790156 h 3574942"/>
                <a:gd name="connsiteX9" fmla="*/ 502001 w 1956900"/>
                <a:gd name="connsiteY9" fmla="*/ 1178299 h 3574942"/>
                <a:gd name="connsiteX10" fmla="*/ 449614 w 1956900"/>
                <a:gd name="connsiteY10" fmla="*/ 1656931 h 3574942"/>
                <a:gd name="connsiteX11" fmla="*/ 1075882 w 1956900"/>
                <a:gd name="connsiteY11" fmla="*/ 1718843 h 3574942"/>
                <a:gd name="connsiteX12" fmla="*/ 1144939 w 1956900"/>
                <a:gd name="connsiteY12" fmla="*/ 1461668 h 3574942"/>
                <a:gd name="connsiteX13" fmla="*/ 952057 w 1956900"/>
                <a:gd name="connsiteY13" fmla="*/ 954461 h 3574942"/>
                <a:gd name="connsiteX14" fmla="*/ 1061595 w 1956900"/>
                <a:gd name="connsiteY14" fmla="*/ 840160 h 3574942"/>
                <a:gd name="connsiteX15" fmla="*/ 1235426 w 1956900"/>
                <a:gd name="connsiteY15" fmla="*/ 756817 h 3574942"/>
                <a:gd name="connsiteX16" fmla="*/ 1364013 w 1956900"/>
                <a:gd name="connsiteY16" fmla="*/ 785392 h 3574942"/>
                <a:gd name="connsiteX17" fmla="*/ 1880745 w 1956900"/>
                <a:gd name="connsiteY17" fmla="*/ 313906 h 3574942"/>
                <a:gd name="connsiteX18" fmla="*/ 1954908 w 1956900"/>
                <a:gd name="connsiteY18" fmla="*/ 123405 h 3574942"/>
                <a:gd name="connsiteX19" fmla="*/ 1949801 w 1956900"/>
                <a:gd name="connsiteY19" fmla="*/ 437731 h 3574942"/>
                <a:gd name="connsiteX20" fmla="*/ 1052414 w 1956900"/>
                <a:gd name="connsiteY20" fmla="*/ 3574942 h 3574942"/>
                <a:gd name="connsiteX21" fmla="*/ 20679 w 1956900"/>
                <a:gd name="connsiteY21" fmla="*/ 3574942 h 3574942"/>
                <a:gd name="connsiteX22" fmla="*/ 380556 w 1956900"/>
                <a:gd name="connsiteY22" fmla="*/ 1523579 h 3574942"/>
                <a:gd name="connsiteX23" fmla="*/ 437706 w 1956900"/>
                <a:gd name="connsiteY23" fmla="*/ 997323 h 3574942"/>
                <a:gd name="connsiteX24" fmla="*/ 156719 w 1956900"/>
                <a:gd name="connsiteY24" fmla="*/ 652041 h 3574942"/>
                <a:gd name="connsiteX25" fmla="*/ 37656 w 1956900"/>
                <a:gd name="connsiteY25" fmla="*/ 352004 h 3574942"/>
                <a:gd name="connsiteX26" fmla="*/ 87663 w 1956900"/>
                <a:gd name="connsiteY26" fmla="*/ 292473 h 3574942"/>
                <a:gd name="connsiteX27" fmla="*/ 39729 w 1956900"/>
                <a:gd name="connsiteY27" fmla="*/ 171030 h 3574942"/>
                <a:gd name="connsiteX0" fmla="*/ 39729 w 1956900"/>
                <a:gd name="connsiteY0" fmla="*/ 171030 h 3574942"/>
                <a:gd name="connsiteX1" fmla="*/ 59088 w 1956900"/>
                <a:gd name="connsiteY1" fmla="*/ 59110 h 3574942"/>
                <a:gd name="connsiteX2" fmla="*/ 104332 w 1956900"/>
                <a:gd name="connsiteY2" fmla="*/ 25773 h 3574942"/>
                <a:gd name="connsiteX3" fmla="*/ 142432 w 1956900"/>
                <a:gd name="connsiteY3" fmla="*/ 4342 h 3574942"/>
                <a:gd name="connsiteX4" fmla="*/ 225776 w 1956900"/>
                <a:gd name="connsiteY4" fmla="*/ 85306 h 3574942"/>
                <a:gd name="connsiteX5" fmla="*/ 190057 w 1956900"/>
                <a:gd name="connsiteY5" fmla="*/ 249612 h 3574942"/>
                <a:gd name="connsiteX6" fmla="*/ 454376 w 1956900"/>
                <a:gd name="connsiteY6" fmla="*/ 668712 h 3574942"/>
                <a:gd name="connsiteX7" fmla="*/ 554389 w 1956900"/>
                <a:gd name="connsiteY7" fmla="*/ 687762 h 3574942"/>
                <a:gd name="connsiteX8" fmla="*/ 780607 w 1956900"/>
                <a:gd name="connsiteY8" fmla="*/ 790156 h 3574942"/>
                <a:gd name="connsiteX9" fmla="*/ 502001 w 1956900"/>
                <a:gd name="connsiteY9" fmla="*/ 1178299 h 3574942"/>
                <a:gd name="connsiteX10" fmla="*/ 449614 w 1956900"/>
                <a:gd name="connsiteY10" fmla="*/ 1656931 h 3574942"/>
                <a:gd name="connsiteX11" fmla="*/ 1075882 w 1956900"/>
                <a:gd name="connsiteY11" fmla="*/ 1718843 h 3574942"/>
                <a:gd name="connsiteX12" fmla="*/ 1144939 w 1956900"/>
                <a:gd name="connsiteY12" fmla="*/ 1461668 h 3574942"/>
                <a:gd name="connsiteX13" fmla="*/ 952057 w 1956900"/>
                <a:gd name="connsiteY13" fmla="*/ 954461 h 3574942"/>
                <a:gd name="connsiteX14" fmla="*/ 1061595 w 1956900"/>
                <a:gd name="connsiteY14" fmla="*/ 840160 h 3574942"/>
                <a:gd name="connsiteX15" fmla="*/ 1235426 w 1956900"/>
                <a:gd name="connsiteY15" fmla="*/ 756817 h 3574942"/>
                <a:gd name="connsiteX16" fmla="*/ 1364013 w 1956900"/>
                <a:gd name="connsiteY16" fmla="*/ 785392 h 3574942"/>
                <a:gd name="connsiteX17" fmla="*/ 1880745 w 1956900"/>
                <a:gd name="connsiteY17" fmla="*/ 313906 h 3574942"/>
                <a:gd name="connsiteX18" fmla="*/ 1954908 w 1956900"/>
                <a:gd name="connsiteY18" fmla="*/ 123405 h 3574942"/>
                <a:gd name="connsiteX19" fmla="*/ 1949801 w 1956900"/>
                <a:gd name="connsiteY19" fmla="*/ 437731 h 3574942"/>
                <a:gd name="connsiteX20" fmla="*/ 1052414 w 1956900"/>
                <a:gd name="connsiteY20" fmla="*/ 3574942 h 3574942"/>
                <a:gd name="connsiteX21" fmla="*/ 20679 w 1956900"/>
                <a:gd name="connsiteY21" fmla="*/ 3574942 h 3574942"/>
                <a:gd name="connsiteX22" fmla="*/ 380556 w 1956900"/>
                <a:gd name="connsiteY22" fmla="*/ 1523579 h 3574942"/>
                <a:gd name="connsiteX23" fmla="*/ 325787 w 1956900"/>
                <a:gd name="connsiteY23" fmla="*/ 1337841 h 3574942"/>
                <a:gd name="connsiteX24" fmla="*/ 437706 w 1956900"/>
                <a:gd name="connsiteY24" fmla="*/ 997323 h 3574942"/>
                <a:gd name="connsiteX25" fmla="*/ 156719 w 1956900"/>
                <a:gd name="connsiteY25" fmla="*/ 652041 h 3574942"/>
                <a:gd name="connsiteX26" fmla="*/ 37656 w 1956900"/>
                <a:gd name="connsiteY26" fmla="*/ 352004 h 3574942"/>
                <a:gd name="connsiteX27" fmla="*/ 87663 w 1956900"/>
                <a:gd name="connsiteY27" fmla="*/ 292473 h 3574942"/>
                <a:gd name="connsiteX28" fmla="*/ 39729 w 1956900"/>
                <a:gd name="connsiteY28" fmla="*/ 171030 h 3574942"/>
                <a:gd name="connsiteX0" fmla="*/ 39729 w 1956900"/>
                <a:gd name="connsiteY0" fmla="*/ 171030 h 3574942"/>
                <a:gd name="connsiteX1" fmla="*/ 59088 w 1956900"/>
                <a:gd name="connsiteY1" fmla="*/ 59110 h 3574942"/>
                <a:gd name="connsiteX2" fmla="*/ 104332 w 1956900"/>
                <a:gd name="connsiteY2" fmla="*/ 25773 h 3574942"/>
                <a:gd name="connsiteX3" fmla="*/ 142432 w 1956900"/>
                <a:gd name="connsiteY3" fmla="*/ 4342 h 3574942"/>
                <a:gd name="connsiteX4" fmla="*/ 225776 w 1956900"/>
                <a:gd name="connsiteY4" fmla="*/ 85306 h 3574942"/>
                <a:gd name="connsiteX5" fmla="*/ 190057 w 1956900"/>
                <a:gd name="connsiteY5" fmla="*/ 249612 h 3574942"/>
                <a:gd name="connsiteX6" fmla="*/ 454376 w 1956900"/>
                <a:gd name="connsiteY6" fmla="*/ 668712 h 3574942"/>
                <a:gd name="connsiteX7" fmla="*/ 554389 w 1956900"/>
                <a:gd name="connsiteY7" fmla="*/ 687762 h 3574942"/>
                <a:gd name="connsiteX8" fmla="*/ 780607 w 1956900"/>
                <a:gd name="connsiteY8" fmla="*/ 790156 h 3574942"/>
                <a:gd name="connsiteX9" fmla="*/ 502001 w 1956900"/>
                <a:gd name="connsiteY9" fmla="*/ 1178299 h 3574942"/>
                <a:gd name="connsiteX10" fmla="*/ 449614 w 1956900"/>
                <a:gd name="connsiteY10" fmla="*/ 1656931 h 3574942"/>
                <a:gd name="connsiteX11" fmla="*/ 1075882 w 1956900"/>
                <a:gd name="connsiteY11" fmla="*/ 1718843 h 3574942"/>
                <a:gd name="connsiteX12" fmla="*/ 1144939 w 1956900"/>
                <a:gd name="connsiteY12" fmla="*/ 1461668 h 3574942"/>
                <a:gd name="connsiteX13" fmla="*/ 952057 w 1956900"/>
                <a:gd name="connsiteY13" fmla="*/ 954461 h 3574942"/>
                <a:gd name="connsiteX14" fmla="*/ 1061595 w 1956900"/>
                <a:gd name="connsiteY14" fmla="*/ 840160 h 3574942"/>
                <a:gd name="connsiteX15" fmla="*/ 1235426 w 1956900"/>
                <a:gd name="connsiteY15" fmla="*/ 756817 h 3574942"/>
                <a:gd name="connsiteX16" fmla="*/ 1364013 w 1956900"/>
                <a:gd name="connsiteY16" fmla="*/ 785392 h 3574942"/>
                <a:gd name="connsiteX17" fmla="*/ 1880745 w 1956900"/>
                <a:gd name="connsiteY17" fmla="*/ 313906 h 3574942"/>
                <a:gd name="connsiteX18" fmla="*/ 1954908 w 1956900"/>
                <a:gd name="connsiteY18" fmla="*/ 123405 h 3574942"/>
                <a:gd name="connsiteX19" fmla="*/ 1949801 w 1956900"/>
                <a:gd name="connsiteY19" fmla="*/ 437731 h 3574942"/>
                <a:gd name="connsiteX20" fmla="*/ 1052414 w 1956900"/>
                <a:gd name="connsiteY20" fmla="*/ 3574942 h 3574942"/>
                <a:gd name="connsiteX21" fmla="*/ 20679 w 1956900"/>
                <a:gd name="connsiteY21" fmla="*/ 3574942 h 3574942"/>
                <a:gd name="connsiteX22" fmla="*/ 380556 w 1956900"/>
                <a:gd name="connsiteY22" fmla="*/ 1523579 h 3574942"/>
                <a:gd name="connsiteX23" fmla="*/ 325787 w 1956900"/>
                <a:gd name="connsiteY23" fmla="*/ 1337841 h 3574942"/>
                <a:gd name="connsiteX24" fmla="*/ 437706 w 1956900"/>
                <a:gd name="connsiteY24" fmla="*/ 997323 h 3574942"/>
                <a:gd name="connsiteX25" fmla="*/ 156719 w 1956900"/>
                <a:gd name="connsiteY25" fmla="*/ 652041 h 3574942"/>
                <a:gd name="connsiteX26" fmla="*/ 37656 w 1956900"/>
                <a:gd name="connsiteY26" fmla="*/ 352004 h 3574942"/>
                <a:gd name="connsiteX27" fmla="*/ 87663 w 1956900"/>
                <a:gd name="connsiteY27" fmla="*/ 292473 h 3574942"/>
                <a:gd name="connsiteX28" fmla="*/ 39729 w 1956900"/>
                <a:gd name="connsiteY28" fmla="*/ 171030 h 3574942"/>
                <a:gd name="connsiteX0" fmla="*/ 39729 w 1956900"/>
                <a:gd name="connsiteY0" fmla="*/ 171030 h 3574942"/>
                <a:gd name="connsiteX1" fmla="*/ 59088 w 1956900"/>
                <a:gd name="connsiteY1" fmla="*/ 59110 h 3574942"/>
                <a:gd name="connsiteX2" fmla="*/ 104332 w 1956900"/>
                <a:gd name="connsiteY2" fmla="*/ 25773 h 3574942"/>
                <a:gd name="connsiteX3" fmla="*/ 142432 w 1956900"/>
                <a:gd name="connsiteY3" fmla="*/ 4342 h 3574942"/>
                <a:gd name="connsiteX4" fmla="*/ 225776 w 1956900"/>
                <a:gd name="connsiteY4" fmla="*/ 85306 h 3574942"/>
                <a:gd name="connsiteX5" fmla="*/ 190057 w 1956900"/>
                <a:gd name="connsiteY5" fmla="*/ 249612 h 3574942"/>
                <a:gd name="connsiteX6" fmla="*/ 454376 w 1956900"/>
                <a:gd name="connsiteY6" fmla="*/ 668712 h 3574942"/>
                <a:gd name="connsiteX7" fmla="*/ 554389 w 1956900"/>
                <a:gd name="connsiteY7" fmla="*/ 687762 h 3574942"/>
                <a:gd name="connsiteX8" fmla="*/ 780607 w 1956900"/>
                <a:gd name="connsiteY8" fmla="*/ 790156 h 3574942"/>
                <a:gd name="connsiteX9" fmla="*/ 502001 w 1956900"/>
                <a:gd name="connsiteY9" fmla="*/ 1178299 h 3574942"/>
                <a:gd name="connsiteX10" fmla="*/ 449614 w 1956900"/>
                <a:gd name="connsiteY10" fmla="*/ 1656931 h 3574942"/>
                <a:gd name="connsiteX11" fmla="*/ 1075882 w 1956900"/>
                <a:gd name="connsiteY11" fmla="*/ 1718843 h 3574942"/>
                <a:gd name="connsiteX12" fmla="*/ 1144939 w 1956900"/>
                <a:gd name="connsiteY12" fmla="*/ 1461668 h 3574942"/>
                <a:gd name="connsiteX13" fmla="*/ 952057 w 1956900"/>
                <a:gd name="connsiteY13" fmla="*/ 954461 h 3574942"/>
                <a:gd name="connsiteX14" fmla="*/ 1061595 w 1956900"/>
                <a:gd name="connsiteY14" fmla="*/ 840160 h 3574942"/>
                <a:gd name="connsiteX15" fmla="*/ 1235426 w 1956900"/>
                <a:gd name="connsiteY15" fmla="*/ 756817 h 3574942"/>
                <a:gd name="connsiteX16" fmla="*/ 1364013 w 1956900"/>
                <a:gd name="connsiteY16" fmla="*/ 785392 h 3574942"/>
                <a:gd name="connsiteX17" fmla="*/ 1880745 w 1956900"/>
                <a:gd name="connsiteY17" fmla="*/ 313906 h 3574942"/>
                <a:gd name="connsiteX18" fmla="*/ 1954908 w 1956900"/>
                <a:gd name="connsiteY18" fmla="*/ 123405 h 3574942"/>
                <a:gd name="connsiteX19" fmla="*/ 1949801 w 1956900"/>
                <a:gd name="connsiteY19" fmla="*/ 437731 h 3574942"/>
                <a:gd name="connsiteX20" fmla="*/ 1052414 w 1956900"/>
                <a:gd name="connsiteY20" fmla="*/ 3574942 h 3574942"/>
                <a:gd name="connsiteX21" fmla="*/ 20679 w 1956900"/>
                <a:gd name="connsiteY21" fmla="*/ 3574942 h 3574942"/>
                <a:gd name="connsiteX22" fmla="*/ 380556 w 1956900"/>
                <a:gd name="connsiteY22" fmla="*/ 1523579 h 3574942"/>
                <a:gd name="connsiteX23" fmla="*/ 325787 w 1956900"/>
                <a:gd name="connsiteY23" fmla="*/ 1337841 h 3574942"/>
                <a:gd name="connsiteX24" fmla="*/ 437706 w 1956900"/>
                <a:gd name="connsiteY24" fmla="*/ 997323 h 3574942"/>
                <a:gd name="connsiteX25" fmla="*/ 156719 w 1956900"/>
                <a:gd name="connsiteY25" fmla="*/ 652041 h 3574942"/>
                <a:gd name="connsiteX26" fmla="*/ 37656 w 1956900"/>
                <a:gd name="connsiteY26" fmla="*/ 352004 h 3574942"/>
                <a:gd name="connsiteX27" fmla="*/ 87663 w 1956900"/>
                <a:gd name="connsiteY27" fmla="*/ 292473 h 3574942"/>
                <a:gd name="connsiteX28" fmla="*/ 39729 w 1956900"/>
                <a:gd name="connsiteY28" fmla="*/ 171030 h 3574942"/>
                <a:gd name="connsiteX0" fmla="*/ 39729 w 1952678"/>
                <a:gd name="connsiteY0" fmla="*/ 171030 h 3574942"/>
                <a:gd name="connsiteX1" fmla="*/ 59088 w 1952678"/>
                <a:gd name="connsiteY1" fmla="*/ 59110 h 3574942"/>
                <a:gd name="connsiteX2" fmla="*/ 104332 w 1952678"/>
                <a:gd name="connsiteY2" fmla="*/ 25773 h 3574942"/>
                <a:gd name="connsiteX3" fmla="*/ 142432 w 1952678"/>
                <a:gd name="connsiteY3" fmla="*/ 4342 h 3574942"/>
                <a:gd name="connsiteX4" fmla="*/ 225776 w 1952678"/>
                <a:gd name="connsiteY4" fmla="*/ 85306 h 3574942"/>
                <a:gd name="connsiteX5" fmla="*/ 190057 w 1952678"/>
                <a:gd name="connsiteY5" fmla="*/ 249612 h 3574942"/>
                <a:gd name="connsiteX6" fmla="*/ 454376 w 1952678"/>
                <a:gd name="connsiteY6" fmla="*/ 668712 h 3574942"/>
                <a:gd name="connsiteX7" fmla="*/ 554389 w 1952678"/>
                <a:gd name="connsiteY7" fmla="*/ 687762 h 3574942"/>
                <a:gd name="connsiteX8" fmla="*/ 780607 w 1952678"/>
                <a:gd name="connsiteY8" fmla="*/ 790156 h 3574942"/>
                <a:gd name="connsiteX9" fmla="*/ 502001 w 1952678"/>
                <a:gd name="connsiteY9" fmla="*/ 1178299 h 3574942"/>
                <a:gd name="connsiteX10" fmla="*/ 449614 w 1952678"/>
                <a:gd name="connsiteY10" fmla="*/ 1656931 h 3574942"/>
                <a:gd name="connsiteX11" fmla="*/ 1075882 w 1952678"/>
                <a:gd name="connsiteY11" fmla="*/ 1718843 h 3574942"/>
                <a:gd name="connsiteX12" fmla="*/ 1144939 w 1952678"/>
                <a:gd name="connsiteY12" fmla="*/ 1461668 h 3574942"/>
                <a:gd name="connsiteX13" fmla="*/ 952057 w 1952678"/>
                <a:gd name="connsiteY13" fmla="*/ 954461 h 3574942"/>
                <a:gd name="connsiteX14" fmla="*/ 1061595 w 1952678"/>
                <a:gd name="connsiteY14" fmla="*/ 840160 h 3574942"/>
                <a:gd name="connsiteX15" fmla="*/ 1235426 w 1952678"/>
                <a:gd name="connsiteY15" fmla="*/ 756817 h 3574942"/>
                <a:gd name="connsiteX16" fmla="*/ 1364013 w 1952678"/>
                <a:gd name="connsiteY16" fmla="*/ 785392 h 3574942"/>
                <a:gd name="connsiteX17" fmla="*/ 1880745 w 1952678"/>
                <a:gd name="connsiteY17" fmla="*/ 313906 h 3574942"/>
                <a:gd name="connsiteX18" fmla="*/ 1878708 w 1952678"/>
                <a:gd name="connsiteY18" fmla="*/ 166267 h 3574942"/>
                <a:gd name="connsiteX19" fmla="*/ 1949801 w 1952678"/>
                <a:gd name="connsiteY19" fmla="*/ 437731 h 3574942"/>
                <a:gd name="connsiteX20" fmla="*/ 1052414 w 1952678"/>
                <a:gd name="connsiteY20" fmla="*/ 3574942 h 3574942"/>
                <a:gd name="connsiteX21" fmla="*/ 20679 w 1952678"/>
                <a:gd name="connsiteY21" fmla="*/ 3574942 h 3574942"/>
                <a:gd name="connsiteX22" fmla="*/ 380556 w 1952678"/>
                <a:gd name="connsiteY22" fmla="*/ 1523579 h 3574942"/>
                <a:gd name="connsiteX23" fmla="*/ 325787 w 1952678"/>
                <a:gd name="connsiteY23" fmla="*/ 1337841 h 3574942"/>
                <a:gd name="connsiteX24" fmla="*/ 437706 w 1952678"/>
                <a:gd name="connsiteY24" fmla="*/ 997323 h 3574942"/>
                <a:gd name="connsiteX25" fmla="*/ 156719 w 1952678"/>
                <a:gd name="connsiteY25" fmla="*/ 652041 h 3574942"/>
                <a:gd name="connsiteX26" fmla="*/ 37656 w 1952678"/>
                <a:gd name="connsiteY26" fmla="*/ 352004 h 3574942"/>
                <a:gd name="connsiteX27" fmla="*/ 87663 w 1952678"/>
                <a:gd name="connsiteY27" fmla="*/ 292473 h 3574942"/>
                <a:gd name="connsiteX28" fmla="*/ 39729 w 1952678"/>
                <a:gd name="connsiteY28" fmla="*/ 171030 h 3574942"/>
                <a:gd name="connsiteX0" fmla="*/ 39729 w 1989343"/>
                <a:gd name="connsiteY0" fmla="*/ 171030 h 3574942"/>
                <a:gd name="connsiteX1" fmla="*/ 59088 w 1989343"/>
                <a:gd name="connsiteY1" fmla="*/ 59110 h 3574942"/>
                <a:gd name="connsiteX2" fmla="*/ 104332 w 1989343"/>
                <a:gd name="connsiteY2" fmla="*/ 25773 h 3574942"/>
                <a:gd name="connsiteX3" fmla="*/ 142432 w 1989343"/>
                <a:gd name="connsiteY3" fmla="*/ 4342 h 3574942"/>
                <a:gd name="connsiteX4" fmla="*/ 225776 w 1989343"/>
                <a:gd name="connsiteY4" fmla="*/ 85306 h 3574942"/>
                <a:gd name="connsiteX5" fmla="*/ 190057 w 1989343"/>
                <a:gd name="connsiteY5" fmla="*/ 249612 h 3574942"/>
                <a:gd name="connsiteX6" fmla="*/ 454376 w 1989343"/>
                <a:gd name="connsiteY6" fmla="*/ 668712 h 3574942"/>
                <a:gd name="connsiteX7" fmla="*/ 554389 w 1989343"/>
                <a:gd name="connsiteY7" fmla="*/ 687762 h 3574942"/>
                <a:gd name="connsiteX8" fmla="*/ 780607 w 1989343"/>
                <a:gd name="connsiteY8" fmla="*/ 790156 h 3574942"/>
                <a:gd name="connsiteX9" fmla="*/ 502001 w 1989343"/>
                <a:gd name="connsiteY9" fmla="*/ 1178299 h 3574942"/>
                <a:gd name="connsiteX10" fmla="*/ 449614 w 1989343"/>
                <a:gd name="connsiteY10" fmla="*/ 1656931 h 3574942"/>
                <a:gd name="connsiteX11" fmla="*/ 1075882 w 1989343"/>
                <a:gd name="connsiteY11" fmla="*/ 1718843 h 3574942"/>
                <a:gd name="connsiteX12" fmla="*/ 1144939 w 1989343"/>
                <a:gd name="connsiteY12" fmla="*/ 1461668 h 3574942"/>
                <a:gd name="connsiteX13" fmla="*/ 952057 w 1989343"/>
                <a:gd name="connsiteY13" fmla="*/ 954461 h 3574942"/>
                <a:gd name="connsiteX14" fmla="*/ 1061595 w 1989343"/>
                <a:gd name="connsiteY14" fmla="*/ 840160 h 3574942"/>
                <a:gd name="connsiteX15" fmla="*/ 1235426 w 1989343"/>
                <a:gd name="connsiteY15" fmla="*/ 756817 h 3574942"/>
                <a:gd name="connsiteX16" fmla="*/ 1364013 w 1989343"/>
                <a:gd name="connsiteY16" fmla="*/ 785392 h 3574942"/>
                <a:gd name="connsiteX17" fmla="*/ 1880745 w 1989343"/>
                <a:gd name="connsiteY17" fmla="*/ 313906 h 3574942"/>
                <a:gd name="connsiteX18" fmla="*/ 1878708 w 1989343"/>
                <a:gd name="connsiteY18" fmla="*/ 166267 h 3574942"/>
                <a:gd name="connsiteX19" fmla="*/ 1949801 w 1989343"/>
                <a:gd name="connsiteY19" fmla="*/ 437731 h 3574942"/>
                <a:gd name="connsiteX20" fmla="*/ 1052414 w 1989343"/>
                <a:gd name="connsiteY20" fmla="*/ 3574942 h 3574942"/>
                <a:gd name="connsiteX21" fmla="*/ 20679 w 1989343"/>
                <a:gd name="connsiteY21" fmla="*/ 3574942 h 3574942"/>
                <a:gd name="connsiteX22" fmla="*/ 380556 w 1989343"/>
                <a:gd name="connsiteY22" fmla="*/ 1523579 h 3574942"/>
                <a:gd name="connsiteX23" fmla="*/ 325787 w 1989343"/>
                <a:gd name="connsiteY23" fmla="*/ 1337841 h 3574942"/>
                <a:gd name="connsiteX24" fmla="*/ 437706 w 1989343"/>
                <a:gd name="connsiteY24" fmla="*/ 997323 h 3574942"/>
                <a:gd name="connsiteX25" fmla="*/ 156719 w 1989343"/>
                <a:gd name="connsiteY25" fmla="*/ 652041 h 3574942"/>
                <a:gd name="connsiteX26" fmla="*/ 37656 w 1989343"/>
                <a:gd name="connsiteY26" fmla="*/ 352004 h 3574942"/>
                <a:gd name="connsiteX27" fmla="*/ 87663 w 1989343"/>
                <a:gd name="connsiteY27" fmla="*/ 292473 h 3574942"/>
                <a:gd name="connsiteX28" fmla="*/ 39729 w 1989343"/>
                <a:gd name="connsiteY28" fmla="*/ 171030 h 3574942"/>
                <a:gd name="connsiteX0" fmla="*/ 39729 w 1989343"/>
                <a:gd name="connsiteY0" fmla="*/ 171030 h 3574942"/>
                <a:gd name="connsiteX1" fmla="*/ 59088 w 1989343"/>
                <a:gd name="connsiteY1" fmla="*/ 59110 h 3574942"/>
                <a:gd name="connsiteX2" fmla="*/ 104332 w 1989343"/>
                <a:gd name="connsiteY2" fmla="*/ 25773 h 3574942"/>
                <a:gd name="connsiteX3" fmla="*/ 142432 w 1989343"/>
                <a:gd name="connsiteY3" fmla="*/ 4342 h 3574942"/>
                <a:gd name="connsiteX4" fmla="*/ 225776 w 1989343"/>
                <a:gd name="connsiteY4" fmla="*/ 85306 h 3574942"/>
                <a:gd name="connsiteX5" fmla="*/ 190057 w 1989343"/>
                <a:gd name="connsiteY5" fmla="*/ 249612 h 3574942"/>
                <a:gd name="connsiteX6" fmla="*/ 454376 w 1989343"/>
                <a:gd name="connsiteY6" fmla="*/ 668712 h 3574942"/>
                <a:gd name="connsiteX7" fmla="*/ 554389 w 1989343"/>
                <a:gd name="connsiteY7" fmla="*/ 687762 h 3574942"/>
                <a:gd name="connsiteX8" fmla="*/ 780607 w 1989343"/>
                <a:gd name="connsiteY8" fmla="*/ 790156 h 3574942"/>
                <a:gd name="connsiteX9" fmla="*/ 502001 w 1989343"/>
                <a:gd name="connsiteY9" fmla="*/ 1178299 h 3574942"/>
                <a:gd name="connsiteX10" fmla="*/ 449614 w 1989343"/>
                <a:gd name="connsiteY10" fmla="*/ 1656931 h 3574942"/>
                <a:gd name="connsiteX11" fmla="*/ 1075882 w 1989343"/>
                <a:gd name="connsiteY11" fmla="*/ 1718843 h 3574942"/>
                <a:gd name="connsiteX12" fmla="*/ 1144939 w 1989343"/>
                <a:gd name="connsiteY12" fmla="*/ 1461668 h 3574942"/>
                <a:gd name="connsiteX13" fmla="*/ 952057 w 1989343"/>
                <a:gd name="connsiteY13" fmla="*/ 954461 h 3574942"/>
                <a:gd name="connsiteX14" fmla="*/ 1061595 w 1989343"/>
                <a:gd name="connsiteY14" fmla="*/ 840160 h 3574942"/>
                <a:gd name="connsiteX15" fmla="*/ 1235426 w 1989343"/>
                <a:gd name="connsiteY15" fmla="*/ 756817 h 3574942"/>
                <a:gd name="connsiteX16" fmla="*/ 1364013 w 1989343"/>
                <a:gd name="connsiteY16" fmla="*/ 785392 h 3574942"/>
                <a:gd name="connsiteX17" fmla="*/ 1880745 w 1989343"/>
                <a:gd name="connsiteY17" fmla="*/ 313906 h 3574942"/>
                <a:gd name="connsiteX18" fmla="*/ 1878708 w 1989343"/>
                <a:gd name="connsiteY18" fmla="*/ 166267 h 3574942"/>
                <a:gd name="connsiteX19" fmla="*/ 1949801 w 1989343"/>
                <a:gd name="connsiteY19" fmla="*/ 437731 h 3574942"/>
                <a:gd name="connsiteX20" fmla="*/ 1052414 w 1989343"/>
                <a:gd name="connsiteY20" fmla="*/ 3574942 h 3574942"/>
                <a:gd name="connsiteX21" fmla="*/ 20679 w 1989343"/>
                <a:gd name="connsiteY21" fmla="*/ 3574942 h 3574942"/>
                <a:gd name="connsiteX22" fmla="*/ 380556 w 1989343"/>
                <a:gd name="connsiteY22" fmla="*/ 1523579 h 3574942"/>
                <a:gd name="connsiteX23" fmla="*/ 325787 w 1989343"/>
                <a:gd name="connsiteY23" fmla="*/ 1337841 h 3574942"/>
                <a:gd name="connsiteX24" fmla="*/ 437706 w 1989343"/>
                <a:gd name="connsiteY24" fmla="*/ 997323 h 3574942"/>
                <a:gd name="connsiteX25" fmla="*/ 156719 w 1989343"/>
                <a:gd name="connsiteY25" fmla="*/ 652041 h 3574942"/>
                <a:gd name="connsiteX26" fmla="*/ 37656 w 1989343"/>
                <a:gd name="connsiteY26" fmla="*/ 352004 h 3574942"/>
                <a:gd name="connsiteX27" fmla="*/ 87663 w 1989343"/>
                <a:gd name="connsiteY27" fmla="*/ 292473 h 3574942"/>
                <a:gd name="connsiteX28" fmla="*/ 39729 w 1989343"/>
                <a:gd name="connsiteY28" fmla="*/ 171030 h 3574942"/>
                <a:gd name="connsiteX0" fmla="*/ 39729 w 1989343"/>
                <a:gd name="connsiteY0" fmla="*/ 171030 h 3574942"/>
                <a:gd name="connsiteX1" fmla="*/ 59088 w 1989343"/>
                <a:gd name="connsiteY1" fmla="*/ 59110 h 3574942"/>
                <a:gd name="connsiteX2" fmla="*/ 104332 w 1989343"/>
                <a:gd name="connsiteY2" fmla="*/ 25773 h 3574942"/>
                <a:gd name="connsiteX3" fmla="*/ 142432 w 1989343"/>
                <a:gd name="connsiteY3" fmla="*/ 4342 h 3574942"/>
                <a:gd name="connsiteX4" fmla="*/ 225776 w 1989343"/>
                <a:gd name="connsiteY4" fmla="*/ 85306 h 3574942"/>
                <a:gd name="connsiteX5" fmla="*/ 190057 w 1989343"/>
                <a:gd name="connsiteY5" fmla="*/ 249612 h 3574942"/>
                <a:gd name="connsiteX6" fmla="*/ 454376 w 1989343"/>
                <a:gd name="connsiteY6" fmla="*/ 668712 h 3574942"/>
                <a:gd name="connsiteX7" fmla="*/ 554389 w 1989343"/>
                <a:gd name="connsiteY7" fmla="*/ 687762 h 3574942"/>
                <a:gd name="connsiteX8" fmla="*/ 780607 w 1989343"/>
                <a:gd name="connsiteY8" fmla="*/ 790156 h 3574942"/>
                <a:gd name="connsiteX9" fmla="*/ 502001 w 1989343"/>
                <a:gd name="connsiteY9" fmla="*/ 1178299 h 3574942"/>
                <a:gd name="connsiteX10" fmla="*/ 449614 w 1989343"/>
                <a:gd name="connsiteY10" fmla="*/ 1656931 h 3574942"/>
                <a:gd name="connsiteX11" fmla="*/ 1075882 w 1989343"/>
                <a:gd name="connsiteY11" fmla="*/ 1718843 h 3574942"/>
                <a:gd name="connsiteX12" fmla="*/ 1144939 w 1989343"/>
                <a:gd name="connsiteY12" fmla="*/ 1461668 h 3574942"/>
                <a:gd name="connsiteX13" fmla="*/ 952057 w 1989343"/>
                <a:gd name="connsiteY13" fmla="*/ 954461 h 3574942"/>
                <a:gd name="connsiteX14" fmla="*/ 1061595 w 1989343"/>
                <a:gd name="connsiteY14" fmla="*/ 840160 h 3574942"/>
                <a:gd name="connsiteX15" fmla="*/ 1235426 w 1989343"/>
                <a:gd name="connsiteY15" fmla="*/ 756817 h 3574942"/>
                <a:gd name="connsiteX16" fmla="*/ 1364013 w 1989343"/>
                <a:gd name="connsiteY16" fmla="*/ 785392 h 3574942"/>
                <a:gd name="connsiteX17" fmla="*/ 1880745 w 1989343"/>
                <a:gd name="connsiteY17" fmla="*/ 313906 h 3574942"/>
                <a:gd name="connsiteX18" fmla="*/ 1878708 w 1989343"/>
                <a:gd name="connsiteY18" fmla="*/ 166267 h 3574942"/>
                <a:gd name="connsiteX19" fmla="*/ 1949801 w 1989343"/>
                <a:gd name="connsiteY19" fmla="*/ 437731 h 3574942"/>
                <a:gd name="connsiteX20" fmla="*/ 1052414 w 1989343"/>
                <a:gd name="connsiteY20" fmla="*/ 3574942 h 3574942"/>
                <a:gd name="connsiteX21" fmla="*/ 20679 w 1989343"/>
                <a:gd name="connsiteY21" fmla="*/ 3574942 h 3574942"/>
                <a:gd name="connsiteX22" fmla="*/ 380556 w 1989343"/>
                <a:gd name="connsiteY22" fmla="*/ 1523579 h 3574942"/>
                <a:gd name="connsiteX23" fmla="*/ 325787 w 1989343"/>
                <a:gd name="connsiteY23" fmla="*/ 1337841 h 3574942"/>
                <a:gd name="connsiteX24" fmla="*/ 437706 w 1989343"/>
                <a:gd name="connsiteY24" fmla="*/ 997323 h 3574942"/>
                <a:gd name="connsiteX25" fmla="*/ 156719 w 1989343"/>
                <a:gd name="connsiteY25" fmla="*/ 652041 h 3574942"/>
                <a:gd name="connsiteX26" fmla="*/ 37656 w 1989343"/>
                <a:gd name="connsiteY26" fmla="*/ 352004 h 3574942"/>
                <a:gd name="connsiteX27" fmla="*/ 87663 w 1989343"/>
                <a:gd name="connsiteY27" fmla="*/ 292473 h 3574942"/>
                <a:gd name="connsiteX28" fmla="*/ 39729 w 1989343"/>
                <a:gd name="connsiteY28" fmla="*/ 171030 h 3574942"/>
                <a:gd name="connsiteX0" fmla="*/ 39729 w 2020155"/>
                <a:gd name="connsiteY0" fmla="*/ 171030 h 3574942"/>
                <a:gd name="connsiteX1" fmla="*/ 59088 w 2020155"/>
                <a:gd name="connsiteY1" fmla="*/ 59110 h 3574942"/>
                <a:gd name="connsiteX2" fmla="*/ 104332 w 2020155"/>
                <a:gd name="connsiteY2" fmla="*/ 25773 h 3574942"/>
                <a:gd name="connsiteX3" fmla="*/ 142432 w 2020155"/>
                <a:gd name="connsiteY3" fmla="*/ 4342 h 3574942"/>
                <a:gd name="connsiteX4" fmla="*/ 225776 w 2020155"/>
                <a:gd name="connsiteY4" fmla="*/ 85306 h 3574942"/>
                <a:gd name="connsiteX5" fmla="*/ 190057 w 2020155"/>
                <a:gd name="connsiteY5" fmla="*/ 249612 h 3574942"/>
                <a:gd name="connsiteX6" fmla="*/ 454376 w 2020155"/>
                <a:gd name="connsiteY6" fmla="*/ 668712 h 3574942"/>
                <a:gd name="connsiteX7" fmla="*/ 554389 w 2020155"/>
                <a:gd name="connsiteY7" fmla="*/ 687762 h 3574942"/>
                <a:gd name="connsiteX8" fmla="*/ 780607 w 2020155"/>
                <a:gd name="connsiteY8" fmla="*/ 790156 h 3574942"/>
                <a:gd name="connsiteX9" fmla="*/ 502001 w 2020155"/>
                <a:gd name="connsiteY9" fmla="*/ 1178299 h 3574942"/>
                <a:gd name="connsiteX10" fmla="*/ 449614 w 2020155"/>
                <a:gd name="connsiteY10" fmla="*/ 1656931 h 3574942"/>
                <a:gd name="connsiteX11" fmla="*/ 1075882 w 2020155"/>
                <a:gd name="connsiteY11" fmla="*/ 1718843 h 3574942"/>
                <a:gd name="connsiteX12" fmla="*/ 1144939 w 2020155"/>
                <a:gd name="connsiteY12" fmla="*/ 1461668 h 3574942"/>
                <a:gd name="connsiteX13" fmla="*/ 952057 w 2020155"/>
                <a:gd name="connsiteY13" fmla="*/ 954461 h 3574942"/>
                <a:gd name="connsiteX14" fmla="*/ 1061595 w 2020155"/>
                <a:gd name="connsiteY14" fmla="*/ 840160 h 3574942"/>
                <a:gd name="connsiteX15" fmla="*/ 1235426 w 2020155"/>
                <a:gd name="connsiteY15" fmla="*/ 756817 h 3574942"/>
                <a:gd name="connsiteX16" fmla="*/ 1364013 w 2020155"/>
                <a:gd name="connsiteY16" fmla="*/ 785392 h 3574942"/>
                <a:gd name="connsiteX17" fmla="*/ 1880745 w 2020155"/>
                <a:gd name="connsiteY17" fmla="*/ 313906 h 3574942"/>
                <a:gd name="connsiteX18" fmla="*/ 1878708 w 2020155"/>
                <a:gd name="connsiteY18" fmla="*/ 166267 h 3574942"/>
                <a:gd name="connsiteX19" fmla="*/ 1954562 w 2020155"/>
                <a:gd name="connsiteY19" fmla="*/ 125785 h 3574942"/>
                <a:gd name="connsiteX20" fmla="*/ 1949801 w 2020155"/>
                <a:gd name="connsiteY20" fmla="*/ 437731 h 3574942"/>
                <a:gd name="connsiteX21" fmla="*/ 1052414 w 2020155"/>
                <a:gd name="connsiteY21" fmla="*/ 3574942 h 3574942"/>
                <a:gd name="connsiteX22" fmla="*/ 20679 w 2020155"/>
                <a:gd name="connsiteY22" fmla="*/ 3574942 h 3574942"/>
                <a:gd name="connsiteX23" fmla="*/ 380556 w 2020155"/>
                <a:gd name="connsiteY23" fmla="*/ 1523579 h 3574942"/>
                <a:gd name="connsiteX24" fmla="*/ 325787 w 2020155"/>
                <a:gd name="connsiteY24" fmla="*/ 1337841 h 3574942"/>
                <a:gd name="connsiteX25" fmla="*/ 437706 w 2020155"/>
                <a:gd name="connsiteY25" fmla="*/ 997323 h 3574942"/>
                <a:gd name="connsiteX26" fmla="*/ 156719 w 2020155"/>
                <a:gd name="connsiteY26" fmla="*/ 652041 h 3574942"/>
                <a:gd name="connsiteX27" fmla="*/ 37656 w 2020155"/>
                <a:gd name="connsiteY27" fmla="*/ 352004 h 3574942"/>
                <a:gd name="connsiteX28" fmla="*/ 87663 w 2020155"/>
                <a:gd name="connsiteY28" fmla="*/ 292473 h 3574942"/>
                <a:gd name="connsiteX29" fmla="*/ 39729 w 2020155"/>
                <a:gd name="connsiteY29" fmla="*/ 171030 h 3574942"/>
                <a:gd name="connsiteX0" fmla="*/ 39729 w 2020155"/>
                <a:gd name="connsiteY0" fmla="*/ 171030 h 3574942"/>
                <a:gd name="connsiteX1" fmla="*/ 59088 w 2020155"/>
                <a:gd name="connsiteY1" fmla="*/ 59110 h 3574942"/>
                <a:gd name="connsiteX2" fmla="*/ 104332 w 2020155"/>
                <a:gd name="connsiteY2" fmla="*/ 25773 h 3574942"/>
                <a:gd name="connsiteX3" fmla="*/ 142432 w 2020155"/>
                <a:gd name="connsiteY3" fmla="*/ 4342 h 3574942"/>
                <a:gd name="connsiteX4" fmla="*/ 225776 w 2020155"/>
                <a:gd name="connsiteY4" fmla="*/ 85306 h 3574942"/>
                <a:gd name="connsiteX5" fmla="*/ 190057 w 2020155"/>
                <a:gd name="connsiteY5" fmla="*/ 249612 h 3574942"/>
                <a:gd name="connsiteX6" fmla="*/ 454376 w 2020155"/>
                <a:gd name="connsiteY6" fmla="*/ 668712 h 3574942"/>
                <a:gd name="connsiteX7" fmla="*/ 554389 w 2020155"/>
                <a:gd name="connsiteY7" fmla="*/ 687762 h 3574942"/>
                <a:gd name="connsiteX8" fmla="*/ 780607 w 2020155"/>
                <a:gd name="connsiteY8" fmla="*/ 790156 h 3574942"/>
                <a:gd name="connsiteX9" fmla="*/ 502001 w 2020155"/>
                <a:gd name="connsiteY9" fmla="*/ 1178299 h 3574942"/>
                <a:gd name="connsiteX10" fmla="*/ 449614 w 2020155"/>
                <a:gd name="connsiteY10" fmla="*/ 1656931 h 3574942"/>
                <a:gd name="connsiteX11" fmla="*/ 1075882 w 2020155"/>
                <a:gd name="connsiteY11" fmla="*/ 1718843 h 3574942"/>
                <a:gd name="connsiteX12" fmla="*/ 1144939 w 2020155"/>
                <a:gd name="connsiteY12" fmla="*/ 1461668 h 3574942"/>
                <a:gd name="connsiteX13" fmla="*/ 952057 w 2020155"/>
                <a:gd name="connsiteY13" fmla="*/ 954461 h 3574942"/>
                <a:gd name="connsiteX14" fmla="*/ 1061595 w 2020155"/>
                <a:gd name="connsiteY14" fmla="*/ 840160 h 3574942"/>
                <a:gd name="connsiteX15" fmla="*/ 1235426 w 2020155"/>
                <a:gd name="connsiteY15" fmla="*/ 756817 h 3574942"/>
                <a:gd name="connsiteX16" fmla="*/ 1364013 w 2020155"/>
                <a:gd name="connsiteY16" fmla="*/ 785392 h 3574942"/>
                <a:gd name="connsiteX17" fmla="*/ 1880745 w 2020155"/>
                <a:gd name="connsiteY17" fmla="*/ 313906 h 3574942"/>
                <a:gd name="connsiteX18" fmla="*/ 1878708 w 2020155"/>
                <a:gd name="connsiteY18" fmla="*/ 166267 h 3574942"/>
                <a:gd name="connsiteX19" fmla="*/ 1954562 w 2020155"/>
                <a:gd name="connsiteY19" fmla="*/ 125785 h 3574942"/>
                <a:gd name="connsiteX20" fmla="*/ 1949801 w 2020155"/>
                <a:gd name="connsiteY20" fmla="*/ 437731 h 3574942"/>
                <a:gd name="connsiteX21" fmla="*/ 1052414 w 2020155"/>
                <a:gd name="connsiteY21" fmla="*/ 3574942 h 3574942"/>
                <a:gd name="connsiteX22" fmla="*/ 20679 w 2020155"/>
                <a:gd name="connsiteY22" fmla="*/ 3574942 h 3574942"/>
                <a:gd name="connsiteX23" fmla="*/ 380556 w 2020155"/>
                <a:gd name="connsiteY23" fmla="*/ 1523579 h 3574942"/>
                <a:gd name="connsiteX24" fmla="*/ 325787 w 2020155"/>
                <a:gd name="connsiteY24" fmla="*/ 1337841 h 3574942"/>
                <a:gd name="connsiteX25" fmla="*/ 437706 w 2020155"/>
                <a:gd name="connsiteY25" fmla="*/ 997323 h 3574942"/>
                <a:gd name="connsiteX26" fmla="*/ 156719 w 2020155"/>
                <a:gd name="connsiteY26" fmla="*/ 652041 h 3574942"/>
                <a:gd name="connsiteX27" fmla="*/ 37656 w 2020155"/>
                <a:gd name="connsiteY27" fmla="*/ 352004 h 3574942"/>
                <a:gd name="connsiteX28" fmla="*/ 87663 w 2020155"/>
                <a:gd name="connsiteY28" fmla="*/ 292473 h 3574942"/>
                <a:gd name="connsiteX29" fmla="*/ 39729 w 2020155"/>
                <a:gd name="connsiteY29" fmla="*/ 171030 h 3574942"/>
                <a:gd name="connsiteX0" fmla="*/ 39729 w 2010224"/>
                <a:gd name="connsiteY0" fmla="*/ 171030 h 3574942"/>
                <a:gd name="connsiteX1" fmla="*/ 59088 w 2010224"/>
                <a:gd name="connsiteY1" fmla="*/ 59110 h 3574942"/>
                <a:gd name="connsiteX2" fmla="*/ 104332 w 2010224"/>
                <a:gd name="connsiteY2" fmla="*/ 25773 h 3574942"/>
                <a:gd name="connsiteX3" fmla="*/ 142432 w 2010224"/>
                <a:gd name="connsiteY3" fmla="*/ 4342 h 3574942"/>
                <a:gd name="connsiteX4" fmla="*/ 225776 w 2010224"/>
                <a:gd name="connsiteY4" fmla="*/ 85306 h 3574942"/>
                <a:gd name="connsiteX5" fmla="*/ 190057 w 2010224"/>
                <a:gd name="connsiteY5" fmla="*/ 249612 h 3574942"/>
                <a:gd name="connsiteX6" fmla="*/ 454376 w 2010224"/>
                <a:gd name="connsiteY6" fmla="*/ 668712 h 3574942"/>
                <a:gd name="connsiteX7" fmla="*/ 554389 w 2010224"/>
                <a:gd name="connsiteY7" fmla="*/ 687762 h 3574942"/>
                <a:gd name="connsiteX8" fmla="*/ 780607 w 2010224"/>
                <a:gd name="connsiteY8" fmla="*/ 790156 h 3574942"/>
                <a:gd name="connsiteX9" fmla="*/ 502001 w 2010224"/>
                <a:gd name="connsiteY9" fmla="*/ 1178299 h 3574942"/>
                <a:gd name="connsiteX10" fmla="*/ 449614 w 2010224"/>
                <a:gd name="connsiteY10" fmla="*/ 1656931 h 3574942"/>
                <a:gd name="connsiteX11" fmla="*/ 1075882 w 2010224"/>
                <a:gd name="connsiteY11" fmla="*/ 1718843 h 3574942"/>
                <a:gd name="connsiteX12" fmla="*/ 1144939 w 2010224"/>
                <a:gd name="connsiteY12" fmla="*/ 1461668 h 3574942"/>
                <a:gd name="connsiteX13" fmla="*/ 952057 w 2010224"/>
                <a:gd name="connsiteY13" fmla="*/ 954461 h 3574942"/>
                <a:gd name="connsiteX14" fmla="*/ 1061595 w 2010224"/>
                <a:gd name="connsiteY14" fmla="*/ 840160 h 3574942"/>
                <a:gd name="connsiteX15" fmla="*/ 1235426 w 2010224"/>
                <a:gd name="connsiteY15" fmla="*/ 756817 h 3574942"/>
                <a:gd name="connsiteX16" fmla="*/ 1364013 w 2010224"/>
                <a:gd name="connsiteY16" fmla="*/ 785392 h 3574942"/>
                <a:gd name="connsiteX17" fmla="*/ 1880745 w 2010224"/>
                <a:gd name="connsiteY17" fmla="*/ 313906 h 3574942"/>
                <a:gd name="connsiteX18" fmla="*/ 1878708 w 2010224"/>
                <a:gd name="connsiteY18" fmla="*/ 166267 h 3574942"/>
                <a:gd name="connsiteX19" fmla="*/ 1954562 w 2010224"/>
                <a:gd name="connsiteY19" fmla="*/ 125785 h 3574942"/>
                <a:gd name="connsiteX20" fmla="*/ 1935513 w 2010224"/>
                <a:gd name="connsiteY20" fmla="*/ 440112 h 3574942"/>
                <a:gd name="connsiteX21" fmla="*/ 1052414 w 2010224"/>
                <a:gd name="connsiteY21" fmla="*/ 3574942 h 3574942"/>
                <a:gd name="connsiteX22" fmla="*/ 20679 w 2010224"/>
                <a:gd name="connsiteY22" fmla="*/ 3574942 h 3574942"/>
                <a:gd name="connsiteX23" fmla="*/ 380556 w 2010224"/>
                <a:gd name="connsiteY23" fmla="*/ 1523579 h 3574942"/>
                <a:gd name="connsiteX24" fmla="*/ 325787 w 2010224"/>
                <a:gd name="connsiteY24" fmla="*/ 1337841 h 3574942"/>
                <a:gd name="connsiteX25" fmla="*/ 437706 w 2010224"/>
                <a:gd name="connsiteY25" fmla="*/ 997323 h 3574942"/>
                <a:gd name="connsiteX26" fmla="*/ 156719 w 2010224"/>
                <a:gd name="connsiteY26" fmla="*/ 652041 h 3574942"/>
                <a:gd name="connsiteX27" fmla="*/ 37656 w 2010224"/>
                <a:gd name="connsiteY27" fmla="*/ 352004 h 3574942"/>
                <a:gd name="connsiteX28" fmla="*/ 87663 w 2010224"/>
                <a:gd name="connsiteY28" fmla="*/ 292473 h 3574942"/>
                <a:gd name="connsiteX29" fmla="*/ 39729 w 2010224"/>
                <a:gd name="connsiteY29" fmla="*/ 171030 h 3574942"/>
                <a:gd name="connsiteX0" fmla="*/ 39729 w 1990527"/>
                <a:gd name="connsiteY0" fmla="*/ 171030 h 3574942"/>
                <a:gd name="connsiteX1" fmla="*/ 59088 w 1990527"/>
                <a:gd name="connsiteY1" fmla="*/ 59110 h 3574942"/>
                <a:gd name="connsiteX2" fmla="*/ 104332 w 1990527"/>
                <a:gd name="connsiteY2" fmla="*/ 25773 h 3574942"/>
                <a:gd name="connsiteX3" fmla="*/ 142432 w 1990527"/>
                <a:gd name="connsiteY3" fmla="*/ 4342 h 3574942"/>
                <a:gd name="connsiteX4" fmla="*/ 225776 w 1990527"/>
                <a:gd name="connsiteY4" fmla="*/ 85306 h 3574942"/>
                <a:gd name="connsiteX5" fmla="*/ 190057 w 1990527"/>
                <a:gd name="connsiteY5" fmla="*/ 249612 h 3574942"/>
                <a:gd name="connsiteX6" fmla="*/ 454376 w 1990527"/>
                <a:gd name="connsiteY6" fmla="*/ 668712 h 3574942"/>
                <a:gd name="connsiteX7" fmla="*/ 554389 w 1990527"/>
                <a:gd name="connsiteY7" fmla="*/ 687762 h 3574942"/>
                <a:gd name="connsiteX8" fmla="*/ 780607 w 1990527"/>
                <a:gd name="connsiteY8" fmla="*/ 790156 h 3574942"/>
                <a:gd name="connsiteX9" fmla="*/ 502001 w 1990527"/>
                <a:gd name="connsiteY9" fmla="*/ 1178299 h 3574942"/>
                <a:gd name="connsiteX10" fmla="*/ 449614 w 1990527"/>
                <a:gd name="connsiteY10" fmla="*/ 1656931 h 3574942"/>
                <a:gd name="connsiteX11" fmla="*/ 1075882 w 1990527"/>
                <a:gd name="connsiteY11" fmla="*/ 1718843 h 3574942"/>
                <a:gd name="connsiteX12" fmla="*/ 1144939 w 1990527"/>
                <a:gd name="connsiteY12" fmla="*/ 1461668 h 3574942"/>
                <a:gd name="connsiteX13" fmla="*/ 952057 w 1990527"/>
                <a:gd name="connsiteY13" fmla="*/ 954461 h 3574942"/>
                <a:gd name="connsiteX14" fmla="*/ 1061595 w 1990527"/>
                <a:gd name="connsiteY14" fmla="*/ 840160 h 3574942"/>
                <a:gd name="connsiteX15" fmla="*/ 1235426 w 1990527"/>
                <a:gd name="connsiteY15" fmla="*/ 756817 h 3574942"/>
                <a:gd name="connsiteX16" fmla="*/ 1364013 w 1990527"/>
                <a:gd name="connsiteY16" fmla="*/ 785392 h 3574942"/>
                <a:gd name="connsiteX17" fmla="*/ 1880745 w 1990527"/>
                <a:gd name="connsiteY17" fmla="*/ 313906 h 3574942"/>
                <a:gd name="connsiteX18" fmla="*/ 1878708 w 1990527"/>
                <a:gd name="connsiteY18" fmla="*/ 166267 h 3574942"/>
                <a:gd name="connsiteX19" fmla="*/ 1954562 w 1990527"/>
                <a:gd name="connsiteY19" fmla="*/ 125785 h 3574942"/>
                <a:gd name="connsiteX20" fmla="*/ 1935513 w 1990527"/>
                <a:gd name="connsiteY20" fmla="*/ 440112 h 3574942"/>
                <a:gd name="connsiteX21" fmla="*/ 1052414 w 1990527"/>
                <a:gd name="connsiteY21" fmla="*/ 3574942 h 3574942"/>
                <a:gd name="connsiteX22" fmla="*/ 20679 w 1990527"/>
                <a:gd name="connsiteY22" fmla="*/ 3574942 h 3574942"/>
                <a:gd name="connsiteX23" fmla="*/ 380556 w 1990527"/>
                <a:gd name="connsiteY23" fmla="*/ 1523579 h 3574942"/>
                <a:gd name="connsiteX24" fmla="*/ 325787 w 1990527"/>
                <a:gd name="connsiteY24" fmla="*/ 1337841 h 3574942"/>
                <a:gd name="connsiteX25" fmla="*/ 437706 w 1990527"/>
                <a:gd name="connsiteY25" fmla="*/ 997323 h 3574942"/>
                <a:gd name="connsiteX26" fmla="*/ 156719 w 1990527"/>
                <a:gd name="connsiteY26" fmla="*/ 652041 h 3574942"/>
                <a:gd name="connsiteX27" fmla="*/ 37656 w 1990527"/>
                <a:gd name="connsiteY27" fmla="*/ 352004 h 3574942"/>
                <a:gd name="connsiteX28" fmla="*/ 87663 w 1990527"/>
                <a:gd name="connsiteY28" fmla="*/ 292473 h 3574942"/>
                <a:gd name="connsiteX29" fmla="*/ 39729 w 1990527"/>
                <a:gd name="connsiteY29" fmla="*/ 171030 h 3574942"/>
                <a:gd name="connsiteX0" fmla="*/ 39729 w 2034900"/>
                <a:gd name="connsiteY0" fmla="*/ 171030 h 3574942"/>
                <a:gd name="connsiteX1" fmla="*/ 59088 w 2034900"/>
                <a:gd name="connsiteY1" fmla="*/ 59110 h 3574942"/>
                <a:gd name="connsiteX2" fmla="*/ 104332 w 2034900"/>
                <a:gd name="connsiteY2" fmla="*/ 25773 h 3574942"/>
                <a:gd name="connsiteX3" fmla="*/ 142432 w 2034900"/>
                <a:gd name="connsiteY3" fmla="*/ 4342 h 3574942"/>
                <a:gd name="connsiteX4" fmla="*/ 225776 w 2034900"/>
                <a:gd name="connsiteY4" fmla="*/ 85306 h 3574942"/>
                <a:gd name="connsiteX5" fmla="*/ 190057 w 2034900"/>
                <a:gd name="connsiteY5" fmla="*/ 249612 h 3574942"/>
                <a:gd name="connsiteX6" fmla="*/ 454376 w 2034900"/>
                <a:gd name="connsiteY6" fmla="*/ 668712 h 3574942"/>
                <a:gd name="connsiteX7" fmla="*/ 554389 w 2034900"/>
                <a:gd name="connsiteY7" fmla="*/ 687762 h 3574942"/>
                <a:gd name="connsiteX8" fmla="*/ 780607 w 2034900"/>
                <a:gd name="connsiteY8" fmla="*/ 790156 h 3574942"/>
                <a:gd name="connsiteX9" fmla="*/ 502001 w 2034900"/>
                <a:gd name="connsiteY9" fmla="*/ 1178299 h 3574942"/>
                <a:gd name="connsiteX10" fmla="*/ 449614 w 2034900"/>
                <a:gd name="connsiteY10" fmla="*/ 1656931 h 3574942"/>
                <a:gd name="connsiteX11" fmla="*/ 1075882 w 2034900"/>
                <a:gd name="connsiteY11" fmla="*/ 1718843 h 3574942"/>
                <a:gd name="connsiteX12" fmla="*/ 1144939 w 2034900"/>
                <a:gd name="connsiteY12" fmla="*/ 1461668 h 3574942"/>
                <a:gd name="connsiteX13" fmla="*/ 952057 w 2034900"/>
                <a:gd name="connsiteY13" fmla="*/ 954461 h 3574942"/>
                <a:gd name="connsiteX14" fmla="*/ 1061595 w 2034900"/>
                <a:gd name="connsiteY14" fmla="*/ 840160 h 3574942"/>
                <a:gd name="connsiteX15" fmla="*/ 1235426 w 2034900"/>
                <a:gd name="connsiteY15" fmla="*/ 756817 h 3574942"/>
                <a:gd name="connsiteX16" fmla="*/ 1364013 w 2034900"/>
                <a:gd name="connsiteY16" fmla="*/ 785392 h 3574942"/>
                <a:gd name="connsiteX17" fmla="*/ 1880745 w 2034900"/>
                <a:gd name="connsiteY17" fmla="*/ 313906 h 3574942"/>
                <a:gd name="connsiteX18" fmla="*/ 1878708 w 2034900"/>
                <a:gd name="connsiteY18" fmla="*/ 166267 h 3574942"/>
                <a:gd name="connsiteX19" fmla="*/ 1954562 w 2034900"/>
                <a:gd name="connsiteY19" fmla="*/ 125785 h 3574942"/>
                <a:gd name="connsiteX20" fmla="*/ 2021238 w 2034900"/>
                <a:gd name="connsiteY20" fmla="*/ 178173 h 3574942"/>
                <a:gd name="connsiteX21" fmla="*/ 1935513 w 2034900"/>
                <a:gd name="connsiteY21" fmla="*/ 440112 h 3574942"/>
                <a:gd name="connsiteX22" fmla="*/ 1052414 w 2034900"/>
                <a:gd name="connsiteY22" fmla="*/ 3574942 h 3574942"/>
                <a:gd name="connsiteX23" fmla="*/ 20679 w 2034900"/>
                <a:gd name="connsiteY23" fmla="*/ 3574942 h 3574942"/>
                <a:gd name="connsiteX24" fmla="*/ 380556 w 2034900"/>
                <a:gd name="connsiteY24" fmla="*/ 1523579 h 3574942"/>
                <a:gd name="connsiteX25" fmla="*/ 325787 w 2034900"/>
                <a:gd name="connsiteY25" fmla="*/ 1337841 h 3574942"/>
                <a:gd name="connsiteX26" fmla="*/ 437706 w 2034900"/>
                <a:gd name="connsiteY26" fmla="*/ 997323 h 3574942"/>
                <a:gd name="connsiteX27" fmla="*/ 156719 w 2034900"/>
                <a:gd name="connsiteY27" fmla="*/ 652041 h 3574942"/>
                <a:gd name="connsiteX28" fmla="*/ 37656 w 2034900"/>
                <a:gd name="connsiteY28" fmla="*/ 352004 h 3574942"/>
                <a:gd name="connsiteX29" fmla="*/ 87663 w 2034900"/>
                <a:gd name="connsiteY29" fmla="*/ 292473 h 3574942"/>
                <a:gd name="connsiteX30" fmla="*/ 39729 w 2034900"/>
                <a:gd name="connsiteY30" fmla="*/ 171030 h 3574942"/>
                <a:gd name="connsiteX0" fmla="*/ 39729 w 2034900"/>
                <a:gd name="connsiteY0" fmla="*/ 171030 h 3574942"/>
                <a:gd name="connsiteX1" fmla="*/ 59088 w 2034900"/>
                <a:gd name="connsiteY1" fmla="*/ 59110 h 3574942"/>
                <a:gd name="connsiteX2" fmla="*/ 104332 w 2034900"/>
                <a:gd name="connsiteY2" fmla="*/ 25773 h 3574942"/>
                <a:gd name="connsiteX3" fmla="*/ 142432 w 2034900"/>
                <a:gd name="connsiteY3" fmla="*/ 4342 h 3574942"/>
                <a:gd name="connsiteX4" fmla="*/ 225776 w 2034900"/>
                <a:gd name="connsiteY4" fmla="*/ 85306 h 3574942"/>
                <a:gd name="connsiteX5" fmla="*/ 190057 w 2034900"/>
                <a:gd name="connsiteY5" fmla="*/ 249612 h 3574942"/>
                <a:gd name="connsiteX6" fmla="*/ 454376 w 2034900"/>
                <a:gd name="connsiteY6" fmla="*/ 668712 h 3574942"/>
                <a:gd name="connsiteX7" fmla="*/ 554389 w 2034900"/>
                <a:gd name="connsiteY7" fmla="*/ 687762 h 3574942"/>
                <a:gd name="connsiteX8" fmla="*/ 780607 w 2034900"/>
                <a:gd name="connsiteY8" fmla="*/ 790156 h 3574942"/>
                <a:gd name="connsiteX9" fmla="*/ 502001 w 2034900"/>
                <a:gd name="connsiteY9" fmla="*/ 1178299 h 3574942"/>
                <a:gd name="connsiteX10" fmla="*/ 449614 w 2034900"/>
                <a:gd name="connsiteY10" fmla="*/ 1656931 h 3574942"/>
                <a:gd name="connsiteX11" fmla="*/ 1075882 w 2034900"/>
                <a:gd name="connsiteY11" fmla="*/ 1718843 h 3574942"/>
                <a:gd name="connsiteX12" fmla="*/ 1144939 w 2034900"/>
                <a:gd name="connsiteY12" fmla="*/ 1461668 h 3574942"/>
                <a:gd name="connsiteX13" fmla="*/ 952057 w 2034900"/>
                <a:gd name="connsiteY13" fmla="*/ 954461 h 3574942"/>
                <a:gd name="connsiteX14" fmla="*/ 1061595 w 2034900"/>
                <a:gd name="connsiteY14" fmla="*/ 840160 h 3574942"/>
                <a:gd name="connsiteX15" fmla="*/ 1235426 w 2034900"/>
                <a:gd name="connsiteY15" fmla="*/ 756817 h 3574942"/>
                <a:gd name="connsiteX16" fmla="*/ 1364013 w 2034900"/>
                <a:gd name="connsiteY16" fmla="*/ 785392 h 3574942"/>
                <a:gd name="connsiteX17" fmla="*/ 1880745 w 2034900"/>
                <a:gd name="connsiteY17" fmla="*/ 313906 h 3574942"/>
                <a:gd name="connsiteX18" fmla="*/ 1878708 w 2034900"/>
                <a:gd name="connsiteY18" fmla="*/ 166267 h 3574942"/>
                <a:gd name="connsiteX19" fmla="*/ 1954562 w 2034900"/>
                <a:gd name="connsiteY19" fmla="*/ 125785 h 3574942"/>
                <a:gd name="connsiteX20" fmla="*/ 2021238 w 2034900"/>
                <a:gd name="connsiteY20" fmla="*/ 178173 h 3574942"/>
                <a:gd name="connsiteX21" fmla="*/ 1935513 w 2034900"/>
                <a:gd name="connsiteY21" fmla="*/ 440112 h 3574942"/>
                <a:gd name="connsiteX22" fmla="*/ 1052414 w 2034900"/>
                <a:gd name="connsiteY22" fmla="*/ 3574942 h 3574942"/>
                <a:gd name="connsiteX23" fmla="*/ 20679 w 2034900"/>
                <a:gd name="connsiteY23" fmla="*/ 3574942 h 3574942"/>
                <a:gd name="connsiteX24" fmla="*/ 380556 w 2034900"/>
                <a:gd name="connsiteY24" fmla="*/ 1523579 h 3574942"/>
                <a:gd name="connsiteX25" fmla="*/ 325787 w 2034900"/>
                <a:gd name="connsiteY25" fmla="*/ 1337841 h 3574942"/>
                <a:gd name="connsiteX26" fmla="*/ 437706 w 2034900"/>
                <a:gd name="connsiteY26" fmla="*/ 997323 h 3574942"/>
                <a:gd name="connsiteX27" fmla="*/ 156719 w 2034900"/>
                <a:gd name="connsiteY27" fmla="*/ 652041 h 3574942"/>
                <a:gd name="connsiteX28" fmla="*/ 37656 w 2034900"/>
                <a:gd name="connsiteY28" fmla="*/ 352004 h 3574942"/>
                <a:gd name="connsiteX29" fmla="*/ 87663 w 2034900"/>
                <a:gd name="connsiteY29" fmla="*/ 292473 h 3574942"/>
                <a:gd name="connsiteX30" fmla="*/ 39729 w 2034900"/>
                <a:gd name="connsiteY30" fmla="*/ 171030 h 3574942"/>
                <a:gd name="connsiteX0" fmla="*/ 39729 w 2047505"/>
                <a:gd name="connsiteY0" fmla="*/ 171030 h 3574942"/>
                <a:gd name="connsiteX1" fmla="*/ 59088 w 2047505"/>
                <a:gd name="connsiteY1" fmla="*/ 59110 h 3574942"/>
                <a:gd name="connsiteX2" fmla="*/ 104332 w 2047505"/>
                <a:gd name="connsiteY2" fmla="*/ 25773 h 3574942"/>
                <a:gd name="connsiteX3" fmla="*/ 142432 w 2047505"/>
                <a:gd name="connsiteY3" fmla="*/ 4342 h 3574942"/>
                <a:gd name="connsiteX4" fmla="*/ 225776 w 2047505"/>
                <a:gd name="connsiteY4" fmla="*/ 85306 h 3574942"/>
                <a:gd name="connsiteX5" fmla="*/ 190057 w 2047505"/>
                <a:gd name="connsiteY5" fmla="*/ 249612 h 3574942"/>
                <a:gd name="connsiteX6" fmla="*/ 454376 w 2047505"/>
                <a:gd name="connsiteY6" fmla="*/ 668712 h 3574942"/>
                <a:gd name="connsiteX7" fmla="*/ 554389 w 2047505"/>
                <a:gd name="connsiteY7" fmla="*/ 687762 h 3574942"/>
                <a:gd name="connsiteX8" fmla="*/ 780607 w 2047505"/>
                <a:gd name="connsiteY8" fmla="*/ 790156 h 3574942"/>
                <a:gd name="connsiteX9" fmla="*/ 502001 w 2047505"/>
                <a:gd name="connsiteY9" fmla="*/ 1178299 h 3574942"/>
                <a:gd name="connsiteX10" fmla="*/ 449614 w 2047505"/>
                <a:gd name="connsiteY10" fmla="*/ 1656931 h 3574942"/>
                <a:gd name="connsiteX11" fmla="*/ 1075882 w 2047505"/>
                <a:gd name="connsiteY11" fmla="*/ 1718843 h 3574942"/>
                <a:gd name="connsiteX12" fmla="*/ 1144939 w 2047505"/>
                <a:gd name="connsiteY12" fmla="*/ 1461668 h 3574942"/>
                <a:gd name="connsiteX13" fmla="*/ 952057 w 2047505"/>
                <a:gd name="connsiteY13" fmla="*/ 954461 h 3574942"/>
                <a:gd name="connsiteX14" fmla="*/ 1061595 w 2047505"/>
                <a:gd name="connsiteY14" fmla="*/ 840160 h 3574942"/>
                <a:gd name="connsiteX15" fmla="*/ 1235426 w 2047505"/>
                <a:gd name="connsiteY15" fmla="*/ 756817 h 3574942"/>
                <a:gd name="connsiteX16" fmla="*/ 1364013 w 2047505"/>
                <a:gd name="connsiteY16" fmla="*/ 785392 h 3574942"/>
                <a:gd name="connsiteX17" fmla="*/ 1880745 w 2047505"/>
                <a:gd name="connsiteY17" fmla="*/ 313906 h 3574942"/>
                <a:gd name="connsiteX18" fmla="*/ 1878708 w 2047505"/>
                <a:gd name="connsiteY18" fmla="*/ 166267 h 3574942"/>
                <a:gd name="connsiteX19" fmla="*/ 1954562 w 2047505"/>
                <a:gd name="connsiteY19" fmla="*/ 125785 h 3574942"/>
                <a:gd name="connsiteX20" fmla="*/ 2021238 w 2047505"/>
                <a:gd name="connsiteY20" fmla="*/ 178173 h 3574942"/>
                <a:gd name="connsiteX21" fmla="*/ 1935513 w 2047505"/>
                <a:gd name="connsiteY21" fmla="*/ 440112 h 3574942"/>
                <a:gd name="connsiteX22" fmla="*/ 1052414 w 2047505"/>
                <a:gd name="connsiteY22" fmla="*/ 3574942 h 3574942"/>
                <a:gd name="connsiteX23" fmla="*/ 20679 w 2047505"/>
                <a:gd name="connsiteY23" fmla="*/ 3574942 h 3574942"/>
                <a:gd name="connsiteX24" fmla="*/ 380556 w 2047505"/>
                <a:gd name="connsiteY24" fmla="*/ 1523579 h 3574942"/>
                <a:gd name="connsiteX25" fmla="*/ 325787 w 2047505"/>
                <a:gd name="connsiteY25" fmla="*/ 1337841 h 3574942"/>
                <a:gd name="connsiteX26" fmla="*/ 437706 w 2047505"/>
                <a:gd name="connsiteY26" fmla="*/ 997323 h 3574942"/>
                <a:gd name="connsiteX27" fmla="*/ 156719 w 2047505"/>
                <a:gd name="connsiteY27" fmla="*/ 652041 h 3574942"/>
                <a:gd name="connsiteX28" fmla="*/ 37656 w 2047505"/>
                <a:gd name="connsiteY28" fmla="*/ 352004 h 3574942"/>
                <a:gd name="connsiteX29" fmla="*/ 87663 w 2047505"/>
                <a:gd name="connsiteY29" fmla="*/ 292473 h 3574942"/>
                <a:gd name="connsiteX30" fmla="*/ 39729 w 2047505"/>
                <a:gd name="connsiteY30" fmla="*/ 171030 h 3574942"/>
                <a:gd name="connsiteX0" fmla="*/ 39729 w 2029502"/>
                <a:gd name="connsiteY0" fmla="*/ 171030 h 3574942"/>
                <a:gd name="connsiteX1" fmla="*/ 59088 w 2029502"/>
                <a:gd name="connsiteY1" fmla="*/ 59110 h 3574942"/>
                <a:gd name="connsiteX2" fmla="*/ 104332 w 2029502"/>
                <a:gd name="connsiteY2" fmla="*/ 25773 h 3574942"/>
                <a:gd name="connsiteX3" fmla="*/ 142432 w 2029502"/>
                <a:gd name="connsiteY3" fmla="*/ 4342 h 3574942"/>
                <a:gd name="connsiteX4" fmla="*/ 225776 w 2029502"/>
                <a:gd name="connsiteY4" fmla="*/ 85306 h 3574942"/>
                <a:gd name="connsiteX5" fmla="*/ 190057 w 2029502"/>
                <a:gd name="connsiteY5" fmla="*/ 249612 h 3574942"/>
                <a:gd name="connsiteX6" fmla="*/ 454376 w 2029502"/>
                <a:gd name="connsiteY6" fmla="*/ 668712 h 3574942"/>
                <a:gd name="connsiteX7" fmla="*/ 554389 w 2029502"/>
                <a:gd name="connsiteY7" fmla="*/ 687762 h 3574942"/>
                <a:gd name="connsiteX8" fmla="*/ 780607 w 2029502"/>
                <a:gd name="connsiteY8" fmla="*/ 790156 h 3574942"/>
                <a:gd name="connsiteX9" fmla="*/ 502001 w 2029502"/>
                <a:gd name="connsiteY9" fmla="*/ 1178299 h 3574942"/>
                <a:gd name="connsiteX10" fmla="*/ 449614 w 2029502"/>
                <a:gd name="connsiteY10" fmla="*/ 1656931 h 3574942"/>
                <a:gd name="connsiteX11" fmla="*/ 1075882 w 2029502"/>
                <a:gd name="connsiteY11" fmla="*/ 1718843 h 3574942"/>
                <a:gd name="connsiteX12" fmla="*/ 1144939 w 2029502"/>
                <a:gd name="connsiteY12" fmla="*/ 1461668 h 3574942"/>
                <a:gd name="connsiteX13" fmla="*/ 952057 w 2029502"/>
                <a:gd name="connsiteY13" fmla="*/ 954461 h 3574942"/>
                <a:gd name="connsiteX14" fmla="*/ 1061595 w 2029502"/>
                <a:gd name="connsiteY14" fmla="*/ 840160 h 3574942"/>
                <a:gd name="connsiteX15" fmla="*/ 1235426 w 2029502"/>
                <a:gd name="connsiteY15" fmla="*/ 756817 h 3574942"/>
                <a:gd name="connsiteX16" fmla="*/ 1364013 w 2029502"/>
                <a:gd name="connsiteY16" fmla="*/ 785392 h 3574942"/>
                <a:gd name="connsiteX17" fmla="*/ 1880745 w 2029502"/>
                <a:gd name="connsiteY17" fmla="*/ 313906 h 3574942"/>
                <a:gd name="connsiteX18" fmla="*/ 1878708 w 2029502"/>
                <a:gd name="connsiteY18" fmla="*/ 166267 h 3574942"/>
                <a:gd name="connsiteX19" fmla="*/ 1954562 w 2029502"/>
                <a:gd name="connsiteY19" fmla="*/ 125785 h 3574942"/>
                <a:gd name="connsiteX20" fmla="*/ 2021238 w 2029502"/>
                <a:gd name="connsiteY20" fmla="*/ 178173 h 3574942"/>
                <a:gd name="connsiteX21" fmla="*/ 1935513 w 2029502"/>
                <a:gd name="connsiteY21" fmla="*/ 440112 h 3574942"/>
                <a:gd name="connsiteX22" fmla="*/ 1052414 w 2029502"/>
                <a:gd name="connsiteY22" fmla="*/ 3574942 h 3574942"/>
                <a:gd name="connsiteX23" fmla="*/ 20679 w 2029502"/>
                <a:gd name="connsiteY23" fmla="*/ 3574942 h 3574942"/>
                <a:gd name="connsiteX24" fmla="*/ 380556 w 2029502"/>
                <a:gd name="connsiteY24" fmla="*/ 1523579 h 3574942"/>
                <a:gd name="connsiteX25" fmla="*/ 325787 w 2029502"/>
                <a:gd name="connsiteY25" fmla="*/ 1337841 h 3574942"/>
                <a:gd name="connsiteX26" fmla="*/ 437706 w 2029502"/>
                <a:gd name="connsiteY26" fmla="*/ 997323 h 3574942"/>
                <a:gd name="connsiteX27" fmla="*/ 156719 w 2029502"/>
                <a:gd name="connsiteY27" fmla="*/ 652041 h 3574942"/>
                <a:gd name="connsiteX28" fmla="*/ 37656 w 2029502"/>
                <a:gd name="connsiteY28" fmla="*/ 352004 h 3574942"/>
                <a:gd name="connsiteX29" fmla="*/ 87663 w 2029502"/>
                <a:gd name="connsiteY29" fmla="*/ 292473 h 3574942"/>
                <a:gd name="connsiteX30" fmla="*/ 39729 w 2029502"/>
                <a:gd name="connsiteY30" fmla="*/ 171030 h 3574942"/>
                <a:gd name="connsiteX0" fmla="*/ 39729 w 2021125"/>
                <a:gd name="connsiteY0" fmla="*/ 171030 h 3574942"/>
                <a:gd name="connsiteX1" fmla="*/ 59088 w 2021125"/>
                <a:gd name="connsiteY1" fmla="*/ 59110 h 3574942"/>
                <a:gd name="connsiteX2" fmla="*/ 104332 w 2021125"/>
                <a:gd name="connsiteY2" fmla="*/ 25773 h 3574942"/>
                <a:gd name="connsiteX3" fmla="*/ 142432 w 2021125"/>
                <a:gd name="connsiteY3" fmla="*/ 4342 h 3574942"/>
                <a:gd name="connsiteX4" fmla="*/ 225776 w 2021125"/>
                <a:gd name="connsiteY4" fmla="*/ 85306 h 3574942"/>
                <a:gd name="connsiteX5" fmla="*/ 190057 w 2021125"/>
                <a:gd name="connsiteY5" fmla="*/ 249612 h 3574942"/>
                <a:gd name="connsiteX6" fmla="*/ 454376 w 2021125"/>
                <a:gd name="connsiteY6" fmla="*/ 668712 h 3574942"/>
                <a:gd name="connsiteX7" fmla="*/ 554389 w 2021125"/>
                <a:gd name="connsiteY7" fmla="*/ 687762 h 3574942"/>
                <a:gd name="connsiteX8" fmla="*/ 780607 w 2021125"/>
                <a:gd name="connsiteY8" fmla="*/ 790156 h 3574942"/>
                <a:gd name="connsiteX9" fmla="*/ 502001 w 2021125"/>
                <a:gd name="connsiteY9" fmla="*/ 1178299 h 3574942"/>
                <a:gd name="connsiteX10" fmla="*/ 449614 w 2021125"/>
                <a:gd name="connsiteY10" fmla="*/ 1656931 h 3574942"/>
                <a:gd name="connsiteX11" fmla="*/ 1075882 w 2021125"/>
                <a:gd name="connsiteY11" fmla="*/ 1718843 h 3574942"/>
                <a:gd name="connsiteX12" fmla="*/ 1144939 w 2021125"/>
                <a:gd name="connsiteY12" fmla="*/ 1461668 h 3574942"/>
                <a:gd name="connsiteX13" fmla="*/ 952057 w 2021125"/>
                <a:gd name="connsiteY13" fmla="*/ 954461 h 3574942"/>
                <a:gd name="connsiteX14" fmla="*/ 1061595 w 2021125"/>
                <a:gd name="connsiteY14" fmla="*/ 840160 h 3574942"/>
                <a:gd name="connsiteX15" fmla="*/ 1235426 w 2021125"/>
                <a:gd name="connsiteY15" fmla="*/ 756817 h 3574942"/>
                <a:gd name="connsiteX16" fmla="*/ 1364013 w 2021125"/>
                <a:gd name="connsiteY16" fmla="*/ 785392 h 3574942"/>
                <a:gd name="connsiteX17" fmla="*/ 1880745 w 2021125"/>
                <a:gd name="connsiteY17" fmla="*/ 313906 h 3574942"/>
                <a:gd name="connsiteX18" fmla="*/ 1878708 w 2021125"/>
                <a:gd name="connsiteY18" fmla="*/ 166267 h 3574942"/>
                <a:gd name="connsiteX19" fmla="*/ 1954562 w 2021125"/>
                <a:gd name="connsiteY19" fmla="*/ 125785 h 3574942"/>
                <a:gd name="connsiteX20" fmla="*/ 2011713 w 2021125"/>
                <a:gd name="connsiteY20" fmla="*/ 175792 h 3574942"/>
                <a:gd name="connsiteX21" fmla="*/ 1935513 w 2021125"/>
                <a:gd name="connsiteY21" fmla="*/ 440112 h 3574942"/>
                <a:gd name="connsiteX22" fmla="*/ 1052414 w 2021125"/>
                <a:gd name="connsiteY22" fmla="*/ 3574942 h 3574942"/>
                <a:gd name="connsiteX23" fmla="*/ 20679 w 2021125"/>
                <a:gd name="connsiteY23" fmla="*/ 3574942 h 3574942"/>
                <a:gd name="connsiteX24" fmla="*/ 380556 w 2021125"/>
                <a:gd name="connsiteY24" fmla="*/ 1523579 h 3574942"/>
                <a:gd name="connsiteX25" fmla="*/ 325787 w 2021125"/>
                <a:gd name="connsiteY25" fmla="*/ 1337841 h 3574942"/>
                <a:gd name="connsiteX26" fmla="*/ 437706 w 2021125"/>
                <a:gd name="connsiteY26" fmla="*/ 997323 h 3574942"/>
                <a:gd name="connsiteX27" fmla="*/ 156719 w 2021125"/>
                <a:gd name="connsiteY27" fmla="*/ 652041 h 3574942"/>
                <a:gd name="connsiteX28" fmla="*/ 37656 w 2021125"/>
                <a:gd name="connsiteY28" fmla="*/ 352004 h 3574942"/>
                <a:gd name="connsiteX29" fmla="*/ 87663 w 2021125"/>
                <a:gd name="connsiteY29" fmla="*/ 292473 h 3574942"/>
                <a:gd name="connsiteX30" fmla="*/ 39729 w 2021125"/>
                <a:gd name="connsiteY30" fmla="*/ 171030 h 3574942"/>
                <a:gd name="connsiteX0" fmla="*/ 39729 w 2052272"/>
                <a:gd name="connsiteY0" fmla="*/ 171030 h 3574942"/>
                <a:gd name="connsiteX1" fmla="*/ 59088 w 2052272"/>
                <a:gd name="connsiteY1" fmla="*/ 59110 h 3574942"/>
                <a:gd name="connsiteX2" fmla="*/ 104332 w 2052272"/>
                <a:gd name="connsiteY2" fmla="*/ 25773 h 3574942"/>
                <a:gd name="connsiteX3" fmla="*/ 142432 w 2052272"/>
                <a:gd name="connsiteY3" fmla="*/ 4342 h 3574942"/>
                <a:gd name="connsiteX4" fmla="*/ 225776 w 2052272"/>
                <a:gd name="connsiteY4" fmla="*/ 85306 h 3574942"/>
                <a:gd name="connsiteX5" fmla="*/ 190057 w 2052272"/>
                <a:gd name="connsiteY5" fmla="*/ 249612 h 3574942"/>
                <a:gd name="connsiteX6" fmla="*/ 454376 w 2052272"/>
                <a:gd name="connsiteY6" fmla="*/ 668712 h 3574942"/>
                <a:gd name="connsiteX7" fmla="*/ 554389 w 2052272"/>
                <a:gd name="connsiteY7" fmla="*/ 687762 h 3574942"/>
                <a:gd name="connsiteX8" fmla="*/ 780607 w 2052272"/>
                <a:gd name="connsiteY8" fmla="*/ 790156 h 3574942"/>
                <a:gd name="connsiteX9" fmla="*/ 502001 w 2052272"/>
                <a:gd name="connsiteY9" fmla="*/ 1178299 h 3574942"/>
                <a:gd name="connsiteX10" fmla="*/ 449614 w 2052272"/>
                <a:gd name="connsiteY10" fmla="*/ 1656931 h 3574942"/>
                <a:gd name="connsiteX11" fmla="*/ 1075882 w 2052272"/>
                <a:gd name="connsiteY11" fmla="*/ 1718843 h 3574942"/>
                <a:gd name="connsiteX12" fmla="*/ 1144939 w 2052272"/>
                <a:gd name="connsiteY12" fmla="*/ 1461668 h 3574942"/>
                <a:gd name="connsiteX13" fmla="*/ 952057 w 2052272"/>
                <a:gd name="connsiteY13" fmla="*/ 954461 h 3574942"/>
                <a:gd name="connsiteX14" fmla="*/ 1061595 w 2052272"/>
                <a:gd name="connsiteY14" fmla="*/ 840160 h 3574942"/>
                <a:gd name="connsiteX15" fmla="*/ 1235426 w 2052272"/>
                <a:gd name="connsiteY15" fmla="*/ 756817 h 3574942"/>
                <a:gd name="connsiteX16" fmla="*/ 1364013 w 2052272"/>
                <a:gd name="connsiteY16" fmla="*/ 785392 h 3574942"/>
                <a:gd name="connsiteX17" fmla="*/ 1880745 w 2052272"/>
                <a:gd name="connsiteY17" fmla="*/ 313906 h 3574942"/>
                <a:gd name="connsiteX18" fmla="*/ 1878708 w 2052272"/>
                <a:gd name="connsiteY18" fmla="*/ 166267 h 3574942"/>
                <a:gd name="connsiteX19" fmla="*/ 1954562 w 2052272"/>
                <a:gd name="connsiteY19" fmla="*/ 125785 h 3574942"/>
                <a:gd name="connsiteX20" fmla="*/ 2011713 w 2052272"/>
                <a:gd name="connsiteY20" fmla="*/ 175792 h 3574942"/>
                <a:gd name="connsiteX21" fmla="*/ 2049813 w 2052272"/>
                <a:gd name="connsiteY21" fmla="*/ 242466 h 3574942"/>
                <a:gd name="connsiteX22" fmla="*/ 1935513 w 2052272"/>
                <a:gd name="connsiteY22" fmla="*/ 440112 h 3574942"/>
                <a:gd name="connsiteX23" fmla="*/ 1052414 w 2052272"/>
                <a:gd name="connsiteY23" fmla="*/ 3574942 h 3574942"/>
                <a:gd name="connsiteX24" fmla="*/ 20679 w 2052272"/>
                <a:gd name="connsiteY24" fmla="*/ 3574942 h 3574942"/>
                <a:gd name="connsiteX25" fmla="*/ 380556 w 2052272"/>
                <a:gd name="connsiteY25" fmla="*/ 1523579 h 3574942"/>
                <a:gd name="connsiteX26" fmla="*/ 325787 w 2052272"/>
                <a:gd name="connsiteY26" fmla="*/ 1337841 h 3574942"/>
                <a:gd name="connsiteX27" fmla="*/ 437706 w 2052272"/>
                <a:gd name="connsiteY27" fmla="*/ 997323 h 3574942"/>
                <a:gd name="connsiteX28" fmla="*/ 156719 w 2052272"/>
                <a:gd name="connsiteY28" fmla="*/ 652041 h 3574942"/>
                <a:gd name="connsiteX29" fmla="*/ 37656 w 2052272"/>
                <a:gd name="connsiteY29" fmla="*/ 352004 h 3574942"/>
                <a:gd name="connsiteX30" fmla="*/ 87663 w 2052272"/>
                <a:gd name="connsiteY30" fmla="*/ 292473 h 3574942"/>
                <a:gd name="connsiteX31" fmla="*/ 39729 w 2052272"/>
                <a:gd name="connsiteY31" fmla="*/ 171030 h 3574942"/>
                <a:gd name="connsiteX0" fmla="*/ 39729 w 2052272"/>
                <a:gd name="connsiteY0" fmla="*/ 171030 h 3574942"/>
                <a:gd name="connsiteX1" fmla="*/ 59088 w 2052272"/>
                <a:gd name="connsiteY1" fmla="*/ 59110 h 3574942"/>
                <a:gd name="connsiteX2" fmla="*/ 104332 w 2052272"/>
                <a:gd name="connsiteY2" fmla="*/ 25773 h 3574942"/>
                <a:gd name="connsiteX3" fmla="*/ 142432 w 2052272"/>
                <a:gd name="connsiteY3" fmla="*/ 4342 h 3574942"/>
                <a:gd name="connsiteX4" fmla="*/ 225776 w 2052272"/>
                <a:gd name="connsiteY4" fmla="*/ 85306 h 3574942"/>
                <a:gd name="connsiteX5" fmla="*/ 190057 w 2052272"/>
                <a:gd name="connsiteY5" fmla="*/ 249612 h 3574942"/>
                <a:gd name="connsiteX6" fmla="*/ 454376 w 2052272"/>
                <a:gd name="connsiteY6" fmla="*/ 668712 h 3574942"/>
                <a:gd name="connsiteX7" fmla="*/ 554389 w 2052272"/>
                <a:gd name="connsiteY7" fmla="*/ 687762 h 3574942"/>
                <a:gd name="connsiteX8" fmla="*/ 780607 w 2052272"/>
                <a:gd name="connsiteY8" fmla="*/ 790156 h 3574942"/>
                <a:gd name="connsiteX9" fmla="*/ 502001 w 2052272"/>
                <a:gd name="connsiteY9" fmla="*/ 1178299 h 3574942"/>
                <a:gd name="connsiteX10" fmla="*/ 449614 w 2052272"/>
                <a:gd name="connsiteY10" fmla="*/ 1656931 h 3574942"/>
                <a:gd name="connsiteX11" fmla="*/ 1075882 w 2052272"/>
                <a:gd name="connsiteY11" fmla="*/ 1718843 h 3574942"/>
                <a:gd name="connsiteX12" fmla="*/ 1144939 w 2052272"/>
                <a:gd name="connsiteY12" fmla="*/ 1461668 h 3574942"/>
                <a:gd name="connsiteX13" fmla="*/ 952057 w 2052272"/>
                <a:gd name="connsiteY13" fmla="*/ 954461 h 3574942"/>
                <a:gd name="connsiteX14" fmla="*/ 1061595 w 2052272"/>
                <a:gd name="connsiteY14" fmla="*/ 840160 h 3574942"/>
                <a:gd name="connsiteX15" fmla="*/ 1235426 w 2052272"/>
                <a:gd name="connsiteY15" fmla="*/ 756817 h 3574942"/>
                <a:gd name="connsiteX16" fmla="*/ 1364013 w 2052272"/>
                <a:gd name="connsiteY16" fmla="*/ 785392 h 3574942"/>
                <a:gd name="connsiteX17" fmla="*/ 1880745 w 2052272"/>
                <a:gd name="connsiteY17" fmla="*/ 313906 h 3574942"/>
                <a:gd name="connsiteX18" fmla="*/ 1878708 w 2052272"/>
                <a:gd name="connsiteY18" fmla="*/ 166267 h 3574942"/>
                <a:gd name="connsiteX19" fmla="*/ 1954562 w 2052272"/>
                <a:gd name="connsiteY19" fmla="*/ 125785 h 3574942"/>
                <a:gd name="connsiteX20" fmla="*/ 2011713 w 2052272"/>
                <a:gd name="connsiteY20" fmla="*/ 175792 h 3574942"/>
                <a:gd name="connsiteX21" fmla="*/ 2049813 w 2052272"/>
                <a:gd name="connsiteY21" fmla="*/ 242466 h 3574942"/>
                <a:gd name="connsiteX22" fmla="*/ 1935513 w 2052272"/>
                <a:gd name="connsiteY22" fmla="*/ 440112 h 3574942"/>
                <a:gd name="connsiteX23" fmla="*/ 1052414 w 2052272"/>
                <a:gd name="connsiteY23" fmla="*/ 3574942 h 3574942"/>
                <a:gd name="connsiteX24" fmla="*/ 20679 w 2052272"/>
                <a:gd name="connsiteY24" fmla="*/ 3574942 h 3574942"/>
                <a:gd name="connsiteX25" fmla="*/ 380556 w 2052272"/>
                <a:gd name="connsiteY25" fmla="*/ 1523579 h 3574942"/>
                <a:gd name="connsiteX26" fmla="*/ 325787 w 2052272"/>
                <a:gd name="connsiteY26" fmla="*/ 1337841 h 3574942"/>
                <a:gd name="connsiteX27" fmla="*/ 437706 w 2052272"/>
                <a:gd name="connsiteY27" fmla="*/ 997323 h 3574942"/>
                <a:gd name="connsiteX28" fmla="*/ 156719 w 2052272"/>
                <a:gd name="connsiteY28" fmla="*/ 652041 h 3574942"/>
                <a:gd name="connsiteX29" fmla="*/ 37656 w 2052272"/>
                <a:gd name="connsiteY29" fmla="*/ 352004 h 3574942"/>
                <a:gd name="connsiteX30" fmla="*/ 87663 w 2052272"/>
                <a:gd name="connsiteY30" fmla="*/ 292473 h 3574942"/>
                <a:gd name="connsiteX31" fmla="*/ 39729 w 2052272"/>
                <a:gd name="connsiteY31" fmla="*/ 171030 h 3574942"/>
                <a:gd name="connsiteX0" fmla="*/ 39729 w 2052272"/>
                <a:gd name="connsiteY0" fmla="*/ 171030 h 3574942"/>
                <a:gd name="connsiteX1" fmla="*/ 59088 w 2052272"/>
                <a:gd name="connsiteY1" fmla="*/ 59110 h 3574942"/>
                <a:gd name="connsiteX2" fmla="*/ 104332 w 2052272"/>
                <a:gd name="connsiteY2" fmla="*/ 25773 h 3574942"/>
                <a:gd name="connsiteX3" fmla="*/ 142432 w 2052272"/>
                <a:gd name="connsiteY3" fmla="*/ 4342 h 3574942"/>
                <a:gd name="connsiteX4" fmla="*/ 225776 w 2052272"/>
                <a:gd name="connsiteY4" fmla="*/ 85306 h 3574942"/>
                <a:gd name="connsiteX5" fmla="*/ 190057 w 2052272"/>
                <a:gd name="connsiteY5" fmla="*/ 249612 h 3574942"/>
                <a:gd name="connsiteX6" fmla="*/ 454376 w 2052272"/>
                <a:gd name="connsiteY6" fmla="*/ 668712 h 3574942"/>
                <a:gd name="connsiteX7" fmla="*/ 554389 w 2052272"/>
                <a:gd name="connsiteY7" fmla="*/ 687762 h 3574942"/>
                <a:gd name="connsiteX8" fmla="*/ 780607 w 2052272"/>
                <a:gd name="connsiteY8" fmla="*/ 790156 h 3574942"/>
                <a:gd name="connsiteX9" fmla="*/ 502001 w 2052272"/>
                <a:gd name="connsiteY9" fmla="*/ 1178299 h 3574942"/>
                <a:gd name="connsiteX10" fmla="*/ 449614 w 2052272"/>
                <a:gd name="connsiteY10" fmla="*/ 1656931 h 3574942"/>
                <a:gd name="connsiteX11" fmla="*/ 1075882 w 2052272"/>
                <a:gd name="connsiteY11" fmla="*/ 1718843 h 3574942"/>
                <a:gd name="connsiteX12" fmla="*/ 1144939 w 2052272"/>
                <a:gd name="connsiteY12" fmla="*/ 1461668 h 3574942"/>
                <a:gd name="connsiteX13" fmla="*/ 952057 w 2052272"/>
                <a:gd name="connsiteY13" fmla="*/ 954461 h 3574942"/>
                <a:gd name="connsiteX14" fmla="*/ 1061595 w 2052272"/>
                <a:gd name="connsiteY14" fmla="*/ 840160 h 3574942"/>
                <a:gd name="connsiteX15" fmla="*/ 1235426 w 2052272"/>
                <a:gd name="connsiteY15" fmla="*/ 756817 h 3574942"/>
                <a:gd name="connsiteX16" fmla="*/ 1364013 w 2052272"/>
                <a:gd name="connsiteY16" fmla="*/ 785392 h 3574942"/>
                <a:gd name="connsiteX17" fmla="*/ 1880745 w 2052272"/>
                <a:gd name="connsiteY17" fmla="*/ 313906 h 3574942"/>
                <a:gd name="connsiteX18" fmla="*/ 1878708 w 2052272"/>
                <a:gd name="connsiteY18" fmla="*/ 166267 h 3574942"/>
                <a:gd name="connsiteX19" fmla="*/ 1954562 w 2052272"/>
                <a:gd name="connsiteY19" fmla="*/ 125785 h 3574942"/>
                <a:gd name="connsiteX20" fmla="*/ 2011713 w 2052272"/>
                <a:gd name="connsiteY20" fmla="*/ 175792 h 3574942"/>
                <a:gd name="connsiteX21" fmla="*/ 2049813 w 2052272"/>
                <a:gd name="connsiteY21" fmla="*/ 228178 h 3574942"/>
                <a:gd name="connsiteX22" fmla="*/ 1935513 w 2052272"/>
                <a:gd name="connsiteY22" fmla="*/ 440112 h 3574942"/>
                <a:gd name="connsiteX23" fmla="*/ 1052414 w 2052272"/>
                <a:gd name="connsiteY23" fmla="*/ 3574942 h 3574942"/>
                <a:gd name="connsiteX24" fmla="*/ 20679 w 2052272"/>
                <a:gd name="connsiteY24" fmla="*/ 3574942 h 3574942"/>
                <a:gd name="connsiteX25" fmla="*/ 380556 w 2052272"/>
                <a:gd name="connsiteY25" fmla="*/ 1523579 h 3574942"/>
                <a:gd name="connsiteX26" fmla="*/ 325787 w 2052272"/>
                <a:gd name="connsiteY26" fmla="*/ 1337841 h 3574942"/>
                <a:gd name="connsiteX27" fmla="*/ 437706 w 2052272"/>
                <a:gd name="connsiteY27" fmla="*/ 997323 h 3574942"/>
                <a:gd name="connsiteX28" fmla="*/ 156719 w 2052272"/>
                <a:gd name="connsiteY28" fmla="*/ 652041 h 3574942"/>
                <a:gd name="connsiteX29" fmla="*/ 37656 w 2052272"/>
                <a:gd name="connsiteY29" fmla="*/ 352004 h 3574942"/>
                <a:gd name="connsiteX30" fmla="*/ 87663 w 2052272"/>
                <a:gd name="connsiteY30" fmla="*/ 292473 h 3574942"/>
                <a:gd name="connsiteX31" fmla="*/ 39729 w 2052272"/>
                <a:gd name="connsiteY31" fmla="*/ 171030 h 3574942"/>
                <a:gd name="connsiteX0" fmla="*/ 39729 w 2051797"/>
                <a:gd name="connsiteY0" fmla="*/ 171030 h 3574942"/>
                <a:gd name="connsiteX1" fmla="*/ 59088 w 2051797"/>
                <a:gd name="connsiteY1" fmla="*/ 59110 h 3574942"/>
                <a:gd name="connsiteX2" fmla="*/ 104332 w 2051797"/>
                <a:gd name="connsiteY2" fmla="*/ 25773 h 3574942"/>
                <a:gd name="connsiteX3" fmla="*/ 142432 w 2051797"/>
                <a:gd name="connsiteY3" fmla="*/ 4342 h 3574942"/>
                <a:gd name="connsiteX4" fmla="*/ 225776 w 2051797"/>
                <a:gd name="connsiteY4" fmla="*/ 85306 h 3574942"/>
                <a:gd name="connsiteX5" fmla="*/ 190057 w 2051797"/>
                <a:gd name="connsiteY5" fmla="*/ 249612 h 3574942"/>
                <a:gd name="connsiteX6" fmla="*/ 454376 w 2051797"/>
                <a:gd name="connsiteY6" fmla="*/ 668712 h 3574942"/>
                <a:gd name="connsiteX7" fmla="*/ 554389 w 2051797"/>
                <a:gd name="connsiteY7" fmla="*/ 687762 h 3574942"/>
                <a:gd name="connsiteX8" fmla="*/ 780607 w 2051797"/>
                <a:gd name="connsiteY8" fmla="*/ 790156 h 3574942"/>
                <a:gd name="connsiteX9" fmla="*/ 502001 w 2051797"/>
                <a:gd name="connsiteY9" fmla="*/ 1178299 h 3574942"/>
                <a:gd name="connsiteX10" fmla="*/ 449614 w 2051797"/>
                <a:gd name="connsiteY10" fmla="*/ 1656931 h 3574942"/>
                <a:gd name="connsiteX11" fmla="*/ 1075882 w 2051797"/>
                <a:gd name="connsiteY11" fmla="*/ 1718843 h 3574942"/>
                <a:gd name="connsiteX12" fmla="*/ 1144939 w 2051797"/>
                <a:gd name="connsiteY12" fmla="*/ 1461668 h 3574942"/>
                <a:gd name="connsiteX13" fmla="*/ 952057 w 2051797"/>
                <a:gd name="connsiteY13" fmla="*/ 954461 h 3574942"/>
                <a:gd name="connsiteX14" fmla="*/ 1061595 w 2051797"/>
                <a:gd name="connsiteY14" fmla="*/ 840160 h 3574942"/>
                <a:gd name="connsiteX15" fmla="*/ 1235426 w 2051797"/>
                <a:gd name="connsiteY15" fmla="*/ 756817 h 3574942"/>
                <a:gd name="connsiteX16" fmla="*/ 1364013 w 2051797"/>
                <a:gd name="connsiteY16" fmla="*/ 785392 h 3574942"/>
                <a:gd name="connsiteX17" fmla="*/ 1880745 w 2051797"/>
                <a:gd name="connsiteY17" fmla="*/ 313906 h 3574942"/>
                <a:gd name="connsiteX18" fmla="*/ 1878708 w 2051797"/>
                <a:gd name="connsiteY18" fmla="*/ 166267 h 3574942"/>
                <a:gd name="connsiteX19" fmla="*/ 1954562 w 2051797"/>
                <a:gd name="connsiteY19" fmla="*/ 125785 h 3574942"/>
                <a:gd name="connsiteX20" fmla="*/ 1999807 w 2051797"/>
                <a:gd name="connsiteY20" fmla="*/ 168649 h 3574942"/>
                <a:gd name="connsiteX21" fmla="*/ 2049813 w 2051797"/>
                <a:gd name="connsiteY21" fmla="*/ 228178 h 3574942"/>
                <a:gd name="connsiteX22" fmla="*/ 1935513 w 2051797"/>
                <a:gd name="connsiteY22" fmla="*/ 440112 h 3574942"/>
                <a:gd name="connsiteX23" fmla="*/ 1052414 w 2051797"/>
                <a:gd name="connsiteY23" fmla="*/ 3574942 h 3574942"/>
                <a:gd name="connsiteX24" fmla="*/ 20679 w 2051797"/>
                <a:gd name="connsiteY24" fmla="*/ 3574942 h 3574942"/>
                <a:gd name="connsiteX25" fmla="*/ 380556 w 2051797"/>
                <a:gd name="connsiteY25" fmla="*/ 1523579 h 3574942"/>
                <a:gd name="connsiteX26" fmla="*/ 325787 w 2051797"/>
                <a:gd name="connsiteY26" fmla="*/ 1337841 h 3574942"/>
                <a:gd name="connsiteX27" fmla="*/ 437706 w 2051797"/>
                <a:gd name="connsiteY27" fmla="*/ 997323 h 3574942"/>
                <a:gd name="connsiteX28" fmla="*/ 156719 w 2051797"/>
                <a:gd name="connsiteY28" fmla="*/ 652041 h 3574942"/>
                <a:gd name="connsiteX29" fmla="*/ 37656 w 2051797"/>
                <a:gd name="connsiteY29" fmla="*/ 352004 h 3574942"/>
                <a:gd name="connsiteX30" fmla="*/ 87663 w 2051797"/>
                <a:gd name="connsiteY30" fmla="*/ 292473 h 3574942"/>
                <a:gd name="connsiteX31" fmla="*/ 39729 w 2051797"/>
                <a:gd name="connsiteY31" fmla="*/ 171030 h 3574942"/>
                <a:gd name="connsiteX0" fmla="*/ 39729 w 2038108"/>
                <a:gd name="connsiteY0" fmla="*/ 171030 h 3574942"/>
                <a:gd name="connsiteX1" fmla="*/ 59088 w 2038108"/>
                <a:gd name="connsiteY1" fmla="*/ 59110 h 3574942"/>
                <a:gd name="connsiteX2" fmla="*/ 104332 w 2038108"/>
                <a:gd name="connsiteY2" fmla="*/ 25773 h 3574942"/>
                <a:gd name="connsiteX3" fmla="*/ 142432 w 2038108"/>
                <a:gd name="connsiteY3" fmla="*/ 4342 h 3574942"/>
                <a:gd name="connsiteX4" fmla="*/ 225776 w 2038108"/>
                <a:gd name="connsiteY4" fmla="*/ 85306 h 3574942"/>
                <a:gd name="connsiteX5" fmla="*/ 190057 w 2038108"/>
                <a:gd name="connsiteY5" fmla="*/ 249612 h 3574942"/>
                <a:gd name="connsiteX6" fmla="*/ 454376 w 2038108"/>
                <a:gd name="connsiteY6" fmla="*/ 668712 h 3574942"/>
                <a:gd name="connsiteX7" fmla="*/ 554389 w 2038108"/>
                <a:gd name="connsiteY7" fmla="*/ 687762 h 3574942"/>
                <a:gd name="connsiteX8" fmla="*/ 780607 w 2038108"/>
                <a:gd name="connsiteY8" fmla="*/ 790156 h 3574942"/>
                <a:gd name="connsiteX9" fmla="*/ 502001 w 2038108"/>
                <a:gd name="connsiteY9" fmla="*/ 1178299 h 3574942"/>
                <a:gd name="connsiteX10" fmla="*/ 449614 w 2038108"/>
                <a:gd name="connsiteY10" fmla="*/ 1656931 h 3574942"/>
                <a:gd name="connsiteX11" fmla="*/ 1075882 w 2038108"/>
                <a:gd name="connsiteY11" fmla="*/ 1718843 h 3574942"/>
                <a:gd name="connsiteX12" fmla="*/ 1144939 w 2038108"/>
                <a:gd name="connsiteY12" fmla="*/ 1461668 h 3574942"/>
                <a:gd name="connsiteX13" fmla="*/ 952057 w 2038108"/>
                <a:gd name="connsiteY13" fmla="*/ 954461 h 3574942"/>
                <a:gd name="connsiteX14" fmla="*/ 1061595 w 2038108"/>
                <a:gd name="connsiteY14" fmla="*/ 840160 h 3574942"/>
                <a:gd name="connsiteX15" fmla="*/ 1235426 w 2038108"/>
                <a:gd name="connsiteY15" fmla="*/ 756817 h 3574942"/>
                <a:gd name="connsiteX16" fmla="*/ 1364013 w 2038108"/>
                <a:gd name="connsiteY16" fmla="*/ 785392 h 3574942"/>
                <a:gd name="connsiteX17" fmla="*/ 1880745 w 2038108"/>
                <a:gd name="connsiteY17" fmla="*/ 313906 h 3574942"/>
                <a:gd name="connsiteX18" fmla="*/ 1878708 w 2038108"/>
                <a:gd name="connsiteY18" fmla="*/ 166267 h 3574942"/>
                <a:gd name="connsiteX19" fmla="*/ 1954562 w 2038108"/>
                <a:gd name="connsiteY19" fmla="*/ 125785 h 3574942"/>
                <a:gd name="connsiteX20" fmla="*/ 1999807 w 2038108"/>
                <a:gd name="connsiteY20" fmla="*/ 168649 h 3574942"/>
                <a:gd name="connsiteX21" fmla="*/ 2035526 w 2038108"/>
                <a:gd name="connsiteY21" fmla="*/ 218653 h 3574942"/>
                <a:gd name="connsiteX22" fmla="*/ 1935513 w 2038108"/>
                <a:gd name="connsiteY22" fmla="*/ 440112 h 3574942"/>
                <a:gd name="connsiteX23" fmla="*/ 1052414 w 2038108"/>
                <a:gd name="connsiteY23" fmla="*/ 3574942 h 3574942"/>
                <a:gd name="connsiteX24" fmla="*/ 20679 w 2038108"/>
                <a:gd name="connsiteY24" fmla="*/ 3574942 h 3574942"/>
                <a:gd name="connsiteX25" fmla="*/ 380556 w 2038108"/>
                <a:gd name="connsiteY25" fmla="*/ 1523579 h 3574942"/>
                <a:gd name="connsiteX26" fmla="*/ 325787 w 2038108"/>
                <a:gd name="connsiteY26" fmla="*/ 1337841 h 3574942"/>
                <a:gd name="connsiteX27" fmla="*/ 437706 w 2038108"/>
                <a:gd name="connsiteY27" fmla="*/ 997323 h 3574942"/>
                <a:gd name="connsiteX28" fmla="*/ 156719 w 2038108"/>
                <a:gd name="connsiteY28" fmla="*/ 652041 h 3574942"/>
                <a:gd name="connsiteX29" fmla="*/ 37656 w 2038108"/>
                <a:gd name="connsiteY29" fmla="*/ 352004 h 3574942"/>
                <a:gd name="connsiteX30" fmla="*/ 87663 w 2038108"/>
                <a:gd name="connsiteY30" fmla="*/ 292473 h 3574942"/>
                <a:gd name="connsiteX31" fmla="*/ 39729 w 2038108"/>
                <a:gd name="connsiteY31" fmla="*/ 171030 h 3574942"/>
                <a:gd name="connsiteX0" fmla="*/ 39729 w 2055101"/>
                <a:gd name="connsiteY0" fmla="*/ 171030 h 3574942"/>
                <a:gd name="connsiteX1" fmla="*/ 59088 w 2055101"/>
                <a:gd name="connsiteY1" fmla="*/ 59110 h 3574942"/>
                <a:gd name="connsiteX2" fmla="*/ 104332 w 2055101"/>
                <a:gd name="connsiteY2" fmla="*/ 25773 h 3574942"/>
                <a:gd name="connsiteX3" fmla="*/ 142432 w 2055101"/>
                <a:gd name="connsiteY3" fmla="*/ 4342 h 3574942"/>
                <a:gd name="connsiteX4" fmla="*/ 225776 w 2055101"/>
                <a:gd name="connsiteY4" fmla="*/ 85306 h 3574942"/>
                <a:gd name="connsiteX5" fmla="*/ 190057 w 2055101"/>
                <a:gd name="connsiteY5" fmla="*/ 249612 h 3574942"/>
                <a:gd name="connsiteX6" fmla="*/ 454376 w 2055101"/>
                <a:gd name="connsiteY6" fmla="*/ 668712 h 3574942"/>
                <a:gd name="connsiteX7" fmla="*/ 554389 w 2055101"/>
                <a:gd name="connsiteY7" fmla="*/ 687762 h 3574942"/>
                <a:gd name="connsiteX8" fmla="*/ 780607 w 2055101"/>
                <a:gd name="connsiteY8" fmla="*/ 790156 h 3574942"/>
                <a:gd name="connsiteX9" fmla="*/ 502001 w 2055101"/>
                <a:gd name="connsiteY9" fmla="*/ 1178299 h 3574942"/>
                <a:gd name="connsiteX10" fmla="*/ 449614 w 2055101"/>
                <a:gd name="connsiteY10" fmla="*/ 1656931 h 3574942"/>
                <a:gd name="connsiteX11" fmla="*/ 1075882 w 2055101"/>
                <a:gd name="connsiteY11" fmla="*/ 1718843 h 3574942"/>
                <a:gd name="connsiteX12" fmla="*/ 1144939 w 2055101"/>
                <a:gd name="connsiteY12" fmla="*/ 1461668 h 3574942"/>
                <a:gd name="connsiteX13" fmla="*/ 952057 w 2055101"/>
                <a:gd name="connsiteY13" fmla="*/ 954461 h 3574942"/>
                <a:gd name="connsiteX14" fmla="*/ 1061595 w 2055101"/>
                <a:gd name="connsiteY14" fmla="*/ 840160 h 3574942"/>
                <a:gd name="connsiteX15" fmla="*/ 1235426 w 2055101"/>
                <a:gd name="connsiteY15" fmla="*/ 756817 h 3574942"/>
                <a:gd name="connsiteX16" fmla="*/ 1364013 w 2055101"/>
                <a:gd name="connsiteY16" fmla="*/ 785392 h 3574942"/>
                <a:gd name="connsiteX17" fmla="*/ 1880745 w 2055101"/>
                <a:gd name="connsiteY17" fmla="*/ 313906 h 3574942"/>
                <a:gd name="connsiteX18" fmla="*/ 1878708 w 2055101"/>
                <a:gd name="connsiteY18" fmla="*/ 166267 h 3574942"/>
                <a:gd name="connsiteX19" fmla="*/ 1954562 w 2055101"/>
                <a:gd name="connsiteY19" fmla="*/ 125785 h 3574942"/>
                <a:gd name="connsiteX20" fmla="*/ 1999807 w 2055101"/>
                <a:gd name="connsiteY20" fmla="*/ 168649 h 3574942"/>
                <a:gd name="connsiteX21" fmla="*/ 2035526 w 2055101"/>
                <a:gd name="connsiteY21" fmla="*/ 218653 h 3574942"/>
                <a:gd name="connsiteX22" fmla="*/ 2049813 w 2055101"/>
                <a:gd name="connsiteY22" fmla="*/ 299616 h 3574942"/>
                <a:gd name="connsiteX23" fmla="*/ 1935513 w 2055101"/>
                <a:gd name="connsiteY23" fmla="*/ 440112 h 3574942"/>
                <a:gd name="connsiteX24" fmla="*/ 1052414 w 2055101"/>
                <a:gd name="connsiteY24" fmla="*/ 3574942 h 3574942"/>
                <a:gd name="connsiteX25" fmla="*/ 20679 w 2055101"/>
                <a:gd name="connsiteY25" fmla="*/ 3574942 h 3574942"/>
                <a:gd name="connsiteX26" fmla="*/ 380556 w 2055101"/>
                <a:gd name="connsiteY26" fmla="*/ 1523579 h 3574942"/>
                <a:gd name="connsiteX27" fmla="*/ 325787 w 2055101"/>
                <a:gd name="connsiteY27" fmla="*/ 1337841 h 3574942"/>
                <a:gd name="connsiteX28" fmla="*/ 437706 w 2055101"/>
                <a:gd name="connsiteY28" fmla="*/ 997323 h 3574942"/>
                <a:gd name="connsiteX29" fmla="*/ 156719 w 2055101"/>
                <a:gd name="connsiteY29" fmla="*/ 652041 h 3574942"/>
                <a:gd name="connsiteX30" fmla="*/ 37656 w 2055101"/>
                <a:gd name="connsiteY30" fmla="*/ 352004 h 3574942"/>
                <a:gd name="connsiteX31" fmla="*/ 87663 w 2055101"/>
                <a:gd name="connsiteY31" fmla="*/ 292473 h 3574942"/>
                <a:gd name="connsiteX32" fmla="*/ 39729 w 2055101"/>
                <a:gd name="connsiteY32" fmla="*/ 171030 h 3574942"/>
                <a:gd name="connsiteX0" fmla="*/ 39729 w 2055101"/>
                <a:gd name="connsiteY0" fmla="*/ 171030 h 3574942"/>
                <a:gd name="connsiteX1" fmla="*/ 59088 w 2055101"/>
                <a:gd name="connsiteY1" fmla="*/ 59110 h 3574942"/>
                <a:gd name="connsiteX2" fmla="*/ 104332 w 2055101"/>
                <a:gd name="connsiteY2" fmla="*/ 25773 h 3574942"/>
                <a:gd name="connsiteX3" fmla="*/ 142432 w 2055101"/>
                <a:gd name="connsiteY3" fmla="*/ 4342 h 3574942"/>
                <a:gd name="connsiteX4" fmla="*/ 225776 w 2055101"/>
                <a:gd name="connsiteY4" fmla="*/ 85306 h 3574942"/>
                <a:gd name="connsiteX5" fmla="*/ 190057 w 2055101"/>
                <a:gd name="connsiteY5" fmla="*/ 249612 h 3574942"/>
                <a:gd name="connsiteX6" fmla="*/ 454376 w 2055101"/>
                <a:gd name="connsiteY6" fmla="*/ 668712 h 3574942"/>
                <a:gd name="connsiteX7" fmla="*/ 554389 w 2055101"/>
                <a:gd name="connsiteY7" fmla="*/ 687762 h 3574942"/>
                <a:gd name="connsiteX8" fmla="*/ 780607 w 2055101"/>
                <a:gd name="connsiteY8" fmla="*/ 790156 h 3574942"/>
                <a:gd name="connsiteX9" fmla="*/ 502001 w 2055101"/>
                <a:gd name="connsiteY9" fmla="*/ 1178299 h 3574942"/>
                <a:gd name="connsiteX10" fmla="*/ 449614 w 2055101"/>
                <a:gd name="connsiteY10" fmla="*/ 1656931 h 3574942"/>
                <a:gd name="connsiteX11" fmla="*/ 1075882 w 2055101"/>
                <a:gd name="connsiteY11" fmla="*/ 1718843 h 3574942"/>
                <a:gd name="connsiteX12" fmla="*/ 1144939 w 2055101"/>
                <a:gd name="connsiteY12" fmla="*/ 1461668 h 3574942"/>
                <a:gd name="connsiteX13" fmla="*/ 952057 w 2055101"/>
                <a:gd name="connsiteY13" fmla="*/ 954461 h 3574942"/>
                <a:gd name="connsiteX14" fmla="*/ 1061595 w 2055101"/>
                <a:gd name="connsiteY14" fmla="*/ 840160 h 3574942"/>
                <a:gd name="connsiteX15" fmla="*/ 1235426 w 2055101"/>
                <a:gd name="connsiteY15" fmla="*/ 756817 h 3574942"/>
                <a:gd name="connsiteX16" fmla="*/ 1364013 w 2055101"/>
                <a:gd name="connsiteY16" fmla="*/ 785392 h 3574942"/>
                <a:gd name="connsiteX17" fmla="*/ 1880745 w 2055101"/>
                <a:gd name="connsiteY17" fmla="*/ 313906 h 3574942"/>
                <a:gd name="connsiteX18" fmla="*/ 1878708 w 2055101"/>
                <a:gd name="connsiteY18" fmla="*/ 166267 h 3574942"/>
                <a:gd name="connsiteX19" fmla="*/ 1954562 w 2055101"/>
                <a:gd name="connsiteY19" fmla="*/ 125785 h 3574942"/>
                <a:gd name="connsiteX20" fmla="*/ 1999807 w 2055101"/>
                <a:gd name="connsiteY20" fmla="*/ 168649 h 3574942"/>
                <a:gd name="connsiteX21" fmla="*/ 2035526 w 2055101"/>
                <a:gd name="connsiteY21" fmla="*/ 218653 h 3574942"/>
                <a:gd name="connsiteX22" fmla="*/ 2049813 w 2055101"/>
                <a:gd name="connsiteY22" fmla="*/ 299616 h 3574942"/>
                <a:gd name="connsiteX23" fmla="*/ 1935513 w 2055101"/>
                <a:gd name="connsiteY23" fmla="*/ 440112 h 3574942"/>
                <a:gd name="connsiteX24" fmla="*/ 1052414 w 2055101"/>
                <a:gd name="connsiteY24" fmla="*/ 3574942 h 3574942"/>
                <a:gd name="connsiteX25" fmla="*/ 20679 w 2055101"/>
                <a:gd name="connsiteY25" fmla="*/ 3574942 h 3574942"/>
                <a:gd name="connsiteX26" fmla="*/ 380556 w 2055101"/>
                <a:gd name="connsiteY26" fmla="*/ 1523579 h 3574942"/>
                <a:gd name="connsiteX27" fmla="*/ 325787 w 2055101"/>
                <a:gd name="connsiteY27" fmla="*/ 1337841 h 3574942"/>
                <a:gd name="connsiteX28" fmla="*/ 437706 w 2055101"/>
                <a:gd name="connsiteY28" fmla="*/ 997323 h 3574942"/>
                <a:gd name="connsiteX29" fmla="*/ 156719 w 2055101"/>
                <a:gd name="connsiteY29" fmla="*/ 652041 h 3574942"/>
                <a:gd name="connsiteX30" fmla="*/ 37656 w 2055101"/>
                <a:gd name="connsiteY30" fmla="*/ 352004 h 3574942"/>
                <a:gd name="connsiteX31" fmla="*/ 87663 w 2055101"/>
                <a:gd name="connsiteY31" fmla="*/ 292473 h 3574942"/>
                <a:gd name="connsiteX32" fmla="*/ 39729 w 2055101"/>
                <a:gd name="connsiteY32" fmla="*/ 171030 h 3574942"/>
                <a:gd name="connsiteX0" fmla="*/ 39729 w 2056491"/>
                <a:gd name="connsiteY0" fmla="*/ 171030 h 3574942"/>
                <a:gd name="connsiteX1" fmla="*/ 59088 w 2056491"/>
                <a:gd name="connsiteY1" fmla="*/ 59110 h 3574942"/>
                <a:gd name="connsiteX2" fmla="*/ 104332 w 2056491"/>
                <a:gd name="connsiteY2" fmla="*/ 25773 h 3574942"/>
                <a:gd name="connsiteX3" fmla="*/ 142432 w 2056491"/>
                <a:gd name="connsiteY3" fmla="*/ 4342 h 3574942"/>
                <a:gd name="connsiteX4" fmla="*/ 225776 w 2056491"/>
                <a:gd name="connsiteY4" fmla="*/ 85306 h 3574942"/>
                <a:gd name="connsiteX5" fmla="*/ 190057 w 2056491"/>
                <a:gd name="connsiteY5" fmla="*/ 249612 h 3574942"/>
                <a:gd name="connsiteX6" fmla="*/ 454376 w 2056491"/>
                <a:gd name="connsiteY6" fmla="*/ 668712 h 3574942"/>
                <a:gd name="connsiteX7" fmla="*/ 554389 w 2056491"/>
                <a:gd name="connsiteY7" fmla="*/ 687762 h 3574942"/>
                <a:gd name="connsiteX8" fmla="*/ 780607 w 2056491"/>
                <a:gd name="connsiteY8" fmla="*/ 790156 h 3574942"/>
                <a:gd name="connsiteX9" fmla="*/ 502001 w 2056491"/>
                <a:gd name="connsiteY9" fmla="*/ 1178299 h 3574942"/>
                <a:gd name="connsiteX10" fmla="*/ 449614 w 2056491"/>
                <a:gd name="connsiteY10" fmla="*/ 1656931 h 3574942"/>
                <a:gd name="connsiteX11" fmla="*/ 1075882 w 2056491"/>
                <a:gd name="connsiteY11" fmla="*/ 1718843 h 3574942"/>
                <a:gd name="connsiteX12" fmla="*/ 1144939 w 2056491"/>
                <a:gd name="connsiteY12" fmla="*/ 1461668 h 3574942"/>
                <a:gd name="connsiteX13" fmla="*/ 952057 w 2056491"/>
                <a:gd name="connsiteY13" fmla="*/ 954461 h 3574942"/>
                <a:gd name="connsiteX14" fmla="*/ 1061595 w 2056491"/>
                <a:gd name="connsiteY14" fmla="*/ 840160 h 3574942"/>
                <a:gd name="connsiteX15" fmla="*/ 1235426 w 2056491"/>
                <a:gd name="connsiteY15" fmla="*/ 756817 h 3574942"/>
                <a:gd name="connsiteX16" fmla="*/ 1364013 w 2056491"/>
                <a:gd name="connsiteY16" fmla="*/ 785392 h 3574942"/>
                <a:gd name="connsiteX17" fmla="*/ 1880745 w 2056491"/>
                <a:gd name="connsiteY17" fmla="*/ 313906 h 3574942"/>
                <a:gd name="connsiteX18" fmla="*/ 1878708 w 2056491"/>
                <a:gd name="connsiteY18" fmla="*/ 166267 h 3574942"/>
                <a:gd name="connsiteX19" fmla="*/ 1954562 w 2056491"/>
                <a:gd name="connsiteY19" fmla="*/ 125785 h 3574942"/>
                <a:gd name="connsiteX20" fmla="*/ 1999807 w 2056491"/>
                <a:gd name="connsiteY20" fmla="*/ 168649 h 3574942"/>
                <a:gd name="connsiteX21" fmla="*/ 2035526 w 2056491"/>
                <a:gd name="connsiteY21" fmla="*/ 218653 h 3574942"/>
                <a:gd name="connsiteX22" fmla="*/ 2049813 w 2056491"/>
                <a:gd name="connsiteY22" fmla="*/ 299616 h 3574942"/>
                <a:gd name="connsiteX23" fmla="*/ 1935513 w 2056491"/>
                <a:gd name="connsiteY23" fmla="*/ 440112 h 3574942"/>
                <a:gd name="connsiteX24" fmla="*/ 1052414 w 2056491"/>
                <a:gd name="connsiteY24" fmla="*/ 3574942 h 3574942"/>
                <a:gd name="connsiteX25" fmla="*/ 20679 w 2056491"/>
                <a:gd name="connsiteY25" fmla="*/ 3574942 h 3574942"/>
                <a:gd name="connsiteX26" fmla="*/ 380556 w 2056491"/>
                <a:gd name="connsiteY26" fmla="*/ 1523579 h 3574942"/>
                <a:gd name="connsiteX27" fmla="*/ 325787 w 2056491"/>
                <a:gd name="connsiteY27" fmla="*/ 1337841 h 3574942"/>
                <a:gd name="connsiteX28" fmla="*/ 437706 w 2056491"/>
                <a:gd name="connsiteY28" fmla="*/ 997323 h 3574942"/>
                <a:gd name="connsiteX29" fmla="*/ 156719 w 2056491"/>
                <a:gd name="connsiteY29" fmla="*/ 652041 h 3574942"/>
                <a:gd name="connsiteX30" fmla="*/ 37656 w 2056491"/>
                <a:gd name="connsiteY30" fmla="*/ 352004 h 3574942"/>
                <a:gd name="connsiteX31" fmla="*/ 87663 w 2056491"/>
                <a:gd name="connsiteY31" fmla="*/ 292473 h 3574942"/>
                <a:gd name="connsiteX32" fmla="*/ 39729 w 2056491"/>
                <a:gd name="connsiteY32" fmla="*/ 171030 h 3574942"/>
                <a:gd name="connsiteX0" fmla="*/ 39729 w 2056491"/>
                <a:gd name="connsiteY0" fmla="*/ 171030 h 3574942"/>
                <a:gd name="connsiteX1" fmla="*/ 59088 w 2056491"/>
                <a:gd name="connsiteY1" fmla="*/ 59110 h 3574942"/>
                <a:gd name="connsiteX2" fmla="*/ 104332 w 2056491"/>
                <a:gd name="connsiteY2" fmla="*/ 25773 h 3574942"/>
                <a:gd name="connsiteX3" fmla="*/ 142432 w 2056491"/>
                <a:gd name="connsiteY3" fmla="*/ 4342 h 3574942"/>
                <a:gd name="connsiteX4" fmla="*/ 225776 w 2056491"/>
                <a:gd name="connsiteY4" fmla="*/ 85306 h 3574942"/>
                <a:gd name="connsiteX5" fmla="*/ 190057 w 2056491"/>
                <a:gd name="connsiteY5" fmla="*/ 249612 h 3574942"/>
                <a:gd name="connsiteX6" fmla="*/ 454376 w 2056491"/>
                <a:gd name="connsiteY6" fmla="*/ 668712 h 3574942"/>
                <a:gd name="connsiteX7" fmla="*/ 554389 w 2056491"/>
                <a:gd name="connsiteY7" fmla="*/ 687762 h 3574942"/>
                <a:gd name="connsiteX8" fmla="*/ 780607 w 2056491"/>
                <a:gd name="connsiteY8" fmla="*/ 790156 h 3574942"/>
                <a:gd name="connsiteX9" fmla="*/ 502001 w 2056491"/>
                <a:gd name="connsiteY9" fmla="*/ 1178299 h 3574942"/>
                <a:gd name="connsiteX10" fmla="*/ 449614 w 2056491"/>
                <a:gd name="connsiteY10" fmla="*/ 1656931 h 3574942"/>
                <a:gd name="connsiteX11" fmla="*/ 1075882 w 2056491"/>
                <a:gd name="connsiteY11" fmla="*/ 1718843 h 3574942"/>
                <a:gd name="connsiteX12" fmla="*/ 1144939 w 2056491"/>
                <a:gd name="connsiteY12" fmla="*/ 1461668 h 3574942"/>
                <a:gd name="connsiteX13" fmla="*/ 952057 w 2056491"/>
                <a:gd name="connsiteY13" fmla="*/ 954461 h 3574942"/>
                <a:gd name="connsiteX14" fmla="*/ 1061595 w 2056491"/>
                <a:gd name="connsiteY14" fmla="*/ 840160 h 3574942"/>
                <a:gd name="connsiteX15" fmla="*/ 1235426 w 2056491"/>
                <a:gd name="connsiteY15" fmla="*/ 756817 h 3574942"/>
                <a:gd name="connsiteX16" fmla="*/ 1364013 w 2056491"/>
                <a:gd name="connsiteY16" fmla="*/ 785392 h 3574942"/>
                <a:gd name="connsiteX17" fmla="*/ 1880745 w 2056491"/>
                <a:gd name="connsiteY17" fmla="*/ 313906 h 3574942"/>
                <a:gd name="connsiteX18" fmla="*/ 1878708 w 2056491"/>
                <a:gd name="connsiteY18" fmla="*/ 166267 h 3574942"/>
                <a:gd name="connsiteX19" fmla="*/ 1954562 w 2056491"/>
                <a:gd name="connsiteY19" fmla="*/ 125785 h 3574942"/>
                <a:gd name="connsiteX20" fmla="*/ 1999807 w 2056491"/>
                <a:gd name="connsiteY20" fmla="*/ 168649 h 3574942"/>
                <a:gd name="connsiteX21" fmla="*/ 2035526 w 2056491"/>
                <a:gd name="connsiteY21" fmla="*/ 218653 h 3574942"/>
                <a:gd name="connsiteX22" fmla="*/ 2049813 w 2056491"/>
                <a:gd name="connsiteY22" fmla="*/ 299616 h 3574942"/>
                <a:gd name="connsiteX23" fmla="*/ 1935513 w 2056491"/>
                <a:gd name="connsiteY23" fmla="*/ 440112 h 3574942"/>
                <a:gd name="connsiteX24" fmla="*/ 1052414 w 2056491"/>
                <a:gd name="connsiteY24" fmla="*/ 3574942 h 3574942"/>
                <a:gd name="connsiteX25" fmla="*/ 20679 w 2056491"/>
                <a:gd name="connsiteY25" fmla="*/ 3574942 h 3574942"/>
                <a:gd name="connsiteX26" fmla="*/ 380556 w 2056491"/>
                <a:gd name="connsiteY26" fmla="*/ 1523579 h 3574942"/>
                <a:gd name="connsiteX27" fmla="*/ 325787 w 2056491"/>
                <a:gd name="connsiteY27" fmla="*/ 1337841 h 3574942"/>
                <a:gd name="connsiteX28" fmla="*/ 437706 w 2056491"/>
                <a:gd name="connsiteY28" fmla="*/ 997323 h 3574942"/>
                <a:gd name="connsiteX29" fmla="*/ 156719 w 2056491"/>
                <a:gd name="connsiteY29" fmla="*/ 652041 h 3574942"/>
                <a:gd name="connsiteX30" fmla="*/ 37656 w 2056491"/>
                <a:gd name="connsiteY30" fmla="*/ 352004 h 3574942"/>
                <a:gd name="connsiteX31" fmla="*/ 87663 w 2056491"/>
                <a:gd name="connsiteY31" fmla="*/ 292473 h 3574942"/>
                <a:gd name="connsiteX32" fmla="*/ 39729 w 2056491"/>
                <a:gd name="connsiteY32" fmla="*/ 171030 h 3574942"/>
                <a:gd name="connsiteX0" fmla="*/ 39729 w 2056491"/>
                <a:gd name="connsiteY0" fmla="*/ 171030 h 3574942"/>
                <a:gd name="connsiteX1" fmla="*/ 59088 w 2056491"/>
                <a:gd name="connsiteY1" fmla="*/ 59110 h 3574942"/>
                <a:gd name="connsiteX2" fmla="*/ 104332 w 2056491"/>
                <a:gd name="connsiteY2" fmla="*/ 25773 h 3574942"/>
                <a:gd name="connsiteX3" fmla="*/ 142432 w 2056491"/>
                <a:gd name="connsiteY3" fmla="*/ 4342 h 3574942"/>
                <a:gd name="connsiteX4" fmla="*/ 225776 w 2056491"/>
                <a:gd name="connsiteY4" fmla="*/ 85306 h 3574942"/>
                <a:gd name="connsiteX5" fmla="*/ 190057 w 2056491"/>
                <a:gd name="connsiteY5" fmla="*/ 249612 h 3574942"/>
                <a:gd name="connsiteX6" fmla="*/ 454376 w 2056491"/>
                <a:gd name="connsiteY6" fmla="*/ 668712 h 3574942"/>
                <a:gd name="connsiteX7" fmla="*/ 554389 w 2056491"/>
                <a:gd name="connsiteY7" fmla="*/ 687762 h 3574942"/>
                <a:gd name="connsiteX8" fmla="*/ 780607 w 2056491"/>
                <a:gd name="connsiteY8" fmla="*/ 790156 h 3574942"/>
                <a:gd name="connsiteX9" fmla="*/ 502001 w 2056491"/>
                <a:gd name="connsiteY9" fmla="*/ 1178299 h 3574942"/>
                <a:gd name="connsiteX10" fmla="*/ 449614 w 2056491"/>
                <a:gd name="connsiteY10" fmla="*/ 1656931 h 3574942"/>
                <a:gd name="connsiteX11" fmla="*/ 1075882 w 2056491"/>
                <a:gd name="connsiteY11" fmla="*/ 1718843 h 3574942"/>
                <a:gd name="connsiteX12" fmla="*/ 1144939 w 2056491"/>
                <a:gd name="connsiteY12" fmla="*/ 1461668 h 3574942"/>
                <a:gd name="connsiteX13" fmla="*/ 952057 w 2056491"/>
                <a:gd name="connsiteY13" fmla="*/ 954461 h 3574942"/>
                <a:gd name="connsiteX14" fmla="*/ 1061595 w 2056491"/>
                <a:gd name="connsiteY14" fmla="*/ 840160 h 3574942"/>
                <a:gd name="connsiteX15" fmla="*/ 1235426 w 2056491"/>
                <a:gd name="connsiteY15" fmla="*/ 756817 h 3574942"/>
                <a:gd name="connsiteX16" fmla="*/ 1364013 w 2056491"/>
                <a:gd name="connsiteY16" fmla="*/ 785392 h 3574942"/>
                <a:gd name="connsiteX17" fmla="*/ 1880745 w 2056491"/>
                <a:gd name="connsiteY17" fmla="*/ 313906 h 3574942"/>
                <a:gd name="connsiteX18" fmla="*/ 1878708 w 2056491"/>
                <a:gd name="connsiteY18" fmla="*/ 175792 h 3574942"/>
                <a:gd name="connsiteX19" fmla="*/ 1954562 w 2056491"/>
                <a:gd name="connsiteY19" fmla="*/ 125785 h 3574942"/>
                <a:gd name="connsiteX20" fmla="*/ 1999807 w 2056491"/>
                <a:gd name="connsiteY20" fmla="*/ 168649 h 3574942"/>
                <a:gd name="connsiteX21" fmla="*/ 2035526 w 2056491"/>
                <a:gd name="connsiteY21" fmla="*/ 218653 h 3574942"/>
                <a:gd name="connsiteX22" fmla="*/ 2049813 w 2056491"/>
                <a:gd name="connsiteY22" fmla="*/ 299616 h 3574942"/>
                <a:gd name="connsiteX23" fmla="*/ 1935513 w 2056491"/>
                <a:gd name="connsiteY23" fmla="*/ 440112 h 3574942"/>
                <a:gd name="connsiteX24" fmla="*/ 1052414 w 2056491"/>
                <a:gd name="connsiteY24" fmla="*/ 3574942 h 3574942"/>
                <a:gd name="connsiteX25" fmla="*/ 20679 w 2056491"/>
                <a:gd name="connsiteY25" fmla="*/ 3574942 h 3574942"/>
                <a:gd name="connsiteX26" fmla="*/ 380556 w 2056491"/>
                <a:gd name="connsiteY26" fmla="*/ 1523579 h 3574942"/>
                <a:gd name="connsiteX27" fmla="*/ 325787 w 2056491"/>
                <a:gd name="connsiteY27" fmla="*/ 1337841 h 3574942"/>
                <a:gd name="connsiteX28" fmla="*/ 437706 w 2056491"/>
                <a:gd name="connsiteY28" fmla="*/ 997323 h 3574942"/>
                <a:gd name="connsiteX29" fmla="*/ 156719 w 2056491"/>
                <a:gd name="connsiteY29" fmla="*/ 652041 h 3574942"/>
                <a:gd name="connsiteX30" fmla="*/ 37656 w 2056491"/>
                <a:gd name="connsiteY30" fmla="*/ 352004 h 3574942"/>
                <a:gd name="connsiteX31" fmla="*/ 87663 w 2056491"/>
                <a:gd name="connsiteY31" fmla="*/ 292473 h 3574942"/>
                <a:gd name="connsiteX32" fmla="*/ 39729 w 2056491"/>
                <a:gd name="connsiteY32" fmla="*/ 171030 h 3574942"/>
                <a:gd name="connsiteX0" fmla="*/ 39729 w 2056491"/>
                <a:gd name="connsiteY0" fmla="*/ 171030 h 3574942"/>
                <a:gd name="connsiteX1" fmla="*/ 59088 w 2056491"/>
                <a:gd name="connsiteY1" fmla="*/ 59110 h 3574942"/>
                <a:gd name="connsiteX2" fmla="*/ 104332 w 2056491"/>
                <a:gd name="connsiteY2" fmla="*/ 25773 h 3574942"/>
                <a:gd name="connsiteX3" fmla="*/ 142432 w 2056491"/>
                <a:gd name="connsiteY3" fmla="*/ 4342 h 3574942"/>
                <a:gd name="connsiteX4" fmla="*/ 225776 w 2056491"/>
                <a:gd name="connsiteY4" fmla="*/ 85306 h 3574942"/>
                <a:gd name="connsiteX5" fmla="*/ 190057 w 2056491"/>
                <a:gd name="connsiteY5" fmla="*/ 249612 h 3574942"/>
                <a:gd name="connsiteX6" fmla="*/ 454376 w 2056491"/>
                <a:gd name="connsiteY6" fmla="*/ 668712 h 3574942"/>
                <a:gd name="connsiteX7" fmla="*/ 554389 w 2056491"/>
                <a:gd name="connsiteY7" fmla="*/ 687762 h 3574942"/>
                <a:gd name="connsiteX8" fmla="*/ 780607 w 2056491"/>
                <a:gd name="connsiteY8" fmla="*/ 790156 h 3574942"/>
                <a:gd name="connsiteX9" fmla="*/ 502001 w 2056491"/>
                <a:gd name="connsiteY9" fmla="*/ 1178299 h 3574942"/>
                <a:gd name="connsiteX10" fmla="*/ 449614 w 2056491"/>
                <a:gd name="connsiteY10" fmla="*/ 1656931 h 3574942"/>
                <a:gd name="connsiteX11" fmla="*/ 1075882 w 2056491"/>
                <a:gd name="connsiteY11" fmla="*/ 1718843 h 3574942"/>
                <a:gd name="connsiteX12" fmla="*/ 1144939 w 2056491"/>
                <a:gd name="connsiteY12" fmla="*/ 1461668 h 3574942"/>
                <a:gd name="connsiteX13" fmla="*/ 952057 w 2056491"/>
                <a:gd name="connsiteY13" fmla="*/ 954461 h 3574942"/>
                <a:gd name="connsiteX14" fmla="*/ 1061595 w 2056491"/>
                <a:gd name="connsiteY14" fmla="*/ 840160 h 3574942"/>
                <a:gd name="connsiteX15" fmla="*/ 1235426 w 2056491"/>
                <a:gd name="connsiteY15" fmla="*/ 756817 h 3574942"/>
                <a:gd name="connsiteX16" fmla="*/ 1364013 w 2056491"/>
                <a:gd name="connsiteY16" fmla="*/ 785392 h 3574942"/>
                <a:gd name="connsiteX17" fmla="*/ 1880745 w 2056491"/>
                <a:gd name="connsiteY17" fmla="*/ 313906 h 3574942"/>
                <a:gd name="connsiteX18" fmla="*/ 1878708 w 2056491"/>
                <a:gd name="connsiteY18" fmla="*/ 175792 h 3574942"/>
                <a:gd name="connsiteX19" fmla="*/ 1954562 w 2056491"/>
                <a:gd name="connsiteY19" fmla="*/ 125785 h 3574942"/>
                <a:gd name="connsiteX20" fmla="*/ 1999807 w 2056491"/>
                <a:gd name="connsiteY20" fmla="*/ 168649 h 3574942"/>
                <a:gd name="connsiteX21" fmla="*/ 2035526 w 2056491"/>
                <a:gd name="connsiteY21" fmla="*/ 218653 h 3574942"/>
                <a:gd name="connsiteX22" fmla="*/ 2049813 w 2056491"/>
                <a:gd name="connsiteY22" fmla="*/ 299616 h 3574942"/>
                <a:gd name="connsiteX23" fmla="*/ 1935513 w 2056491"/>
                <a:gd name="connsiteY23" fmla="*/ 440112 h 3574942"/>
                <a:gd name="connsiteX24" fmla="*/ 1052414 w 2056491"/>
                <a:gd name="connsiteY24" fmla="*/ 3574942 h 3574942"/>
                <a:gd name="connsiteX25" fmla="*/ 20679 w 2056491"/>
                <a:gd name="connsiteY25" fmla="*/ 3574942 h 3574942"/>
                <a:gd name="connsiteX26" fmla="*/ 380556 w 2056491"/>
                <a:gd name="connsiteY26" fmla="*/ 1523579 h 3574942"/>
                <a:gd name="connsiteX27" fmla="*/ 325787 w 2056491"/>
                <a:gd name="connsiteY27" fmla="*/ 1337841 h 3574942"/>
                <a:gd name="connsiteX28" fmla="*/ 437706 w 2056491"/>
                <a:gd name="connsiteY28" fmla="*/ 997323 h 3574942"/>
                <a:gd name="connsiteX29" fmla="*/ 156719 w 2056491"/>
                <a:gd name="connsiteY29" fmla="*/ 652041 h 3574942"/>
                <a:gd name="connsiteX30" fmla="*/ 37656 w 2056491"/>
                <a:gd name="connsiteY30" fmla="*/ 352004 h 3574942"/>
                <a:gd name="connsiteX31" fmla="*/ 87663 w 2056491"/>
                <a:gd name="connsiteY31" fmla="*/ 292473 h 3574942"/>
                <a:gd name="connsiteX32" fmla="*/ 39729 w 2056491"/>
                <a:gd name="connsiteY32" fmla="*/ 171030 h 3574942"/>
                <a:gd name="connsiteX0" fmla="*/ 39729 w 2056491"/>
                <a:gd name="connsiteY0" fmla="*/ 171030 h 3574942"/>
                <a:gd name="connsiteX1" fmla="*/ 59088 w 2056491"/>
                <a:gd name="connsiteY1" fmla="*/ 59110 h 3574942"/>
                <a:gd name="connsiteX2" fmla="*/ 104332 w 2056491"/>
                <a:gd name="connsiteY2" fmla="*/ 25773 h 3574942"/>
                <a:gd name="connsiteX3" fmla="*/ 142432 w 2056491"/>
                <a:gd name="connsiteY3" fmla="*/ 4342 h 3574942"/>
                <a:gd name="connsiteX4" fmla="*/ 225776 w 2056491"/>
                <a:gd name="connsiteY4" fmla="*/ 85306 h 3574942"/>
                <a:gd name="connsiteX5" fmla="*/ 190057 w 2056491"/>
                <a:gd name="connsiteY5" fmla="*/ 249612 h 3574942"/>
                <a:gd name="connsiteX6" fmla="*/ 454376 w 2056491"/>
                <a:gd name="connsiteY6" fmla="*/ 668712 h 3574942"/>
                <a:gd name="connsiteX7" fmla="*/ 554389 w 2056491"/>
                <a:gd name="connsiteY7" fmla="*/ 687762 h 3574942"/>
                <a:gd name="connsiteX8" fmla="*/ 780607 w 2056491"/>
                <a:gd name="connsiteY8" fmla="*/ 790156 h 3574942"/>
                <a:gd name="connsiteX9" fmla="*/ 502001 w 2056491"/>
                <a:gd name="connsiteY9" fmla="*/ 1178299 h 3574942"/>
                <a:gd name="connsiteX10" fmla="*/ 449614 w 2056491"/>
                <a:gd name="connsiteY10" fmla="*/ 1656931 h 3574942"/>
                <a:gd name="connsiteX11" fmla="*/ 1075882 w 2056491"/>
                <a:gd name="connsiteY11" fmla="*/ 1718843 h 3574942"/>
                <a:gd name="connsiteX12" fmla="*/ 1144939 w 2056491"/>
                <a:gd name="connsiteY12" fmla="*/ 1461668 h 3574942"/>
                <a:gd name="connsiteX13" fmla="*/ 952057 w 2056491"/>
                <a:gd name="connsiteY13" fmla="*/ 954461 h 3574942"/>
                <a:gd name="connsiteX14" fmla="*/ 1061595 w 2056491"/>
                <a:gd name="connsiteY14" fmla="*/ 840160 h 3574942"/>
                <a:gd name="connsiteX15" fmla="*/ 1235426 w 2056491"/>
                <a:gd name="connsiteY15" fmla="*/ 756817 h 3574942"/>
                <a:gd name="connsiteX16" fmla="*/ 1364013 w 2056491"/>
                <a:gd name="connsiteY16" fmla="*/ 785392 h 3574942"/>
                <a:gd name="connsiteX17" fmla="*/ 1880745 w 2056491"/>
                <a:gd name="connsiteY17" fmla="*/ 313906 h 3574942"/>
                <a:gd name="connsiteX18" fmla="*/ 1878708 w 2056491"/>
                <a:gd name="connsiteY18" fmla="*/ 175792 h 3574942"/>
                <a:gd name="connsiteX19" fmla="*/ 1954562 w 2056491"/>
                <a:gd name="connsiteY19" fmla="*/ 125785 h 3574942"/>
                <a:gd name="connsiteX20" fmla="*/ 1999807 w 2056491"/>
                <a:gd name="connsiteY20" fmla="*/ 168649 h 3574942"/>
                <a:gd name="connsiteX21" fmla="*/ 2035526 w 2056491"/>
                <a:gd name="connsiteY21" fmla="*/ 218653 h 3574942"/>
                <a:gd name="connsiteX22" fmla="*/ 2049813 w 2056491"/>
                <a:gd name="connsiteY22" fmla="*/ 299616 h 3574942"/>
                <a:gd name="connsiteX23" fmla="*/ 1935513 w 2056491"/>
                <a:gd name="connsiteY23" fmla="*/ 440112 h 3574942"/>
                <a:gd name="connsiteX24" fmla="*/ 1052414 w 2056491"/>
                <a:gd name="connsiteY24" fmla="*/ 3574942 h 3574942"/>
                <a:gd name="connsiteX25" fmla="*/ 20679 w 2056491"/>
                <a:gd name="connsiteY25" fmla="*/ 3574942 h 3574942"/>
                <a:gd name="connsiteX26" fmla="*/ 380556 w 2056491"/>
                <a:gd name="connsiteY26" fmla="*/ 1523579 h 3574942"/>
                <a:gd name="connsiteX27" fmla="*/ 325787 w 2056491"/>
                <a:gd name="connsiteY27" fmla="*/ 1337841 h 3574942"/>
                <a:gd name="connsiteX28" fmla="*/ 437706 w 2056491"/>
                <a:gd name="connsiteY28" fmla="*/ 997323 h 3574942"/>
                <a:gd name="connsiteX29" fmla="*/ 156719 w 2056491"/>
                <a:gd name="connsiteY29" fmla="*/ 652041 h 3574942"/>
                <a:gd name="connsiteX30" fmla="*/ 37656 w 2056491"/>
                <a:gd name="connsiteY30" fmla="*/ 352004 h 3574942"/>
                <a:gd name="connsiteX31" fmla="*/ 87663 w 2056491"/>
                <a:gd name="connsiteY31" fmla="*/ 292473 h 3574942"/>
                <a:gd name="connsiteX32" fmla="*/ 39729 w 2056491"/>
                <a:gd name="connsiteY32" fmla="*/ 171030 h 3574942"/>
                <a:gd name="connsiteX0" fmla="*/ 39729 w 2056491"/>
                <a:gd name="connsiteY0" fmla="*/ 171030 h 3574942"/>
                <a:gd name="connsiteX1" fmla="*/ 59088 w 2056491"/>
                <a:gd name="connsiteY1" fmla="*/ 59110 h 3574942"/>
                <a:gd name="connsiteX2" fmla="*/ 104332 w 2056491"/>
                <a:gd name="connsiteY2" fmla="*/ 25773 h 3574942"/>
                <a:gd name="connsiteX3" fmla="*/ 142432 w 2056491"/>
                <a:gd name="connsiteY3" fmla="*/ 4342 h 3574942"/>
                <a:gd name="connsiteX4" fmla="*/ 225776 w 2056491"/>
                <a:gd name="connsiteY4" fmla="*/ 85306 h 3574942"/>
                <a:gd name="connsiteX5" fmla="*/ 190057 w 2056491"/>
                <a:gd name="connsiteY5" fmla="*/ 249612 h 3574942"/>
                <a:gd name="connsiteX6" fmla="*/ 454376 w 2056491"/>
                <a:gd name="connsiteY6" fmla="*/ 668712 h 3574942"/>
                <a:gd name="connsiteX7" fmla="*/ 554389 w 2056491"/>
                <a:gd name="connsiteY7" fmla="*/ 687762 h 3574942"/>
                <a:gd name="connsiteX8" fmla="*/ 780607 w 2056491"/>
                <a:gd name="connsiteY8" fmla="*/ 790156 h 3574942"/>
                <a:gd name="connsiteX9" fmla="*/ 502001 w 2056491"/>
                <a:gd name="connsiteY9" fmla="*/ 1178299 h 3574942"/>
                <a:gd name="connsiteX10" fmla="*/ 449614 w 2056491"/>
                <a:gd name="connsiteY10" fmla="*/ 1656931 h 3574942"/>
                <a:gd name="connsiteX11" fmla="*/ 1075882 w 2056491"/>
                <a:gd name="connsiteY11" fmla="*/ 1718843 h 3574942"/>
                <a:gd name="connsiteX12" fmla="*/ 1144939 w 2056491"/>
                <a:gd name="connsiteY12" fmla="*/ 1461668 h 3574942"/>
                <a:gd name="connsiteX13" fmla="*/ 952057 w 2056491"/>
                <a:gd name="connsiteY13" fmla="*/ 954461 h 3574942"/>
                <a:gd name="connsiteX14" fmla="*/ 1061595 w 2056491"/>
                <a:gd name="connsiteY14" fmla="*/ 840160 h 3574942"/>
                <a:gd name="connsiteX15" fmla="*/ 1235426 w 2056491"/>
                <a:gd name="connsiteY15" fmla="*/ 756817 h 3574942"/>
                <a:gd name="connsiteX16" fmla="*/ 1364013 w 2056491"/>
                <a:gd name="connsiteY16" fmla="*/ 785392 h 3574942"/>
                <a:gd name="connsiteX17" fmla="*/ 1880745 w 2056491"/>
                <a:gd name="connsiteY17" fmla="*/ 313906 h 3574942"/>
                <a:gd name="connsiteX18" fmla="*/ 1878708 w 2056491"/>
                <a:gd name="connsiteY18" fmla="*/ 175792 h 3574942"/>
                <a:gd name="connsiteX19" fmla="*/ 1954562 w 2056491"/>
                <a:gd name="connsiteY19" fmla="*/ 125785 h 3574942"/>
                <a:gd name="connsiteX20" fmla="*/ 1999807 w 2056491"/>
                <a:gd name="connsiteY20" fmla="*/ 168649 h 3574942"/>
                <a:gd name="connsiteX21" fmla="*/ 2035526 w 2056491"/>
                <a:gd name="connsiteY21" fmla="*/ 218653 h 3574942"/>
                <a:gd name="connsiteX22" fmla="*/ 2049813 w 2056491"/>
                <a:gd name="connsiteY22" fmla="*/ 299616 h 3574942"/>
                <a:gd name="connsiteX23" fmla="*/ 1935513 w 2056491"/>
                <a:gd name="connsiteY23" fmla="*/ 440112 h 3574942"/>
                <a:gd name="connsiteX24" fmla="*/ 1052414 w 2056491"/>
                <a:gd name="connsiteY24" fmla="*/ 3574942 h 3574942"/>
                <a:gd name="connsiteX25" fmla="*/ 20679 w 2056491"/>
                <a:gd name="connsiteY25" fmla="*/ 3574942 h 3574942"/>
                <a:gd name="connsiteX26" fmla="*/ 380556 w 2056491"/>
                <a:gd name="connsiteY26" fmla="*/ 1523579 h 3574942"/>
                <a:gd name="connsiteX27" fmla="*/ 325787 w 2056491"/>
                <a:gd name="connsiteY27" fmla="*/ 1337841 h 3574942"/>
                <a:gd name="connsiteX28" fmla="*/ 437706 w 2056491"/>
                <a:gd name="connsiteY28" fmla="*/ 997323 h 3574942"/>
                <a:gd name="connsiteX29" fmla="*/ 156719 w 2056491"/>
                <a:gd name="connsiteY29" fmla="*/ 652041 h 3574942"/>
                <a:gd name="connsiteX30" fmla="*/ 37656 w 2056491"/>
                <a:gd name="connsiteY30" fmla="*/ 352004 h 3574942"/>
                <a:gd name="connsiteX31" fmla="*/ 87663 w 2056491"/>
                <a:gd name="connsiteY31" fmla="*/ 292473 h 3574942"/>
                <a:gd name="connsiteX32" fmla="*/ 39729 w 2056491"/>
                <a:gd name="connsiteY32" fmla="*/ 171030 h 3574942"/>
                <a:gd name="connsiteX0" fmla="*/ 39729 w 2056491"/>
                <a:gd name="connsiteY0" fmla="*/ 171030 h 3574942"/>
                <a:gd name="connsiteX1" fmla="*/ 59088 w 2056491"/>
                <a:gd name="connsiteY1" fmla="*/ 59110 h 3574942"/>
                <a:gd name="connsiteX2" fmla="*/ 104332 w 2056491"/>
                <a:gd name="connsiteY2" fmla="*/ 25773 h 3574942"/>
                <a:gd name="connsiteX3" fmla="*/ 142432 w 2056491"/>
                <a:gd name="connsiteY3" fmla="*/ 4342 h 3574942"/>
                <a:gd name="connsiteX4" fmla="*/ 225776 w 2056491"/>
                <a:gd name="connsiteY4" fmla="*/ 85306 h 3574942"/>
                <a:gd name="connsiteX5" fmla="*/ 190057 w 2056491"/>
                <a:gd name="connsiteY5" fmla="*/ 249612 h 3574942"/>
                <a:gd name="connsiteX6" fmla="*/ 454376 w 2056491"/>
                <a:gd name="connsiteY6" fmla="*/ 668712 h 3574942"/>
                <a:gd name="connsiteX7" fmla="*/ 554389 w 2056491"/>
                <a:gd name="connsiteY7" fmla="*/ 687762 h 3574942"/>
                <a:gd name="connsiteX8" fmla="*/ 780607 w 2056491"/>
                <a:gd name="connsiteY8" fmla="*/ 790156 h 3574942"/>
                <a:gd name="connsiteX9" fmla="*/ 502001 w 2056491"/>
                <a:gd name="connsiteY9" fmla="*/ 1178299 h 3574942"/>
                <a:gd name="connsiteX10" fmla="*/ 449614 w 2056491"/>
                <a:gd name="connsiteY10" fmla="*/ 1656931 h 3574942"/>
                <a:gd name="connsiteX11" fmla="*/ 1075882 w 2056491"/>
                <a:gd name="connsiteY11" fmla="*/ 1718843 h 3574942"/>
                <a:gd name="connsiteX12" fmla="*/ 1144939 w 2056491"/>
                <a:gd name="connsiteY12" fmla="*/ 1461668 h 3574942"/>
                <a:gd name="connsiteX13" fmla="*/ 952057 w 2056491"/>
                <a:gd name="connsiteY13" fmla="*/ 954461 h 3574942"/>
                <a:gd name="connsiteX14" fmla="*/ 1061595 w 2056491"/>
                <a:gd name="connsiteY14" fmla="*/ 840160 h 3574942"/>
                <a:gd name="connsiteX15" fmla="*/ 1235426 w 2056491"/>
                <a:gd name="connsiteY15" fmla="*/ 756817 h 3574942"/>
                <a:gd name="connsiteX16" fmla="*/ 1364013 w 2056491"/>
                <a:gd name="connsiteY16" fmla="*/ 785392 h 3574942"/>
                <a:gd name="connsiteX17" fmla="*/ 1880745 w 2056491"/>
                <a:gd name="connsiteY17" fmla="*/ 313906 h 3574942"/>
                <a:gd name="connsiteX18" fmla="*/ 1878708 w 2056491"/>
                <a:gd name="connsiteY18" fmla="*/ 175792 h 3574942"/>
                <a:gd name="connsiteX19" fmla="*/ 1954562 w 2056491"/>
                <a:gd name="connsiteY19" fmla="*/ 125785 h 3574942"/>
                <a:gd name="connsiteX20" fmla="*/ 1999807 w 2056491"/>
                <a:gd name="connsiteY20" fmla="*/ 168649 h 3574942"/>
                <a:gd name="connsiteX21" fmla="*/ 2035526 w 2056491"/>
                <a:gd name="connsiteY21" fmla="*/ 218653 h 3574942"/>
                <a:gd name="connsiteX22" fmla="*/ 2049813 w 2056491"/>
                <a:gd name="connsiteY22" fmla="*/ 299616 h 3574942"/>
                <a:gd name="connsiteX23" fmla="*/ 1935513 w 2056491"/>
                <a:gd name="connsiteY23" fmla="*/ 440112 h 3574942"/>
                <a:gd name="connsiteX24" fmla="*/ 1961706 w 2056491"/>
                <a:gd name="connsiteY24" fmla="*/ 502023 h 3574942"/>
                <a:gd name="connsiteX25" fmla="*/ 1052414 w 2056491"/>
                <a:gd name="connsiteY25" fmla="*/ 3574942 h 3574942"/>
                <a:gd name="connsiteX26" fmla="*/ 20679 w 2056491"/>
                <a:gd name="connsiteY26" fmla="*/ 3574942 h 3574942"/>
                <a:gd name="connsiteX27" fmla="*/ 380556 w 2056491"/>
                <a:gd name="connsiteY27" fmla="*/ 1523579 h 3574942"/>
                <a:gd name="connsiteX28" fmla="*/ 325787 w 2056491"/>
                <a:gd name="connsiteY28" fmla="*/ 1337841 h 3574942"/>
                <a:gd name="connsiteX29" fmla="*/ 437706 w 2056491"/>
                <a:gd name="connsiteY29" fmla="*/ 997323 h 3574942"/>
                <a:gd name="connsiteX30" fmla="*/ 156719 w 2056491"/>
                <a:gd name="connsiteY30" fmla="*/ 652041 h 3574942"/>
                <a:gd name="connsiteX31" fmla="*/ 37656 w 2056491"/>
                <a:gd name="connsiteY31" fmla="*/ 352004 h 3574942"/>
                <a:gd name="connsiteX32" fmla="*/ 87663 w 2056491"/>
                <a:gd name="connsiteY32" fmla="*/ 292473 h 3574942"/>
                <a:gd name="connsiteX33" fmla="*/ 39729 w 2056491"/>
                <a:gd name="connsiteY33" fmla="*/ 171030 h 3574942"/>
                <a:gd name="connsiteX0" fmla="*/ 39729 w 2056491"/>
                <a:gd name="connsiteY0" fmla="*/ 171030 h 3574942"/>
                <a:gd name="connsiteX1" fmla="*/ 59088 w 2056491"/>
                <a:gd name="connsiteY1" fmla="*/ 59110 h 3574942"/>
                <a:gd name="connsiteX2" fmla="*/ 104332 w 2056491"/>
                <a:gd name="connsiteY2" fmla="*/ 25773 h 3574942"/>
                <a:gd name="connsiteX3" fmla="*/ 142432 w 2056491"/>
                <a:gd name="connsiteY3" fmla="*/ 4342 h 3574942"/>
                <a:gd name="connsiteX4" fmla="*/ 225776 w 2056491"/>
                <a:gd name="connsiteY4" fmla="*/ 85306 h 3574942"/>
                <a:gd name="connsiteX5" fmla="*/ 190057 w 2056491"/>
                <a:gd name="connsiteY5" fmla="*/ 249612 h 3574942"/>
                <a:gd name="connsiteX6" fmla="*/ 454376 w 2056491"/>
                <a:gd name="connsiteY6" fmla="*/ 668712 h 3574942"/>
                <a:gd name="connsiteX7" fmla="*/ 554389 w 2056491"/>
                <a:gd name="connsiteY7" fmla="*/ 687762 h 3574942"/>
                <a:gd name="connsiteX8" fmla="*/ 780607 w 2056491"/>
                <a:gd name="connsiteY8" fmla="*/ 790156 h 3574942"/>
                <a:gd name="connsiteX9" fmla="*/ 502001 w 2056491"/>
                <a:gd name="connsiteY9" fmla="*/ 1178299 h 3574942"/>
                <a:gd name="connsiteX10" fmla="*/ 449614 w 2056491"/>
                <a:gd name="connsiteY10" fmla="*/ 1656931 h 3574942"/>
                <a:gd name="connsiteX11" fmla="*/ 1075882 w 2056491"/>
                <a:gd name="connsiteY11" fmla="*/ 1718843 h 3574942"/>
                <a:gd name="connsiteX12" fmla="*/ 1144939 w 2056491"/>
                <a:gd name="connsiteY12" fmla="*/ 1461668 h 3574942"/>
                <a:gd name="connsiteX13" fmla="*/ 952057 w 2056491"/>
                <a:gd name="connsiteY13" fmla="*/ 954461 h 3574942"/>
                <a:gd name="connsiteX14" fmla="*/ 1061595 w 2056491"/>
                <a:gd name="connsiteY14" fmla="*/ 840160 h 3574942"/>
                <a:gd name="connsiteX15" fmla="*/ 1235426 w 2056491"/>
                <a:gd name="connsiteY15" fmla="*/ 756817 h 3574942"/>
                <a:gd name="connsiteX16" fmla="*/ 1364013 w 2056491"/>
                <a:gd name="connsiteY16" fmla="*/ 785392 h 3574942"/>
                <a:gd name="connsiteX17" fmla="*/ 1880745 w 2056491"/>
                <a:gd name="connsiteY17" fmla="*/ 313906 h 3574942"/>
                <a:gd name="connsiteX18" fmla="*/ 1878708 w 2056491"/>
                <a:gd name="connsiteY18" fmla="*/ 175792 h 3574942"/>
                <a:gd name="connsiteX19" fmla="*/ 1954562 w 2056491"/>
                <a:gd name="connsiteY19" fmla="*/ 125785 h 3574942"/>
                <a:gd name="connsiteX20" fmla="*/ 1999807 w 2056491"/>
                <a:gd name="connsiteY20" fmla="*/ 168649 h 3574942"/>
                <a:gd name="connsiteX21" fmla="*/ 2035526 w 2056491"/>
                <a:gd name="connsiteY21" fmla="*/ 218653 h 3574942"/>
                <a:gd name="connsiteX22" fmla="*/ 2049813 w 2056491"/>
                <a:gd name="connsiteY22" fmla="*/ 299616 h 3574942"/>
                <a:gd name="connsiteX23" fmla="*/ 1935513 w 2056491"/>
                <a:gd name="connsiteY23" fmla="*/ 440112 h 3574942"/>
                <a:gd name="connsiteX24" fmla="*/ 1961706 w 2056491"/>
                <a:gd name="connsiteY24" fmla="*/ 502023 h 3574942"/>
                <a:gd name="connsiteX25" fmla="*/ 1344963 w 2056491"/>
                <a:gd name="connsiteY25" fmla="*/ 1090191 h 3574942"/>
                <a:gd name="connsiteX26" fmla="*/ 1052414 w 2056491"/>
                <a:gd name="connsiteY26" fmla="*/ 3574942 h 3574942"/>
                <a:gd name="connsiteX27" fmla="*/ 20679 w 2056491"/>
                <a:gd name="connsiteY27" fmla="*/ 3574942 h 3574942"/>
                <a:gd name="connsiteX28" fmla="*/ 380556 w 2056491"/>
                <a:gd name="connsiteY28" fmla="*/ 1523579 h 3574942"/>
                <a:gd name="connsiteX29" fmla="*/ 325787 w 2056491"/>
                <a:gd name="connsiteY29" fmla="*/ 1337841 h 3574942"/>
                <a:gd name="connsiteX30" fmla="*/ 437706 w 2056491"/>
                <a:gd name="connsiteY30" fmla="*/ 997323 h 3574942"/>
                <a:gd name="connsiteX31" fmla="*/ 156719 w 2056491"/>
                <a:gd name="connsiteY31" fmla="*/ 652041 h 3574942"/>
                <a:gd name="connsiteX32" fmla="*/ 37656 w 2056491"/>
                <a:gd name="connsiteY32" fmla="*/ 352004 h 3574942"/>
                <a:gd name="connsiteX33" fmla="*/ 87663 w 2056491"/>
                <a:gd name="connsiteY33" fmla="*/ 292473 h 3574942"/>
                <a:gd name="connsiteX34" fmla="*/ 39729 w 2056491"/>
                <a:gd name="connsiteY34" fmla="*/ 171030 h 3574942"/>
                <a:gd name="connsiteX0" fmla="*/ 39729 w 2056491"/>
                <a:gd name="connsiteY0" fmla="*/ 171030 h 3574942"/>
                <a:gd name="connsiteX1" fmla="*/ 59088 w 2056491"/>
                <a:gd name="connsiteY1" fmla="*/ 59110 h 3574942"/>
                <a:gd name="connsiteX2" fmla="*/ 104332 w 2056491"/>
                <a:gd name="connsiteY2" fmla="*/ 25773 h 3574942"/>
                <a:gd name="connsiteX3" fmla="*/ 142432 w 2056491"/>
                <a:gd name="connsiteY3" fmla="*/ 4342 h 3574942"/>
                <a:gd name="connsiteX4" fmla="*/ 225776 w 2056491"/>
                <a:gd name="connsiteY4" fmla="*/ 85306 h 3574942"/>
                <a:gd name="connsiteX5" fmla="*/ 190057 w 2056491"/>
                <a:gd name="connsiteY5" fmla="*/ 249612 h 3574942"/>
                <a:gd name="connsiteX6" fmla="*/ 454376 w 2056491"/>
                <a:gd name="connsiteY6" fmla="*/ 668712 h 3574942"/>
                <a:gd name="connsiteX7" fmla="*/ 554389 w 2056491"/>
                <a:gd name="connsiteY7" fmla="*/ 687762 h 3574942"/>
                <a:gd name="connsiteX8" fmla="*/ 780607 w 2056491"/>
                <a:gd name="connsiteY8" fmla="*/ 790156 h 3574942"/>
                <a:gd name="connsiteX9" fmla="*/ 502001 w 2056491"/>
                <a:gd name="connsiteY9" fmla="*/ 1178299 h 3574942"/>
                <a:gd name="connsiteX10" fmla="*/ 449614 w 2056491"/>
                <a:gd name="connsiteY10" fmla="*/ 1656931 h 3574942"/>
                <a:gd name="connsiteX11" fmla="*/ 1075882 w 2056491"/>
                <a:gd name="connsiteY11" fmla="*/ 1718843 h 3574942"/>
                <a:gd name="connsiteX12" fmla="*/ 1144939 w 2056491"/>
                <a:gd name="connsiteY12" fmla="*/ 1461668 h 3574942"/>
                <a:gd name="connsiteX13" fmla="*/ 952057 w 2056491"/>
                <a:gd name="connsiteY13" fmla="*/ 954461 h 3574942"/>
                <a:gd name="connsiteX14" fmla="*/ 1061595 w 2056491"/>
                <a:gd name="connsiteY14" fmla="*/ 840160 h 3574942"/>
                <a:gd name="connsiteX15" fmla="*/ 1235426 w 2056491"/>
                <a:gd name="connsiteY15" fmla="*/ 756817 h 3574942"/>
                <a:gd name="connsiteX16" fmla="*/ 1364013 w 2056491"/>
                <a:gd name="connsiteY16" fmla="*/ 785392 h 3574942"/>
                <a:gd name="connsiteX17" fmla="*/ 1880745 w 2056491"/>
                <a:gd name="connsiteY17" fmla="*/ 313906 h 3574942"/>
                <a:gd name="connsiteX18" fmla="*/ 1878708 w 2056491"/>
                <a:gd name="connsiteY18" fmla="*/ 175792 h 3574942"/>
                <a:gd name="connsiteX19" fmla="*/ 1954562 w 2056491"/>
                <a:gd name="connsiteY19" fmla="*/ 125785 h 3574942"/>
                <a:gd name="connsiteX20" fmla="*/ 1999807 w 2056491"/>
                <a:gd name="connsiteY20" fmla="*/ 168649 h 3574942"/>
                <a:gd name="connsiteX21" fmla="*/ 2035526 w 2056491"/>
                <a:gd name="connsiteY21" fmla="*/ 218653 h 3574942"/>
                <a:gd name="connsiteX22" fmla="*/ 2049813 w 2056491"/>
                <a:gd name="connsiteY22" fmla="*/ 299616 h 3574942"/>
                <a:gd name="connsiteX23" fmla="*/ 1935513 w 2056491"/>
                <a:gd name="connsiteY23" fmla="*/ 440112 h 3574942"/>
                <a:gd name="connsiteX24" fmla="*/ 1961706 w 2056491"/>
                <a:gd name="connsiteY24" fmla="*/ 502023 h 3574942"/>
                <a:gd name="connsiteX25" fmla="*/ 1573563 w 2056491"/>
                <a:gd name="connsiteY25" fmla="*/ 949698 h 3574942"/>
                <a:gd name="connsiteX26" fmla="*/ 1344963 w 2056491"/>
                <a:gd name="connsiteY26" fmla="*/ 1090191 h 3574942"/>
                <a:gd name="connsiteX27" fmla="*/ 1052414 w 2056491"/>
                <a:gd name="connsiteY27" fmla="*/ 3574942 h 3574942"/>
                <a:gd name="connsiteX28" fmla="*/ 20679 w 2056491"/>
                <a:gd name="connsiteY28" fmla="*/ 3574942 h 3574942"/>
                <a:gd name="connsiteX29" fmla="*/ 380556 w 2056491"/>
                <a:gd name="connsiteY29" fmla="*/ 1523579 h 3574942"/>
                <a:gd name="connsiteX30" fmla="*/ 325787 w 2056491"/>
                <a:gd name="connsiteY30" fmla="*/ 1337841 h 3574942"/>
                <a:gd name="connsiteX31" fmla="*/ 437706 w 2056491"/>
                <a:gd name="connsiteY31" fmla="*/ 997323 h 3574942"/>
                <a:gd name="connsiteX32" fmla="*/ 156719 w 2056491"/>
                <a:gd name="connsiteY32" fmla="*/ 652041 h 3574942"/>
                <a:gd name="connsiteX33" fmla="*/ 37656 w 2056491"/>
                <a:gd name="connsiteY33" fmla="*/ 352004 h 3574942"/>
                <a:gd name="connsiteX34" fmla="*/ 87663 w 2056491"/>
                <a:gd name="connsiteY34" fmla="*/ 292473 h 3574942"/>
                <a:gd name="connsiteX35" fmla="*/ 39729 w 2056491"/>
                <a:gd name="connsiteY35" fmla="*/ 171030 h 3574942"/>
                <a:gd name="connsiteX0" fmla="*/ 39729 w 2056491"/>
                <a:gd name="connsiteY0" fmla="*/ 171030 h 3574942"/>
                <a:gd name="connsiteX1" fmla="*/ 59088 w 2056491"/>
                <a:gd name="connsiteY1" fmla="*/ 59110 h 3574942"/>
                <a:gd name="connsiteX2" fmla="*/ 104332 w 2056491"/>
                <a:gd name="connsiteY2" fmla="*/ 25773 h 3574942"/>
                <a:gd name="connsiteX3" fmla="*/ 142432 w 2056491"/>
                <a:gd name="connsiteY3" fmla="*/ 4342 h 3574942"/>
                <a:gd name="connsiteX4" fmla="*/ 225776 w 2056491"/>
                <a:gd name="connsiteY4" fmla="*/ 85306 h 3574942"/>
                <a:gd name="connsiteX5" fmla="*/ 190057 w 2056491"/>
                <a:gd name="connsiteY5" fmla="*/ 249612 h 3574942"/>
                <a:gd name="connsiteX6" fmla="*/ 454376 w 2056491"/>
                <a:gd name="connsiteY6" fmla="*/ 668712 h 3574942"/>
                <a:gd name="connsiteX7" fmla="*/ 554389 w 2056491"/>
                <a:gd name="connsiteY7" fmla="*/ 687762 h 3574942"/>
                <a:gd name="connsiteX8" fmla="*/ 780607 w 2056491"/>
                <a:gd name="connsiteY8" fmla="*/ 790156 h 3574942"/>
                <a:gd name="connsiteX9" fmla="*/ 502001 w 2056491"/>
                <a:gd name="connsiteY9" fmla="*/ 1178299 h 3574942"/>
                <a:gd name="connsiteX10" fmla="*/ 449614 w 2056491"/>
                <a:gd name="connsiteY10" fmla="*/ 1656931 h 3574942"/>
                <a:gd name="connsiteX11" fmla="*/ 1075882 w 2056491"/>
                <a:gd name="connsiteY11" fmla="*/ 1718843 h 3574942"/>
                <a:gd name="connsiteX12" fmla="*/ 1144939 w 2056491"/>
                <a:gd name="connsiteY12" fmla="*/ 1461668 h 3574942"/>
                <a:gd name="connsiteX13" fmla="*/ 952057 w 2056491"/>
                <a:gd name="connsiteY13" fmla="*/ 954461 h 3574942"/>
                <a:gd name="connsiteX14" fmla="*/ 1061595 w 2056491"/>
                <a:gd name="connsiteY14" fmla="*/ 840160 h 3574942"/>
                <a:gd name="connsiteX15" fmla="*/ 1235426 w 2056491"/>
                <a:gd name="connsiteY15" fmla="*/ 756817 h 3574942"/>
                <a:gd name="connsiteX16" fmla="*/ 1364013 w 2056491"/>
                <a:gd name="connsiteY16" fmla="*/ 785392 h 3574942"/>
                <a:gd name="connsiteX17" fmla="*/ 1880745 w 2056491"/>
                <a:gd name="connsiteY17" fmla="*/ 313906 h 3574942"/>
                <a:gd name="connsiteX18" fmla="*/ 1878708 w 2056491"/>
                <a:gd name="connsiteY18" fmla="*/ 175792 h 3574942"/>
                <a:gd name="connsiteX19" fmla="*/ 1954562 w 2056491"/>
                <a:gd name="connsiteY19" fmla="*/ 125785 h 3574942"/>
                <a:gd name="connsiteX20" fmla="*/ 1999807 w 2056491"/>
                <a:gd name="connsiteY20" fmla="*/ 168649 h 3574942"/>
                <a:gd name="connsiteX21" fmla="*/ 2035526 w 2056491"/>
                <a:gd name="connsiteY21" fmla="*/ 218653 h 3574942"/>
                <a:gd name="connsiteX22" fmla="*/ 2049813 w 2056491"/>
                <a:gd name="connsiteY22" fmla="*/ 299616 h 3574942"/>
                <a:gd name="connsiteX23" fmla="*/ 1935513 w 2056491"/>
                <a:gd name="connsiteY23" fmla="*/ 440112 h 3574942"/>
                <a:gd name="connsiteX24" fmla="*/ 1961706 w 2056491"/>
                <a:gd name="connsiteY24" fmla="*/ 502023 h 3574942"/>
                <a:gd name="connsiteX25" fmla="*/ 1573563 w 2056491"/>
                <a:gd name="connsiteY25" fmla="*/ 949698 h 3574942"/>
                <a:gd name="connsiteX26" fmla="*/ 1344963 w 2056491"/>
                <a:gd name="connsiteY26" fmla="*/ 1090191 h 3574942"/>
                <a:gd name="connsiteX27" fmla="*/ 1052414 w 2056491"/>
                <a:gd name="connsiteY27" fmla="*/ 3574942 h 3574942"/>
                <a:gd name="connsiteX28" fmla="*/ 20679 w 2056491"/>
                <a:gd name="connsiteY28" fmla="*/ 3574942 h 3574942"/>
                <a:gd name="connsiteX29" fmla="*/ 380556 w 2056491"/>
                <a:gd name="connsiteY29" fmla="*/ 1523579 h 3574942"/>
                <a:gd name="connsiteX30" fmla="*/ 325787 w 2056491"/>
                <a:gd name="connsiteY30" fmla="*/ 1337841 h 3574942"/>
                <a:gd name="connsiteX31" fmla="*/ 437706 w 2056491"/>
                <a:gd name="connsiteY31" fmla="*/ 997323 h 3574942"/>
                <a:gd name="connsiteX32" fmla="*/ 156719 w 2056491"/>
                <a:gd name="connsiteY32" fmla="*/ 652041 h 3574942"/>
                <a:gd name="connsiteX33" fmla="*/ 37656 w 2056491"/>
                <a:gd name="connsiteY33" fmla="*/ 352004 h 3574942"/>
                <a:gd name="connsiteX34" fmla="*/ 87663 w 2056491"/>
                <a:gd name="connsiteY34" fmla="*/ 292473 h 3574942"/>
                <a:gd name="connsiteX35" fmla="*/ 39729 w 2056491"/>
                <a:gd name="connsiteY35" fmla="*/ 171030 h 3574942"/>
                <a:gd name="connsiteX0" fmla="*/ 39729 w 2056491"/>
                <a:gd name="connsiteY0" fmla="*/ 171030 h 3574942"/>
                <a:gd name="connsiteX1" fmla="*/ 59088 w 2056491"/>
                <a:gd name="connsiteY1" fmla="*/ 59110 h 3574942"/>
                <a:gd name="connsiteX2" fmla="*/ 104332 w 2056491"/>
                <a:gd name="connsiteY2" fmla="*/ 25773 h 3574942"/>
                <a:gd name="connsiteX3" fmla="*/ 142432 w 2056491"/>
                <a:gd name="connsiteY3" fmla="*/ 4342 h 3574942"/>
                <a:gd name="connsiteX4" fmla="*/ 225776 w 2056491"/>
                <a:gd name="connsiteY4" fmla="*/ 85306 h 3574942"/>
                <a:gd name="connsiteX5" fmla="*/ 190057 w 2056491"/>
                <a:gd name="connsiteY5" fmla="*/ 249612 h 3574942"/>
                <a:gd name="connsiteX6" fmla="*/ 454376 w 2056491"/>
                <a:gd name="connsiteY6" fmla="*/ 668712 h 3574942"/>
                <a:gd name="connsiteX7" fmla="*/ 554389 w 2056491"/>
                <a:gd name="connsiteY7" fmla="*/ 687762 h 3574942"/>
                <a:gd name="connsiteX8" fmla="*/ 780607 w 2056491"/>
                <a:gd name="connsiteY8" fmla="*/ 790156 h 3574942"/>
                <a:gd name="connsiteX9" fmla="*/ 502001 w 2056491"/>
                <a:gd name="connsiteY9" fmla="*/ 1178299 h 3574942"/>
                <a:gd name="connsiteX10" fmla="*/ 449614 w 2056491"/>
                <a:gd name="connsiteY10" fmla="*/ 1656931 h 3574942"/>
                <a:gd name="connsiteX11" fmla="*/ 1075882 w 2056491"/>
                <a:gd name="connsiteY11" fmla="*/ 1718843 h 3574942"/>
                <a:gd name="connsiteX12" fmla="*/ 1144939 w 2056491"/>
                <a:gd name="connsiteY12" fmla="*/ 1461668 h 3574942"/>
                <a:gd name="connsiteX13" fmla="*/ 952057 w 2056491"/>
                <a:gd name="connsiteY13" fmla="*/ 954461 h 3574942"/>
                <a:gd name="connsiteX14" fmla="*/ 1061595 w 2056491"/>
                <a:gd name="connsiteY14" fmla="*/ 840160 h 3574942"/>
                <a:gd name="connsiteX15" fmla="*/ 1235426 w 2056491"/>
                <a:gd name="connsiteY15" fmla="*/ 756817 h 3574942"/>
                <a:gd name="connsiteX16" fmla="*/ 1364013 w 2056491"/>
                <a:gd name="connsiteY16" fmla="*/ 785392 h 3574942"/>
                <a:gd name="connsiteX17" fmla="*/ 1880745 w 2056491"/>
                <a:gd name="connsiteY17" fmla="*/ 313906 h 3574942"/>
                <a:gd name="connsiteX18" fmla="*/ 1878708 w 2056491"/>
                <a:gd name="connsiteY18" fmla="*/ 175792 h 3574942"/>
                <a:gd name="connsiteX19" fmla="*/ 1954562 w 2056491"/>
                <a:gd name="connsiteY19" fmla="*/ 125785 h 3574942"/>
                <a:gd name="connsiteX20" fmla="*/ 1999807 w 2056491"/>
                <a:gd name="connsiteY20" fmla="*/ 168649 h 3574942"/>
                <a:gd name="connsiteX21" fmla="*/ 2035526 w 2056491"/>
                <a:gd name="connsiteY21" fmla="*/ 218653 h 3574942"/>
                <a:gd name="connsiteX22" fmla="*/ 2049813 w 2056491"/>
                <a:gd name="connsiteY22" fmla="*/ 299616 h 3574942"/>
                <a:gd name="connsiteX23" fmla="*/ 1935513 w 2056491"/>
                <a:gd name="connsiteY23" fmla="*/ 440112 h 3574942"/>
                <a:gd name="connsiteX24" fmla="*/ 1961706 w 2056491"/>
                <a:gd name="connsiteY24" fmla="*/ 502023 h 3574942"/>
                <a:gd name="connsiteX25" fmla="*/ 1573563 w 2056491"/>
                <a:gd name="connsiteY25" fmla="*/ 949698 h 3574942"/>
                <a:gd name="connsiteX26" fmla="*/ 1344963 w 2056491"/>
                <a:gd name="connsiteY26" fmla="*/ 1090191 h 3574942"/>
                <a:gd name="connsiteX27" fmla="*/ 1052414 w 2056491"/>
                <a:gd name="connsiteY27" fmla="*/ 3574942 h 3574942"/>
                <a:gd name="connsiteX28" fmla="*/ 20679 w 2056491"/>
                <a:gd name="connsiteY28" fmla="*/ 3574942 h 3574942"/>
                <a:gd name="connsiteX29" fmla="*/ 380556 w 2056491"/>
                <a:gd name="connsiteY29" fmla="*/ 1523579 h 3574942"/>
                <a:gd name="connsiteX30" fmla="*/ 325787 w 2056491"/>
                <a:gd name="connsiteY30" fmla="*/ 1337841 h 3574942"/>
                <a:gd name="connsiteX31" fmla="*/ 437706 w 2056491"/>
                <a:gd name="connsiteY31" fmla="*/ 997323 h 3574942"/>
                <a:gd name="connsiteX32" fmla="*/ 156719 w 2056491"/>
                <a:gd name="connsiteY32" fmla="*/ 652041 h 3574942"/>
                <a:gd name="connsiteX33" fmla="*/ 37656 w 2056491"/>
                <a:gd name="connsiteY33" fmla="*/ 352004 h 3574942"/>
                <a:gd name="connsiteX34" fmla="*/ 87663 w 2056491"/>
                <a:gd name="connsiteY34" fmla="*/ 292473 h 3574942"/>
                <a:gd name="connsiteX35" fmla="*/ 39729 w 2056491"/>
                <a:gd name="connsiteY35" fmla="*/ 171030 h 3574942"/>
                <a:gd name="connsiteX0" fmla="*/ 39729 w 2056491"/>
                <a:gd name="connsiteY0" fmla="*/ 171030 h 3574942"/>
                <a:gd name="connsiteX1" fmla="*/ 59088 w 2056491"/>
                <a:gd name="connsiteY1" fmla="*/ 59110 h 3574942"/>
                <a:gd name="connsiteX2" fmla="*/ 104332 w 2056491"/>
                <a:gd name="connsiteY2" fmla="*/ 25773 h 3574942"/>
                <a:gd name="connsiteX3" fmla="*/ 142432 w 2056491"/>
                <a:gd name="connsiteY3" fmla="*/ 4342 h 3574942"/>
                <a:gd name="connsiteX4" fmla="*/ 225776 w 2056491"/>
                <a:gd name="connsiteY4" fmla="*/ 85306 h 3574942"/>
                <a:gd name="connsiteX5" fmla="*/ 190057 w 2056491"/>
                <a:gd name="connsiteY5" fmla="*/ 249612 h 3574942"/>
                <a:gd name="connsiteX6" fmla="*/ 454376 w 2056491"/>
                <a:gd name="connsiteY6" fmla="*/ 668712 h 3574942"/>
                <a:gd name="connsiteX7" fmla="*/ 554389 w 2056491"/>
                <a:gd name="connsiteY7" fmla="*/ 687762 h 3574942"/>
                <a:gd name="connsiteX8" fmla="*/ 780607 w 2056491"/>
                <a:gd name="connsiteY8" fmla="*/ 790156 h 3574942"/>
                <a:gd name="connsiteX9" fmla="*/ 502001 w 2056491"/>
                <a:gd name="connsiteY9" fmla="*/ 1178299 h 3574942"/>
                <a:gd name="connsiteX10" fmla="*/ 449614 w 2056491"/>
                <a:gd name="connsiteY10" fmla="*/ 1656931 h 3574942"/>
                <a:gd name="connsiteX11" fmla="*/ 1075882 w 2056491"/>
                <a:gd name="connsiteY11" fmla="*/ 1718843 h 3574942"/>
                <a:gd name="connsiteX12" fmla="*/ 1144939 w 2056491"/>
                <a:gd name="connsiteY12" fmla="*/ 1461668 h 3574942"/>
                <a:gd name="connsiteX13" fmla="*/ 952057 w 2056491"/>
                <a:gd name="connsiteY13" fmla="*/ 954461 h 3574942"/>
                <a:gd name="connsiteX14" fmla="*/ 1061595 w 2056491"/>
                <a:gd name="connsiteY14" fmla="*/ 840160 h 3574942"/>
                <a:gd name="connsiteX15" fmla="*/ 1235426 w 2056491"/>
                <a:gd name="connsiteY15" fmla="*/ 756817 h 3574942"/>
                <a:gd name="connsiteX16" fmla="*/ 1364013 w 2056491"/>
                <a:gd name="connsiteY16" fmla="*/ 785392 h 3574942"/>
                <a:gd name="connsiteX17" fmla="*/ 1880745 w 2056491"/>
                <a:gd name="connsiteY17" fmla="*/ 313906 h 3574942"/>
                <a:gd name="connsiteX18" fmla="*/ 1878708 w 2056491"/>
                <a:gd name="connsiteY18" fmla="*/ 175792 h 3574942"/>
                <a:gd name="connsiteX19" fmla="*/ 1954562 w 2056491"/>
                <a:gd name="connsiteY19" fmla="*/ 125785 h 3574942"/>
                <a:gd name="connsiteX20" fmla="*/ 1999807 w 2056491"/>
                <a:gd name="connsiteY20" fmla="*/ 168649 h 3574942"/>
                <a:gd name="connsiteX21" fmla="*/ 2035526 w 2056491"/>
                <a:gd name="connsiteY21" fmla="*/ 218653 h 3574942"/>
                <a:gd name="connsiteX22" fmla="*/ 2049813 w 2056491"/>
                <a:gd name="connsiteY22" fmla="*/ 299616 h 3574942"/>
                <a:gd name="connsiteX23" fmla="*/ 1935513 w 2056491"/>
                <a:gd name="connsiteY23" fmla="*/ 440112 h 3574942"/>
                <a:gd name="connsiteX24" fmla="*/ 1961706 w 2056491"/>
                <a:gd name="connsiteY24" fmla="*/ 502023 h 3574942"/>
                <a:gd name="connsiteX25" fmla="*/ 1573563 w 2056491"/>
                <a:gd name="connsiteY25" fmla="*/ 949698 h 3574942"/>
                <a:gd name="connsiteX26" fmla="*/ 1344963 w 2056491"/>
                <a:gd name="connsiteY26" fmla="*/ 1090191 h 3574942"/>
                <a:gd name="connsiteX27" fmla="*/ 1052414 w 2056491"/>
                <a:gd name="connsiteY27" fmla="*/ 3574942 h 3574942"/>
                <a:gd name="connsiteX28" fmla="*/ 20679 w 2056491"/>
                <a:gd name="connsiteY28" fmla="*/ 3574942 h 3574942"/>
                <a:gd name="connsiteX29" fmla="*/ 380556 w 2056491"/>
                <a:gd name="connsiteY29" fmla="*/ 1523579 h 3574942"/>
                <a:gd name="connsiteX30" fmla="*/ 325787 w 2056491"/>
                <a:gd name="connsiteY30" fmla="*/ 1337841 h 3574942"/>
                <a:gd name="connsiteX31" fmla="*/ 437706 w 2056491"/>
                <a:gd name="connsiteY31" fmla="*/ 997323 h 3574942"/>
                <a:gd name="connsiteX32" fmla="*/ 156719 w 2056491"/>
                <a:gd name="connsiteY32" fmla="*/ 652041 h 3574942"/>
                <a:gd name="connsiteX33" fmla="*/ 37656 w 2056491"/>
                <a:gd name="connsiteY33" fmla="*/ 352004 h 3574942"/>
                <a:gd name="connsiteX34" fmla="*/ 87663 w 2056491"/>
                <a:gd name="connsiteY34" fmla="*/ 292473 h 3574942"/>
                <a:gd name="connsiteX35" fmla="*/ 39729 w 2056491"/>
                <a:gd name="connsiteY35" fmla="*/ 171030 h 3574942"/>
                <a:gd name="connsiteX0" fmla="*/ 39729 w 2056491"/>
                <a:gd name="connsiteY0" fmla="*/ 171030 h 3574942"/>
                <a:gd name="connsiteX1" fmla="*/ 59088 w 2056491"/>
                <a:gd name="connsiteY1" fmla="*/ 59110 h 3574942"/>
                <a:gd name="connsiteX2" fmla="*/ 104332 w 2056491"/>
                <a:gd name="connsiteY2" fmla="*/ 25773 h 3574942"/>
                <a:gd name="connsiteX3" fmla="*/ 142432 w 2056491"/>
                <a:gd name="connsiteY3" fmla="*/ 4342 h 3574942"/>
                <a:gd name="connsiteX4" fmla="*/ 225776 w 2056491"/>
                <a:gd name="connsiteY4" fmla="*/ 85306 h 3574942"/>
                <a:gd name="connsiteX5" fmla="*/ 190057 w 2056491"/>
                <a:gd name="connsiteY5" fmla="*/ 249612 h 3574942"/>
                <a:gd name="connsiteX6" fmla="*/ 454376 w 2056491"/>
                <a:gd name="connsiteY6" fmla="*/ 668712 h 3574942"/>
                <a:gd name="connsiteX7" fmla="*/ 554389 w 2056491"/>
                <a:gd name="connsiteY7" fmla="*/ 687762 h 3574942"/>
                <a:gd name="connsiteX8" fmla="*/ 780607 w 2056491"/>
                <a:gd name="connsiteY8" fmla="*/ 790156 h 3574942"/>
                <a:gd name="connsiteX9" fmla="*/ 502001 w 2056491"/>
                <a:gd name="connsiteY9" fmla="*/ 1178299 h 3574942"/>
                <a:gd name="connsiteX10" fmla="*/ 449614 w 2056491"/>
                <a:gd name="connsiteY10" fmla="*/ 1656931 h 3574942"/>
                <a:gd name="connsiteX11" fmla="*/ 1075882 w 2056491"/>
                <a:gd name="connsiteY11" fmla="*/ 1718843 h 3574942"/>
                <a:gd name="connsiteX12" fmla="*/ 1144939 w 2056491"/>
                <a:gd name="connsiteY12" fmla="*/ 1461668 h 3574942"/>
                <a:gd name="connsiteX13" fmla="*/ 952057 w 2056491"/>
                <a:gd name="connsiteY13" fmla="*/ 954461 h 3574942"/>
                <a:gd name="connsiteX14" fmla="*/ 1061595 w 2056491"/>
                <a:gd name="connsiteY14" fmla="*/ 840160 h 3574942"/>
                <a:gd name="connsiteX15" fmla="*/ 1235426 w 2056491"/>
                <a:gd name="connsiteY15" fmla="*/ 756817 h 3574942"/>
                <a:gd name="connsiteX16" fmla="*/ 1364013 w 2056491"/>
                <a:gd name="connsiteY16" fmla="*/ 785392 h 3574942"/>
                <a:gd name="connsiteX17" fmla="*/ 1880745 w 2056491"/>
                <a:gd name="connsiteY17" fmla="*/ 313906 h 3574942"/>
                <a:gd name="connsiteX18" fmla="*/ 1878708 w 2056491"/>
                <a:gd name="connsiteY18" fmla="*/ 175792 h 3574942"/>
                <a:gd name="connsiteX19" fmla="*/ 1954562 w 2056491"/>
                <a:gd name="connsiteY19" fmla="*/ 125785 h 3574942"/>
                <a:gd name="connsiteX20" fmla="*/ 1999807 w 2056491"/>
                <a:gd name="connsiteY20" fmla="*/ 168649 h 3574942"/>
                <a:gd name="connsiteX21" fmla="*/ 2035526 w 2056491"/>
                <a:gd name="connsiteY21" fmla="*/ 218653 h 3574942"/>
                <a:gd name="connsiteX22" fmla="*/ 2049813 w 2056491"/>
                <a:gd name="connsiteY22" fmla="*/ 299616 h 3574942"/>
                <a:gd name="connsiteX23" fmla="*/ 1935513 w 2056491"/>
                <a:gd name="connsiteY23" fmla="*/ 440112 h 3574942"/>
                <a:gd name="connsiteX24" fmla="*/ 1961706 w 2056491"/>
                <a:gd name="connsiteY24" fmla="*/ 502023 h 3574942"/>
                <a:gd name="connsiteX25" fmla="*/ 1573563 w 2056491"/>
                <a:gd name="connsiteY25" fmla="*/ 949698 h 3574942"/>
                <a:gd name="connsiteX26" fmla="*/ 1347344 w 2056491"/>
                <a:gd name="connsiteY26" fmla="*/ 1094954 h 3574942"/>
                <a:gd name="connsiteX27" fmla="*/ 1052414 w 2056491"/>
                <a:gd name="connsiteY27" fmla="*/ 3574942 h 3574942"/>
                <a:gd name="connsiteX28" fmla="*/ 20679 w 2056491"/>
                <a:gd name="connsiteY28" fmla="*/ 3574942 h 3574942"/>
                <a:gd name="connsiteX29" fmla="*/ 380556 w 2056491"/>
                <a:gd name="connsiteY29" fmla="*/ 1523579 h 3574942"/>
                <a:gd name="connsiteX30" fmla="*/ 325787 w 2056491"/>
                <a:gd name="connsiteY30" fmla="*/ 1337841 h 3574942"/>
                <a:gd name="connsiteX31" fmla="*/ 437706 w 2056491"/>
                <a:gd name="connsiteY31" fmla="*/ 997323 h 3574942"/>
                <a:gd name="connsiteX32" fmla="*/ 156719 w 2056491"/>
                <a:gd name="connsiteY32" fmla="*/ 652041 h 3574942"/>
                <a:gd name="connsiteX33" fmla="*/ 37656 w 2056491"/>
                <a:gd name="connsiteY33" fmla="*/ 352004 h 3574942"/>
                <a:gd name="connsiteX34" fmla="*/ 87663 w 2056491"/>
                <a:gd name="connsiteY34" fmla="*/ 292473 h 3574942"/>
                <a:gd name="connsiteX35" fmla="*/ 39729 w 2056491"/>
                <a:gd name="connsiteY35" fmla="*/ 171030 h 3574942"/>
                <a:gd name="connsiteX0" fmla="*/ 39729 w 2056491"/>
                <a:gd name="connsiteY0" fmla="*/ 171030 h 3574942"/>
                <a:gd name="connsiteX1" fmla="*/ 59088 w 2056491"/>
                <a:gd name="connsiteY1" fmla="*/ 59110 h 3574942"/>
                <a:gd name="connsiteX2" fmla="*/ 104332 w 2056491"/>
                <a:gd name="connsiteY2" fmla="*/ 25773 h 3574942"/>
                <a:gd name="connsiteX3" fmla="*/ 142432 w 2056491"/>
                <a:gd name="connsiteY3" fmla="*/ 4342 h 3574942"/>
                <a:gd name="connsiteX4" fmla="*/ 225776 w 2056491"/>
                <a:gd name="connsiteY4" fmla="*/ 85306 h 3574942"/>
                <a:gd name="connsiteX5" fmla="*/ 190057 w 2056491"/>
                <a:gd name="connsiteY5" fmla="*/ 249612 h 3574942"/>
                <a:gd name="connsiteX6" fmla="*/ 454376 w 2056491"/>
                <a:gd name="connsiteY6" fmla="*/ 668712 h 3574942"/>
                <a:gd name="connsiteX7" fmla="*/ 554389 w 2056491"/>
                <a:gd name="connsiteY7" fmla="*/ 687762 h 3574942"/>
                <a:gd name="connsiteX8" fmla="*/ 780607 w 2056491"/>
                <a:gd name="connsiteY8" fmla="*/ 790156 h 3574942"/>
                <a:gd name="connsiteX9" fmla="*/ 502001 w 2056491"/>
                <a:gd name="connsiteY9" fmla="*/ 1178299 h 3574942"/>
                <a:gd name="connsiteX10" fmla="*/ 449614 w 2056491"/>
                <a:gd name="connsiteY10" fmla="*/ 1656931 h 3574942"/>
                <a:gd name="connsiteX11" fmla="*/ 1075882 w 2056491"/>
                <a:gd name="connsiteY11" fmla="*/ 1718843 h 3574942"/>
                <a:gd name="connsiteX12" fmla="*/ 1144939 w 2056491"/>
                <a:gd name="connsiteY12" fmla="*/ 1461668 h 3574942"/>
                <a:gd name="connsiteX13" fmla="*/ 952057 w 2056491"/>
                <a:gd name="connsiteY13" fmla="*/ 954461 h 3574942"/>
                <a:gd name="connsiteX14" fmla="*/ 1061595 w 2056491"/>
                <a:gd name="connsiteY14" fmla="*/ 840160 h 3574942"/>
                <a:gd name="connsiteX15" fmla="*/ 1235426 w 2056491"/>
                <a:gd name="connsiteY15" fmla="*/ 756817 h 3574942"/>
                <a:gd name="connsiteX16" fmla="*/ 1364013 w 2056491"/>
                <a:gd name="connsiteY16" fmla="*/ 785392 h 3574942"/>
                <a:gd name="connsiteX17" fmla="*/ 1880745 w 2056491"/>
                <a:gd name="connsiteY17" fmla="*/ 313906 h 3574942"/>
                <a:gd name="connsiteX18" fmla="*/ 1878708 w 2056491"/>
                <a:gd name="connsiteY18" fmla="*/ 175792 h 3574942"/>
                <a:gd name="connsiteX19" fmla="*/ 1954562 w 2056491"/>
                <a:gd name="connsiteY19" fmla="*/ 125785 h 3574942"/>
                <a:gd name="connsiteX20" fmla="*/ 1999807 w 2056491"/>
                <a:gd name="connsiteY20" fmla="*/ 168649 h 3574942"/>
                <a:gd name="connsiteX21" fmla="*/ 2035526 w 2056491"/>
                <a:gd name="connsiteY21" fmla="*/ 218653 h 3574942"/>
                <a:gd name="connsiteX22" fmla="*/ 2049813 w 2056491"/>
                <a:gd name="connsiteY22" fmla="*/ 299616 h 3574942"/>
                <a:gd name="connsiteX23" fmla="*/ 1935513 w 2056491"/>
                <a:gd name="connsiteY23" fmla="*/ 440112 h 3574942"/>
                <a:gd name="connsiteX24" fmla="*/ 1961706 w 2056491"/>
                <a:gd name="connsiteY24" fmla="*/ 502023 h 3574942"/>
                <a:gd name="connsiteX25" fmla="*/ 1573563 w 2056491"/>
                <a:gd name="connsiteY25" fmla="*/ 949698 h 3574942"/>
                <a:gd name="connsiteX26" fmla="*/ 1347344 w 2056491"/>
                <a:gd name="connsiteY26" fmla="*/ 1094954 h 3574942"/>
                <a:gd name="connsiteX27" fmla="*/ 1052414 w 2056491"/>
                <a:gd name="connsiteY27" fmla="*/ 3574942 h 3574942"/>
                <a:gd name="connsiteX28" fmla="*/ 20679 w 2056491"/>
                <a:gd name="connsiteY28" fmla="*/ 3574942 h 3574942"/>
                <a:gd name="connsiteX29" fmla="*/ 380556 w 2056491"/>
                <a:gd name="connsiteY29" fmla="*/ 1523579 h 3574942"/>
                <a:gd name="connsiteX30" fmla="*/ 325787 w 2056491"/>
                <a:gd name="connsiteY30" fmla="*/ 1337841 h 3574942"/>
                <a:gd name="connsiteX31" fmla="*/ 437706 w 2056491"/>
                <a:gd name="connsiteY31" fmla="*/ 997323 h 3574942"/>
                <a:gd name="connsiteX32" fmla="*/ 156719 w 2056491"/>
                <a:gd name="connsiteY32" fmla="*/ 652041 h 3574942"/>
                <a:gd name="connsiteX33" fmla="*/ 37656 w 2056491"/>
                <a:gd name="connsiteY33" fmla="*/ 352004 h 3574942"/>
                <a:gd name="connsiteX34" fmla="*/ 87663 w 2056491"/>
                <a:gd name="connsiteY34" fmla="*/ 292473 h 3574942"/>
                <a:gd name="connsiteX35" fmla="*/ 39729 w 2056491"/>
                <a:gd name="connsiteY35" fmla="*/ 171030 h 3574942"/>
                <a:gd name="connsiteX0" fmla="*/ 39729 w 2056491"/>
                <a:gd name="connsiteY0" fmla="*/ 171030 h 3574942"/>
                <a:gd name="connsiteX1" fmla="*/ 59088 w 2056491"/>
                <a:gd name="connsiteY1" fmla="*/ 59110 h 3574942"/>
                <a:gd name="connsiteX2" fmla="*/ 104332 w 2056491"/>
                <a:gd name="connsiteY2" fmla="*/ 25773 h 3574942"/>
                <a:gd name="connsiteX3" fmla="*/ 142432 w 2056491"/>
                <a:gd name="connsiteY3" fmla="*/ 4342 h 3574942"/>
                <a:gd name="connsiteX4" fmla="*/ 225776 w 2056491"/>
                <a:gd name="connsiteY4" fmla="*/ 85306 h 3574942"/>
                <a:gd name="connsiteX5" fmla="*/ 190057 w 2056491"/>
                <a:gd name="connsiteY5" fmla="*/ 249612 h 3574942"/>
                <a:gd name="connsiteX6" fmla="*/ 454376 w 2056491"/>
                <a:gd name="connsiteY6" fmla="*/ 668712 h 3574942"/>
                <a:gd name="connsiteX7" fmla="*/ 554389 w 2056491"/>
                <a:gd name="connsiteY7" fmla="*/ 687762 h 3574942"/>
                <a:gd name="connsiteX8" fmla="*/ 780607 w 2056491"/>
                <a:gd name="connsiteY8" fmla="*/ 790156 h 3574942"/>
                <a:gd name="connsiteX9" fmla="*/ 502001 w 2056491"/>
                <a:gd name="connsiteY9" fmla="*/ 1178299 h 3574942"/>
                <a:gd name="connsiteX10" fmla="*/ 449614 w 2056491"/>
                <a:gd name="connsiteY10" fmla="*/ 1656931 h 3574942"/>
                <a:gd name="connsiteX11" fmla="*/ 1075882 w 2056491"/>
                <a:gd name="connsiteY11" fmla="*/ 1718843 h 3574942"/>
                <a:gd name="connsiteX12" fmla="*/ 1144939 w 2056491"/>
                <a:gd name="connsiteY12" fmla="*/ 1461668 h 3574942"/>
                <a:gd name="connsiteX13" fmla="*/ 952057 w 2056491"/>
                <a:gd name="connsiteY13" fmla="*/ 954461 h 3574942"/>
                <a:gd name="connsiteX14" fmla="*/ 1061595 w 2056491"/>
                <a:gd name="connsiteY14" fmla="*/ 840160 h 3574942"/>
                <a:gd name="connsiteX15" fmla="*/ 1235426 w 2056491"/>
                <a:gd name="connsiteY15" fmla="*/ 756817 h 3574942"/>
                <a:gd name="connsiteX16" fmla="*/ 1364013 w 2056491"/>
                <a:gd name="connsiteY16" fmla="*/ 785392 h 3574942"/>
                <a:gd name="connsiteX17" fmla="*/ 1880745 w 2056491"/>
                <a:gd name="connsiteY17" fmla="*/ 313906 h 3574942"/>
                <a:gd name="connsiteX18" fmla="*/ 1878708 w 2056491"/>
                <a:gd name="connsiteY18" fmla="*/ 175792 h 3574942"/>
                <a:gd name="connsiteX19" fmla="*/ 1954562 w 2056491"/>
                <a:gd name="connsiteY19" fmla="*/ 125785 h 3574942"/>
                <a:gd name="connsiteX20" fmla="*/ 1999807 w 2056491"/>
                <a:gd name="connsiteY20" fmla="*/ 168649 h 3574942"/>
                <a:gd name="connsiteX21" fmla="*/ 2035526 w 2056491"/>
                <a:gd name="connsiteY21" fmla="*/ 218653 h 3574942"/>
                <a:gd name="connsiteX22" fmla="*/ 2049813 w 2056491"/>
                <a:gd name="connsiteY22" fmla="*/ 299616 h 3574942"/>
                <a:gd name="connsiteX23" fmla="*/ 1935513 w 2056491"/>
                <a:gd name="connsiteY23" fmla="*/ 440112 h 3574942"/>
                <a:gd name="connsiteX24" fmla="*/ 1961706 w 2056491"/>
                <a:gd name="connsiteY24" fmla="*/ 502023 h 3574942"/>
                <a:gd name="connsiteX25" fmla="*/ 1573563 w 2056491"/>
                <a:gd name="connsiteY25" fmla="*/ 949698 h 3574942"/>
                <a:gd name="connsiteX26" fmla="*/ 1347344 w 2056491"/>
                <a:gd name="connsiteY26" fmla="*/ 1094954 h 3574942"/>
                <a:gd name="connsiteX27" fmla="*/ 1573563 w 2056491"/>
                <a:gd name="connsiteY27" fmla="*/ 2021260 h 3574942"/>
                <a:gd name="connsiteX28" fmla="*/ 1052414 w 2056491"/>
                <a:gd name="connsiteY28" fmla="*/ 3574942 h 3574942"/>
                <a:gd name="connsiteX29" fmla="*/ 20679 w 2056491"/>
                <a:gd name="connsiteY29" fmla="*/ 3574942 h 3574942"/>
                <a:gd name="connsiteX30" fmla="*/ 380556 w 2056491"/>
                <a:gd name="connsiteY30" fmla="*/ 1523579 h 3574942"/>
                <a:gd name="connsiteX31" fmla="*/ 325787 w 2056491"/>
                <a:gd name="connsiteY31" fmla="*/ 1337841 h 3574942"/>
                <a:gd name="connsiteX32" fmla="*/ 437706 w 2056491"/>
                <a:gd name="connsiteY32" fmla="*/ 997323 h 3574942"/>
                <a:gd name="connsiteX33" fmla="*/ 156719 w 2056491"/>
                <a:gd name="connsiteY33" fmla="*/ 652041 h 3574942"/>
                <a:gd name="connsiteX34" fmla="*/ 37656 w 2056491"/>
                <a:gd name="connsiteY34" fmla="*/ 352004 h 3574942"/>
                <a:gd name="connsiteX35" fmla="*/ 87663 w 2056491"/>
                <a:gd name="connsiteY35" fmla="*/ 292473 h 3574942"/>
                <a:gd name="connsiteX36" fmla="*/ 39729 w 2056491"/>
                <a:gd name="connsiteY36" fmla="*/ 171030 h 3574942"/>
                <a:gd name="connsiteX0" fmla="*/ 39729 w 2056491"/>
                <a:gd name="connsiteY0" fmla="*/ 171030 h 3574942"/>
                <a:gd name="connsiteX1" fmla="*/ 59088 w 2056491"/>
                <a:gd name="connsiteY1" fmla="*/ 59110 h 3574942"/>
                <a:gd name="connsiteX2" fmla="*/ 104332 w 2056491"/>
                <a:gd name="connsiteY2" fmla="*/ 25773 h 3574942"/>
                <a:gd name="connsiteX3" fmla="*/ 142432 w 2056491"/>
                <a:gd name="connsiteY3" fmla="*/ 4342 h 3574942"/>
                <a:gd name="connsiteX4" fmla="*/ 225776 w 2056491"/>
                <a:gd name="connsiteY4" fmla="*/ 85306 h 3574942"/>
                <a:gd name="connsiteX5" fmla="*/ 190057 w 2056491"/>
                <a:gd name="connsiteY5" fmla="*/ 249612 h 3574942"/>
                <a:gd name="connsiteX6" fmla="*/ 454376 w 2056491"/>
                <a:gd name="connsiteY6" fmla="*/ 668712 h 3574942"/>
                <a:gd name="connsiteX7" fmla="*/ 554389 w 2056491"/>
                <a:gd name="connsiteY7" fmla="*/ 687762 h 3574942"/>
                <a:gd name="connsiteX8" fmla="*/ 780607 w 2056491"/>
                <a:gd name="connsiteY8" fmla="*/ 790156 h 3574942"/>
                <a:gd name="connsiteX9" fmla="*/ 502001 w 2056491"/>
                <a:gd name="connsiteY9" fmla="*/ 1178299 h 3574942"/>
                <a:gd name="connsiteX10" fmla="*/ 449614 w 2056491"/>
                <a:gd name="connsiteY10" fmla="*/ 1656931 h 3574942"/>
                <a:gd name="connsiteX11" fmla="*/ 1075882 w 2056491"/>
                <a:gd name="connsiteY11" fmla="*/ 1718843 h 3574942"/>
                <a:gd name="connsiteX12" fmla="*/ 1144939 w 2056491"/>
                <a:gd name="connsiteY12" fmla="*/ 1461668 h 3574942"/>
                <a:gd name="connsiteX13" fmla="*/ 952057 w 2056491"/>
                <a:gd name="connsiteY13" fmla="*/ 954461 h 3574942"/>
                <a:gd name="connsiteX14" fmla="*/ 1061595 w 2056491"/>
                <a:gd name="connsiteY14" fmla="*/ 840160 h 3574942"/>
                <a:gd name="connsiteX15" fmla="*/ 1235426 w 2056491"/>
                <a:gd name="connsiteY15" fmla="*/ 756817 h 3574942"/>
                <a:gd name="connsiteX16" fmla="*/ 1364013 w 2056491"/>
                <a:gd name="connsiteY16" fmla="*/ 785392 h 3574942"/>
                <a:gd name="connsiteX17" fmla="*/ 1880745 w 2056491"/>
                <a:gd name="connsiteY17" fmla="*/ 313906 h 3574942"/>
                <a:gd name="connsiteX18" fmla="*/ 1878708 w 2056491"/>
                <a:gd name="connsiteY18" fmla="*/ 175792 h 3574942"/>
                <a:gd name="connsiteX19" fmla="*/ 1954562 w 2056491"/>
                <a:gd name="connsiteY19" fmla="*/ 125785 h 3574942"/>
                <a:gd name="connsiteX20" fmla="*/ 1999807 w 2056491"/>
                <a:gd name="connsiteY20" fmla="*/ 168649 h 3574942"/>
                <a:gd name="connsiteX21" fmla="*/ 2035526 w 2056491"/>
                <a:gd name="connsiteY21" fmla="*/ 218653 h 3574942"/>
                <a:gd name="connsiteX22" fmla="*/ 2049813 w 2056491"/>
                <a:gd name="connsiteY22" fmla="*/ 299616 h 3574942"/>
                <a:gd name="connsiteX23" fmla="*/ 1935513 w 2056491"/>
                <a:gd name="connsiteY23" fmla="*/ 440112 h 3574942"/>
                <a:gd name="connsiteX24" fmla="*/ 1961706 w 2056491"/>
                <a:gd name="connsiteY24" fmla="*/ 502023 h 3574942"/>
                <a:gd name="connsiteX25" fmla="*/ 1573563 w 2056491"/>
                <a:gd name="connsiteY25" fmla="*/ 949698 h 3574942"/>
                <a:gd name="connsiteX26" fmla="*/ 1347344 w 2056491"/>
                <a:gd name="connsiteY26" fmla="*/ 1094954 h 3574942"/>
                <a:gd name="connsiteX27" fmla="*/ 1573563 w 2056491"/>
                <a:gd name="connsiteY27" fmla="*/ 2021260 h 3574942"/>
                <a:gd name="connsiteX28" fmla="*/ 1052414 w 2056491"/>
                <a:gd name="connsiteY28" fmla="*/ 3574942 h 3574942"/>
                <a:gd name="connsiteX29" fmla="*/ 20679 w 2056491"/>
                <a:gd name="connsiteY29" fmla="*/ 3574942 h 3574942"/>
                <a:gd name="connsiteX30" fmla="*/ 380556 w 2056491"/>
                <a:gd name="connsiteY30" fmla="*/ 1523579 h 3574942"/>
                <a:gd name="connsiteX31" fmla="*/ 325787 w 2056491"/>
                <a:gd name="connsiteY31" fmla="*/ 1337841 h 3574942"/>
                <a:gd name="connsiteX32" fmla="*/ 437706 w 2056491"/>
                <a:gd name="connsiteY32" fmla="*/ 997323 h 3574942"/>
                <a:gd name="connsiteX33" fmla="*/ 156719 w 2056491"/>
                <a:gd name="connsiteY33" fmla="*/ 652041 h 3574942"/>
                <a:gd name="connsiteX34" fmla="*/ 37656 w 2056491"/>
                <a:gd name="connsiteY34" fmla="*/ 352004 h 3574942"/>
                <a:gd name="connsiteX35" fmla="*/ 87663 w 2056491"/>
                <a:gd name="connsiteY35" fmla="*/ 292473 h 3574942"/>
                <a:gd name="connsiteX36" fmla="*/ 39729 w 2056491"/>
                <a:gd name="connsiteY36" fmla="*/ 171030 h 3574942"/>
                <a:gd name="connsiteX0" fmla="*/ 39729 w 2056491"/>
                <a:gd name="connsiteY0" fmla="*/ 171030 h 3574942"/>
                <a:gd name="connsiteX1" fmla="*/ 59088 w 2056491"/>
                <a:gd name="connsiteY1" fmla="*/ 59110 h 3574942"/>
                <a:gd name="connsiteX2" fmla="*/ 104332 w 2056491"/>
                <a:gd name="connsiteY2" fmla="*/ 25773 h 3574942"/>
                <a:gd name="connsiteX3" fmla="*/ 142432 w 2056491"/>
                <a:gd name="connsiteY3" fmla="*/ 4342 h 3574942"/>
                <a:gd name="connsiteX4" fmla="*/ 225776 w 2056491"/>
                <a:gd name="connsiteY4" fmla="*/ 85306 h 3574942"/>
                <a:gd name="connsiteX5" fmla="*/ 190057 w 2056491"/>
                <a:gd name="connsiteY5" fmla="*/ 249612 h 3574942"/>
                <a:gd name="connsiteX6" fmla="*/ 454376 w 2056491"/>
                <a:gd name="connsiteY6" fmla="*/ 668712 h 3574942"/>
                <a:gd name="connsiteX7" fmla="*/ 554389 w 2056491"/>
                <a:gd name="connsiteY7" fmla="*/ 687762 h 3574942"/>
                <a:gd name="connsiteX8" fmla="*/ 780607 w 2056491"/>
                <a:gd name="connsiteY8" fmla="*/ 790156 h 3574942"/>
                <a:gd name="connsiteX9" fmla="*/ 502001 w 2056491"/>
                <a:gd name="connsiteY9" fmla="*/ 1178299 h 3574942"/>
                <a:gd name="connsiteX10" fmla="*/ 449614 w 2056491"/>
                <a:gd name="connsiteY10" fmla="*/ 1656931 h 3574942"/>
                <a:gd name="connsiteX11" fmla="*/ 1075882 w 2056491"/>
                <a:gd name="connsiteY11" fmla="*/ 1718843 h 3574942"/>
                <a:gd name="connsiteX12" fmla="*/ 1144939 w 2056491"/>
                <a:gd name="connsiteY12" fmla="*/ 1461668 h 3574942"/>
                <a:gd name="connsiteX13" fmla="*/ 952057 w 2056491"/>
                <a:gd name="connsiteY13" fmla="*/ 954461 h 3574942"/>
                <a:gd name="connsiteX14" fmla="*/ 1061595 w 2056491"/>
                <a:gd name="connsiteY14" fmla="*/ 840160 h 3574942"/>
                <a:gd name="connsiteX15" fmla="*/ 1235426 w 2056491"/>
                <a:gd name="connsiteY15" fmla="*/ 756817 h 3574942"/>
                <a:gd name="connsiteX16" fmla="*/ 1364013 w 2056491"/>
                <a:gd name="connsiteY16" fmla="*/ 785392 h 3574942"/>
                <a:gd name="connsiteX17" fmla="*/ 1880745 w 2056491"/>
                <a:gd name="connsiteY17" fmla="*/ 313906 h 3574942"/>
                <a:gd name="connsiteX18" fmla="*/ 1878708 w 2056491"/>
                <a:gd name="connsiteY18" fmla="*/ 175792 h 3574942"/>
                <a:gd name="connsiteX19" fmla="*/ 1954562 w 2056491"/>
                <a:gd name="connsiteY19" fmla="*/ 125785 h 3574942"/>
                <a:gd name="connsiteX20" fmla="*/ 1999807 w 2056491"/>
                <a:gd name="connsiteY20" fmla="*/ 168649 h 3574942"/>
                <a:gd name="connsiteX21" fmla="*/ 2035526 w 2056491"/>
                <a:gd name="connsiteY21" fmla="*/ 218653 h 3574942"/>
                <a:gd name="connsiteX22" fmla="*/ 2049813 w 2056491"/>
                <a:gd name="connsiteY22" fmla="*/ 299616 h 3574942"/>
                <a:gd name="connsiteX23" fmla="*/ 1935513 w 2056491"/>
                <a:gd name="connsiteY23" fmla="*/ 440112 h 3574942"/>
                <a:gd name="connsiteX24" fmla="*/ 1961706 w 2056491"/>
                <a:gd name="connsiteY24" fmla="*/ 502023 h 3574942"/>
                <a:gd name="connsiteX25" fmla="*/ 1573563 w 2056491"/>
                <a:gd name="connsiteY25" fmla="*/ 949698 h 3574942"/>
                <a:gd name="connsiteX26" fmla="*/ 1347344 w 2056491"/>
                <a:gd name="connsiteY26" fmla="*/ 1094954 h 3574942"/>
                <a:gd name="connsiteX27" fmla="*/ 1573563 w 2056491"/>
                <a:gd name="connsiteY27" fmla="*/ 2021260 h 3574942"/>
                <a:gd name="connsiteX28" fmla="*/ 1052414 w 2056491"/>
                <a:gd name="connsiteY28" fmla="*/ 3574942 h 3574942"/>
                <a:gd name="connsiteX29" fmla="*/ 20679 w 2056491"/>
                <a:gd name="connsiteY29" fmla="*/ 3574942 h 3574942"/>
                <a:gd name="connsiteX30" fmla="*/ 380556 w 2056491"/>
                <a:gd name="connsiteY30" fmla="*/ 1523579 h 3574942"/>
                <a:gd name="connsiteX31" fmla="*/ 325787 w 2056491"/>
                <a:gd name="connsiteY31" fmla="*/ 1337841 h 3574942"/>
                <a:gd name="connsiteX32" fmla="*/ 437706 w 2056491"/>
                <a:gd name="connsiteY32" fmla="*/ 997323 h 3574942"/>
                <a:gd name="connsiteX33" fmla="*/ 156719 w 2056491"/>
                <a:gd name="connsiteY33" fmla="*/ 652041 h 3574942"/>
                <a:gd name="connsiteX34" fmla="*/ 37656 w 2056491"/>
                <a:gd name="connsiteY34" fmla="*/ 352004 h 3574942"/>
                <a:gd name="connsiteX35" fmla="*/ 87663 w 2056491"/>
                <a:gd name="connsiteY35" fmla="*/ 292473 h 3574942"/>
                <a:gd name="connsiteX36" fmla="*/ 39729 w 2056491"/>
                <a:gd name="connsiteY36" fmla="*/ 171030 h 3574942"/>
                <a:gd name="connsiteX0" fmla="*/ 39729 w 2056491"/>
                <a:gd name="connsiteY0" fmla="*/ 171030 h 3574942"/>
                <a:gd name="connsiteX1" fmla="*/ 59088 w 2056491"/>
                <a:gd name="connsiteY1" fmla="*/ 59110 h 3574942"/>
                <a:gd name="connsiteX2" fmla="*/ 104332 w 2056491"/>
                <a:gd name="connsiteY2" fmla="*/ 25773 h 3574942"/>
                <a:gd name="connsiteX3" fmla="*/ 142432 w 2056491"/>
                <a:gd name="connsiteY3" fmla="*/ 4342 h 3574942"/>
                <a:gd name="connsiteX4" fmla="*/ 225776 w 2056491"/>
                <a:gd name="connsiteY4" fmla="*/ 85306 h 3574942"/>
                <a:gd name="connsiteX5" fmla="*/ 190057 w 2056491"/>
                <a:gd name="connsiteY5" fmla="*/ 249612 h 3574942"/>
                <a:gd name="connsiteX6" fmla="*/ 454376 w 2056491"/>
                <a:gd name="connsiteY6" fmla="*/ 668712 h 3574942"/>
                <a:gd name="connsiteX7" fmla="*/ 554389 w 2056491"/>
                <a:gd name="connsiteY7" fmla="*/ 687762 h 3574942"/>
                <a:gd name="connsiteX8" fmla="*/ 780607 w 2056491"/>
                <a:gd name="connsiteY8" fmla="*/ 790156 h 3574942"/>
                <a:gd name="connsiteX9" fmla="*/ 502001 w 2056491"/>
                <a:gd name="connsiteY9" fmla="*/ 1178299 h 3574942"/>
                <a:gd name="connsiteX10" fmla="*/ 449614 w 2056491"/>
                <a:gd name="connsiteY10" fmla="*/ 1656931 h 3574942"/>
                <a:gd name="connsiteX11" fmla="*/ 1075882 w 2056491"/>
                <a:gd name="connsiteY11" fmla="*/ 1718843 h 3574942"/>
                <a:gd name="connsiteX12" fmla="*/ 1144939 w 2056491"/>
                <a:gd name="connsiteY12" fmla="*/ 1461668 h 3574942"/>
                <a:gd name="connsiteX13" fmla="*/ 952057 w 2056491"/>
                <a:gd name="connsiteY13" fmla="*/ 954461 h 3574942"/>
                <a:gd name="connsiteX14" fmla="*/ 1061595 w 2056491"/>
                <a:gd name="connsiteY14" fmla="*/ 840160 h 3574942"/>
                <a:gd name="connsiteX15" fmla="*/ 1235426 w 2056491"/>
                <a:gd name="connsiteY15" fmla="*/ 756817 h 3574942"/>
                <a:gd name="connsiteX16" fmla="*/ 1364013 w 2056491"/>
                <a:gd name="connsiteY16" fmla="*/ 785392 h 3574942"/>
                <a:gd name="connsiteX17" fmla="*/ 1880745 w 2056491"/>
                <a:gd name="connsiteY17" fmla="*/ 313906 h 3574942"/>
                <a:gd name="connsiteX18" fmla="*/ 1878708 w 2056491"/>
                <a:gd name="connsiteY18" fmla="*/ 175792 h 3574942"/>
                <a:gd name="connsiteX19" fmla="*/ 1954562 w 2056491"/>
                <a:gd name="connsiteY19" fmla="*/ 125785 h 3574942"/>
                <a:gd name="connsiteX20" fmla="*/ 1999807 w 2056491"/>
                <a:gd name="connsiteY20" fmla="*/ 168649 h 3574942"/>
                <a:gd name="connsiteX21" fmla="*/ 2035526 w 2056491"/>
                <a:gd name="connsiteY21" fmla="*/ 218653 h 3574942"/>
                <a:gd name="connsiteX22" fmla="*/ 2049813 w 2056491"/>
                <a:gd name="connsiteY22" fmla="*/ 299616 h 3574942"/>
                <a:gd name="connsiteX23" fmla="*/ 1935513 w 2056491"/>
                <a:gd name="connsiteY23" fmla="*/ 440112 h 3574942"/>
                <a:gd name="connsiteX24" fmla="*/ 1961706 w 2056491"/>
                <a:gd name="connsiteY24" fmla="*/ 502023 h 3574942"/>
                <a:gd name="connsiteX25" fmla="*/ 1573563 w 2056491"/>
                <a:gd name="connsiteY25" fmla="*/ 949698 h 3574942"/>
                <a:gd name="connsiteX26" fmla="*/ 1347344 w 2056491"/>
                <a:gd name="connsiteY26" fmla="*/ 1094954 h 3574942"/>
                <a:gd name="connsiteX27" fmla="*/ 1573563 w 2056491"/>
                <a:gd name="connsiteY27" fmla="*/ 2021260 h 3574942"/>
                <a:gd name="connsiteX28" fmla="*/ 1052414 w 2056491"/>
                <a:gd name="connsiteY28" fmla="*/ 3574942 h 3574942"/>
                <a:gd name="connsiteX29" fmla="*/ 20679 w 2056491"/>
                <a:gd name="connsiteY29" fmla="*/ 3574942 h 3574942"/>
                <a:gd name="connsiteX30" fmla="*/ 380556 w 2056491"/>
                <a:gd name="connsiteY30" fmla="*/ 1523579 h 3574942"/>
                <a:gd name="connsiteX31" fmla="*/ 325787 w 2056491"/>
                <a:gd name="connsiteY31" fmla="*/ 1337841 h 3574942"/>
                <a:gd name="connsiteX32" fmla="*/ 437706 w 2056491"/>
                <a:gd name="connsiteY32" fmla="*/ 997323 h 3574942"/>
                <a:gd name="connsiteX33" fmla="*/ 156719 w 2056491"/>
                <a:gd name="connsiteY33" fmla="*/ 652041 h 3574942"/>
                <a:gd name="connsiteX34" fmla="*/ 37656 w 2056491"/>
                <a:gd name="connsiteY34" fmla="*/ 352004 h 3574942"/>
                <a:gd name="connsiteX35" fmla="*/ 87663 w 2056491"/>
                <a:gd name="connsiteY35" fmla="*/ 292473 h 3574942"/>
                <a:gd name="connsiteX36" fmla="*/ 39729 w 2056491"/>
                <a:gd name="connsiteY36" fmla="*/ 171030 h 3574942"/>
                <a:gd name="connsiteX0" fmla="*/ 39729 w 2056491"/>
                <a:gd name="connsiteY0" fmla="*/ 171030 h 3574942"/>
                <a:gd name="connsiteX1" fmla="*/ 59088 w 2056491"/>
                <a:gd name="connsiteY1" fmla="*/ 59110 h 3574942"/>
                <a:gd name="connsiteX2" fmla="*/ 104332 w 2056491"/>
                <a:gd name="connsiteY2" fmla="*/ 25773 h 3574942"/>
                <a:gd name="connsiteX3" fmla="*/ 142432 w 2056491"/>
                <a:gd name="connsiteY3" fmla="*/ 4342 h 3574942"/>
                <a:gd name="connsiteX4" fmla="*/ 225776 w 2056491"/>
                <a:gd name="connsiteY4" fmla="*/ 85306 h 3574942"/>
                <a:gd name="connsiteX5" fmla="*/ 190057 w 2056491"/>
                <a:gd name="connsiteY5" fmla="*/ 249612 h 3574942"/>
                <a:gd name="connsiteX6" fmla="*/ 454376 w 2056491"/>
                <a:gd name="connsiteY6" fmla="*/ 668712 h 3574942"/>
                <a:gd name="connsiteX7" fmla="*/ 554389 w 2056491"/>
                <a:gd name="connsiteY7" fmla="*/ 687762 h 3574942"/>
                <a:gd name="connsiteX8" fmla="*/ 780607 w 2056491"/>
                <a:gd name="connsiteY8" fmla="*/ 790156 h 3574942"/>
                <a:gd name="connsiteX9" fmla="*/ 502001 w 2056491"/>
                <a:gd name="connsiteY9" fmla="*/ 1178299 h 3574942"/>
                <a:gd name="connsiteX10" fmla="*/ 449614 w 2056491"/>
                <a:gd name="connsiteY10" fmla="*/ 1656931 h 3574942"/>
                <a:gd name="connsiteX11" fmla="*/ 1075882 w 2056491"/>
                <a:gd name="connsiteY11" fmla="*/ 1718843 h 3574942"/>
                <a:gd name="connsiteX12" fmla="*/ 1144939 w 2056491"/>
                <a:gd name="connsiteY12" fmla="*/ 1461668 h 3574942"/>
                <a:gd name="connsiteX13" fmla="*/ 952057 w 2056491"/>
                <a:gd name="connsiteY13" fmla="*/ 954461 h 3574942"/>
                <a:gd name="connsiteX14" fmla="*/ 1061595 w 2056491"/>
                <a:gd name="connsiteY14" fmla="*/ 840160 h 3574942"/>
                <a:gd name="connsiteX15" fmla="*/ 1235426 w 2056491"/>
                <a:gd name="connsiteY15" fmla="*/ 756817 h 3574942"/>
                <a:gd name="connsiteX16" fmla="*/ 1364013 w 2056491"/>
                <a:gd name="connsiteY16" fmla="*/ 785392 h 3574942"/>
                <a:gd name="connsiteX17" fmla="*/ 1880745 w 2056491"/>
                <a:gd name="connsiteY17" fmla="*/ 313906 h 3574942"/>
                <a:gd name="connsiteX18" fmla="*/ 1878708 w 2056491"/>
                <a:gd name="connsiteY18" fmla="*/ 175792 h 3574942"/>
                <a:gd name="connsiteX19" fmla="*/ 1954562 w 2056491"/>
                <a:gd name="connsiteY19" fmla="*/ 125785 h 3574942"/>
                <a:gd name="connsiteX20" fmla="*/ 1999807 w 2056491"/>
                <a:gd name="connsiteY20" fmla="*/ 168649 h 3574942"/>
                <a:gd name="connsiteX21" fmla="*/ 2035526 w 2056491"/>
                <a:gd name="connsiteY21" fmla="*/ 218653 h 3574942"/>
                <a:gd name="connsiteX22" fmla="*/ 2049813 w 2056491"/>
                <a:gd name="connsiteY22" fmla="*/ 299616 h 3574942"/>
                <a:gd name="connsiteX23" fmla="*/ 1935513 w 2056491"/>
                <a:gd name="connsiteY23" fmla="*/ 440112 h 3574942"/>
                <a:gd name="connsiteX24" fmla="*/ 1961706 w 2056491"/>
                <a:gd name="connsiteY24" fmla="*/ 502023 h 3574942"/>
                <a:gd name="connsiteX25" fmla="*/ 1573563 w 2056491"/>
                <a:gd name="connsiteY25" fmla="*/ 949698 h 3574942"/>
                <a:gd name="connsiteX26" fmla="*/ 1347344 w 2056491"/>
                <a:gd name="connsiteY26" fmla="*/ 1094954 h 3574942"/>
                <a:gd name="connsiteX27" fmla="*/ 1573563 w 2056491"/>
                <a:gd name="connsiteY27" fmla="*/ 2021260 h 3574942"/>
                <a:gd name="connsiteX28" fmla="*/ 1113981 w 2056491"/>
                <a:gd name="connsiteY28" fmla="*/ 2018879 h 3574942"/>
                <a:gd name="connsiteX29" fmla="*/ 1052414 w 2056491"/>
                <a:gd name="connsiteY29" fmla="*/ 3574942 h 3574942"/>
                <a:gd name="connsiteX30" fmla="*/ 20679 w 2056491"/>
                <a:gd name="connsiteY30" fmla="*/ 3574942 h 3574942"/>
                <a:gd name="connsiteX31" fmla="*/ 380556 w 2056491"/>
                <a:gd name="connsiteY31" fmla="*/ 1523579 h 3574942"/>
                <a:gd name="connsiteX32" fmla="*/ 325787 w 2056491"/>
                <a:gd name="connsiteY32" fmla="*/ 1337841 h 3574942"/>
                <a:gd name="connsiteX33" fmla="*/ 437706 w 2056491"/>
                <a:gd name="connsiteY33" fmla="*/ 997323 h 3574942"/>
                <a:gd name="connsiteX34" fmla="*/ 156719 w 2056491"/>
                <a:gd name="connsiteY34" fmla="*/ 652041 h 3574942"/>
                <a:gd name="connsiteX35" fmla="*/ 37656 w 2056491"/>
                <a:gd name="connsiteY35" fmla="*/ 352004 h 3574942"/>
                <a:gd name="connsiteX36" fmla="*/ 87663 w 2056491"/>
                <a:gd name="connsiteY36" fmla="*/ 292473 h 3574942"/>
                <a:gd name="connsiteX37" fmla="*/ 39729 w 2056491"/>
                <a:gd name="connsiteY37" fmla="*/ 171030 h 3574942"/>
                <a:gd name="connsiteX0" fmla="*/ 39729 w 2056491"/>
                <a:gd name="connsiteY0" fmla="*/ 171030 h 3574942"/>
                <a:gd name="connsiteX1" fmla="*/ 59088 w 2056491"/>
                <a:gd name="connsiteY1" fmla="*/ 59110 h 3574942"/>
                <a:gd name="connsiteX2" fmla="*/ 104332 w 2056491"/>
                <a:gd name="connsiteY2" fmla="*/ 25773 h 3574942"/>
                <a:gd name="connsiteX3" fmla="*/ 142432 w 2056491"/>
                <a:gd name="connsiteY3" fmla="*/ 4342 h 3574942"/>
                <a:gd name="connsiteX4" fmla="*/ 225776 w 2056491"/>
                <a:gd name="connsiteY4" fmla="*/ 85306 h 3574942"/>
                <a:gd name="connsiteX5" fmla="*/ 190057 w 2056491"/>
                <a:gd name="connsiteY5" fmla="*/ 249612 h 3574942"/>
                <a:gd name="connsiteX6" fmla="*/ 454376 w 2056491"/>
                <a:gd name="connsiteY6" fmla="*/ 668712 h 3574942"/>
                <a:gd name="connsiteX7" fmla="*/ 554389 w 2056491"/>
                <a:gd name="connsiteY7" fmla="*/ 687762 h 3574942"/>
                <a:gd name="connsiteX8" fmla="*/ 780607 w 2056491"/>
                <a:gd name="connsiteY8" fmla="*/ 790156 h 3574942"/>
                <a:gd name="connsiteX9" fmla="*/ 502001 w 2056491"/>
                <a:gd name="connsiteY9" fmla="*/ 1178299 h 3574942"/>
                <a:gd name="connsiteX10" fmla="*/ 449614 w 2056491"/>
                <a:gd name="connsiteY10" fmla="*/ 1656931 h 3574942"/>
                <a:gd name="connsiteX11" fmla="*/ 1075882 w 2056491"/>
                <a:gd name="connsiteY11" fmla="*/ 1718843 h 3574942"/>
                <a:gd name="connsiteX12" fmla="*/ 1144939 w 2056491"/>
                <a:gd name="connsiteY12" fmla="*/ 1461668 h 3574942"/>
                <a:gd name="connsiteX13" fmla="*/ 952057 w 2056491"/>
                <a:gd name="connsiteY13" fmla="*/ 954461 h 3574942"/>
                <a:gd name="connsiteX14" fmla="*/ 1061595 w 2056491"/>
                <a:gd name="connsiteY14" fmla="*/ 840160 h 3574942"/>
                <a:gd name="connsiteX15" fmla="*/ 1235426 w 2056491"/>
                <a:gd name="connsiteY15" fmla="*/ 756817 h 3574942"/>
                <a:gd name="connsiteX16" fmla="*/ 1364013 w 2056491"/>
                <a:gd name="connsiteY16" fmla="*/ 785392 h 3574942"/>
                <a:gd name="connsiteX17" fmla="*/ 1880745 w 2056491"/>
                <a:gd name="connsiteY17" fmla="*/ 313906 h 3574942"/>
                <a:gd name="connsiteX18" fmla="*/ 1878708 w 2056491"/>
                <a:gd name="connsiteY18" fmla="*/ 175792 h 3574942"/>
                <a:gd name="connsiteX19" fmla="*/ 1954562 w 2056491"/>
                <a:gd name="connsiteY19" fmla="*/ 125785 h 3574942"/>
                <a:gd name="connsiteX20" fmla="*/ 1999807 w 2056491"/>
                <a:gd name="connsiteY20" fmla="*/ 168649 h 3574942"/>
                <a:gd name="connsiteX21" fmla="*/ 2035526 w 2056491"/>
                <a:gd name="connsiteY21" fmla="*/ 218653 h 3574942"/>
                <a:gd name="connsiteX22" fmla="*/ 2049813 w 2056491"/>
                <a:gd name="connsiteY22" fmla="*/ 299616 h 3574942"/>
                <a:gd name="connsiteX23" fmla="*/ 1935513 w 2056491"/>
                <a:gd name="connsiteY23" fmla="*/ 440112 h 3574942"/>
                <a:gd name="connsiteX24" fmla="*/ 1961706 w 2056491"/>
                <a:gd name="connsiteY24" fmla="*/ 502023 h 3574942"/>
                <a:gd name="connsiteX25" fmla="*/ 1573563 w 2056491"/>
                <a:gd name="connsiteY25" fmla="*/ 949698 h 3574942"/>
                <a:gd name="connsiteX26" fmla="*/ 1347344 w 2056491"/>
                <a:gd name="connsiteY26" fmla="*/ 1094954 h 3574942"/>
                <a:gd name="connsiteX27" fmla="*/ 1573563 w 2056491"/>
                <a:gd name="connsiteY27" fmla="*/ 2021260 h 3574942"/>
                <a:gd name="connsiteX28" fmla="*/ 1113981 w 2056491"/>
                <a:gd name="connsiteY28" fmla="*/ 2018879 h 3574942"/>
                <a:gd name="connsiteX29" fmla="*/ 1052414 w 2056491"/>
                <a:gd name="connsiteY29" fmla="*/ 3574942 h 3574942"/>
                <a:gd name="connsiteX30" fmla="*/ 20679 w 2056491"/>
                <a:gd name="connsiteY30" fmla="*/ 3574942 h 3574942"/>
                <a:gd name="connsiteX31" fmla="*/ 380556 w 2056491"/>
                <a:gd name="connsiteY31" fmla="*/ 1523579 h 3574942"/>
                <a:gd name="connsiteX32" fmla="*/ 325787 w 2056491"/>
                <a:gd name="connsiteY32" fmla="*/ 1337841 h 3574942"/>
                <a:gd name="connsiteX33" fmla="*/ 437706 w 2056491"/>
                <a:gd name="connsiteY33" fmla="*/ 997323 h 3574942"/>
                <a:gd name="connsiteX34" fmla="*/ 156719 w 2056491"/>
                <a:gd name="connsiteY34" fmla="*/ 652041 h 3574942"/>
                <a:gd name="connsiteX35" fmla="*/ 37656 w 2056491"/>
                <a:gd name="connsiteY35" fmla="*/ 352004 h 3574942"/>
                <a:gd name="connsiteX36" fmla="*/ 87663 w 2056491"/>
                <a:gd name="connsiteY36" fmla="*/ 292473 h 3574942"/>
                <a:gd name="connsiteX37" fmla="*/ 39729 w 2056491"/>
                <a:gd name="connsiteY37" fmla="*/ 171030 h 3574942"/>
                <a:gd name="connsiteX0" fmla="*/ 39729 w 2056491"/>
                <a:gd name="connsiteY0" fmla="*/ 171030 h 3574942"/>
                <a:gd name="connsiteX1" fmla="*/ 59088 w 2056491"/>
                <a:gd name="connsiteY1" fmla="*/ 59110 h 3574942"/>
                <a:gd name="connsiteX2" fmla="*/ 104332 w 2056491"/>
                <a:gd name="connsiteY2" fmla="*/ 25773 h 3574942"/>
                <a:gd name="connsiteX3" fmla="*/ 142432 w 2056491"/>
                <a:gd name="connsiteY3" fmla="*/ 4342 h 3574942"/>
                <a:gd name="connsiteX4" fmla="*/ 225776 w 2056491"/>
                <a:gd name="connsiteY4" fmla="*/ 85306 h 3574942"/>
                <a:gd name="connsiteX5" fmla="*/ 190057 w 2056491"/>
                <a:gd name="connsiteY5" fmla="*/ 249612 h 3574942"/>
                <a:gd name="connsiteX6" fmla="*/ 454376 w 2056491"/>
                <a:gd name="connsiteY6" fmla="*/ 668712 h 3574942"/>
                <a:gd name="connsiteX7" fmla="*/ 554389 w 2056491"/>
                <a:gd name="connsiteY7" fmla="*/ 687762 h 3574942"/>
                <a:gd name="connsiteX8" fmla="*/ 780607 w 2056491"/>
                <a:gd name="connsiteY8" fmla="*/ 790156 h 3574942"/>
                <a:gd name="connsiteX9" fmla="*/ 502001 w 2056491"/>
                <a:gd name="connsiteY9" fmla="*/ 1178299 h 3574942"/>
                <a:gd name="connsiteX10" fmla="*/ 449614 w 2056491"/>
                <a:gd name="connsiteY10" fmla="*/ 1656931 h 3574942"/>
                <a:gd name="connsiteX11" fmla="*/ 1075882 w 2056491"/>
                <a:gd name="connsiteY11" fmla="*/ 1718843 h 3574942"/>
                <a:gd name="connsiteX12" fmla="*/ 1144939 w 2056491"/>
                <a:gd name="connsiteY12" fmla="*/ 1461668 h 3574942"/>
                <a:gd name="connsiteX13" fmla="*/ 952057 w 2056491"/>
                <a:gd name="connsiteY13" fmla="*/ 954461 h 3574942"/>
                <a:gd name="connsiteX14" fmla="*/ 1061595 w 2056491"/>
                <a:gd name="connsiteY14" fmla="*/ 840160 h 3574942"/>
                <a:gd name="connsiteX15" fmla="*/ 1235426 w 2056491"/>
                <a:gd name="connsiteY15" fmla="*/ 756817 h 3574942"/>
                <a:gd name="connsiteX16" fmla="*/ 1364013 w 2056491"/>
                <a:gd name="connsiteY16" fmla="*/ 785392 h 3574942"/>
                <a:gd name="connsiteX17" fmla="*/ 1880745 w 2056491"/>
                <a:gd name="connsiteY17" fmla="*/ 313906 h 3574942"/>
                <a:gd name="connsiteX18" fmla="*/ 1878708 w 2056491"/>
                <a:gd name="connsiteY18" fmla="*/ 175792 h 3574942"/>
                <a:gd name="connsiteX19" fmla="*/ 1954562 w 2056491"/>
                <a:gd name="connsiteY19" fmla="*/ 125785 h 3574942"/>
                <a:gd name="connsiteX20" fmla="*/ 1999807 w 2056491"/>
                <a:gd name="connsiteY20" fmla="*/ 168649 h 3574942"/>
                <a:gd name="connsiteX21" fmla="*/ 2035526 w 2056491"/>
                <a:gd name="connsiteY21" fmla="*/ 218653 h 3574942"/>
                <a:gd name="connsiteX22" fmla="*/ 2049813 w 2056491"/>
                <a:gd name="connsiteY22" fmla="*/ 299616 h 3574942"/>
                <a:gd name="connsiteX23" fmla="*/ 1935513 w 2056491"/>
                <a:gd name="connsiteY23" fmla="*/ 440112 h 3574942"/>
                <a:gd name="connsiteX24" fmla="*/ 1961706 w 2056491"/>
                <a:gd name="connsiteY24" fmla="*/ 502023 h 3574942"/>
                <a:gd name="connsiteX25" fmla="*/ 1573563 w 2056491"/>
                <a:gd name="connsiteY25" fmla="*/ 949698 h 3574942"/>
                <a:gd name="connsiteX26" fmla="*/ 1347344 w 2056491"/>
                <a:gd name="connsiteY26" fmla="*/ 1094954 h 3574942"/>
                <a:gd name="connsiteX27" fmla="*/ 1573563 w 2056491"/>
                <a:gd name="connsiteY27" fmla="*/ 2021260 h 3574942"/>
                <a:gd name="connsiteX28" fmla="*/ 1113981 w 2056491"/>
                <a:gd name="connsiteY28" fmla="*/ 2018879 h 3574942"/>
                <a:gd name="connsiteX29" fmla="*/ 1052414 w 2056491"/>
                <a:gd name="connsiteY29" fmla="*/ 3574942 h 3574942"/>
                <a:gd name="connsiteX30" fmla="*/ 20679 w 2056491"/>
                <a:gd name="connsiteY30" fmla="*/ 3574942 h 3574942"/>
                <a:gd name="connsiteX31" fmla="*/ 380556 w 2056491"/>
                <a:gd name="connsiteY31" fmla="*/ 1523579 h 3574942"/>
                <a:gd name="connsiteX32" fmla="*/ 325787 w 2056491"/>
                <a:gd name="connsiteY32" fmla="*/ 1337841 h 3574942"/>
                <a:gd name="connsiteX33" fmla="*/ 437706 w 2056491"/>
                <a:gd name="connsiteY33" fmla="*/ 997323 h 3574942"/>
                <a:gd name="connsiteX34" fmla="*/ 156719 w 2056491"/>
                <a:gd name="connsiteY34" fmla="*/ 652041 h 3574942"/>
                <a:gd name="connsiteX35" fmla="*/ 37656 w 2056491"/>
                <a:gd name="connsiteY35" fmla="*/ 352004 h 3574942"/>
                <a:gd name="connsiteX36" fmla="*/ 87663 w 2056491"/>
                <a:gd name="connsiteY36" fmla="*/ 292473 h 3574942"/>
                <a:gd name="connsiteX37" fmla="*/ 39729 w 2056491"/>
                <a:gd name="connsiteY37" fmla="*/ 171030 h 3574942"/>
                <a:gd name="connsiteX0" fmla="*/ 44019 w 2060781"/>
                <a:gd name="connsiteY0" fmla="*/ 171030 h 3574942"/>
                <a:gd name="connsiteX1" fmla="*/ 63378 w 2060781"/>
                <a:gd name="connsiteY1" fmla="*/ 59110 h 3574942"/>
                <a:gd name="connsiteX2" fmla="*/ 108622 w 2060781"/>
                <a:gd name="connsiteY2" fmla="*/ 25773 h 3574942"/>
                <a:gd name="connsiteX3" fmla="*/ 146722 w 2060781"/>
                <a:gd name="connsiteY3" fmla="*/ 4342 h 3574942"/>
                <a:gd name="connsiteX4" fmla="*/ 230066 w 2060781"/>
                <a:gd name="connsiteY4" fmla="*/ 85306 h 3574942"/>
                <a:gd name="connsiteX5" fmla="*/ 194347 w 2060781"/>
                <a:gd name="connsiteY5" fmla="*/ 249612 h 3574942"/>
                <a:gd name="connsiteX6" fmla="*/ 458666 w 2060781"/>
                <a:gd name="connsiteY6" fmla="*/ 668712 h 3574942"/>
                <a:gd name="connsiteX7" fmla="*/ 558679 w 2060781"/>
                <a:gd name="connsiteY7" fmla="*/ 687762 h 3574942"/>
                <a:gd name="connsiteX8" fmla="*/ 784897 w 2060781"/>
                <a:gd name="connsiteY8" fmla="*/ 790156 h 3574942"/>
                <a:gd name="connsiteX9" fmla="*/ 506291 w 2060781"/>
                <a:gd name="connsiteY9" fmla="*/ 1178299 h 3574942"/>
                <a:gd name="connsiteX10" fmla="*/ 453904 w 2060781"/>
                <a:gd name="connsiteY10" fmla="*/ 1656931 h 3574942"/>
                <a:gd name="connsiteX11" fmla="*/ 1080172 w 2060781"/>
                <a:gd name="connsiteY11" fmla="*/ 1718843 h 3574942"/>
                <a:gd name="connsiteX12" fmla="*/ 1149229 w 2060781"/>
                <a:gd name="connsiteY12" fmla="*/ 1461668 h 3574942"/>
                <a:gd name="connsiteX13" fmla="*/ 956347 w 2060781"/>
                <a:gd name="connsiteY13" fmla="*/ 954461 h 3574942"/>
                <a:gd name="connsiteX14" fmla="*/ 1065885 w 2060781"/>
                <a:gd name="connsiteY14" fmla="*/ 840160 h 3574942"/>
                <a:gd name="connsiteX15" fmla="*/ 1239716 w 2060781"/>
                <a:gd name="connsiteY15" fmla="*/ 756817 h 3574942"/>
                <a:gd name="connsiteX16" fmla="*/ 1368303 w 2060781"/>
                <a:gd name="connsiteY16" fmla="*/ 785392 h 3574942"/>
                <a:gd name="connsiteX17" fmla="*/ 1885035 w 2060781"/>
                <a:gd name="connsiteY17" fmla="*/ 313906 h 3574942"/>
                <a:gd name="connsiteX18" fmla="*/ 1882998 w 2060781"/>
                <a:gd name="connsiteY18" fmla="*/ 175792 h 3574942"/>
                <a:gd name="connsiteX19" fmla="*/ 1958852 w 2060781"/>
                <a:gd name="connsiteY19" fmla="*/ 125785 h 3574942"/>
                <a:gd name="connsiteX20" fmla="*/ 2004097 w 2060781"/>
                <a:gd name="connsiteY20" fmla="*/ 168649 h 3574942"/>
                <a:gd name="connsiteX21" fmla="*/ 2039816 w 2060781"/>
                <a:gd name="connsiteY21" fmla="*/ 218653 h 3574942"/>
                <a:gd name="connsiteX22" fmla="*/ 2054103 w 2060781"/>
                <a:gd name="connsiteY22" fmla="*/ 299616 h 3574942"/>
                <a:gd name="connsiteX23" fmla="*/ 1939803 w 2060781"/>
                <a:gd name="connsiteY23" fmla="*/ 440112 h 3574942"/>
                <a:gd name="connsiteX24" fmla="*/ 1965996 w 2060781"/>
                <a:gd name="connsiteY24" fmla="*/ 502023 h 3574942"/>
                <a:gd name="connsiteX25" fmla="*/ 1577853 w 2060781"/>
                <a:gd name="connsiteY25" fmla="*/ 949698 h 3574942"/>
                <a:gd name="connsiteX26" fmla="*/ 1351634 w 2060781"/>
                <a:gd name="connsiteY26" fmla="*/ 1094954 h 3574942"/>
                <a:gd name="connsiteX27" fmla="*/ 1577853 w 2060781"/>
                <a:gd name="connsiteY27" fmla="*/ 2021260 h 3574942"/>
                <a:gd name="connsiteX28" fmla="*/ 1118271 w 2060781"/>
                <a:gd name="connsiteY28" fmla="*/ 2018879 h 3574942"/>
                <a:gd name="connsiteX29" fmla="*/ 1056704 w 2060781"/>
                <a:gd name="connsiteY29" fmla="*/ 3574942 h 3574942"/>
                <a:gd name="connsiteX30" fmla="*/ 24969 w 2060781"/>
                <a:gd name="connsiteY30" fmla="*/ 3574942 h 3574942"/>
                <a:gd name="connsiteX31" fmla="*/ 408659 w 2060781"/>
                <a:gd name="connsiteY31" fmla="*/ 1914104 h 3574942"/>
                <a:gd name="connsiteX32" fmla="*/ 384846 w 2060781"/>
                <a:gd name="connsiteY32" fmla="*/ 1523579 h 3574942"/>
                <a:gd name="connsiteX33" fmla="*/ 330077 w 2060781"/>
                <a:gd name="connsiteY33" fmla="*/ 1337841 h 3574942"/>
                <a:gd name="connsiteX34" fmla="*/ 441996 w 2060781"/>
                <a:gd name="connsiteY34" fmla="*/ 997323 h 3574942"/>
                <a:gd name="connsiteX35" fmla="*/ 161009 w 2060781"/>
                <a:gd name="connsiteY35" fmla="*/ 652041 h 3574942"/>
                <a:gd name="connsiteX36" fmla="*/ 41946 w 2060781"/>
                <a:gd name="connsiteY36" fmla="*/ 352004 h 3574942"/>
                <a:gd name="connsiteX37" fmla="*/ 91953 w 2060781"/>
                <a:gd name="connsiteY37" fmla="*/ 292473 h 3574942"/>
                <a:gd name="connsiteX38" fmla="*/ 44019 w 2060781"/>
                <a:gd name="connsiteY38" fmla="*/ 171030 h 3574942"/>
                <a:gd name="connsiteX0" fmla="*/ 44019 w 2060781"/>
                <a:gd name="connsiteY0" fmla="*/ 171030 h 3574942"/>
                <a:gd name="connsiteX1" fmla="*/ 63378 w 2060781"/>
                <a:gd name="connsiteY1" fmla="*/ 59110 h 3574942"/>
                <a:gd name="connsiteX2" fmla="*/ 108622 w 2060781"/>
                <a:gd name="connsiteY2" fmla="*/ 25773 h 3574942"/>
                <a:gd name="connsiteX3" fmla="*/ 146722 w 2060781"/>
                <a:gd name="connsiteY3" fmla="*/ 4342 h 3574942"/>
                <a:gd name="connsiteX4" fmla="*/ 230066 w 2060781"/>
                <a:gd name="connsiteY4" fmla="*/ 85306 h 3574942"/>
                <a:gd name="connsiteX5" fmla="*/ 194347 w 2060781"/>
                <a:gd name="connsiteY5" fmla="*/ 249612 h 3574942"/>
                <a:gd name="connsiteX6" fmla="*/ 458666 w 2060781"/>
                <a:gd name="connsiteY6" fmla="*/ 668712 h 3574942"/>
                <a:gd name="connsiteX7" fmla="*/ 558679 w 2060781"/>
                <a:gd name="connsiteY7" fmla="*/ 687762 h 3574942"/>
                <a:gd name="connsiteX8" fmla="*/ 784897 w 2060781"/>
                <a:gd name="connsiteY8" fmla="*/ 790156 h 3574942"/>
                <a:gd name="connsiteX9" fmla="*/ 506291 w 2060781"/>
                <a:gd name="connsiteY9" fmla="*/ 1178299 h 3574942"/>
                <a:gd name="connsiteX10" fmla="*/ 453904 w 2060781"/>
                <a:gd name="connsiteY10" fmla="*/ 1656931 h 3574942"/>
                <a:gd name="connsiteX11" fmla="*/ 1080172 w 2060781"/>
                <a:gd name="connsiteY11" fmla="*/ 1718843 h 3574942"/>
                <a:gd name="connsiteX12" fmla="*/ 1149229 w 2060781"/>
                <a:gd name="connsiteY12" fmla="*/ 1461668 h 3574942"/>
                <a:gd name="connsiteX13" fmla="*/ 956347 w 2060781"/>
                <a:gd name="connsiteY13" fmla="*/ 954461 h 3574942"/>
                <a:gd name="connsiteX14" fmla="*/ 1065885 w 2060781"/>
                <a:gd name="connsiteY14" fmla="*/ 840160 h 3574942"/>
                <a:gd name="connsiteX15" fmla="*/ 1239716 w 2060781"/>
                <a:gd name="connsiteY15" fmla="*/ 756817 h 3574942"/>
                <a:gd name="connsiteX16" fmla="*/ 1368303 w 2060781"/>
                <a:gd name="connsiteY16" fmla="*/ 785392 h 3574942"/>
                <a:gd name="connsiteX17" fmla="*/ 1885035 w 2060781"/>
                <a:gd name="connsiteY17" fmla="*/ 313906 h 3574942"/>
                <a:gd name="connsiteX18" fmla="*/ 1882998 w 2060781"/>
                <a:gd name="connsiteY18" fmla="*/ 175792 h 3574942"/>
                <a:gd name="connsiteX19" fmla="*/ 1958852 w 2060781"/>
                <a:gd name="connsiteY19" fmla="*/ 125785 h 3574942"/>
                <a:gd name="connsiteX20" fmla="*/ 2004097 w 2060781"/>
                <a:gd name="connsiteY20" fmla="*/ 168649 h 3574942"/>
                <a:gd name="connsiteX21" fmla="*/ 2039816 w 2060781"/>
                <a:gd name="connsiteY21" fmla="*/ 218653 h 3574942"/>
                <a:gd name="connsiteX22" fmla="*/ 2054103 w 2060781"/>
                <a:gd name="connsiteY22" fmla="*/ 299616 h 3574942"/>
                <a:gd name="connsiteX23" fmla="*/ 1939803 w 2060781"/>
                <a:gd name="connsiteY23" fmla="*/ 440112 h 3574942"/>
                <a:gd name="connsiteX24" fmla="*/ 1965996 w 2060781"/>
                <a:gd name="connsiteY24" fmla="*/ 502023 h 3574942"/>
                <a:gd name="connsiteX25" fmla="*/ 1577853 w 2060781"/>
                <a:gd name="connsiteY25" fmla="*/ 949698 h 3574942"/>
                <a:gd name="connsiteX26" fmla="*/ 1351634 w 2060781"/>
                <a:gd name="connsiteY26" fmla="*/ 1094954 h 3574942"/>
                <a:gd name="connsiteX27" fmla="*/ 1577853 w 2060781"/>
                <a:gd name="connsiteY27" fmla="*/ 2021260 h 3574942"/>
                <a:gd name="connsiteX28" fmla="*/ 1118271 w 2060781"/>
                <a:gd name="connsiteY28" fmla="*/ 2018879 h 3574942"/>
                <a:gd name="connsiteX29" fmla="*/ 1056704 w 2060781"/>
                <a:gd name="connsiteY29" fmla="*/ 3574942 h 3574942"/>
                <a:gd name="connsiteX30" fmla="*/ 24969 w 2060781"/>
                <a:gd name="connsiteY30" fmla="*/ 3574942 h 3574942"/>
                <a:gd name="connsiteX31" fmla="*/ 408659 w 2060781"/>
                <a:gd name="connsiteY31" fmla="*/ 1914104 h 3574942"/>
                <a:gd name="connsiteX32" fmla="*/ 384846 w 2060781"/>
                <a:gd name="connsiteY32" fmla="*/ 1523579 h 3574942"/>
                <a:gd name="connsiteX33" fmla="*/ 330077 w 2060781"/>
                <a:gd name="connsiteY33" fmla="*/ 1337841 h 3574942"/>
                <a:gd name="connsiteX34" fmla="*/ 441996 w 2060781"/>
                <a:gd name="connsiteY34" fmla="*/ 997323 h 3574942"/>
                <a:gd name="connsiteX35" fmla="*/ 161009 w 2060781"/>
                <a:gd name="connsiteY35" fmla="*/ 652041 h 3574942"/>
                <a:gd name="connsiteX36" fmla="*/ 41946 w 2060781"/>
                <a:gd name="connsiteY36" fmla="*/ 352004 h 3574942"/>
                <a:gd name="connsiteX37" fmla="*/ 91953 w 2060781"/>
                <a:gd name="connsiteY37" fmla="*/ 292473 h 3574942"/>
                <a:gd name="connsiteX38" fmla="*/ 44019 w 2060781"/>
                <a:gd name="connsiteY38" fmla="*/ 171030 h 3574942"/>
                <a:gd name="connsiteX0" fmla="*/ 44019 w 2060781"/>
                <a:gd name="connsiteY0" fmla="*/ 171030 h 3574942"/>
                <a:gd name="connsiteX1" fmla="*/ 63378 w 2060781"/>
                <a:gd name="connsiteY1" fmla="*/ 59110 h 3574942"/>
                <a:gd name="connsiteX2" fmla="*/ 108622 w 2060781"/>
                <a:gd name="connsiteY2" fmla="*/ 25773 h 3574942"/>
                <a:gd name="connsiteX3" fmla="*/ 146722 w 2060781"/>
                <a:gd name="connsiteY3" fmla="*/ 4342 h 3574942"/>
                <a:gd name="connsiteX4" fmla="*/ 230066 w 2060781"/>
                <a:gd name="connsiteY4" fmla="*/ 85306 h 3574942"/>
                <a:gd name="connsiteX5" fmla="*/ 194347 w 2060781"/>
                <a:gd name="connsiteY5" fmla="*/ 249612 h 3574942"/>
                <a:gd name="connsiteX6" fmla="*/ 458666 w 2060781"/>
                <a:gd name="connsiteY6" fmla="*/ 668712 h 3574942"/>
                <a:gd name="connsiteX7" fmla="*/ 558679 w 2060781"/>
                <a:gd name="connsiteY7" fmla="*/ 687762 h 3574942"/>
                <a:gd name="connsiteX8" fmla="*/ 784897 w 2060781"/>
                <a:gd name="connsiteY8" fmla="*/ 790156 h 3574942"/>
                <a:gd name="connsiteX9" fmla="*/ 506291 w 2060781"/>
                <a:gd name="connsiteY9" fmla="*/ 1178299 h 3574942"/>
                <a:gd name="connsiteX10" fmla="*/ 453904 w 2060781"/>
                <a:gd name="connsiteY10" fmla="*/ 1656931 h 3574942"/>
                <a:gd name="connsiteX11" fmla="*/ 1080172 w 2060781"/>
                <a:gd name="connsiteY11" fmla="*/ 1718843 h 3574942"/>
                <a:gd name="connsiteX12" fmla="*/ 1149229 w 2060781"/>
                <a:gd name="connsiteY12" fmla="*/ 1461668 h 3574942"/>
                <a:gd name="connsiteX13" fmla="*/ 956347 w 2060781"/>
                <a:gd name="connsiteY13" fmla="*/ 954461 h 3574942"/>
                <a:gd name="connsiteX14" fmla="*/ 1065885 w 2060781"/>
                <a:gd name="connsiteY14" fmla="*/ 840160 h 3574942"/>
                <a:gd name="connsiteX15" fmla="*/ 1239716 w 2060781"/>
                <a:gd name="connsiteY15" fmla="*/ 756817 h 3574942"/>
                <a:gd name="connsiteX16" fmla="*/ 1368303 w 2060781"/>
                <a:gd name="connsiteY16" fmla="*/ 785392 h 3574942"/>
                <a:gd name="connsiteX17" fmla="*/ 1885035 w 2060781"/>
                <a:gd name="connsiteY17" fmla="*/ 313906 h 3574942"/>
                <a:gd name="connsiteX18" fmla="*/ 1882998 w 2060781"/>
                <a:gd name="connsiteY18" fmla="*/ 175792 h 3574942"/>
                <a:gd name="connsiteX19" fmla="*/ 1958852 w 2060781"/>
                <a:gd name="connsiteY19" fmla="*/ 125785 h 3574942"/>
                <a:gd name="connsiteX20" fmla="*/ 2004097 w 2060781"/>
                <a:gd name="connsiteY20" fmla="*/ 168649 h 3574942"/>
                <a:gd name="connsiteX21" fmla="*/ 2039816 w 2060781"/>
                <a:gd name="connsiteY21" fmla="*/ 218653 h 3574942"/>
                <a:gd name="connsiteX22" fmla="*/ 2054103 w 2060781"/>
                <a:gd name="connsiteY22" fmla="*/ 299616 h 3574942"/>
                <a:gd name="connsiteX23" fmla="*/ 1939803 w 2060781"/>
                <a:gd name="connsiteY23" fmla="*/ 440112 h 3574942"/>
                <a:gd name="connsiteX24" fmla="*/ 1965996 w 2060781"/>
                <a:gd name="connsiteY24" fmla="*/ 502023 h 3574942"/>
                <a:gd name="connsiteX25" fmla="*/ 1577853 w 2060781"/>
                <a:gd name="connsiteY25" fmla="*/ 949698 h 3574942"/>
                <a:gd name="connsiteX26" fmla="*/ 1351634 w 2060781"/>
                <a:gd name="connsiteY26" fmla="*/ 1094954 h 3574942"/>
                <a:gd name="connsiteX27" fmla="*/ 1577853 w 2060781"/>
                <a:gd name="connsiteY27" fmla="*/ 2021260 h 3574942"/>
                <a:gd name="connsiteX28" fmla="*/ 1118271 w 2060781"/>
                <a:gd name="connsiteY28" fmla="*/ 2018879 h 3574942"/>
                <a:gd name="connsiteX29" fmla="*/ 1056704 w 2060781"/>
                <a:gd name="connsiteY29" fmla="*/ 3574942 h 3574942"/>
                <a:gd name="connsiteX30" fmla="*/ 24969 w 2060781"/>
                <a:gd name="connsiteY30" fmla="*/ 3574942 h 3574942"/>
                <a:gd name="connsiteX31" fmla="*/ 408659 w 2060781"/>
                <a:gd name="connsiteY31" fmla="*/ 1914104 h 3574942"/>
                <a:gd name="connsiteX32" fmla="*/ 334840 w 2060781"/>
                <a:gd name="connsiteY32" fmla="*/ 1861716 h 3574942"/>
                <a:gd name="connsiteX33" fmla="*/ 384846 w 2060781"/>
                <a:gd name="connsiteY33" fmla="*/ 1523579 h 3574942"/>
                <a:gd name="connsiteX34" fmla="*/ 330077 w 2060781"/>
                <a:gd name="connsiteY34" fmla="*/ 1337841 h 3574942"/>
                <a:gd name="connsiteX35" fmla="*/ 441996 w 2060781"/>
                <a:gd name="connsiteY35" fmla="*/ 997323 h 3574942"/>
                <a:gd name="connsiteX36" fmla="*/ 161009 w 2060781"/>
                <a:gd name="connsiteY36" fmla="*/ 652041 h 3574942"/>
                <a:gd name="connsiteX37" fmla="*/ 41946 w 2060781"/>
                <a:gd name="connsiteY37" fmla="*/ 352004 h 3574942"/>
                <a:gd name="connsiteX38" fmla="*/ 91953 w 2060781"/>
                <a:gd name="connsiteY38" fmla="*/ 292473 h 3574942"/>
                <a:gd name="connsiteX39" fmla="*/ 44019 w 2060781"/>
                <a:gd name="connsiteY39" fmla="*/ 171030 h 3574942"/>
                <a:gd name="connsiteX0" fmla="*/ 44019 w 2060781"/>
                <a:gd name="connsiteY0" fmla="*/ 171030 h 3574942"/>
                <a:gd name="connsiteX1" fmla="*/ 63378 w 2060781"/>
                <a:gd name="connsiteY1" fmla="*/ 59110 h 3574942"/>
                <a:gd name="connsiteX2" fmla="*/ 108622 w 2060781"/>
                <a:gd name="connsiteY2" fmla="*/ 25773 h 3574942"/>
                <a:gd name="connsiteX3" fmla="*/ 146722 w 2060781"/>
                <a:gd name="connsiteY3" fmla="*/ 4342 h 3574942"/>
                <a:gd name="connsiteX4" fmla="*/ 230066 w 2060781"/>
                <a:gd name="connsiteY4" fmla="*/ 85306 h 3574942"/>
                <a:gd name="connsiteX5" fmla="*/ 194347 w 2060781"/>
                <a:gd name="connsiteY5" fmla="*/ 249612 h 3574942"/>
                <a:gd name="connsiteX6" fmla="*/ 458666 w 2060781"/>
                <a:gd name="connsiteY6" fmla="*/ 668712 h 3574942"/>
                <a:gd name="connsiteX7" fmla="*/ 558679 w 2060781"/>
                <a:gd name="connsiteY7" fmla="*/ 687762 h 3574942"/>
                <a:gd name="connsiteX8" fmla="*/ 784897 w 2060781"/>
                <a:gd name="connsiteY8" fmla="*/ 790156 h 3574942"/>
                <a:gd name="connsiteX9" fmla="*/ 506291 w 2060781"/>
                <a:gd name="connsiteY9" fmla="*/ 1178299 h 3574942"/>
                <a:gd name="connsiteX10" fmla="*/ 453904 w 2060781"/>
                <a:gd name="connsiteY10" fmla="*/ 1656931 h 3574942"/>
                <a:gd name="connsiteX11" fmla="*/ 1080172 w 2060781"/>
                <a:gd name="connsiteY11" fmla="*/ 1718843 h 3574942"/>
                <a:gd name="connsiteX12" fmla="*/ 1149229 w 2060781"/>
                <a:gd name="connsiteY12" fmla="*/ 1461668 h 3574942"/>
                <a:gd name="connsiteX13" fmla="*/ 956347 w 2060781"/>
                <a:gd name="connsiteY13" fmla="*/ 954461 h 3574942"/>
                <a:gd name="connsiteX14" fmla="*/ 1065885 w 2060781"/>
                <a:gd name="connsiteY14" fmla="*/ 840160 h 3574942"/>
                <a:gd name="connsiteX15" fmla="*/ 1239716 w 2060781"/>
                <a:gd name="connsiteY15" fmla="*/ 756817 h 3574942"/>
                <a:gd name="connsiteX16" fmla="*/ 1368303 w 2060781"/>
                <a:gd name="connsiteY16" fmla="*/ 785392 h 3574942"/>
                <a:gd name="connsiteX17" fmla="*/ 1885035 w 2060781"/>
                <a:gd name="connsiteY17" fmla="*/ 313906 h 3574942"/>
                <a:gd name="connsiteX18" fmla="*/ 1882998 w 2060781"/>
                <a:gd name="connsiteY18" fmla="*/ 175792 h 3574942"/>
                <a:gd name="connsiteX19" fmla="*/ 1958852 w 2060781"/>
                <a:gd name="connsiteY19" fmla="*/ 125785 h 3574942"/>
                <a:gd name="connsiteX20" fmla="*/ 2004097 w 2060781"/>
                <a:gd name="connsiteY20" fmla="*/ 168649 h 3574942"/>
                <a:gd name="connsiteX21" fmla="*/ 2039816 w 2060781"/>
                <a:gd name="connsiteY21" fmla="*/ 218653 h 3574942"/>
                <a:gd name="connsiteX22" fmla="*/ 2054103 w 2060781"/>
                <a:gd name="connsiteY22" fmla="*/ 299616 h 3574942"/>
                <a:gd name="connsiteX23" fmla="*/ 1939803 w 2060781"/>
                <a:gd name="connsiteY23" fmla="*/ 440112 h 3574942"/>
                <a:gd name="connsiteX24" fmla="*/ 1965996 w 2060781"/>
                <a:gd name="connsiteY24" fmla="*/ 502023 h 3574942"/>
                <a:gd name="connsiteX25" fmla="*/ 1577853 w 2060781"/>
                <a:gd name="connsiteY25" fmla="*/ 949698 h 3574942"/>
                <a:gd name="connsiteX26" fmla="*/ 1351634 w 2060781"/>
                <a:gd name="connsiteY26" fmla="*/ 1094954 h 3574942"/>
                <a:gd name="connsiteX27" fmla="*/ 1577853 w 2060781"/>
                <a:gd name="connsiteY27" fmla="*/ 2021260 h 3574942"/>
                <a:gd name="connsiteX28" fmla="*/ 1118271 w 2060781"/>
                <a:gd name="connsiteY28" fmla="*/ 2018879 h 3574942"/>
                <a:gd name="connsiteX29" fmla="*/ 1056704 w 2060781"/>
                <a:gd name="connsiteY29" fmla="*/ 3574942 h 3574942"/>
                <a:gd name="connsiteX30" fmla="*/ 24969 w 2060781"/>
                <a:gd name="connsiteY30" fmla="*/ 3574942 h 3574942"/>
                <a:gd name="connsiteX31" fmla="*/ 408659 w 2060781"/>
                <a:gd name="connsiteY31" fmla="*/ 1914104 h 3574942"/>
                <a:gd name="connsiteX32" fmla="*/ 334840 w 2060781"/>
                <a:gd name="connsiteY32" fmla="*/ 1861716 h 3574942"/>
                <a:gd name="connsiteX33" fmla="*/ 384846 w 2060781"/>
                <a:gd name="connsiteY33" fmla="*/ 1523579 h 3574942"/>
                <a:gd name="connsiteX34" fmla="*/ 330077 w 2060781"/>
                <a:gd name="connsiteY34" fmla="*/ 1337841 h 3574942"/>
                <a:gd name="connsiteX35" fmla="*/ 441996 w 2060781"/>
                <a:gd name="connsiteY35" fmla="*/ 997323 h 3574942"/>
                <a:gd name="connsiteX36" fmla="*/ 161009 w 2060781"/>
                <a:gd name="connsiteY36" fmla="*/ 652041 h 3574942"/>
                <a:gd name="connsiteX37" fmla="*/ 41946 w 2060781"/>
                <a:gd name="connsiteY37" fmla="*/ 352004 h 3574942"/>
                <a:gd name="connsiteX38" fmla="*/ 91953 w 2060781"/>
                <a:gd name="connsiteY38" fmla="*/ 292473 h 3574942"/>
                <a:gd name="connsiteX39" fmla="*/ 44019 w 2060781"/>
                <a:gd name="connsiteY39" fmla="*/ 171030 h 3574942"/>
                <a:gd name="connsiteX0" fmla="*/ 43914 w 2060676"/>
                <a:gd name="connsiteY0" fmla="*/ 171030 h 3574942"/>
                <a:gd name="connsiteX1" fmla="*/ 63273 w 2060676"/>
                <a:gd name="connsiteY1" fmla="*/ 59110 h 3574942"/>
                <a:gd name="connsiteX2" fmla="*/ 108517 w 2060676"/>
                <a:gd name="connsiteY2" fmla="*/ 25773 h 3574942"/>
                <a:gd name="connsiteX3" fmla="*/ 146617 w 2060676"/>
                <a:gd name="connsiteY3" fmla="*/ 4342 h 3574942"/>
                <a:gd name="connsiteX4" fmla="*/ 229961 w 2060676"/>
                <a:gd name="connsiteY4" fmla="*/ 85306 h 3574942"/>
                <a:gd name="connsiteX5" fmla="*/ 194242 w 2060676"/>
                <a:gd name="connsiteY5" fmla="*/ 249612 h 3574942"/>
                <a:gd name="connsiteX6" fmla="*/ 458561 w 2060676"/>
                <a:gd name="connsiteY6" fmla="*/ 668712 h 3574942"/>
                <a:gd name="connsiteX7" fmla="*/ 558574 w 2060676"/>
                <a:gd name="connsiteY7" fmla="*/ 687762 h 3574942"/>
                <a:gd name="connsiteX8" fmla="*/ 784792 w 2060676"/>
                <a:gd name="connsiteY8" fmla="*/ 790156 h 3574942"/>
                <a:gd name="connsiteX9" fmla="*/ 506186 w 2060676"/>
                <a:gd name="connsiteY9" fmla="*/ 1178299 h 3574942"/>
                <a:gd name="connsiteX10" fmla="*/ 453799 w 2060676"/>
                <a:gd name="connsiteY10" fmla="*/ 1656931 h 3574942"/>
                <a:gd name="connsiteX11" fmla="*/ 1080067 w 2060676"/>
                <a:gd name="connsiteY11" fmla="*/ 1718843 h 3574942"/>
                <a:gd name="connsiteX12" fmla="*/ 1149124 w 2060676"/>
                <a:gd name="connsiteY12" fmla="*/ 1461668 h 3574942"/>
                <a:gd name="connsiteX13" fmla="*/ 956242 w 2060676"/>
                <a:gd name="connsiteY13" fmla="*/ 954461 h 3574942"/>
                <a:gd name="connsiteX14" fmla="*/ 1065780 w 2060676"/>
                <a:gd name="connsiteY14" fmla="*/ 840160 h 3574942"/>
                <a:gd name="connsiteX15" fmla="*/ 1239611 w 2060676"/>
                <a:gd name="connsiteY15" fmla="*/ 756817 h 3574942"/>
                <a:gd name="connsiteX16" fmla="*/ 1368198 w 2060676"/>
                <a:gd name="connsiteY16" fmla="*/ 785392 h 3574942"/>
                <a:gd name="connsiteX17" fmla="*/ 1884930 w 2060676"/>
                <a:gd name="connsiteY17" fmla="*/ 313906 h 3574942"/>
                <a:gd name="connsiteX18" fmla="*/ 1882893 w 2060676"/>
                <a:gd name="connsiteY18" fmla="*/ 175792 h 3574942"/>
                <a:gd name="connsiteX19" fmla="*/ 1958747 w 2060676"/>
                <a:gd name="connsiteY19" fmla="*/ 125785 h 3574942"/>
                <a:gd name="connsiteX20" fmla="*/ 2003992 w 2060676"/>
                <a:gd name="connsiteY20" fmla="*/ 168649 h 3574942"/>
                <a:gd name="connsiteX21" fmla="*/ 2039711 w 2060676"/>
                <a:gd name="connsiteY21" fmla="*/ 218653 h 3574942"/>
                <a:gd name="connsiteX22" fmla="*/ 2053998 w 2060676"/>
                <a:gd name="connsiteY22" fmla="*/ 299616 h 3574942"/>
                <a:gd name="connsiteX23" fmla="*/ 1939698 w 2060676"/>
                <a:gd name="connsiteY23" fmla="*/ 440112 h 3574942"/>
                <a:gd name="connsiteX24" fmla="*/ 1965891 w 2060676"/>
                <a:gd name="connsiteY24" fmla="*/ 502023 h 3574942"/>
                <a:gd name="connsiteX25" fmla="*/ 1577748 w 2060676"/>
                <a:gd name="connsiteY25" fmla="*/ 949698 h 3574942"/>
                <a:gd name="connsiteX26" fmla="*/ 1351529 w 2060676"/>
                <a:gd name="connsiteY26" fmla="*/ 1094954 h 3574942"/>
                <a:gd name="connsiteX27" fmla="*/ 1577748 w 2060676"/>
                <a:gd name="connsiteY27" fmla="*/ 2021260 h 3574942"/>
                <a:gd name="connsiteX28" fmla="*/ 1118166 w 2060676"/>
                <a:gd name="connsiteY28" fmla="*/ 2018879 h 3574942"/>
                <a:gd name="connsiteX29" fmla="*/ 1056599 w 2060676"/>
                <a:gd name="connsiteY29" fmla="*/ 3574942 h 3574942"/>
                <a:gd name="connsiteX30" fmla="*/ 24864 w 2060676"/>
                <a:gd name="connsiteY30" fmla="*/ 3574942 h 3574942"/>
                <a:gd name="connsiteX31" fmla="*/ 410936 w 2060676"/>
                <a:gd name="connsiteY31" fmla="*/ 1914104 h 3574942"/>
                <a:gd name="connsiteX32" fmla="*/ 334735 w 2060676"/>
                <a:gd name="connsiteY32" fmla="*/ 1861716 h 3574942"/>
                <a:gd name="connsiteX33" fmla="*/ 384741 w 2060676"/>
                <a:gd name="connsiteY33" fmla="*/ 1523579 h 3574942"/>
                <a:gd name="connsiteX34" fmla="*/ 329972 w 2060676"/>
                <a:gd name="connsiteY34" fmla="*/ 1337841 h 3574942"/>
                <a:gd name="connsiteX35" fmla="*/ 441891 w 2060676"/>
                <a:gd name="connsiteY35" fmla="*/ 997323 h 3574942"/>
                <a:gd name="connsiteX36" fmla="*/ 160904 w 2060676"/>
                <a:gd name="connsiteY36" fmla="*/ 652041 h 3574942"/>
                <a:gd name="connsiteX37" fmla="*/ 41841 w 2060676"/>
                <a:gd name="connsiteY37" fmla="*/ 352004 h 3574942"/>
                <a:gd name="connsiteX38" fmla="*/ 91848 w 2060676"/>
                <a:gd name="connsiteY38" fmla="*/ 292473 h 3574942"/>
                <a:gd name="connsiteX39" fmla="*/ 43914 w 2060676"/>
                <a:gd name="connsiteY39" fmla="*/ 171030 h 3574942"/>
                <a:gd name="connsiteX0" fmla="*/ 43914 w 2060676"/>
                <a:gd name="connsiteY0" fmla="*/ 171030 h 3574942"/>
                <a:gd name="connsiteX1" fmla="*/ 63273 w 2060676"/>
                <a:gd name="connsiteY1" fmla="*/ 59110 h 3574942"/>
                <a:gd name="connsiteX2" fmla="*/ 108517 w 2060676"/>
                <a:gd name="connsiteY2" fmla="*/ 25773 h 3574942"/>
                <a:gd name="connsiteX3" fmla="*/ 146617 w 2060676"/>
                <a:gd name="connsiteY3" fmla="*/ 4342 h 3574942"/>
                <a:gd name="connsiteX4" fmla="*/ 229961 w 2060676"/>
                <a:gd name="connsiteY4" fmla="*/ 85306 h 3574942"/>
                <a:gd name="connsiteX5" fmla="*/ 194242 w 2060676"/>
                <a:gd name="connsiteY5" fmla="*/ 249612 h 3574942"/>
                <a:gd name="connsiteX6" fmla="*/ 458561 w 2060676"/>
                <a:gd name="connsiteY6" fmla="*/ 668712 h 3574942"/>
                <a:gd name="connsiteX7" fmla="*/ 558574 w 2060676"/>
                <a:gd name="connsiteY7" fmla="*/ 687762 h 3574942"/>
                <a:gd name="connsiteX8" fmla="*/ 784792 w 2060676"/>
                <a:gd name="connsiteY8" fmla="*/ 790156 h 3574942"/>
                <a:gd name="connsiteX9" fmla="*/ 506186 w 2060676"/>
                <a:gd name="connsiteY9" fmla="*/ 1178299 h 3574942"/>
                <a:gd name="connsiteX10" fmla="*/ 453799 w 2060676"/>
                <a:gd name="connsiteY10" fmla="*/ 1656931 h 3574942"/>
                <a:gd name="connsiteX11" fmla="*/ 1080067 w 2060676"/>
                <a:gd name="connsiteY11" fmla="*/ 1718843 h 3574942"/>
                <a:gd name="connsiteX12" fmla="*/ 1149124 w 2060676"/>
                <a:gd name="connsiteY12" fmla="*/ 1461668 h 3574942"/>
                <a:gd name="connsiteX13" fmla="*/ 956242 w 2060676"/>
                <a:gd name="connsiteY13" fmla="*/ 954461 h 3574942"/>
                <a:gd name="connsiteX14" fmla="*/ 1065780 w 2060676"/>
                <a:gd name="connsiteY14" fmla="*/ 840160 h 3574942"/>
                <a:gd name="connsiteX15" fmla="*/ 1239611 w 2060676"/>
                <a:gd name="connsiteY15" fmla="*/ 756817 h 3574942"/>
                <a:gd name="connsiteX16" fmla="*/ 1368198 w 2060676"/>
                <a:gd name="connsiteY16" fmla="*/ 785392 h 3574942"/>
                <a:gd name="connsiteX17" fmla="*/ 1884930 w 2060676"/>
                <a:gd name="connsiteY17" fmla="*/ 313906 h 3574942"/>
                <a:gd name="connsiteX18" fmla="*/ 1882893 w 2060676"/>
                <a:gd name="connsiteY18" fmla="*/ 175792 h 3574942"/>
                <a:gd name="connsiteX19" fmla="*/ 1958747 w 2060676"/>
                <a:gd name="connsiteY19" fmla="*/ 125785 h 3574942"/>
                <a:gd name="connsiteX20" fmla="*/ 2003992 w 2060676"/>
                <a:gd name="connsiteY20" fmla="*/ 168649 h 3574942"/>
                <a:gd name="connsiteX21" fmla="*/ 2039711 w 2060676"/>
                <a:gd name="connsiteY21" fmla="*/ 218653 h 3574942"/>
                <a:gd name="connsiteX22" fmla="*/ 2053998 w 2060676"/>
                <a:gd name="connsiteY22" fmla="*/ 299616 h 3574942"/>
                <a:gd name="connsiteX23" fmla="*/ 1939698 w 2060676"/>
                <a:gd name="connsiteY23" fmla="*/ 440112 h 3574942"/>
                <a:gd name="connsiteX24" fmla="*/ 1965891 w 2060676"/>
                <a:gd name="connsiteY24" fmla="*/ 502023 h 3574942"/>
                <a:gd name="connsiteX25" fmla="*/ 1577748 w 2060676"/>
                <a:gd name="connsiteY25" fmla="*/ 949698 h 3574942"/>
                <a:gd name="connsiteX26" fmla="*/ 1351529 w 2060676"/>
                <a:gd name="connsiteY26" fmla="*/ 1094954 h 3574942"/>
                <a:gd name="connsiteX27" fmla="*/ 1577748 w 2060676"/>
                <a:gd name="connsiteY27" fmla="*/ 2021260 h 3574942"/>
                <a:gd name="connsiteX28" fmla="*/ 1118166 w 2060676"/>
                <a:gd name="connsiteY28" fmla="*/ 2018879 h 3574942"/>
                <a:gd name="connsiteX29" fmla="*/ 1056599 w 2060676"/>
                <a:gd name="connsiteY29" fmla="*/ 3574942 h 3574942"/>
                <a:gd name="connsiteX30" fmla="*/ 24864 w 2060676"/>
                <a:gd name="connsiteY30" fmla="*/ 3574942 h 3574942"/>
                <a:gd name="connsiteX31" fmla="*/ 410936 w 2060676"/>
                <a:gd name="connsiteY31" fmla="*/ 1914104 h 3574942"/>
                <a:gd name="connsiteX32" fmla="*/ 334735 w 2060676"/>
                <a:gd name="connsiteY32" fmla="*/ 1861716 h 3574942"/>
                <a:gd name="connsiteX33" fmla="*/ 384741 w 2060676"/>
                <a:gd name="connsiteY33" fmla="*/ 1523579 h 3574942"/>
                <a:gd name="connsiteX34" fmla="*/ 329972 w 2060676"/>
                <a:gd name="connsiteY34" fmla="*/ 1337841 h 3574942"/>
                <a:gd name="connsiteX35" fmla="*/ 441891 w 2060676"/>
                <a:gd name="connsiteY35" fmla="*/ 997323 h 3574942"/>
                <a:gd name="connsiteX36" fmla="*/ 160904 w 2060676"/>
                <a:gd name="connsiteY36" fmla="*/ 652041 h 3574942"/>
                <a:gd name="connsiteX37" fmla="*/ 41841 w 2060676"/>
                <a:gd name="connsiteY37" fmla="*/ 352004 h 3574942"/>
                <a:gd name="connsiteX38" fmla="*/ 91848 w 2060676"/>
                <a:gd name="connsiteY38" fmla="*/ 292473 h 3574942"/>
                <a:gd name="connsiteX39" fmla="*/ 43914 w 2060676"/>
                <a:gd name="connsiteY39" fmla="*/ 171030 h 3574942"/>
                <a:gd name="connsiteX0" fmla="*/ 11160 w 2027922"/>
                <a:gd name="connsiteY0" fmla="*/ 171030 h 3710912"/>
                <a:gd name="connsiteX1" fmla="*/ 30519 w 2027922"/>
                <a:gd name="connsiteY1" fmla="*/ 59110 h 3710912"/>
                <a:gd name="connsiteX2" fmla="*/ 75763 w 2027922"/>
                <a:gd name="connsiteY2" fmla="*/ 25773 h 3710912"/>
                <a:gd name="connsiteX3" fmla="*/ 113863 w 2027922"/>
                <a:gd name="connsiteY3" fmla="*/ 4342 h 3710912"/>
                <a:gd name="connsiteX4" fmla="*/ 197207 w 2027922"/>
                <a:gd name="connsiteY4" fmla="*/ 85306 h 3710912"/>
                <a:gd name="connsiteX5" fmla="*/ 161488 w 2027922"/>
                <a:gd name="connsiteY5" fmla="*/ 249612 h 3710912"/>
                <a:gd name="connsiteX6" fmla="*/ 425807 w 2027922"/>
                <a:gd name="connsiteY6" fmla="*/ 668712 h 3710912"/>
                <a:gd name="connsiteX7" fmla="*/ 525820 w 2027922"/>
                <a:gd name="connsiteY7" fmla="*/ 687762 h 3710912"/>
                <a:gd name="connsiteX8" fmla="*/ 752038 w 2027922"/>
                <a:gd name="connsiteY8" fmla="*/ 790156 h 3710912"/>
                <a:gd name="connsiteX9" fmla="*/ 473432 w 2027922"/>
                <a:gd name="connsiteY9" fmla="*/ 1178299 h 3710912"/>
                <a:gd name="connsiteX10" fmla="*/ 421045 w 2027922"/>
                <a:gd name="connsiteY10" fmla="*/ 1656931 h 3710912"/>
                <a:gd name="connsiteX11" fmla="*/ 1047313 w 2027922"/>
                <a:gd name="connsiteY11" fmla="*/ 1718843 h 3710912"/>
                <a:gd name="connsiteX12" fmla="*/ 1116370 w 2027922"/>
                <a:gd name="connsiteY12" fmla="*/ 1461668 h 3710912"/>
                <a:gd name="connsiteX13" fmla="*/ 923488 w 2027922"/>
                <a:gd name="connsiteY13" fmla="*/ 954461 h 3710912"/>
                <a:gd name="connsiteX14" fmla="*/ 1033026 w 2027922"/>
                <a:gd name="connsiteY14" fmla="*/ 840160 h 3710912"/>
                <a:gd name="connsiteX15" fmla="*/ 1206857 w 2027922"/>
                <a:gd name="connsiteY15" fmla="*/ 756817 h 3710912"/>
                <a:gd name="connsiteX16" fmla="*/ 1335444 w 2027922"/>
                <a:gd name="connsiteY16" fmla="*/ 785392 h 3710912"/>
                <a:gd name="connsiteX17" fmla="*/ 1852176 w 2027922"/>
                <a:gd name="connsiteY17" fmla="*/ 313906 h 3710912"/>
                <a:gd name="connsiteX18" fmla="*/ 1850139 w 2027922"/>
                <a:gd name="connsiteY18" fmla="*/ 175792 h 3710912"/>
                <a:gd name="connsiteX19" fmla="*/ 1925993 w 2027922"/>
                <a:gd name="connsiteY19" fmla="*/ 125785 h 3710912"/>
                <a:gd name="connsiteX20" fmla="*/ 1971238 w 2027922"/>
                <a:gd name="connsiteY20" fmla="*/ 168649 h 3710912"/>
                <a:gd name="connsiteX21" fmla="*/ 2006957 w 2027922"/>
                <a:gd name="connsiteY21" fmla="*/ 218653 h 3710912"/>
                <a:gd name="connsiteX22" fmla="*/ 2021244 w 2027922"/>
                <a:gd name="connsiteY22" fmla="*/ 299616 h 3710912"/>
                <a:gd name="connsiteX23" fmla="*/ 1906944 w 2027922"/>
                <a:gd name="connsiteY23" fmla="*/ 440112 h 3710912"/>
                <a:gd name="connsiteX24" fmla="*/ 1933137 w 2027922"/>
                <a:gd name="connsiteY24" fmla="*/ 502023 h 3710912"/>
                <a:gd name="connsiteX25" fmla="*/ 1544994 w 2027922"/>
                <a:gd name="connsiteY25" fmla="*/ 949698 h 3710912"/>
                <a:gd name="connsiteX26" fmla="*/ 1318775 w 2027922"/>
                <a:gd name="connsiteY26" fmla="*/ 1094954 h 3710912"/>
                <a:gd name="connsiteX27" fmla="*/ 1544994 w 2027922"/>
                <a:gd name="connsiteY27" fmla="*/ 2021260 h 3710912"/>
                <a:gd name="connsiteX28" fmla="*/ 1085412 w 2027922"/>
                <a:gd name="connsiteY28" fmla="*/ 2018879 h 3710912"/>
                <a:gd name="connsiteX29" fmla="*/ 1023845 w 2027922"/>
                <a:gd name="connsiteY29" fmla="*/ 3574942 h 3710912"/>
                <a:gd name="connsiteX30" fmla="*/ 253852 w 2027922"/>
                <a:gd name="connsiteY30" fmla="*/ 3710912 h 3710912"/>
                <a:gd name="connsiteX31" fmla="*/ 378182 w 2027922"/>
                <a:gd name="connsiteY31" fmla="*/ 1914104 h 3710912"/>
                <a:gd name="connsiteX32" fmla="*/ 301981 w 2027922"/>
                <a:gd name="connsiteY32" fmla="*/ 1861716 h 3710912"/>
                <a:gd name="connsiteX33" fmla="*/ 351987 w 2027922"/>
                <a:gd name="connsiteY33" fmla="*/ 1523579 h 3710912"/>
                <a:gd name="connsiteX34" fmla="*/ 297218 w 2027922"/>
                <a:gd name="connsiteY34" fmla="*/ 1337841 h 3710912"/>
                <a:gd name="connsiteX35" fmla="*/ 409137 w 2027922"/>
                <a:gd name="connsiteY35" fmla="*/ 997323 h 3710912"/>
                <a:gd name="connsiteX36" fmla="*/ 128150 w 2027922"/>
                <a:gd name="connsiteY36" fmla="*/ 652041 h 3710912"/>
                <a:gd name="connsiteX37" fmla="*/ 9087 w 2027922"/>
                <a:gd name="connsiteY37" fmla="*/ 352004 h 3710912"/>
                <a:gd name="connsiteX38" fmla="*/ 59094 w 2027922"/>
                <a:gd name="connsiteY38" fmla="*/ 292473 h 3710912"/>
                <a:gd name="connsiteX39" fmla="*/ 11160 w 2027922"/>
                <a:gd name="connsiteY39" fmla="*/ 171030 h 3710912"/>
                <a:gd name="connsiteX0" fmla="*/ 11160 w 2027922"/>
                <a:gd name="connsiteY0" fmla="*/ 171030 h 3710912"/>
                <a:gd name="connsiteX1" fmla="*/ 30519 w 2027922"/>
                <a:gd name="connsiteY1" fmla="*/ 59110 h 3710912"/>
                <a:gd name="connsiteX2" fmla="*/ 75763 w 2027922"/>
                <a:gd name="connsiteY2" fmla="*/ 25773 h 3710912"/>
                <a:gd name="connsiteX3" fmla="*/ 113863 w 2027922"/>
                <a:gd name="connsiteY3" fmla="*/ 4342 h 3710912"/>
                <a:gd name="connsiteX4" fmla="*/ 197207 w 2027922"/>
                <a:gd name="connsiteY4" fmla="*/ 85306 h 3710912"/>
                <a:gd name="connsiteX5" fmla="*/ 161488 w 2027922"/>
                <a:gd name="connsiteY5" fmla="*/ 249612 h 3710912"/>
                <a:gd name="connsiteX6" fmla="*/ 425807 w 2027922"/>
                <a:gd name="connsiteY6" fmla="*/ 668712 h 3710912"/>
                <a:gd name="connsiteX7" fmla="*/ 525820 w 2027922"/>
                <a:gd name="connsiteY7" fmla="*/ 687762 h 3710912"/>
                <a:gd name="connsiteX8" fmla="*/ 752038 w 2027922"/>
                <a:gd name="connsiteY8" fmla="*/ 790156 h 3710912"/>
                <a:gd name="connsiteX9" fmla="*/ 473432 w 2027922"/>
                <a:gd name="connsiteY9" fmla="*/ 1178299 h 3710912"/>
                <a:gd name="connsiteX10" fmla="*/ 421045 w 2027922"/>
                <a:gd name="connsiteY10" fmla="*/ 1656931 h 3710912"/>
                <a:gd name="connsiteX11" fmla="*/ 1047313 w 2027922"/>
                <a:gd name="connsiteY11" fmla="*/ 1718843 h 3710912"/>
                <a:gd name="connsiteX12" fmla="*/ 1116370 w 2027922"/>
                <a:gd name="connsiteY12" fmla="*/ 1461668 h 3710912"/>
                <a:gd name="connsiteX13" fmla="*/ 923488 w 2027922"/>
                <a:gd name="connsiteY13" fmla="*/ 954461 h 3710912"/>
                <a:gd name="connsiteX14" fmla="*/ 1033026 w 2027922"/>
                <a:gd name="connsiteY14" fmla="*/ 840160 h 3710912"/>
                <a:gd name="connsiteX15" fmla="*/ 1206857 w 2027922"/>
                <a:gd name="connsiteY15" fmla="*/ 756817 h 3710912"/>
                <a:gd name="connsiteX16" fmla="*/ 1335444 w 2027922"/>
                <a:gd name="connsiteY16" fmla="*/ 785392 h 3710912"/>
                <a:gd name="connsiteX17" fmla="*/ 1852176 w 2027922"/>
                <a:gd name="connsiteY17" fmla="*/ 313906 h 3710912"/>
                <a:gd name="connsiteX18" fmla="*/ 1850139 w 2027922"/>
                <a:gd name="connsiteY18" fmla="*/ 175792 h 3710912"/>
                <a:gd name="connsiteX19" fmla="*/ 1925993 w 2027922"/>
                <a:gd name="connsiteY19" fmla="*/ 125785 h 3710912"/>
                <a:gd name="connsiteX20" fmla="*/ 1971238 w 2027922"/>
                <a:gd name="connsiteY20" fmla="*/ 168649 h 3710912"/>
                <a:gd name="connsiteX21" fmla="*/ 2006957 w 2027922"/>
                <a:gd name="connsiteY21" fmla="*/ 218653 h 3710912"/>
                <a:gd name="connsiteX22" fmla="*/ 2021244 w 2027922"/>
                <a:gd name="connsiteY22" fmla="*/ 299616 h 3710912"/>
                <a:gd name="connsiteX23" fmla="*/ 1906944 w 2027922"/>
                <a:gd name="connsiteY23" fmla="*/ 440112 h 3710912"/>
                <a:gd name="connsiteX24" fmla="*/ 1933137 w 2027922"/>
                <a:gd name="connsiteY24" fmla="*/ 502023 h 3710912"/>
                <a:gd name="connsiteX25" fmla="*/ 1544994 w 2027922"/>
                <a:gd name="connsiteY25" fmla="*/ 949698 h 3710912"/>
                <a:gd name="connsiteX26" fmla="*/ 1318775 w 2027922"/>
                <a:gd name="connsiteY26" fmla="*/ 1094954 h 3710912"/>
                <a:gd name="connsiteX27" fmla="*/ 1544994 w 2027922"/>
                <a:gd name="connsiteY27" fmla="*/ 2021260 h 3710912"/>
                <a:gd name="connsiteX28" fmla="*/ 1085412 w 2027922"/>
                <a:gd name="connsiteY28" fmla="*/ 2018879 h 3710912"/>
                <a:gd name="connsiteX29" fmla="*/ 1023845 w 2027922"/>
                <a:gd name="connsiteY29" fmla="*/ 3574942 h 3710912"/>
                <a:gd name="connsiteX30" fmla="*/ 685352 w 2027922"/>
                <a:gd name="connsiteY30" fmla="*/ 2302371 h 3710912"/>
                <a:gd name="connsiteX31" fmla="*/ 253852 w 2027922"/>
                <a:gd name="connsiteY31" fmla="*/ 3710912 h 3710912"/>
                <a:gd name="connsiteX32" fmla="*/ 378182 w 2027922"/>
                <a:gd name="connsiteY32" fmla="*/ 1914104 h 3710912"/>
                <a:gd name="connsiteX33" fmla="*/ 301981 w 2027922"/>
                <a:gd name="connsiteY33" fmla="*/ 1861716 h 3710912"/>
                <a:gd name="connsiteX34" fmla="*/ 351987 w 2027922"/>
                <a:gd name="connsiteY34" fmla="*/ 1523579 h 3710912"/>
                <a:gd name="connsiteX35" fmla="*/ 297218 w 2027922"/>
                <a:gd name="connsiteY35" fmla="*/ 1337841 h 3710912"/>
                <a:gd name="connsiteX36" fmla="*/ 409137 w 2027922"/>
                <a:gd name="connsiteY36" fmla="*/ 997323 h 3710912"/>
                <a:gd name="connsiteX37" fmla="*/ 128150 w 2027922"/>
                <a:gd name="connsiteY37" fmla="*/ 652041 h 3710912"/>
                <a:gd name="connsiteX38" fmla="*/ 9087 w 2027922"/>
                <a:gd name="connsiteY38" fmla="*/ 352004 h 3710912"/>
                <a:gd name="connsiteX39" fmla="*/ 59094 w 2027922"/>
                <a:gd name="connsiteY39" fmla="*/ 292473 h 3710912"/>
                <a:gd name="connsiteX40" fmla="*/ 11160 w 2027922"/>
                <a:gd name="connsiteY40" fmla="*/ 171030 h 3710912"/>
                <a:gd name="connsiteX0" fmla="*/ 11160 w 2027922"/>
                <a:gd name="connsiteY0" fmla="*/ 171030 h 3710912"/>
                <a:gd name="connsiteX1" fmla="*/ 30519 w 2027922"/>
                <a:gd name="connsiteY1" fmla="*/ 59110 h 3710912"/>
                <a:gd name="connsiteX2" fmla="*/ 75763 w 2027922"/>
                <a:gd name="connsiteY2" fmla="*/ 25773 h 3710912"/>
                <a:gd name="connsiteX3" fmla="*/ 113863 w 2027922"/>
                <a:gd name="connsiteY3" fmla="*/ 4342 h 3710912"/>
                <a:gd name="connsiteX4" fmla="*/ 197207 w 2027922"/>
                <a:gd name="connsiteY4" fmla="*/ 85306 h 3710912"/>
                <a:gd name="connsiteX5" fmla="*/ 161488 w 2027922"/>
                <a:gd name="connsiteY5" fmla="*/ 249612 h 3710912"/>
                <a:gd name="connsiteX6" fmla="*/ 425807 w 2027922"/>
                <a:gd name="connsiteY6" fmla="*/ 668712 h 3710912"/>
                <a:gd name="connsiteX7" fmla="*/ 525820 w 2027922"/>
                <a:gd name="connsiteY7" fmla="*/ 687762 h 3710912"/>
                <a:gd name="connsiteX8" fmla="*/ 752038 w 2027922"/>
                <a:gd name="connsiteY8" fmla="*/ 790156 h 3710912"/>
                <a:gd name="connsiteX9" fmla="*/ 473432 w 2027922"/>
                <a:gd name="connsiteY9" fmla="*/ 1178299 h 3710912"/>
                <a:gd name="connsiteX10" fmla="*/ 421045 w 2027922"/>
                <a:gd name="connsiteY10" fmla="*/ 1656931 h 3710912"/>
                <a:gd name="connsiteX11" fmla="*/ 1047313 w 2027922"/>
                <a:gd name="connsiteY11" fmla="*/ 1718843 h 3710912"/>
                <a:gd name="connsiteX12" fmla="*/ 1116370 w 2027922"/>
                <a:gd name="connsiteY12" fmla="*/ 1461668 h 3710912"/>
                <a:gd name="connsiteX13" fmla="*/ 923488 w 2027922"/>
                <a:gd name="connsiteY13" fmla="*/ 954461 h 3710912"/>
                <a:gd name="connsiteX14" fmla="*/ 1033026 w 2027922"/>
                <a:gd name="connsiteY14" fmla="*/ 840160 h 3710912"/>
                <a:gd name="connsiteX15" fmla="*/ 1206857 w 2027922"/>
                <a:gd name="connsiteY15" fmla="*/ 756817 h 3710912"/>
                <a:gd name="connsiteX16" fmla="*/ 1335444 w 2027922"/>
                <a:gd name="connsiteY16" fmla="*/ 785392 h 3710912"/>
                <a:gd name="connsiteX17" fmla="*/ 1852176 w 2027922"/>
                <a:gd name="connsiteY17" fmla="*/ 313906 h 3710912"/>
                <a:gd name="connsiteX18" fmla="*/ 1850139 w 2027922"/>
                <a:gd name="connsiteY18" fmla="*/ 175792 h 3710912"/>
                <a:gd name="connsiteX19" fmla="*/ 1925993 w 2027922"/>
                <a:gd name="connsiteY19" fmla="*/ 125785 h 3710912"/>
                <a:gd name="connsiteX20" fmla="*/ 1971238 w 2027922"/>
                <a:gd name="connsiteY20" fmla="*/ 168649 h 3710912"/>
                <a:gd name="connsiteX21" fmla="*/ 2006957 w 2027922"/>
                <a:gd name="connsiteY21" fmla="*/ 218653 h 3710912"/>
                <a:gd name="connsiteX22" fmla="*/ 2021244 w 2027922"/>
                <a:gd name="connsiteY22" fmla="*/ 299616 h 3710912"/>
                <a:gd name="connsiteX23" fmla="*/ 1906944 w 2027922"/>
                <a:gd name="connsiteY23" fmla="*/ 440112 h 3710912"/>
                <a:gd name="connsiteX24" fmla="*/ 1933137 w 2027922"/>
                <a:gd name="connsiteY24" fmla="*/ 502023 h 3710912"/>
                <a:gd name="connsiteX25" fmla="*/ 1544994 w 2027922"/>
                <a:gd name="connsiteY25" fmla="*/ 949698 h 3710912"/>
                <a:gd name="connsiteX26" fmla="*/ 1318775 w 2027922"/>
                <a:gd name="connsiteY26" fmla="*/ 1094954 h 3710912"/>
                <a:gd name="connsiteX27" fmla="*/ 1544994 w 2027922"/>
                <a:gd name="connsiteY27" fmla="*/ 2021260 h 3710912"/>
                <a:gd name="connsiteX28" fmla="*/ 1085412 w 2027922"/>
                <a:gd name="connsiteY28" fmla="*/ 2018879 h 3710912"/>
                <a:gd name="connsiteX29" fmla="*/ 1129222 w 2027922"/>
                <a:gd name="connsiteY29" fmla="*/ 3690516 h 3710912"/>
                <a:gd name="connsiteX30" fmla="*/ 685352 w 2027922"/>
                <a:gd name="connsiteY30" fmla="*/ 2302371 h 3710912"/>
                <a:gd name="connsiteX31" fmla="*/ 253852 w 2027922"/>
                <a:gd name="connsiteY31" fmla="*/ 3710912 h 3710912"/>
                <a:gd name="connsiteX32" fmla="*/ 378182 w 2027922"/>
                <a:gd name="connsiteY32" fmla="*/ 1914104 h 3710912"/>
                <a:gd name="connsiteX33" fmla="*/ 301981 w 2027922"/>
                <a:gd name="connsiteY33" fmla="*/ 1861716 h 3710912"/>
                <a:gd name="connsiteX34" fmla="*/ 351987 w 2027922"/>
                <a:gd name="connsiteY34" fmla="*/ 1523579 h 3710912"/>
                <a:gd name="connsiteX35" fmla="*/ 297218 w 2027922"/>
                <a:gd name="connsiteY35" fmla="*/ 1337841 h 3710912"/>
                <a:gd name="connsiteX36" fmla="*/ 409137 w 2027922"/>
                <a:gd name="connsiteY36" fmla="*/ 997323 h 3710912"/>
                <a:gd name="connsiteX37" fmla="*/ 128150 w 2027922"/>
                <a:gd name="connsiteY37" fmla="*/ 652041 h 3710912"/>
                <a:gd name="connsiteX38" fmla="*/ 9087 w 2027922"/>
                <a:gd name="connsiteY38" fmla="*/ 352004 h 3710912"/>
                <a:gd name="connsiteX39" fmla="*/ 59094 w 2027922"/>
                <a:gd name="connsiteY39" fmla="*/ 292473 h 3710912"/>
                <a:gd name="connsiteX40" fmla="*/ 11160 w 2027922"/>
                <a:gd name="connsiteY40" fmla="*/ 171030 h 3710912"/>
                <a:gd name="connsiteX0" fmla="*/ 11160 w 2027922"/>
                <a:gd name="connsiteY0" fmla="*/ 171030 h 3820593"/>
                <a:gd name="connsiteX1" fmla="*/ 30519 w 2027922"/>
                <a:gd name="connsiteY1" fmla="*/ 59110 h 3820593"/>
                <a:gd name="connsiteX2" fmla="*/ 75763 w 2027922"/>
                <a:gd name="connsiteY2" fmla="*/ 25773 h 3820593"/>
                <a:gd name="connsiteX3" fmla="*/ 113863 w 2027922"/>
                <a:gd name="connsiteY3" fmla="*/ 4342 h 3820593"/>
                <a:gd name="connsiteX4" fmla="*/ 197207 w 2027922"/>
                <a:gd name="connsiteY4" fmla="*/ 85306 h 3820593"/>
                <a:gd name="connsiteX5" fmla="*/ 161488 w 2027922"/>
                <a:gd name="connsiteY5" fmla="*/ 249612 h 3820593"/>
                <a:gd name="connsiteX6" fmla="*/ 425807 w 2027922"/>
                <a:gd name="connsiteY6" fmla="*/ 668712 h 3820593"/>
                <a:gd name="connsiteX7" fmla="*/ 525820 w 2027922"/>
                <a:gd name="connsiteY7" fmla="*/ 687762 h 3820593"/>
                <a:gd name="connsiteX8" fmla="*/ 752038 w 2027922"/>
                <a:gd name="connsiteY8" fmla="*/ 790156 h 3820593"/>
                <a:gd name="connsiteX9" fmla="*/ 473432 w 2027922"/>
                <a:gd name="connsiteY9" fmla="*/ 1178299 h 3820593"/>
                <a:gd name="connsiteX10" fmla="*/ 421045 w 2027922"/>
                <a:gd name="connsiteY10" fmla="*/ 1656931 h 3820593"/>
                <a:gd name="connsiteX11" fmla="*/ 1047313 w 2027922"/>
                <a:gd name="connsiteY11" fmla="*/ 1718843 h 3820593"/>
                <a:gd name="connsiteX12" fmla="*/ 1116370 w 2027922"/>
                <a:gd name="connsiteY12" fmla="*/ 1461668 h 3820593"/>
                <a:gd name="connsiteX13" fmla="*/ 923488 w 2027922"/>
                <a:gd name="connsiteY13" fmla="*/ 954461 h 3820593"/>
                <a:gd name="connsiteX14" fmla="*/ 1033026 w 2027922"/>
                <a:gd name="connsiteY14" fmla="*/ 840160 h 3820593"/>
                <a:gd name="connsiteX15" fmla="*/ 1206857 w 2027922"/>
                <a:gd name="connsiteY15" fmla="*/ 756817 h 3820593"/>
                <a:gd name="connsiteX16" fmla="*/ 1335444 w 2027922"/>
                <a:gd name="connsiteY16" fmla="*/ 785392 h 3820593"/>
                <a:gd name="connsiteX17" fmla="*/ 1852176 w 2027922"/>
                <a:gd name="connsiteY17" fmla="*/ 313906 h 3820593"/>
                <a:gd name="connsiteX18" fmla="*/ 1850139 w 2027922"/>
                <a:gd name="connsiteY18" fmla="*/ 175792 h 3820593"/>
                <a:gd name="connsiteX19" fmla="*/ 1925993 w 2027922"/>
                <a:gd name="connsiteY19" fmla="*/ 125785 h 3820593"/>
                <a:gd name="connsiteX20" fmla="*/ 1971238 w 2027922"/>
                <a:gd name="connsiteY20" fmla="*/ 168649 h 3820593"/>
                <a:gd name="connsiteX21" fmla="*/ 2006957 w 2027922"/>
                <a:gd name="connsiteY21" fmla="*/ 218653 h 3820593"/>
                <a:gd name="connsiteX22" fmla="*/ 2021244 w 2027922"/>
                <a:gd name="connsiteY22" fmla="*/ 299616 h 3820593"/>
                <a:gd name="connsiteX23" fmla="*/ 1906944 w 2027922"/>
                <a:gd name="connsiteY23" fmla="*/ 440112 h 3820593"/>
                <a:gd name="connsiteX24" fmla="*/ 1933137 w 2027922"/>
                <a:gd name="connsiteY24" fmla="*/ 502023 h 3820593"/>
                <a:gd name="connsiteX25" fmla="*/ 1544994 w 2027922"/>
                <a:gd name="connsiteY25" fmla="*/ 949698 h 3820593"/>
                <a:gd name="connsiteX26" fmla="*/ 1318775 w 2027922"/>
                <a:gd name="connsiteY26" fmla="*/ 1094954 h 3820593"/>
                <a:gd name="connsiteX27" fmla="*/ 1544994 w 2027922"/>
                <a:gd name="connsiteY27" fmla="*/ 2021260 h 3820593"/>
                <a:gd name="connsiteX28" fmla="*/ 1085412 w 2027922"/>
                <a:gd name="connsiteY28" fmla="*/ 2018879 h 3820593"/>
                <a:gd name="connsiteX29" fmla="*/ 1129222 w 2027922"/>
                <a:gd name="connsiteY29" fmla="*/ 3690516 h 3820593"/>
                <a:gd name="connsiteX30" fmla="*/ 817923 w 2027922"/>
                <a:gd name="connsiteY30" fmla="*/ 3577093 h 3820593"/>
                <a:gd name="connsiteX31" fmla="*/ 685352 w 2027922"/>
                <a:gd name="connsiteY31" fmla="*/ 2302371 h 3820593"/>
                <a:gd name="connsiteX32" fmla="*/ 253852 w 2027922"/>
                <a:gd name="connsiteY32" fmla="*/ 3710912 h 3820593"/>
                <a:gd name="connsiteX33" fmla="*/ 378182 w 2027922"/>
                <a:gd name="connsiteY33" fmla="*/ 1914104 h 3820593"/>
                <a:gd name="connsiteX34" fmla="*/ 301981 w 2027922"/>
                <a:gd name="connsiteY34" fmla="*/ 1861716 h 3820593"/>
                <a:gd name="connsiteX35" fmla="*/ 351987 w 2027922"/>
                <a:gd name="connsiteY35" fmla="*/ 1523579 h 3820593"/>
                <a:gd name="connsiteX36" fmla="*/ 297218 w 2027922"/>
                <a:gd name="connsiteY36" fmla="*/ 1337841 h 3820593"/>
                <a:gd name="connsiteX37" fmla="*/ 409137 w 2027922"/>
                <a:gd name="connsiteY37" fmla="*/ 997323 h 3820593"/>
                <a:gd name="connsiteX38" fmla="*/ 128150 w 2027922"/>
                <a:gd name="connsiteY38" fmla="*/ 652041 h 3820593"/>
                <a:gd name="connsiteX39" fmla="*/ 9087 w 2027922"/>
                <a:gd name="connsiteY39" fmla="*/ 352004 h 3820593"/>
                <a:gd name="connsiteX40" fmla="*/ 59094 w 2027922"/>
                <a:gd name="connsiteY40" fmla="*/ 292473 h 3820593"/>
                <a:gd name="connsiteX41" fmla="*/ 11160 w 2027922"/>
                <a:gd name="connsiteY41" fmla="*/ 171030 h 3820593"/>
                <a:gd name="connsiteX0" fmla="*/ 11160 w 2027922"/>
                <a:gd name="connsiteY0" fmla="*/ 171030 h 3788687"/>
                <a:gd name="connsiteX1" fmla="*/ 30519 w 2027922"/>
                <a:gd name="connsiteY1" fmla="*/ 59110 h 3788687"/>
                <a:gd name="connsiteX2" fmla="*/ 75763 w 2027922"/>
                <a:gd name="connsiteY2" fmla="*/ 25773 h 3788687"/>
                <a:gd name="connsiteX3" fmla="*/ 113863 w 2027922"/>
                <a:gd name="connsiteY3" fmla="*/ 4342 h 3788687"/>
                <a:gd name="connsiteX4" fmla="*/ 197207 w 2027922"/>
                <a:gd name="connsiteY4" fmla="*/ 85306 h 3788687"/>
                <a:gd name="connsiteX5" fmla="*/ 161488 w 2027922"/>
                <a:gd name="connsiteY5" fmla="*/ 249612 h 3788687"/>
                <a:gd name="connsiteX6" fmla="*/ 425807 w 2027922"/>
                <a:gd name="connsiteY6" fmla="*/ 668712 h 3788687"/>
                <a:gd name="connsiteX7" fmla="*/ 525820 w 2027922"/>
                <a:gd name="connsiteY7" fmla="*/ 687762 h 3788687"/>
                <a:gd name="connsiteX8" fmla="*/ 752038 w 2027922"/>
                <a:gd name="connsiteY8" fmla="*/ 790156 h 3788687"/>
                <a:gd name="connsiteX9" fmla="*/ 473432 w 2027922"/>
                <a:gd name="connsiteY9" fmla="*/ 1178299 h 3788687"/>
                <a:gd name="connsiteX10" fmla="*/ 421045 w 2027922"/>
                <a:gd name="connsiteY10" fmla="*/ 1656931 h 3788687"/>
                <a:gd name="connsiteX11" fmla="*/ 1047313 w 2027922"/>
                <a:gd name="connsiteY11" fmla="*/ 1718843 h 3788687"/>
                <a:gd name="connsiteX12" fmla="*/ 1116370 w 2027922"/>
                <a:gd name="connsiteY12" fmla="*/ 1461668 h 3788687"/>
                <a:gd name="connsiteX13" fmla="*/ 923488 w 2027922"/>
                <a:gd name="connsiteY13" fmla="*/ 954461 h 3788687"/>
                <a:gd name="connsiteX14" fmla="*/ 1033026 w 2027922"/>
                <a:gd name="connsiteY14" fmla="*/ 840160 h 3788687"/>
                <a:gd name="connsiteX15" fmla="*/ 1206857 w 2027922"/>
                <a:gd name="connsiteY15" fmla="*/ 756817 h 3788687"/>
                <a:gd name="connsiteX16" fmla="*/ 1335444 w 2027922"/>
                <a:gd name="connsiteY16" fmla="*/ 785392 h 3788687"/>
                <a:gd name="connsiteX17" fmla="*/ 1852176 w 2027922"/>
                <a:gd name="connsiteY17" fmla="*/ 313906 h 3788687"/>
                <a:gd name="connsiteX18" fmla="*/ 1850139 w 2027922"/>
                <a:gd name="connsiteY18" fmla="*/ 175792 h 3788687"/>
                <a:gd name="connsiteX19" fmla="*/ 1925993 w 2027922"/>
                <a:gd name="connsiteY19" fmla="*/ 125785 h 3788687"/>
                <a:gd name="connsiteX20" fmla="*/ 1971238 w 2027922"/>
                <a:gd name="connsiteY20" fmla="*/ 168649 h 3788687"/>
                <a:gd name="connsiteX21" fmla="*/ 2006957 w 2027922"/>
                <a:gd name="connsiteY21" fmla="*/ 218653 h 3788687"/>
                <a:gd name="connsiteX22" fmla="*/ 2021244 w 2027922"/>
                <a:gd name="connsiteY22" fmla="*/ 299616 h 3788687"/>
                <a:gd name="connsiteX23" fmla="*/ 1906944 w 2027922"/>
                <a:gd name="connsiteY23" fmla="*/ 440112 h 3788687"/>
                <a:gd name="connsiteX24" fmla="*/ 1933137 w 2027922"/>
                <a:gd name="connsiteY24" fmla="*/ 502023 h 3788687"/>
                <a:gd name="connsiteX25" fmla="*/ 1544994 w 2027922"/>
                <a:gd name="connsiteY25" fmla="*/ 949698 h 3788687"/>
                <a:gd name="connsiteX26" fmla="*/ 1318775 w 2027922"/>
                <a:gd name="connsiteY26" fmla="*/ 1094954 h 3788687"/>
                <a:gd name="connsiteX27" fmla="*/ 1544994 w 2027922"/>
                <a:gd name="connsiteY27" fmla="*/ 2021260 h 3788687"/>
                <a:gd name="connsiteX28" fmla="*/ 1085412 w 2027922"/>
                <a:gd name="connsiteY28" fmla="*/ 2018879 h 3788687"/>
                <a:gd name="connsiteX29" fmla="*/ 1129222 w 2027922"/>
                <a:gd name="connsiteY29" fmla="*/ 3690516 h 3788687"/>
                <a:gd name="connsiteX30" fmla="*/ 817923 w 2027922"/>
                <a:gd name="connsiteY30" fmla="*/ 3577093 h 3788687"/>
                <a:gd name="connsiteX31" fmla="*/ 685352 w 2027922"/>
                <a:gd name="connsiteY31" fmla="*/ 2302371 h 3788687"/>
                <a:gd name="connsiteX32" fmla="*/ 253852 w 2027922"/>
                <a:gd name="connsiteY32" fmla="*/ 3710912 h 3788687"/>
                <a:gd name="connsiteX33" fmla="*/ 378182 w 2027922"/>
                <a:gd name="connsiteY33" fmla="*/ 1914104 h 3788687"/>
                <a:gd name="connsiteX34" fmla="*/ 301981 w 2027922"/>
                <a:gd name="connsiteY34" fmla="*/ 1861716 h 3788687"/>
                <a:gd name="connsiteX35" fmla="*/ 351987 w 2027922"/>
                <a:gd name="connsiteY35" fmla="*/ 1523579 h 3788687"/>
                <a:gd name="connsiteX36" fmla="*/ 297218 w 2027922"/>
                <a:gd name="connsiteY36" fmla="*/ 1337841 h 3788687"/>
                <a:gd name="connsiteX37" fmla="*/ 409137 w 2027922"/>
                <a:gd name="connsiteY37" fmla="*/ 997323 h 3788687"/>
                <a:gd name="connsiteX38" fmla="*/ 128150 w 2027922"/>
                <a:gd name="connsiteY38" fmla="*/ 652041 h 3788687"/>
                <a:gd name="connsiteX39" fmla="*/ 9087 w 2027922"/>
                <a:gd name="connsiteY39" fmla="*/ 352004 h 3788687"/>
                <a:gd name="connsiteX40" fmla="*/ 59094 w 2027922"/>
                <a:gd name="connsiteY40" fmla="*/ 292473 h 3788687"/>
                <a:gd name="connsiteX41" fmla="*/ 11160 w 2027922"/>
                <a:gd name="connsiteY41" fmla="*/ 171030 h 3788687"/>
                <a:gd name="connsiteX0" fmla="*/ 11160 w 2027922"/>
                <a:gd name="connsiteY0" fmla="*/ 171030 h 3802758"/>
                <a:gd name="connsiteX1" fmla="*/ 30519 w 2027922"/>
                <a:gd name="connsiteY1" fmla="*/ 59110 h 3802758"/>
                <a:gd name="connsiteX2" fmla="*/ 75763 w 2027922"/>
                <a:gd name="connsiteY2" fmla="*/ 25773 h 3802758"/>
                <a:gd name="connsiteX3" fmla="*/ 113863 w 2027922"/>
                <a:gd name="connsiteY3" fmla="*/ 4342 h 3802758"/>
                <a:gd name="connsiteX4" fmla="*/ 197207 w 2027922"/>
                <a:gd name="connsiteY4" fmla="*/ 85306 h 3802758"/>
                <a:gd name="connsiteX5" fmla="*/ 161488 w 2027922"/>
                <a:gd name="connsiteY5" fmla="*/ 249612 h 3802758"/>
                <a:gd name="connsiteX6" fmla="*/ 425807 w 2027922"/>
                <a:gd name="connsiteY6" fmla="*/ 668712 h 3802758"/>
                <a:gd name="connsiteX7" fmla="*/ 525820 w 2027922"/>
                <a:gd name="connsiteY7" fmla="*/ 687762 h 3802758"/>
                <a:gd name="connsiteX8" fmla="*/ 752038 w 2027922"/>
                <a:gd name="connsiteY8" fmla="*/ 790156 h 3802758"/>
                <a:gd name="connsiteX9" fmla="*/ 473432 w 2027922"/>
                <a:gd name="connsiteY9" fmla="*/ 1178299 h 3802758"/>
                <a:gd name="connsiteX10" fmla="*/ 421045 w 2027922"/>
                <a:gd name="connsiteY10" fmla="*/ 1656931 h 3802758"/>
                <a:gd name="connsiteX11" fmla="*/ 1047313 w 2027922"/>
                <a:gd name="connsiteY11" fmla="*/ 1718843 h 3802758"/>
                <a:gd name="connsiteX12" fmla="*/ 1116370 w 2027922"/>
                <a:gd name="connsiteY12" fmla="*/ 1461668 h 3802758"/>
                <a:gd name="connsiteX13" fmla="*/ 923488 w 2027922"/>
                <a:gd name="connsiteY13" fmla="*/ 954461 h 3802758"/>
                <a:gd name="connsiteX14" fmla="*/ 1033026 w 2027922"/>
                <a:gd name="connsiteY14" fmla="*/ 840160 h 3802758"/>
                <a:gd name="connsiteX15" fmla="*/ 1206857 w 2027922"/>
                <a:gd name="connsiteY15" fmla="*/ 756817 h 3802758"/>
                <a:gd name="connsiteX16" fmla="*/ 1335444 w 2027922"/>
                <a:gd name="connsiteY16" fmla="*/ 785392 h 3802758"/>
                <a:gd name="connsiteX17" fmla="*/ 1852176 w 2027922"/>
                <a:gd name="connsiteY17" fmla="*/ 313906 h 3802758"/>
                <a:gd name="connsiteX18" fmla="*/ 1850139 w 2027922"/>
                <a:gd name="connsiteY18" fmla="*/ 175792 h 3802758"/>
                <a:gd name="connsiteX19" fmla="*/ 1925993 w 2027922"/>
                <a:gd name="connsiteY19" fmla="*/ 125785 h 3802758"/>
                <a:gd name="connsiteX20" fmla="*/ 1971238 w 2027922"/>
                <a:gd name="connsiteY20" fmla="*/ 168649 h 3802758"/>
                <a:gd name="connsiteX21" fmla="*/ 2006957 w 2027922"/>
                <a:gd name="connsiteY21" fmla="*/ 218653 h 3802758"/>
                <a:gd name="connsiteX22" fmla="*/ 2021244 w 2027922"/>
                <a:gd name="connsiteY22" fmla="*/ 299616 h 3802758"/>
                <a:gd name="connsiteX23" fmla="*/ 1906944 w 2027922"/>
                <a:gd name="connsiteY23" fmla="*/ 440112 h 3802758"/>
                <a:gd name="connsiteX24" fmla="*/ 1933137 w 2027922"/>
                <a:gd name="connsiteY24" fmla="*/ 502023 h 3802758"/>
                <a:gd name="connsiteX25" fmla="*/ 1544994 w 2027922"/>
                <a:gd name="connsiteY25" fmla="*/ 949698 h 3802758"/>
                <a:gd name="connsiteX26" fmla="*/ 1318775 w 2027922"/>
                <a:gd name="connsiteY26" fmla="*/ 1094954 h 3802758"/>
                <a:gd name="connsiteX27" fmla="*/ 1544994 w 2027922"/>
                <a:gd name="connsiteY27" fmla="*/ 2021260 h 3802758"/>
                <a:gd name="connsiteX28" fmla="*/ 1085412 w 2027922"/>
                <a:gd name="connsiteY28" fmla="*/ 2018879 h 3802758"/>
                <a:gd name="connsiteX29" fmla="*/ 1129222 w 2027922"/>
                <a:gd name="connsiteY29" fmla="*/ 3690516 h 3802758"/>
                <a:gd name="connsiteX30" fmla="*/ 899506 w 2027922"/>
                <a:gd name="connsiteY30" fmla="*/ 3600887 h 3802758"/>
                <a:gd name="connsiteX31" fmla="*/ 817923 w 2027922"/>
                <a:gd name="connsiteY31" fmla="*/ 3577093 h 3802758"/>
                <a:gd name="connsiteX32" fmla="*/ 685352 w 2027922"/>
                <a:gd name="connsiteY32" fmla="*/ 2302371 h 3802758"/>
                <a:gd name="connsiteX33" fmla="*/ 253852 w 2027922"/>
                <a:gd name="connsiteY33" fmla="*/ 3710912 h 3802758"/>
                <a:gd name="connsiteX34" fmla="*/ 378182 w 2027922"/>
                <a:gd name="connsiteY34" fmla="*/ 1914104 h 3802758"/>
                <a:gd name="connsiteX35" fmla="*/ 301981 w 2027922"/>
                <a:gd name="connsiteY35" fmla="*/ 1861716 h 3802758"/>
                <a:gd name="connsiteX36" fmla="*/ 351987 w 2027922"/>
                <a:gd name="connsiteY36" fmla="*/ 1523579 h 3802758"/>
                <a:gd name="connsiteX37" fmla="*/ 297218 w 2027922"/>
                <a:gd name="connsiteY37" fmla="*/ 1337841 h 3802758"/>
                <a:gd name="connsiteX38" fmla="*/ 409137 w 2027922"/>
                <a:gd name="connsiteY38" fmla="*/ 997323 h 3802758"/>
                <a:gd name="connsiteX39" fmla="*/ 128150 w 2027922"/>
                <a:gd name="connsiteY39" fmla="*/ 652041 h 3802758"/>
                <a:gd name="connsiteX40" fmla="*/ 9087 w 2027922"/>
                <a:gd name="connsiteY40" fmla="*/ 352004 h 3802758"/>
                <a:gd name="connsiteX41" fmla="*/ 59094 w 2027922"/>
                <a:gd name="connsiteY41" fmla="*/ 292473 h 3802758"/>
                <a:gd name="connsiteX42" fmla="*/ 11160 w 2027922"/>
                <a:gd name="connsiteY42" fmla="*/ 171030 h 3802758"/>
                <a:gd name="connsiteX0" fmla="*/ 11160 w 2027922"/>
                <a:gd name="connsiteY0" fmla="*/ 171030 h 3802758"/>
                <a:gd name="connsiteX1" fmla="*/ 30519 w 2027922"/>
                <a:gd name="connsiteY1" fmla="*/ 59110 h 3802758"/>
                <a:gd name="connsiteX2" fmla="*/ 75763 w 2027922"/>
                <a:gd name="connsiteY2" fmla="*/ 25773 h 3802758"/>
                <a:gd name="connsiteX3" fmla="*/ 113863 w 2027922"/>
                <a:gd name="connsiteY3" fmla="*/ 4342 h 3802758"/>
                <a:gd name="connsiteX4" fmla="*/ 197207 w 2027922"/>
                <a:gd name="connsiteY4" fmla="*/ 85306 h 3802758"/>
                <a:gd name="connsiteX5" fmla="*/ 161488 w 2027922"/>
                <a:gd name="connsiteY5" fmla="*/ 249612 h 3802758"/>
                <a:gd name="connsiteX6" fmla="*/ 425807 w 2027922"/>
                <a:gd name="connsiteY6" fmla="*/ 668712 h 3802758"/>
                <a:gd name="connsiteX7" fmla="*/ 525820 w 2027922"/>
                <a:gd name="connsiteY7" fmla="*/ 687762 h 3802758"/>
                <a:gd name="connsiteX8" fmla="*/ 752038 w 2027922"/>
                <a:gd name="connsiteY8" fmla="*/ 790156 h 3802758"/>
                <a:gd name="connsiteX9" fmla="*/ 473432 w 2027922"/>
                <a:gd name="connsiteY9" fmla="*/ 1178299 h 3802758"/>
                <a:gd name="connsiteX10" fmla="*/ 421045 w 2027922"/>
                <a:gd name="connsiteY10" fmla="*/ 1656931 h 3802758"/>
                <a:gd name="connsiteX11" fmla="*/ 1047313 w 2027922"/>
                <a:gd name="connsiteY11" fmla="*/ 1718843 h 3802758"/>
                <a:gd name="connsiteX12" fmla="*/ 1116370 w 2027922"/>
                <a:gd name="connsiteY12" fmla="*/ 1461668 h 3802758"/>
                <a:gd name="connsiteX13" fmla="*/ 923488 w 2027922"/>
                <a:gd name="connsiteY13" fmla="*/ 954461 h 3802758"/>
                <a:gd name="connsiteX14" fmla="*/ 1033026 w 2027922"/>
                <a:gd name="connsiteY14" fmla="*/ 840160 h 3802758"/>
                <a:gd name="connsiteX15" fmla="*/ 1206857 w 2027922"/>
                <a:gd name="connsiteY15" fmla="*/ 756817 h 3802758"/>
                <a:gd name="connsiteX16" fmla="*/ 1335444 w 2027922"/>
                <a:gd name="connsiteY16" fmla="*/ 785392 h 3802758"/>
                <a:gd name="connsiteX17" fmla="*/ 1852176 w 2027922"/>
                <a:gd name="connsiteY17" fmla="*/ 313906 h 3802758"/>
                <a:gd name="connsiteX18" fmla="*/ 1850139 w 2027922"/>
                <a:gd name="connsiteY18" fmla="*/ 175792 h 3802758"/>
                <a:gd name="connsiteX19" fmla="*/ 1925993 w 2027922"/>
                <a:gd name="connsiteY19" fmla="*/ 125785 h 3802758"/>
                <a:gd name="connsiteX20" fmla="*/ 1971238 w 2027922"/>
                <a:gd name="connsiteY20" fmla="*/ 168649 h 3802758"/>
                <a:gd name="connsiteX21" fmla="*/ 2006957 w 2027922"/>
                <a:gd name="connsiteY21" fmla="*/ 218653 h 3802758"/>
                <a:gd name="connsiteX22" fmla="*/ 2021244 w 2027922"/>
                <a:gd name="connsiteY22" fmla="*/ 299616 h 3802758"/>
                <a:gd name="connsiteX23" fmla="*/ 1906944 w 2027922"/>
                <a:gd name="connsiteY23" fmla="*/ 440112 h 3802758"/>
                <a:gd name="connsiteX24" fmla="*/ 1933137 w 2027922"/>
                <a:gd name="connsiteY24" fmla="*/ 502023 h 3802758"/>
                <a:gd name="connsiteX25" fmla="*/ 1544994 w 2027922"/>
                <a:gd name="connsiteY25" fmla="*/ 949698 h 3802758"/>
                <a:gd name="connsiteX26" fmla="*/ 1318775 w 2027922"/>
                <a:gd name="connsiteY26" fmla="*/ 1094954 h 3802758"/>
                <a:gd name="connsiteX27" fmla="*/ 1544994 w 2027922"/>
                <a:gd name="connsiteY27" fmla="*/ 2021260 h 3802758"/>
                <a:gd name="connsiteX28" fmla="*/ 1085412 w 2027922"/>
                <a:gd name="connsiteY28" fmla="*/ 2018879 h 3802758"/>
                <a:gd name="connsiteX29" fmla="*/ 1129222 w 2027922"/>
                <a:gd name="connsiteY29" fmla="*/ 3690516 h 3802758"/>
                <a:gd name="connsiteX30" fmla="*/ 899506 w 2027922"/>
                <a:gd name="connsiteY30" fmla="*/ 3600887 h 3802758"/>
                <a:gd name="connsiteX31" fmla="*/ 817923 w 2027922"/>
                <a:gd name="connsiteY31" fmla="*/ 3577093 h 3802758"/>
                <a:gd name="connsiteX32" fmla="*/ 685352 w 2027922"/>
                <a:gd name="connsiteY32" fmla="*/ 2302371 h 3802758"/>
                <a:gd name="connsiteX33" fmla="*/ 253852 w 2027922"/>
                <a:gd name="connsiteY33" fmla="*/ 3710912 h 3802758"/>
                <a:gd name="connsiteX34" fmla="*/ 378182 w 2027922"/>
                <a:gd name="connsiteY34" fmla="*/ 1914104 h 3802758"/>
                <a:gd name="connsiteX35" fmla="*/ 301981 w 2027922"/>
                <a:gd name="connsiteY35" fmla="*/ 1861716 h 3802758"/>
                <a:gd name="connsiteX36" fmla="*/ 351987 w 2027922"/>
                <a:gd name="connsiteY36" fmla="*/ 1523579 h 3802758"/>
                <a:gd name="connsiteX37" fmla="*/ 297218 w 2027922"/>
                <a:gd name="connsiteY37" fmla="*/ 1337841 h 3802758"/>
                <a:gd name="connsiteX38" fmla="*/ 409137 w 2027922"/>
                <a:gd name="connsiteY38" fmla="*/ 997323 h 3802758"/>
                <a:gd name="connsiteX39" fmla="*/ 128150 w 2027922"/>
                <a:gd name="connsiteY39" fmla="*/ 652041 h 3802758"/>
                <a:gd name="connsiteX40" fmla="*/ 9087 w 2027922"/>
                <a:gd name="connsiteY40" fmla="*/ 352004 h 3802758"/>
                <a:gd name="connsiteX41" fmla="*/ 59094 w 2027922"/>
                <a:gd name="connsiteY41" fmla="*/ 292473 h 3802758"/>
                <a:gd name="connsiteX42" fmla="*/ 11160 w 2027922"/>
                <a:gd name="connsiteY42" fmla="*/ 171030 h 3802758"/>
                <a:gd name="connsiteX0" fmla="*/ 11160 w 2027922"/>
                <a:gd name="connsiteY0" fmla="*/ 171030 h 3710912"/>
                <a:gd name="connsiteX1" fmla="*/ 30519 w 2027922"/>
                <a:gd name="connsiteY1" fmla="*/ 59110 h 3710912"/>
                <a:gd name="connsiteX2" fmla="*/ 75763 w 2027922"/>
                <a:gd name="connsiteY2" fmla="*/ 25773 h 3710912"/>
                <a:gd name="connsiteX3" fmla="*/ 113863 w 2027922"/>
                <a:gd name="connsiteY3" fmla="*/ 4342 h 3710912"/>
                <a:gd name="connsiteX4" fmla="*/ 197207 w 2027922"/>
                <a:gd name="connsiteY4" fmla="*/ 85306 h 3710912"/>
                <a:gd name="connsiteX5" fmla="*/ 161488 w 2027922"/>
                <a:gd name="connsiteY5" fmla="*/ 249612 h 3710912"/>
                <a:gd name="connsiteX6" fmla="*/ 425807 w 2027922"/>
                <a:gd name="connsiteY6" fmla="*/ 668712 h 3710912"/>
                <a:gd name="connsiteX7" fmla="*/ 525820 w 2027922"/>
                <a:gd name="connsiteY7" fmla="*/ 687762 h 3710912"/>
                <a:gd name="connsiteX8" fmla="*/ 752038 w 2027922"/>
                <a:gd name="connsiteY8" fmla="*/ 790156 h 3710912"/>
                <a:gd name="connsiteX9" fmla="*/ 473432 w 2027922"/>
                <a:gd name="connsiteY9" fmla="*/ 1178299 h 3710912"/>
                <a:gd name="connsiteX10" fmla="*/ 421045 w 2027922"/>
                <a:gd name="connsiteY10" fmla="*/ 1656931 h 3710912"/>
                <a:gd name="connsiteX11" fmla="*/ 1047313 w 2027922"/>
                <a:gd name="connsiteY11" fmla="*/ 1718843 h 3710912"/>
                <a:gd name="connsiteX12" fmla="*/ 1116370 w 2027922"/>
                <a:gd name="connsiteY12" fmla="*/ 1461668 h 3710912"/>
                <a:gd name="connsiteX13" fmla="*/ 923488 w 2027922"/>
                <a:gd name="connsiteY13" fmla="*/ 954461 h 3710912"/>
                <a:gd name="connsiteX14" fmla="*/ 1033026 w 2027922"/>
                <a:gd name="connsiteY14" fmla="*/ 840160 h 3710912"/>
                <a:gd name="connsiteX15" fmla="*/ 1206857 w 2027922"/>
                <a:gd name="connsiteY15" fmla="*/ 756817 h 3710912"/>
                <a:gd name="connsiteX16" fmla="*/ 1335444 w 2027922"/>
                <a:gd name="connsiteY16" fmla="*/ 785392 h 3710912"/>
                <a:gd name="connsiteX17" fmla="*/ 1852176 w 2027922"/>
                <a:gd name="connsiteY17" fmla="*/ 313906 h 3710912"/>
                <a:gd name="connsiteX18" fmla="*/ 1850139 w 2027922"/>
                <a:gd name="connsiteY18" fmla="*/ 175792 h 3710912"/>
                <a:gd name="connsiteX19" fmla="*/ 1925993 w 2027922"/>
                <a:gd name="connsiteY19" fmla="*/ 125785 h 3710912"/>
                <a:gd name="connsiteX20" fmla="*/ 1971238 w 2027922"/>
                <a:gd name="connsiteY20" fmla="*/ 168649 h 3710912"/>
                <a:gd name="connsiteX21" fmla="*/ 2006957 w 2027922"/>
                <a:gd name="connsiteY21" fmla="*/ 218653 h 3710912"/>
                <a:gd name="connsiteX22" fmla="*/ 2021244 w 2027922"/>
                <a:gd name="connsiteY22" fmla="*/ 299616 h 3710912"/>
                <a:gd name="connsiteX23" fmla="*/ 1906944 w 2027922"/>
                <a:gd name="connsiteY23" fmla="*/ 440112 h 3710912"/>
                <a:gd name="connsiteX24" fmla="*/ 1933137 w 2027922"/>
                <a:gd name="connsiteY24" fmla="*/ 502023 h 3710912"/>
                <a:gd name="connsiteX25" fmla="*/ 1544994 w 2027922"/>
                <a:gd name="connsiteY25" fmla="*/ 949698 h 3710912"/>
                <a:gd name="connsiteX26" fmla="*/ 1318775 w 2027922"/>
                <a:gd name="connsiteY26" fmla="*/ 1094954 h 3710912"/>
                <a:gd name="connsiteX27" fmla="*/ 1544994 w 2027922"/>
                <a:gd name="connsiteY27" fmla="*/ 2021260 h 3710912"/>
                <a:gd name="connsiteX28" fmla="*/ 1085412 w 2027922"/>
                <a:gd name="connsiteY28" fmla="*/ 2018879 h 3710912"/>
                <a:gd name="connsiteX29" fmla="*/ 1129222 w 2027922"/>
                <a:gd name="connsiteY29" fmla="*/ 3690516 h 3710912"/>
                <a:gd name="connsiteX30" fmla="*/ 899506 w 2027922"/>
                <a:gd name="connsiteY30" fmla="*/ 3600887 h 3710912"/>
                <a:gd name="connsiteX31" fmla="*/ 817923 w 2027922"/>
                <a:gd name="connsiteY31" fmla="*/ 3577093 h 3710912"/>
                <a:gd name="connsiteX32" fmla="*/ 685352 w 2027922"/>
                <a:gd name="connsiteY32" fmla="*/ 2302371 h 3710912"/>
                <a:gd name="connsiteX33" fmla="*/ 253852 w 2027922"/>
                <a:gd name="connsiteY33" fmla="*/ 3710912 h 3710912"/>
                <a:gd name="connsiteX34" fmla="*/ 378182 w 2027922"/>
                <a:gd name="connsiteY34" fmla="*/ 1914104 h 3710912"/>
                <a:gd name="connsiteX35" fmla="*/ 301981 w 2027922"/>
                <a:gd name="connsiteY35" fmla="*/ 1861716 h 3710912"/>
                <a:gd name="connsiteX36" fmla="*/ 351987 w 2027922"/>
                <a:gd name="connsiteY36" fmla="*/ 1523579 h 3710912"/>
                <a:gd name="connsiteX37" fmla="*/ 297218 w 2027922"/>
                <a:gd name="connsiteY37" fmla="*/ 1337841 h 3710912"/>
                <a:gd name="connsiteX38" fmla="*/ 409137 w 2027922"/>
                <a:gd name="connsiteY38" fmla="*/ 997323 h 3710912"/>
                <a:gd name="connsiteX39" fmla="*/ 128150 w 2027922"/>
                <a:gd name="connsiteY39" fmla="*/ 652041 h 3710912"/>
                <a:gd name="connsiteX40" fmla="*/ 9087 w 2027922"/>
                <a:gd name="connsiteY40" fmla="*/ 352004 h 3710912"/>
                <a:gd name="connsiteX41" fmla="*/ 59094 w 2027922"/>
                <a:gd name="connsiteY41" fmla="*/ 292473 h 3710912"/>
                <a:gd name="connsiteX42" fmla="*/ 11160 w 2027922"/>
                <a:gd name="connsiteY42" fmla="*/ 171030 h 3710912"/>
                <a:gd name="connsiteX0" fmla="*/ 11160 w 2027922"/>
                <a:gd name="connsiteY0" fmla="*/ 171030 h 3710912"/>
                <a:gd name="connsiteX1" fmla="*/ 30519 w 2027922"/>
                <a:gd name="connsiteY1" fmla="*/ 59110 h 3710912"/>
                <a:gd name="connsiteX2" fmla="*/ 75763 w 2027922"/>
                <a:gd name="connsiteY2" fmla="*/ 25773 h 3710912"/>
                <a:gd name="connsiteX3" fmla="*/ 113863 w 2027922"/>
                <a:gd name="connsiteY3" fmla="*/ 4342 h 3710912"/>
                <a:gd name="connsiteX4" fmla="*/ 197207 w 2027922"/>
                <a:gd name="connsiteY4" fmla="*/ 85306 h 3710912"/>
                <a:gd name="connsiteX5" fmla="*/ 161488 w 2027922"/>
                <a:gd name="connsiteY5" fmla="*/ 249612 h 3710912"/>
                <a:gd name="connsiteX6" fmla="*/ 425807 w 2027922"/>
                <a:gd name="connsiteY6" fmla="*/ 668712 h 3710912"/>
                <a:gd name="connsiteX7" fmla="*/ 525820 w 2027922"/>
                <a:gd name="connsiteY7" fmla="*/ 687762 h 3710912"/>
                <a:gd name="connsiteX8" fmla="*/ 752038 w 2027922"/>
                <a:gd name="connsiteY8" fmla="*/ 790156 h 3710912"/>
                <a:gd name="connsiteX9" fmla="*/ 473432 w 2027922"/>
                <a:gd name="connsiteY9" fmla="*/ 1178299 h 3710912"/>
                <a:gd name="connsiteX10" fmla="*/ 421045 w 2027922"/>
                <a:gd name="connsiteY10" fmla="*/ 1656931 h 3710912"/>
                <a:gd name="connsiteX11" fmla="*/ 1047313 w 2027922"/>
                <a:gd name="connsiteY11" fmla="*/ 1718843 h 3710912"/>
                <a:gd name="connsiteX12" fmla="*/ 1116370 w 2027922"/>
                <a:gd name="connsiteY12" fmla="*/ 1461668 h 3710912"/>
                <a:gd name="connsiteX13" fmla="*/ 923488 w 2027922"/>
                <a:gd name="connsiteY13" fmla="*/ 954461 h 3710912"/>
                <a:gd name="connsiteX14" fmla="*/ 1033026 w 2027922"/>
                <a:gd name="connsiteY14" fmla="*/ 840160 h 3710912"/>
                <a:gd name="connsiteX15" fmla="*/ 1206857 w 2027922"/>
                <a:gd name="connsiteY15" fmla="*/ 756817 h 3710912"/>
                <a:gd name="connsiteX16" fmla="*/ 1335444 w 2027922"/>
                <a:gd name="connsiteY16" fmla="*/ 785392 h 3710912"/>
                <a:gd name="connsiteX17" fmla="*/ 1852176 w 2027922"/>
                <a:gd name="connsiteY17" fmla="*/ 313906 h 3710912"/>
                <a:gd name="connsiteX18" fmla="*/ 1850139 w 2027922"/>
                <a:gd name="connsiteY18" fmla="*/ 175792 h 3710912"/>
                <a:gd name="connsiteX19" fmla="*/ 1925993 w 2027922"/>
                <a:gd name="connsiteY19" fmla="*/ 125785 h 3710912"/>
                <a:gd name="connsiteX20" fmla="*/ 1971238 w 2027922"/>
                <a:gd name="connsiteY20" fmla="*/ 168649 h 3710912"/>
                <a:gd name="connsiteX21" fmla="*/ 2006957 w 2027922"/>
                <a:gd name="connsiteY21" fmla="*/ 218653 h 3710912"/>
                <a:gd name="connsiteX22" fmla="*/ 2021244 w 2027922"/>
                <a:gd name="connsiteY22" fmla="*/ 299616 h 3710912"/>
                <a:gd name="connsiteX23" fmla="*/ 1906944 w 2027922"/>
                <a:gd name="connsiteY23" fmla="*/ 440112 h 3710912"/>
                <a:gd name="connsiteX24" fmla="*/ 1933137 w 2027922"/>
                <a:gd name="connsiteY24" fmla="*/ 502023 h 3710912"/>
                <a:gd name="connsiteX25" fmla="*/ 1544994 w 2027922"/>
                <a:gd name="connsiteY25" fmla="*/ 949698 h 3710912"/>
                <a:gd name="connsiteX26" fmla="*/ 1318775 w 2027922"/>
                <a:gd name="connsiteY26" fmla="*/ 1094954 h 3710912"/>
                <a:gd name="connsiteX27" fmla="*/ 1544994 w 2027922"/>
                <a:gd name="connsiteY27" fmla="*/ 2021260 h 3710912"/>
                <a:gd name="connsiteX28" fmla="*/ 1085412 w 2027922"/>
                <a:gd name="connsiteY28" fmla="*/ 2018879 h 3710912"/>
                <a:gd name="connsiteX29" fmla="*/ 1129222 w 2027922"/>
                <a:gd name="connsiteY29" fmla="*/ 3690516 h 3710912"/>
                <a:gd name="connsiteX30" fmla="*/ 899506 w 2027922"/>
                <a:gd name="connsiteY30" fmla="*/ 3600887 h 3710912"/>
                <a:gd name="connsiteX31" fmla="*/ 817923 w 2027922"/>
                <a:gd name="connsiteY31" fmla="*/ 3577093 h 3710912"/>
                <a:gd name="connsiteX32" fmla="*/ 685352 w 2027922"/>
                <a:gd name="connsiteY32" fmla="*/ 2302371 h 3710912"/>
                <a:gd name="connsiteX33" fmla="*/ 253852 w 2027922"/>
                <a:gd name="connsiteY33" fmla="*/ 3710912 h 3710912"/>
                <a:gd name="connsiteX34" fmla="*/ 378182 w 2027922"/>
                <a:gd name="connsiteY34" fmla="*/ 1914104 h 3710912"/>
                <a:gd name="connsiteX35" fmla="*/ 301981 w 2027922"/>
                <a:gd name="connsiteY35" fmla="*/ 1861716 h 3710912"/>
                <a:gd name="connsiteX36" fmla="*/ 351987 w 2027922"/>
                <a:gd name="connsiteY36" fmla="*/ 1523579 h 3710912"/>
                <a:gd name="connsiteX37" fmla="*/ 297218 w 2027922"/>
                <a:gd name="connsiteY37" fmla="*/ 1337841 h 3710912"/>
                <a:gd name="connsiteX38" fmla="*/ 409137 w 2027922"/>
                <a:gd name="connsiteY38" fmla="*/ 997323 h 3710912"/>
                <a:gd name="connsiteX39" fmla="*/ 128150 w 2027922"/>
                <a:gd name="connsiteY39" fmla="*/ 652041 h 3710912"/>
                <a:gd name="connsiteX40" fmla="*/ 9087 w 2027922"/>
                <a:gd name="connsiteY40" fmla="*/ 352004 h 3710912"/>
                <a:gd name="connsiteX41" fmla="*/ 59094 w 2027922"/>
                <a:gd name="connsiteY41" fmla="*/ 292473 h 3710912"/>
                <a:gd name="connsiteX42" fmla="*/ 11160 w 2027922"/>
                <a:gd name="connsiteY42" fmla="*/ 171030 h 3710912"/>
                <a:gd name="connsiteX0" fmla="*/ 11160 w 2027922"/>
                <a:gd name="connsiteY0" fmla="*/ 171030 h 3710912"/>
                <a:gd name="connsiteX1" fmla="*/ 30519 w 2027922"/>
                <a:gd name="connsiteY1" fmla="*/ 59110 h 3710912"/>
                <a:gd name="connsiteX2" fmla="*/ 75763 w 2027922"/>
                <a:gd name="connsiteY2" fmla="*/ 25773 h 3710912"/>
                <a:gd name="connsiteX3" fmla="*/ 113863 w 2027922"/>
                <a:gd name="connsiteY3" fmla="*/ 4342 h 3710912"/>
                <a:gd name="connsiteX4" fmla="*/ 197207 w 2027922"/>
                <a:gd name="connsiteY4" fmla="*/ 85306 h 3710912"/>
                <a:gd name="connsiteX5" fmla="*/ 161488 w 2027922"/>
                <a:gd name="connsiteY5" fmla="*/ 249612 h 3710912"/>
                <a:gd name="connsiteX6" fmla="*/ 425807 w 2027922"/>
                <a:gd name="connsiteY6" fmla="*/ 668712 h 3710912"/>
                <a:gd name="connsiteX7" fmla="*/ 525820 w 2027922"/>
                <a:gd name="connsiteY7" fmla="*/ 687762 h 3710912"/>
                <a:gd name="connsiteX8" fmla="*/ 752038 w 2027922"/>
                <a:gd name="connsiteY8" fmla="*/ 790156 h 3710912"/>
                <a:gd name="connsiteX9" fmla="*/ 473432 w 2027922"/>
                <a:gd name="connsiteY9" fmla="*/ 1178299 h 3710912"/>
                <a:gd name="connsiteX10" fmla="*/ 421045 w 2027922"/>
                <a:gd name="connsiteY10" fmla="*/ 1656931 h 3710912"/>
                <a:gd name="connsiteX11" fmla="*/ 1047313 w 2027922"/>
                <a:gd name="connsiteY11" fmla="*/ 1718843 h 3710912"/>
                <a:gd name="connsiteX12" fmla="*/ 1116370 w 2027922"/>
                <a:gd name="connsiteY12" fmla="*/ 1461668 h 3710912"/>
                <a:gd name="connsiteX13" fmla="*/ 923488 w 2027922"/>
                <a:gd name="connsiteY13" fmla="*/ 954461 h 3710912"/>
                <a:gd name="connsiteX14" fmla="*/ 1033026 w 2027922"/>
                <a:gd name="connsiteY14" fmla="*/ 840160 h 3710912"/>
                <a:gd name="connsiteX15" fmla="*/ 1206857 w 2027922"/>
                <a:gd name="connsiteY15" fmla="*/ 756817 h 3710912"/>
                <a:gd name="connsiteX16" fmla="*/ 1335444 w 2027922"/>
                <a:gd name="connsiteY16" fmla="*/ 785392 h 3710912"/>
                <a:gd name="connsiteX17" fmla="*/ 1852176 w 2027922"/>
                <a:gd name="connsiteY17" fmla="*/ 313906 h 3710912"/>
                <a:gd name="connsiteX18" fmla="*/ 1850139 w 2027922"/>
                <a:gd name="connsiteY18" fmla="*/ 175792 h 3710912"/>
                <a:gd name="connsiteX19" fmla="*/ 1925993 w 2027922"/>
                <a:gd name="connsiteY19" fmla="*/ 125785 h 3710912"/>
                <a:gd name="connsiteX20" fmla="*/ 1971238 w 2027922"/>
                <a:gd name="connsiteY20" fmla="*/ 168649 h 3710912"/>
                <a:gd name="connsiteX21" fmla="*/ 2006957 w 2027922"/>
                <a:gd name="connsiteY21" fmla="*/ 218653 h 3710912"/>
                <a:gd name="connsiteX22" fmla="*/ 2021244 w 2027922"/>
                <a:gd name="connsiteY22" fmla="*/ 299616 h 3710912"/>
                <a:gd name="connsiteX23" fmla="*/ 1906944 w 2027922"/>
                <a:gd name="connsiteY23" fmla="*/ 440112 h 3710912"/>
                <a:gd name="connsiteX24" fmla="*/ 1933137 w 2027922"/>
                <a:gd name="connsiteY24" fmla="*/ 502023 h 3710912"/>
                <a:gd name="connsiteX25" fmla="*/ 1544994 w 2027922"/>
                <a:gd name="connsiteY25" fmla="*/ 949698 h 3710912"/>
                <a:gd name="connsiteX26" fmla="*/ 1318775 w 2027922"/>
                <a:gd name="connsiteY26" fmla="*/ 1094954 h 3710912"/>
                <a:gd name="connsiteX27" fmla="*/ 1544994 w 2027922"/>
                <a:gd name="connsiteY27" fmla="*/ 2021260 h 3710912"/>
                <a:gd name="connsiteX28" fmla="*/ 1085412 w 2027922"/>
                <a:gd name="connsiteY28" fmla="*/ 2018879 h 3710912"/>
                <a:gd name="connsiteX29" fmla="*/ 1129222 w 2027922"/>
                <a:gd name="connsiteY29" fmla="*/ 3690516 h 3710912"/>
                <a:gd name="connsiteX30" fmla="*/ 899506 w 2027922"/>
                <a:gd name="connsiteY30" fmla="*/ 3600887 h 3710912"/>
                <a:gd name="connsiteX31" fmla="*/ 817923 w 2027922"/>
                <a:gd name="connsiteY31" fmla="*/ 3577093 h 3710912"/>
                <a:gd name="connsiteX32" fmla="*/ 685352 w 2027922"/>
                <a:gd name="connsiteY32" fmla="*/ 2302371 h 3710912"/>
                <a:gd name="connsiteX33" fmla="*/ 253852 w 2027922"/>
                <a:gd name="connsiteY33" fmla="*/ 3710912 h 3710912"/>
                <a:gd name="connsiteX34" fmla="*/ 378182 w 2027922"/>
                <a:gd name="connsiteY34" fmla="*/ 1914104 h 3710912"/>
                <a:gd name="connsiteX35" fmla="*/ 301981 w 2027922"/>
                <a:gd name="connsiteY35" fmla="*/ 1861716 h 3710912"/>
                <a:gd name="connsiteX36" fmla="*/ 351987 w 2027922"/>
                <a:gd name="connsiteY36" fmla="*/ 1523579 h 3710912"/>
                <a:gd name="connsiteX37" fmla="*/ 297218 w 2027922"/>
                <a:gd name="connsiteY37" fmla="*/ 1337841 h 3710912"/>
                <a:gd name="connsiteX38" fmla="*/ 409137 w 2027922"/>
                <a:gd name="connsiteY38" fmla="*/ 997323 h 3710912"/>
                <a:gd name="connsiteX39" fmla="*/ 128150 w 2027922"/>
                <a:gd name="connsiteY39" fmla="*/ 652041 h 3710912"/>
                <a:gd name="connsiteX40" fmla="*/ 9087 w 2027922"/>
                <a:gd name="connsiteY40" fmla="*/ 352004 h 3710912"/>
                <a:gd name="connsiteX41" fmla="*/ 59094 w 2027922"/>
                <a:gd name="connsiteY41" fmla="*/ 292473 h 3710912"/>
                <a:gd name="connsiteX42" fmla="*/ 11160 w 2027922"/>
                <a:gd name="connsiteY42" fmla="*/ 171030 h 3710912"/>
                <a:gd name="connsiteX0" fmla="*/ 11160 w 2027922"/>
                <a:gd name="connsiteY0" fmla="*/ 171030 h 3710912"/>
                <a:gd name="connsiteX1" fmla="*/ 30519 w 2027922"/>
                <a:gd name="connsiteY1" fmla="*/ 59110 h 3710912"/>
                <a:gd name="connsiteX2" fmla="*/ 75763 w 2027922"/>
                <a:gd name="connsiteY2" fmla="*/ 25773 h 3710912"/>
                <a:gd name="connsiteX3" fmla="*/ 113863 w 2027922"/>
                <a:gd name="connsiteY3" fmla="*/ 4342 h 3710912"/>
                <a:gd name="connsiteX4" fmla="*/ 197207 w 2027922"/>
                <a:gd name="connsiteY4" fmla="*/ 85306 h 3710912"/>
                <a:gd name="connsiteX5" fmla="*/ 161488 w 2027922"/>
                <a:gd name="connsiteY5" fmla="*/ 249612 h 3710912"/>
                <a:gd name="connsiteX6" fmla="*/ 425807 w 2027922"/>
                <a:gd name="connsiteY6" fmla="*/ 668712 h 3710912"/>
                <a:gd name="connsiteX7" fmla="*/ 525820 w 2027922"/>
                <a:gd name="connsiteY7" fmla="*/ 687762 h 3710912"/>
                <a:gd name="connsiteX8" fmla="*/ 752038 w 2027922"/>
                <a:gd name="connsiteY8" fmla="*/ 790156 h 3710912"/>
                <a:gd name="connsiteX9" fmla="*/ 473432 w 2027922"/>
                <a:gd name="connsiteY9" fmla="*/ 1178299 h 3710912"/>
                <a:gd name="connsiteX10" fmla="*/ 421045 w 2027922"/>
                <a:gd name="connsiteY10" fmla="*/ 1656931 h 3710912"/>
                <a:gd name="connsiteX11" fmla="*/ 1047313 w 2027922"/>
                <a:gd name="connsiteY11" fmla="*/ 1718843 h 3710912"/>
                <a:gd name="connsiteX12" fmla="*/ 1116370 w 2027922"/>
                <a:gd name="connsiteY12" fmla="*/ 1461668 h 3710912"/>
                <a:gd name="connsiteX13" fmla="*/ 923488 w 2027922"/>
                <a:gd name="connsiteY13" fmla="*/ 954461 h 3710912"/>
                <a:gd name="connsiteX14" fmla="*/ 1033026 w 2027922"/>
                <a:gd name="connsiteY14" fmla="*/ 840160 h 3710912"/>
                <a:gd name="connsiteX15" fmla="*/ 1206857 w 2027922"/>
                <a:gd name="connsiteY15" fmla="*/ 756817 h 3710912"/>
                <a:gd name="connsiteX16" fmla="*/ 1335444 w 2027922"/>
                <a:gd name="connsiteY16" fmla="*/ 785392 h 3710912"/>
                <a:gd name="connsiteX17" fmla="*/ 1852176 w 2027922"/>
                <a:gd name="connsiteY17" fmla="*/ 313906 h 3710912"/>
                <a:gd name="connsiteX18" fmla="*/ 1850139 w 2027922"/>
                <a:gd name="connsiteY18" fmla="*/ 175792 h 3710912"/>
                <a:gd name="connsiteX19" fmla="*/ 1925993 w 2027922"/>
                <a:gd name="connsiteY19" fmla="*/ 125785 h 3710912"/>
                <a:gd name="connsiteX20" fmla="*/ 1971238 w 2027922"/>
                <a:gd name="connsiteY20" fmla="*/ 168649 h 3710912"/>
                <a:gd name="connsiteX21" fmla="*/ 2006957 w 2027922"/>
                <a:gd name="connsiteY21" fmla="*/ 218653 h 3710912"/>
                <a:gd name="connsiteX22" fmla="*/ 2021244 w 2027922"/>
                <a:gd name="connsiteY22" fmla="*/ 299616 h 3710912"/>
                <a:gd name="connsiteX23" fmla="*/ 1906944 w 2027922"/>
                <a:gd name="connsiteY23" fmla="*/ 440112 h 3710912"/>
                <a:gd name="connsiteX24" fmla="*/ 1933137 w 2027922"/>
                <a:gd name="connsiteY24" fmla="*/ 502023 h 3710912"/>
                <a:gd name="connsiteX25" fmla="*/ 1544994 w 2027922"/>
                <a:gd name="connsiteY25" fmla="*/ 949698 h 3710912"/>
                <a:gd name="connsiteX26" fmla="*/ 1318775 w 2027922"/>
                <a:gd name="connsiteY26" fmla="*/ 1094954 h 3710912"/>
                <a:gd name="connsiteX27" fmla="*/ 1544994 w 2027922"/>
                <a:gd name="connsiteY27" fmla="*/ 2021260 h 3710912"/>
                <a:gd name="connsiteX28" fmla="*/ 1085412 w 2027922"/>
                <a:gd name="connsiteY28" fmla="*/ 2018879 h 3710912"/>
                <a:gd name="connsiteX29" fmla="*/ 1129222 w 2027922"/>
                <a:gd name="connsiteY29" fmla="*/ 3690516 h 3710912"/>
                <a:gd name="connsiteX30" fmla="*/ 899506 w 2027922"/>
                <a:gd name="connsiteY30" fmla="*/ 3600887 h 3710912"/>
                <a:gd name="connsiteX31" fmla="*/ 817923 w 2027922"/>
                <a:gd name="connsiteY31" fmla="*/ 3577093 h 3710912"/>
                <a:gd name="connsiteX32" fmla="*/ 685352 w 2027922"/>
                <a:gd name="connsiteY32" fmla="*/ 2302371 h 3710912"/>
                <a:gd name="connsiteX33" fmla="*/ 253852 w 2027922"/>
                <a:gd name="connsiteY33" fmla="*/ 3710912 h 3710912"/>
                <a:gd name="connsiteX34" fmla="*/ 378182 w 2027922"/>
                <a:gd name="connsiteY34" fmla="*/ 1914104 h 3710912"/>
                <a:gd name="connsiteX35" fmla="*/ 301981 w 2027922"/>
                <a:gd name="connsiteY35" fmla="*/ 1861716 h 3710912"/>
                <a:gd name="connsiteX36" fmla="*/ 351987 w 2027922"/>
                <a:gd name="connsiteY36" fmla="*/ 1523579 h 3710912"/>
                <a:gd name="connsiteX37" fmla="*/ 297218 w 2027922"/>
                <a:gd name="connsiteY37" fmla="*/ 1337841 h 3710912"/>
                <a:gd name="connsiteX38" fmla="*/ 409137 w 2027922"/>
                <a:gd name="connsiteY38" fmla="*/ 997323 h 3710912"/>
                <a:gd name="connsiteX39" fmla="*/ 128150 w 2027922"/>
                <a:gd name="connsiteY39" fmla="*/ 652041 h 3710912"/>
                <a:gd name="connsiteX40" fmla="*/ 9087 w 2027922"/>
                <a:gd name="connsiteY40" fmla="*/ 352004 h 3710912"/>
                <a:gd name="connsiteX41" fmla="*/ 59094 w 2027922"/>
                <a:gd name="connsiteY41" fmla="*/ 292473 h 3710912"/>
                <a:gd name="connsiteX42" fmla="*/ 11160 w 2027922"/>
                <a:gd name="connsiteY42" fmla="*/ 171030 h 3710912"/>
                <a:gd name="connsiteX0" fmla="*/ 11160 w 2027922"/>
                <a:gd name="connsiteY0" fmla="*/ 171030 h 3710912"/>
                <a:gd name="connsiteX1" fmla="*/ 30519 w 2027922"/>
                <a:gd name="connsiteY1" fmla="*/ 59110 h 3710912"/>
                <a:gd name="connsiteX2" fmla="*/ 75763 w 2027922"/>
                <a:gd name="connsiteY2" fmla="*/ 25773 h 3710912"/>
                <a:gd name="connsiteX3" fmla="*/ 113863 w 2027922"/>
                <a:gd name="connsiteY3" fmla="*/ 4342 h 3710912"/>
                <a:gd name="connsiteX4" fmla="*/ 197207 w 2027922"/>
                <a:gd name="connsiteY4" fmla="*/ 85306 h 3710912"/>
                <a:gd name="connsiteX5" fmla="*/ 161488 w 2027922"/>
                <a:gd name="connsiteY5" fmla="*/ 249612 h 3710912"/>
                <a:gd name="connsiteX6" fmla="*/ 425807 w 2027922"/>
                <a:gd name="connsiteY6" fmla="*/ 668712 h 3710912"/>
                <a:gd name="connsiteX7" fmla="*/ 525820 w 2027922"/>
                <a:gd name="connsiteY7" fmla="*/ 687762 h 3710912"/>
                <a:gd name="connsiteX8" fmla="*/ 752038 w 2027922"/>
                <a:gd name="connsiteY8" fmla="*/ 790156 h 3710912"/>
                <a:gd name="connsiteX9" fmla="*/ 473432 w 2027922"/>
                <a:gd name="connsiteY9" fmla="*/ 1178299 h 3710912"/>
                <a:gd name="connsiteX10" fmla="*/ 421045 w 2027922"/>
                <a:gd name="connsiteY10" fmla="*/ 1656931 h 3710912"/>
                <a:gd name="connsiteX11" fmla="*/ 1047313 w 2027922"/>
                <a:gd name="connsiteY11" fmla="*/ 1718843 h 3710912"/>
                <a:gd name="connsiteX12" fmla="*/ 1116370 w 2027922"/>
                <a:gd name="connsiteY12" fmla="*/ 1461668 h 3710912"/>
                <a:gd name="connsiteX13" fmla="*/ 923488 w 2027922"/>
                <a:gd name="connsiteY13" fmla="*/ 954461 h 3710912"/>
                <a:gd name="connsiteX14" fmla="*/ 1033026 w 2027922"/>
                <a:gd name="connsiteY14" fmla="*/ 840160 h 3710912"/>
                <a:gd name="connsiteX15" fmla="*/ 1206857 w 2027922"/>
                <a:gd name="connsiteY15" fmla="*/ 756817 h 3710912"/>
                <a:gd name="connsiteX16" fmla="*/ 1335444 w 2027922"/>
                <a:gd name="connsiteY16" fmla="*/ 785392 h 3710912"/>
                <a:gd name="connsiteX17" fmla="*/ 1852176 w 2027922"/>
                <a:gd name="connsiteY17" fmla="*/ 313906 h 3710912"/>
                <a:gd name="connsiteX18" fmla="*/ 1850139 w 2027922"/>
                <a:gd name="connsiteY18" fmla="*/ 175792 h 3710912"/>
                <a:gd name="connsiteX19" fmla="*/ 1925993 w 2027922"/>
                <a:gd name="connsiteY19" fmla="*/ 125785 h 3710912"/>
                <a:gd name="connsiteX20" fmla="*/ 1971238 w 2027922"/>
                <a:gd name="connsiteY20" fmla="*/ 168649 h 3710912"/>
                <a:gd name="connsiteX21" fmla="*/ 2006957 w 2027922"/>
                <a:gd name="connsiteY21" fmla="*/ 218653 h 3710912"/>
                <a:gd name="connsiteX22" fmla="*/ 2021244 w 2027922"/>
                <a:gd name="connsiteY22" fmla="*/ 299616 h 3710912"/>
                <a:gd name="connsiteX23" fmla="*/ 1906944 w 2027922"/>
                <a:gd name="connsiteY23" fmla="*/ 440112 h 3710912"/>
                <a:gd name="connsiteX24" fmla="*/ 1933137 w 2027922"/>
                <a:gd name="connsiteY24" fmla="*/ 502023 h 3710912"/>
                <a:gd name="connsiteX25" fmla="*/ 1544994 w 2027922"/>
                <a:gd name="connsiteY25" fmla="*/ 949698 h 3710912"/>
                <a:gd name="connsiteX26" fmla="*/ 1318775 w 2027922"/>
                <a:gd name="connsiteY26" fmla="*/ 1094954 h 3710912"/>
                <a:gd name="connsiteX27" fmla="*/ 1544994 w 2027922"/>
                <a:gd name="connsiteY27" fmla="*/ 2021260 h 3710912"/>
                <a:gd name="connsiteX28" fmla="*/ 1085412 w 2027922"/>
                <a:gd name="connsiteY28" fmla="*/ 2018879 h 3710912"/>
                <a:gd name="connsiteX29" fmla="*/ 1129222 w 2027922"/>
                <a:gd name="connsiteY29" fmla="*/ 3690516 h 3710912"/>
                <a:gd name="connsiteX30" fmla="*/ 899506 w 2027922"/>
                <a:gd name="connsiteY30" fmla="*/ 3600887 h 3710912"/>
                <a:gd name="connsiteX31" fmla="*/ 817923 w 2027922"/>
                <a:gd name="connsiteY31" fmla="*/ 3577093 h 3710912"/>
                <a:gd name="connsiteX32" fmla="*/ 811125 w 2027922"/>
                <a:gd name="connsiteY32" fmla="*/ 3260961 h 3710912"/>
                <a:gd name="connsiteX33" fmla="*/ 685352 w 2027922"/>
                <a:gd name="connsiteY33" fmla="*/ 2302371 h 3710912"/>
                <a:gd name="connsiteX34" fmla="*/ 253852 w 2027922"/>
                <a:gd name="connsiteY34" fmla="*/ 3710912 h 3710912"/>
                <a:gd name="connsiteX35" fmla="*/ 378182 w 2027922"/>
                <a:gd name="connsiteY35" fmla="*/ 1914104 h 3710912"/>
                <a:gd name="connsiteX36" fmla="*/ 301981 w 2027922"/>
                <a:gd name="connsiteY36" fmla="*/ 1861716 h 3710912"/>
                <a:gd name="connsiteX37" fmla="*/ 351987 w 2027922"/>
                <a:gd name="connsiteY37" fmla="*/ 1523579 h 3710912"/>
                <a:gd name="connsiteX38" fmla="*/ 297218 w 2027922"/>
                <a:gd name="connsiteY38" fmla="*/ 1337841 h 3710912"/>
                <a:gd name="connsiteX39" fmla="*/ 409137 w 2027922"/>
                <a:gd name="connsiteY39" fmla="*/ 997323 h 3710912"/>
                <a:gd name="connsiteX40" fmla="*/ 128150 w 2027922"/>
                <a:gd name="connsiteY40" fmla="*/ 652041 h 3710912"/>
                <a:gd name="connsiteX41" fmla="*/ 9087 w 2027922"/>
                <a:gd name="connsiteY41" fmla="*/ 352004 h 3710912"/>
                <a:gd name="connsiteX42" fmla="*/ 59094 w 2027922"/>
                <a:gd name="connsiteY42" fmla="*/ 292473 h 3710912"/>
                <a:gd name="connsiteX43" fmla="*/ 11160 w 2027922"/>
                <a:gd name="connsiteY43" fmla="*/ 171030 h 3710912"/>
                <a:gd name="connsiteX0" fmla="*/ 11160 w 2027922"/>
                <a:gd name="connsiteY0" fmla="*/ 171030 h 3710912"/>
                <a:gd name="connsiteX1" fmla="*/ 30519 w 2027922"/>
                <a:gd name="connsiteY1" fmla="*/ 59110 h 3710912"/>
                <a:gd name="connsiteX2" fmla="*/ 75763 w 2027922"/>
                <a:gd name="connsiteY2" fmla="*/ 25773 h 3710912"/>
                <a:gd name="connsiteX3" fmla="*/ 113863 w 2027922"/>
                <a:gd name="connsiteY3" fmla="*/ 4342 h 3710912"/>
                <a:gd name="connsiteX4" fmla="*/ 197207 w 2027922"/>
                <a:gd name="connsiteY4" fmla="*/ 85306 h 3710912"/>
                <a:gd name="connsiteX5" fmla="*/ 161488 w 2027922"/>
                <a:gd name="connsiteY5" fmla="*/ 249612 h 3710912"/>
                <a:gd name="connsiteX6" fmla="*/ 425807 w 2027922"/>
                <a:gd name="connsiteY6" fmla="*/ 668712 h 3710912"/>
                <a:gd name="connsiteX7" fmla="*/ 525820 w 2027922"/>
                <a:gd name="connsiteY7" fmla="*/ 687762 h 3710912"/>
                <a:gd name="connsiteX8" fmla="*/ 752038 w 2027922"/>
                <a:gd name="connsiteY8" fmla="*/ 790156 h 3710912"/>
                <a:gd name="connsiteX9" fmla="*/ 473432 w 2027922"/>
                <a:gd name="connsiteY9" fmla="*/ 1178299 h 3710912"/>
                <a:gd name="connsiteX10" fmla="*/ 421045 w 2027922"/>
                <a:gd name="connsiteY10" fmla="*/ 1656931 h 3710912"/>
                <a:gd name="connsiteX11" fmla="*/ 1047313 w 2027922"/>
                <a:gd name="connsiteY11" fmla="*/ 1718843 h 3710912"/>
                <a:gd name="connsiteX12" fmla="*/ 1116370 w 2027922"/>
                <a:gd name="connsiteY12" fmla="*/ 1461668 h 3710912"/>
                <a:gd name="connsiteX13" fmla="*/ 923488 w 2027922"/>
                <a:gd name="connsiteY13" fmla="*/ 954461 h 3710912"/>
                <a:gd name="connsiteX14" fmla="*/ 1033026 w 2027922"/>
                <a:gd name="connsiteY14" fmla="*/ 840160 h 3710912"/>
                <a:gd name="connsiteX15" fmla="*/ 1206857 w 2027922"/>
                <a:gd name="connsiteY15" fmla="*/ 756817 h 3710912"/>
                <a:gd name="connsiteX16" fmla="*/ 1335444 w 2027922"/>
                <a:gd name="connsiteY16" fmla="*/ 785392 h 3710912"/>
                <a:gd name="connsiteX17" fmla="*/ 1852176 w 2027922"/>
                <a:gd name="connsiteY17" fmla="*/ 313906 h 3710912"/>
                <a:gd name="connsiteX18" fmla="*/ 1850139 w 2027922"/>
                <a:gd name="connsiteY18" fmla="*/ 175792 h 3710912"/>
                <a:gd name="connsiteX19" fmla="*/ 1925993 w 2027922"/>
                <a:gd name="connsiteY19" fmla="*/ 125785 h 3710912"/>
                <a:gd name="connsiteX20" fmla="*/ 1971238 w 2027922"/>
                <a:gd name="connsiteY20" fmla="*/ 168649 h 3710912"/>
                <a:gd name="connsiteX21" fmla="*/ 2006957 w 2027922"/>
                <a:gd name="connsiteY21" fmla="*/ 218653 h 3710912"/>
                <a:gd name="connsiteX22" fmla="*/ 2021244 w 2027922"/>
                <a:gd name="connsiteY22" fmla="*/ 299616 h 3710912"/>
                <a:gd name="connsiteX23" fmla="*/ 1906944 w 2027922"/>
                <a:gd name="connsiteY23" fmla="*/ 440112 h 3710912"/>
                <a:gd name="connsiteX24" fmla="*/ 1933137 w 2027922"/>
                <a:gd name="connsiteY24" fmla="*/ 502023 h 3710912"/>
                <a:gd name="connsiteX25" fmla="*/ 1544994 w 2027922"/>
                <a:gd name="connsiteY25" fmla="*/ 949698 h 3710912"/>
                <a:gd name="connsiteX26" fmla="*/ 1318775 w 2027922"/>
                <a:gd name="connsiteY26" fmla="*/ 1094954 h 3710912"/>
                <a:gd name="connsiteX27" fmla="*/ 1544994 w 2027922"/>
                <a:gd name="connsiteY27" fmla="*/ 2021260 h 3710912"/>
                <a:gd name="connsiteX28" fmla="*/ 1085412 w 2027922"/>
                <a:gd name="connsiteY28" fmla="*/ 2018879 h 3710912"/>
                <a:gd name="connsiteX29" fmla="*/ 1129222 w 2027922"/>
                <a:gd name="connsiteY29" fmla="*/ 3690516 h 3710912"/>
                <a:gd name="connsiteX30" fmla="*/ 899506 w 2027922"/>
                <a:gd name="connsiteY30" fmla="*/ 3600887 h 3710912"/>
                <a:gd name="connsiteX31" fmla="*/ 817923 w 2027922"/>
                <a:gd name="connsiteY31" fmla="*/ 3577093 h 3710912"/>
                <a:gd name="connsiteX32" fmla="*/ 811125 w 2027922"/>
                <a:gd name="connsiteY32" fmla="*/ 3260961 h 3710912"/>
                <a:gd name="connsiteX33" fmla="*/ 685352 w 2027922"/>
                <a:gd name="connsiteY33" fmla="*/ 2302371 h 3710912"/>
                <a:gd name="connsiteX34" fmla="*/ 253852 w 2027922"/>
                <a:gd name="connsiteY34" fmla="*/ 3710912 h 3710912"/>
                <a:gd name="connsiteX35" fmla="*/ 378182 w 2027922"/>
                <a:gd name="connsiteY35" fmla="*/ 1914104 h 3710912"/>
                <a:gd name="connsiteX36" fmla="*/ 301981 w 2027922"/>
                <a:gd name="connsiteY36" fmla="*/ 1861716 h 3710912"/>
                <a:gd name="connsiteX37" fmla="*/ 351987 w 2027922"/>
                <a:gd name="connsiteY37" fmla="*/ 1523579 h 3710912"/>
                <a:gd name="connsiteX38" fmla="*/ 297218 w 2027922"/>
                <a:gd name="connsiteY38" fmla="*/ 1337841 h 3710912"/>
                <a:gd name="connsiteX39" fmla="*/ 409137 w 2027922"/>
                <a:gd name="connsiteY39" fmla="*/ 997323 h 3710912"/>
                <a:gd name="connsiteX40" fmla="*/ 128150 w 2027922"/>
                <a:gd name="connsiteY40" fmla="*/ 652041 h 3710912"/>
                <a:gd name="connsiteX41" fmla="*/ 9087 w 2027922"/>
                <a:gd name="connsiteY41" fmla="*/ 352004 h 3710912"/>
                <a:gd name="connsiteX42" fmla="*/ 59094 w 2027922"/>
                <a:gd name="connsiteY42" fmla="*/ 292473 h 3710912"/>
                <a:gd name="connsiteX43" fmla="*/ 11160 w 2027922"/>
                <a:gd name="connsiteY43" fmla="*/ 171030 h 3710912"/>
                <a:gd name="connsiteX0" fmla="*/ 11160 w 2027922"/>
                <a:gd name="connsiteY0" fmla="*/ 171030 h 3710912"/>
                <a:gd name="connsiteX1" fmla="*/ 30519 w 2027922"/>
                <a:gd name="connsiteY1" fmla="*/ 59110 h 3710912"/>
                <a:gd name="connsiteX2" fmla="*/ 75763 w 2027922"/>
                <a:gd name="connsiteY2" fmla="*/ 25773 h 3710912"/>
                <a:gd name="connsiteX3" fmla="*/ 113863 w 2027922"/>
                <a:gd name="connsiteY3" fmla="*/ 4342 h 3710912"/>
                <a:gd name="connsiteX4" fmla="*/ 197207 w 2027922"/>
                <a:gd name="connsiteY4" fmla="*/ 85306 h 3710912"/>
                <a:gd name="connsiteX5" fmla="*/ 161488 w 2027922"/>
                <a:gd name="connsiteY5" fmla="*/ 249612 h 3710912"/>
                <a:gd name="connsiteX6" fmla="*/ 425807 w 2027922"/>
                <a:gd name="connsiteY6" fmla="*/ 668712 h 3710912"/>
                <a:gd name="connsiteX7" fmla="*/ 525820 w 2027922"/>
                <a:gd name="connsiteY7" fmla="*/ 687762 h 3710912"/>
                <a:gd name="connsiteX8" fmla="*/ 752038 w 2027922"/>
                <a:gd name="connsiteY8" fmla="*/ 790156 h 3710912"/>
                <a:gd name="connsiteX9" fmla="*/ 473432 w 2027922"/>
                <a:gd name="connsiteY9" fmla="*/ 1178299 h 3710912"/>
                <a:gd name="connsiteX10" fmla="*/ 421045 w 2027922"/>
                <a:gd name="connsiteY10" fmla="*/ 1656931 h 3710912"/>
                <a:gd name="connsiteX11" fmla="*/ 1047313 w 2027922"/>
                <a:gd name="connsiteY11" fmla="*/ 1718843 h 3710912"/>
                <a:gd name="connsiteX12" fmla="*/ 1116370 w 2027922"/>
                <a:gd name="connsiteY12" fmla="*/ 1461668 h 3710912"/>
                <a:gd name="connsiteX13" fmla="*/ 923488 w 2027922"/>
                <a:gd name="connsiteY13" fmla="*/ 954461 h 3710912"/>
                <a:gd name="connsiteX14" fmla="*/ 1033026 w 2027922"/>
                <a:gd name="connsiteY14" fmla="*/ 840160 h 3710912"/>
                <a:gd name="connsiteX15" fmla="*/ 1206857 w 2027922"/>
                <a:gd name="connsiteY15" fmla="*/ 756817 h 3710912"/>
                <a:gd name="connsiteX16" fmla="*/ 1335444 w 2027922"/>
                <a:gd name="connsiteY16" fmla="*/ 785392 h 3710912"/>
                <a:gd name="connsiteX17" fmla="*/ 1852176 w 2027922"/>
                <a:gd name="connsiteY17" fmla="*/ 313906 h 3710912"/>
                <a:gd name="connsiteX18" fmla="*/ 1850139 w 2027922"/>
                <a:gd name="connsiteY18" fmla="*/ 175792 h 3710912"/>
                <a:gd name="connsiteX19" fmla="*/ 1925993 w 2027922"/>
                <a:gd name="connsiteY19" fmla="*/ 125785 h 3710912"/>
                <a:gd name="connsiteX20" fmla="*/ 1971238 w 2027922"/>
                <a:gd name="connsiteY20" fmla="*/ 168649 h 3710912"/>
                <a:gd name="connsiteX21" fmla="*/ 2006957 w 2027922"/>
                <a:gd name="connsiteY21" fmla="*/ 218653 h 3710912"/>
                <a:gd name="connsiteX22" fmla="*/ 2021244 w 2027922"/>
                <a:gd name="connsiteY22" fmla="*/ 299616 h 3710912"/>
                <a:gd name="connsiteX23" fmla="*/ 1906944 w 2027922"/>
                <a:gd name="connsiteY23" fmla="*/ 440112 h 3710912"/>
                <a:gd name="connsiteX24" fmla="*/ 1933137 w 2027922"/>
                <a:gd name="connsiteY24" fmla="*/ 502023 h 3710912"/>
                <a:gd name="connsiteX25" fmla="*/ 1544994 w 2027922"/>
                <a:gd name="connsiteY25" fmla="*/ 949698 h 3710912"/>
                <a:gd name="connsiteX26" fmla="*/ 1318775 w 2027922"/>
                <a:gd name="connsiteY26" fmla="*/ 1094954 h 3710912"/>
                <a:gd name="connsiteX27" fmla="*/ 1544994 w 2027922"/>
                <a:gd name="connsiteY27" fmla="*/ 2021260 h 3710912"/>
                <a:gd name="connsiteX28" fmla="*/ 1085412 w 2027922"/>
                <a:gd name="connsiteY28" fmla="*/ 2018879 h 3710912"/>
                <a:gd name="connsiteX29" fmla="*/ 1129222 w 2027922"/>
                <a:gd name="connsiteY29" fmla="*/ 3690516 h 3710912"/>
                <a:gd name="connsiteX30" fmla="*/ 899506 w 2027922"/>
                <a:gd name="connsiteY30" fmla="*/ 3600887 h 3710912"/>
                <a:gd name="connsiteX31" fmla="*/ 817923 w 2027922"/>
                <a:gd name="connsiteY31" fmla="*/ 3577093 h 3710912"/>
                <a:gd name="connsiteX32" fmla="*/ 811125 w 2027922"/>
                <a:gd name="connsiteY32" fmla="*/ 3260961 h 3710912"/>
                <a:gd name="connsiteX33" fmla="*/ 685352 w 2027922"/>
                <a:gd name="connsiteY33" fmla="*/ 2302371 h 3710912"/>
                <a:gd name="connsiteX34" fmla="*/ 253852 w 2027922"/>
                <a:gd name="connsiteY34" fmla="*/ 3710912 h 3710912"/>
                <a:gd name="connsiteX35" fmla="*/ 378182 w 2027922"/>
                <a:gd name="connsiteY35" fmla="*/ 1914104 h 3710912"/>
                <a:gd name="connsiteX36" fmla="*/ 301981 w 2027922"/>
                <a:gd name="connsiteY36" fmla="*/ 1861716 h 3710912"/>
                <a:gd name="connsiteX37" fmla="*/ 351987 w 2027922"/>
                <a:gd name="connsiteY37" fmla="*/ 1523579 h 3710912"/>
                <a:gd name="connsiteX38" fmla="*/ 297218 w 2027922"/>
                <a:gd name="connsiteY38" fmla="*/ 1337841 h 3710912"/>
                <a:gd name="connsiteX39" fmla="*/ 409137 w 2027922"/>
                <a:gd name="connsiteY39" fmla="*/ 997323 h 3710912"/>
                <a:gd name="connsiteX40" fmla="*/ 128150 w 2027922"/>
                <a:gd name="connsiteY40" fmla="*/ 652041 h 3710912"/>
                <a:gd name="connsiteX41" fmla="*/ 9087 w 2027922"/>
                <a:gd name="connsiteY41" fmla="*/ 352004 h 3710912"/>
                <a:gd name="connsiteX42" fmla="*/ 59094 w 2027922"/>
                <a:gd name="connsiteY42" fmla="*/ 292473 h 3710912"/>
                <a:gd name="connsiteX43" fmla="*/ 11160 w 2027922"/>
                <a:gd name="connsiteY43" fmla="*/ 171030 h 3710912"/>
                <a:gd name="connsiteX0" fmla="*/ 11160 w 2027922"/>
                <a:gd name="connsiteY0" fmla="*/ 171030 h 3710912"/>
                <a:gd name="connsiteX1" fmla="*/ 30519 w 2027922"/>
                <a:gd name="connsiteY1" fmla="*/ 59110 h 3710912"/>
                <a:gd name="connsiteX2" fmla="*/ 75763 w 2027922"/>
                <a:gd name="connsiteY2" fmla="*/ 25773 h 3710912"/>
                <a:gd name="connsiteX3" fmla="*/ 113863 w 2027922"/>
                <a:gd name="connsiteY3" fmla="*/ 4342 h 3710912"/>
                <a:gd name="connsiteX4" fmla="*/ 197207 w 2027922"/>
                <a:gd name="connsiteY4" fmla="*/ 85306 h 3710912"/>
                <a:gd name="connsiteX5" fmla="*/ 161488 w 2027922"/>
                <a:gd name="connsiteY5" fmla="*/ 249612 h 3710912"/>
                <a:gd name="connsiteX6" fmla="*/ 425807 w 2027922"/>
                <a:gd name="connsiteY6" fmla="*/ 668712 h 3710912"/>
                <a:gd name="connsiteX7" fmla="*/ 525820 w 2027922"/>
                <a:gd name="connsiteY7" fmla="*/ 687762 h 3710912"/>
                <a:gd name="connsiteX8" fmla="*/ 752038 w 2027922"/>
                <a:gd name="connsiteY8" fmla="*/ 790156 h 3710912"/>
                <a:gd name="connsiteX9" fmla="*/ 473432 w 2027922"/>
                <a:gd name="connsiteY9" fmla="*/ 1178299 h 3710912"/>
                <a:gd name="connsiteX10" fmla="*/ 421045 w 2027922"/>
                <a:gd name="connsiteY10" fmla="*/ 1656931 h 3710912"/>
                <a:gd name="connsiteX11" fmla="*/ 1047313 w 2027922"/>
                <a:gd name="connsiteY11" fmla="*/ 1718843 h 3710912"/>
                <a:gd name="connsiteX12" fmla="*/ 1116370 w 2027922"/>
                <a:gd name="connsiteY12" fmla="*/ 1461668 h 3710912"/>
                <a:gd name="connsiteX13" fmla="*/ 923488 w 2027922"/>
                <a:gd name="connsiteY13" fmla="*/ 954461 h 3710912"/>
                <a:gd name="connsiteX14" fmla="*/ 1033026 w 2027922"/>
                <a:gd name="connsiteY14" fmla="*/ 840160 h 3710912"/>
                <a:gd name="connsiteX15" fmla="*/ 1206857 w 2027922"/>
                <a:gd name="connsiteY15" fmla="*/ 756817 h 3710912"/>
                <a:gd name="connsiteX16" fmla="*/ 1335444 w 2027922"/>
                <a:gd name="connsiteY16" fmla="*/ 785392 h 3710912"/>
                <a:gd name="connsiteX17" fmla="*/ 1852176 w 2027922"/>
                <a:gd name="connsiteY17" fmla="*/ 313906 h 3710912"/>
                <a:gd name="connsiteX18" fmla="*/ 1850139 w 2027922"/>
                <a:gd name="connsiteY18" fmla="*/ 175792 h 3710912"/>
                <a:gd name="connsiteX19" fmla="*/ 1925993 w 2027922"/>
                <a:gd name="connsiteY19" fmla="*/ 125785 h 3710912"/>
                <a:gd name="connsiteX20" fmla="*/ 1971238 w 2027922"/>
                <a:gd name="connsiteY20" fmla="*/ 168649 h 3710912"/>
                <a:gd name="connsiteX21" fmla="*/ 2006957 w 2027922"/>
                <a:gd name="connsiteY21" fmla="*/ 218653 h 3710912"/>
                <a:gd name="connsiteX22" fmla="*/ 2021244 w 2027922"/>
                <a:gd name="connsiteY22" fmla="*/ 299616 h 3710912"/>
                <a:gd name="connsiteX23" fmla="*/ 1906944 w 2027922"/>
                <a:gd name="connsiteY23" fmla="*/ 440112 h 3710912"/>
                <a:gd name="connsiteX24" fmla="*/ 1933137 w 2027922"/>
                <a:gd name="connsiteY24" fmla="*/ 502023 h 3710912"/>
                <a:gd name="connsiteX25" fmla="*/ 1544994 w 2027922"/>
                <a:gd name="connsiteY25" fmla="*/ 949698 h 3710912"/>
                <a:gd name="connsiteX26" fmla="*/ 1318775 w 2027922"/>
                <a:gd name="connsiteY26" fmla="*/ 1094954 h 3710912"/>
                <a:gd name="connsiteX27" fmla="*/ 1544994 w 2027922"/>
                <a:gd name="connsiteY27" fmla="*/ 2021260 h 3710912"/>
                <a:gd name="connsiteX28" fmla="*/ 1085412 w 2027922"/>
                <a:gd name="connsiteY28" fmla="*/ 2018879 h 3710912"/>
                <a:gd name="connsiteX29" fmla="*/ 1129222 w 2027922"/>
                <a:gd name="connsiteY29" fmla="*/ 3690516 h 3710912"/>
                <a:gd name="connsiteX30" fmla="*/ 899506 w 2027922"/>
                <a:gd name="connsiteY30" fmla="*/ 3600887 h 3710912"/>
                <a:gd name="connsiteX31" fmla="*/ 817923 w 2027922"/>
                <a:gd name="connsiteY31" fmla="*/ 3577093 h 3710912"/>
                <a:gd name="connsiteX32" fmla="*/ 811125 w 2027922"/>
                <a:gd name="connsiteY32" fmla="*/ 3260961 h 3710912"/>
                <a:gd name="connsiteX33" fmla="*/ 685352 w 2027922"/>
                <a:gd name="connsiteY33" fmla="*/ 2302371 h 3710912"/>
                <a:gd name="connsiteX34" fmla="*/ 253852 w 2027922"/>
                <a:gd name="connsiteY34" fmla="*/ 3710912 h 3710912"/>
                <a:gd name="connsiteX35" fmla="*/ 378182 w 2027922"/>
                <a:gd name="connsiteY35" fmla="*/ 1914104 h 3710912"/>
                <a:gd name="connsiteX36" fmla="*/ 301981 w 2027922"/>
                <a:gd name="connsiteY36" fmla="*/ 1861716 h 3710912"/>
                <a:gd name="connsiteX37" fmla="*/ 351987 w 2027922"/>
                <a:gd name="connsiteY37" fmla="*/ 1523579 h 3710912"/>
                <a:gd name="connsiteX38" fmla="*/ 297218 w 2027922"/>
                <a:gd name="connsiteY38" fmla="*/ 1337841 h 3710912"/>
                <a:gd name="connsiteX39" fmla="*/ 409137 w 2027922"/>
                <a:gd name="connsiteY39" fmla="*/ 997323 h 3710912"/>
                <a:gd name="connsiteX40" fmla="*/ 128150 w 2027922"/>
                <a:gd name="connsiteY40" fmla="*/ 652041 h 3710912"/>
                <a:gd name="connsiteX41" fmla="*/ 9087 w 2027922"/>
                <a:gd name="connsiteY41" fmla="*/ 352004 h 3710912"/>
                <a:gd name="connsiteX42" fmla="*/ 59094 w 2027922"/>
                <a:gd name="connsiteY42" fmla="*/ 292473 h 3710912"/>
                <a:gd name="connsiteX43" fmla="*/ 11160 w 2027922"/>
                <a:gd name="connsiteY43" fmla="*/ 171030 h 3710912"/>
                <a:gd name="connsiteX0" fmla="*/ 11160 w 2027922"/>
                <a:gd name="connsiteY0" fmla="*/ 171030 h 3710912"/>
                <a:gd name="connsiteX1" fmla="*/ 30519 w 2027922"/>
                <a:gd name="connsiteY1" fmla="*/ 59110 h 3710912"/>
                <a:gd name="connsiteX2" fmla="*/ 75763 w 2027922"/>
                <a:gd name="connsiteY2" fmla="*/ 25773 h 3710912"/>
                <a:gd name="connsiteX3" fmla="*/ 113863 w 2027922"/>
                <a:gd name="connsiteY3" fmla="*/ 4342 h 3710912"/>
                <a:gd name="connsiteX4" fmla="*/ 197207 w 2027922"/>
                <a:gd name="connsiteY4" fmla="*/ 85306 h 3710912"/>
                <a:gd name="connsiteX5" fmla="*/ 161488 w 2027922"/>
                <a:gd name="connsiteY5" fmla="*/ 249612 h 3710912"/>
                <a:gd name="connsiteX6" fmla="*/ 425807 w 2027922"/>
                <a:gd name="connsiteY6" fmla="*/ 668712 h 3710912"/>
                <a:gd name="connsiteX7" fmla="*/ 525820 w 2027922"/>
                <a:gd name="connsiteY7" fmla="*/ 687762 h 3710912"/>
                <a:gd name="connsiteX8" fmla="*/ 752038 w 2027922"/>
                <a:gd name="connsiteY8" fmla="*/ 790156 h 3710912"/>
                <a:gd name="connsiteX9" fmla="*/ 473432 w 2027922"/>
                <a:gd name="connsiteY9" fmla="*/ 1178299 h 3710912"/>
                <a:gd name="connsiteX10" fmla="*/ 421045 w 2027922"/>
                <a:gd name="connsiteY10" fmla="*/ 1656931 h 3710912"/>
                <a:gd name="connsiteX11" fmla="*/ 1047313 w 2027922"/>
                <a:gd name="connsiteY11" fmla="*/ 1718843 h 3710912"/>
                <a:gd name="connsiteX12" fmla="*/ 1116370 w 2027922"/>
                <a:gd name="connsiteY12" fmla="*/ 1461668 h 3710912"/>
                <a:gd name="connsiteX13" fmla="*/ 923488 w 2027922"/>
                <a:gd name="connsiteY13" fmla="*/ 954461 h 3710912"/>
                <a:gd name="connsiteX14" fmla="*/ 1033026 w 2027922"/>
                <a:gd name="connsiteY14" fmla="*/ 840160 h 3710912"/>
                <a:gd name="connsiteX15" fmla="*/ 1206857 w 2027922"/>
                <a:gd name="connsiteY15" fmla="*/ 756817 h 3710912"/>
                <a:gd name="connsiteX16" fmla="*/ 1335444 w 2027922"/>
                <a:gd name="connsiteY16" fmla="*/ 785392 h 3710912"/>
                <a:gd name="connsiteX17" fmla="*/ 1852176 w 2027922"/>
                <a:gd name="connsiteY17" fmla="*/ 313906 h 3710912"/>
                <a:gd name="connsiteX18" fmla="*/ 1850139 w 2027922"/>
                <a:gd name="connsiteY18" fmla="*/ 175792 h 3710912"/>
                <a:gd name="connsiteX19" fmla="*/ 1925993 w 2027922"/>
                <a:gd name="connsiteY19" fmla="*/ 125785 h 3710912"/>
                <a:gd name="connsiteX20" fmla="*/ 1971238 w 2027922"/>
                <a:gd name="connsiteY20" fmla="*/ 168649 h 3710912"/>
                <a:gd name="connsiteX21" fmla="*/ 2006957 w 2027922"/>
                <a:gd name="connsiteY21" fmla="*/ 218653 h 3710912"/>
                <a:gd name="connsiteX22" fmla="*/ 2021244 w 2027922"/>
                <a:gd name="connsiteY22" fmla="*/ 299616 h 3710912"/>
                <a:gd name="connsiteX23" fmla="*/ 1906944 w 2027922"/>
                <a:gd name="connsiteY23" fmla="*/ 440112 h 3710912"/>
                <a:gd name="connsiteX24" fmla="*/ 1933137 w 2027922"/>
                <a:gd name="connsiteY24" fmla="*/ 502023 h 3710912"/>
                <a:gd name="connsiteX25" fmla="*/ 1544994 w 2027922"/>
                <a:gd name="connsiteY25" fmla="*/ 949698 h 3710912"/>
                <a:gd name="connsiteX26" fmla="*/ 1318775 w 2027922"/>
                <a:gd name="connsiteY26" fmla="*/ 1094954 h 3710912"/>
                <a:gd name="connsiteX27" fmla="*/ 1544994 w 2027922"/>
                <a:gd name="connsiteY27" fmla="*/ 2021260 h 3710912"/>
                <a:gd name="connsiteX28" fmla="*/ 1085412 w 2027922"/>
                <a:gd name="connsiteY28" fmla="*/ 2018879 h 3710912"/>
                <a:gd name="connsiteX29" fmla="*/ 1129222 w 2027922"/>
                <a:gd name="connsiteY29" fmla="*/ 3690516 h 3710912"/>
                <a:gd name="connsiteX30" fmla="*/ 899506 w 2027922"/>
                <a:gd name="connsiteY30" fmla="*/ 3600887 h 3710912"/>
                <a:gd name="connsiteX31" fmla="*/ 817923 w 2027922"/>
                <a:gd name="connsiteY31" fmla="*/ 3577093 h 3710912"/>
                <a:gd name="connsiteX32" fmla="*/ 811125 w 2027922"/>
                <a:gd name="connsiteY32" fmla="*/ 3260961 h 3710912"/>
                <a:gd name="connsiteX33" fmla="*/ 685352 w 2027922"/>
                <a:gd name="connsiteY33" fmla="*/ 2302371 h 3710912"/>
                <a:gd name="connsiteX34" fmla="*/ 253852 w 2027922"/>
                <a:gd name="connsiteY34" fmla="*/ 3710912 h 3710912"/>
                <a:gd name="connsiteX35" fmla="*/ 378182 w 2027922"/>
                <a:gd name="connsiteY35" fmla="*/ 1914104 h 3710912"/>
                <a:gd name="connsiteX36" fmla="*/ 301981 w 2027922"/>
                <a:gd name="connsiteY36" fmla="*/ 1861716 h 3710912"/>
                <a:gd name="connsiteX37" fmla="*/ 351987 w 2027922"/>
                <a:gd name="connsiteY37" fmla="*/ 1523579 h 3710912"/>
                <a:gd name="connsiteX38" fmla="*/ 297218 w 2027922"/>
                <a:gd name="connsiteY38" fmla="*/ 1337841 h 3710912"/>
                <a:gd name="connsiteX39" fmla="*/ 409137 w 2027922"/>
                <a:gd name="connsiteY39" fmla="*/ 997323 h 3710912"/>
                <a:gd name="connsiteX40" fmla="*/ 128150 w 2027922"/>
                <a:gd name="connsiteY40" fmla="*/ 652041 h 3710912"/>
                <a:gd name="connsiteX41" fmla="*/ 9087 w 2027922"/>
                <a:gd name="connsiteY41" fmla="*/ 352004 h 3710912"/>
                <a:gd name="connsiteX42" fmla="*/ 59094 w 2027922"/>
                <a:gd name="connsiteY42" fmla="*/ 292473 h 3710912"/>
                <a:gd name="connsiteX43" fmla="*/ 11160 w 2027922"/>
                <a:gd name="connsiteY43" fmla="*/ 171030 h 3710912"/>
                <a:gd name="connsiteX0" fmla="*/ 11160 w 2027922"/>
                <a:gd name="connsiteY0" fmla="*/ 171030 h 3710912"/>
                <a:gd name="connsiteX1" fmla="*/ 30519 w 2027922"/>
                <a:gd name="connsiteY1" fmla="*/ 59110 h 3710912"/>
                <a:gd name="connsiteX2" fmla="*/ 75763 w 2027922"/>
                <a:gd name="connsiteY2" fmla="*/ 25773 h 3710912"/>
                <a:gd name="connsiteX3" fmla="*/ 113863 w 2027922"/>
                <a:gd name="connsiteY3" fmla="*/ 4342 h 3710912"/>
                <a:gd name="connsiteX4" fmla="*/ 197207 w 2027922"/>
                <a:gd name="connsiteY4" fmla="*/ 85306 h 3710912"/>
                <a:gd name="connsiteX5" fmla="*/ 161488 w 2027922"/>
                <a:gd name="connsiteY5" fmla="*/ 249612 h 3710912"/>
                <a:gd name="connsiteX6" fmla="*/ 425807 w 2027922"/>
                <a:gd name="connsiteY6" fmla="*/ 668712 h 3710912"/>
                <a:gd name="connsiteX7" fmla="*/ 525820 w 2027922"/>
                <a:gd name="connsiteY7" fmla="*/ 687762 h 3710912"/>
                <a:gd name="connsiteX8" fmla="*/ 752038 w 2027922"/>
                <a:gd name="connsiteY8" fmla="*/ 790156 h 3710912"/>
                <a:gd name="connsiteX9" fmla="*/ 473432 w 2027922"/>
                <a:gd name="connsiteY9" fmla="*/ 1178299 h 3710912"/>
                <a:gd name="connsiteX10" fmla="*/ 421045 w 2027922"/>
                <a:gd name="connsiteY10" fmla="*/ 1656931 h 3710912"/>
                <a:gd name="connsiteX11" fmla="*/ 1047313 w 2027922"/>
                <a:gd name="connsiteY11" fmla="*/ 1718843 h 3710912"/>
                <a:gd name="connsiteX12" fmla="*/ 1116370 w 2027922"/>
                <a:gd name="connsiteY12" fmla="*/ 1461668 h 3710912"/>
                <a:gd name="connsiteX13" fmla="*/ 923488 w 2027922"/>
                <a:gd name="connsiteY13" fmla="*/ 954461 h 3710912"/>
                <a:gd name="connsiteX14" fmla="*/ 1033026 w 2027922"/>
                <a:gd name="connsiteY14" fmla="*/ 840160 h 3710912"/>
                <a:gd name="connsiteX15" fmla="*/ 1206857 w 2027922"/>
                <a:gd name="connsiteY15" fmla="*/ 756817 h 3710912"/>
                <a:gd name="connsiteX16" fmla="*/ 1335444 w 2027922"/>
                <a:gd name="connsiteY16" fmla="*/ 785392 h 3710912"/>
                <a:gd name="connsiteX17" fmla="*/ 1852176 w 2027922"/>
                <a:gd name="connsiteY17" fmla="*/ 313906 h 3710912"/>
                <a:gd name="connsiteX18" fmla="*/ 1850139 w 2027922"/>
                <a:gd name="connsiteY18" fmla="*/ 175792 h 3710912"/>
                <a:gd name="connsiteX19" fmla="*/ 1925993 w 2027922"/>
                <a:gd name="connsiteY19" fmla="*/ 125785 h 3710912"/>
                <a:gd name="connsiteX20" fmla="*/ 1971238 w 2027922"/>
                <a:gd name="connsiteY20" fmla="*/ 168649 h 3710912"/>
                <a:gd name="connsiteX21" fmla="*/ 2006957 w 2027922"/>
                <a:gd name="connsiteY21" fmla="*/ 218653 h 3710912"/>
                <a:gd name="connsiteX22" fmla="*/ 2021244 w 2027922"/>
                <a:gd name="connsiteY22" fmla="*/ 299616 h 3710912"/>
                <a:gd name="connsiteX23" fmla="*/ 1906944 w 2027922"/>
                <a:gd name="connsiteY23" fmla="*/ 440112 h 3710912"/>
                <a:gd name="connsiteX24" fmla="*/ 1933137 w 2027922"/>
                <a:gd name="connsiteY24" fmla="*/ 502023 h 3710912"/>
                <a:gd name="connsiteX25" fmla="*/ 1544994 w 2027922"/>
                <a:gd name="connsiteY25" fmla="*/ 949698 h 3710912"/>
                <a:gd name="connsiteX26" fmla="*/ 1318775 w 2027922"/>
                <a:gd name="connsiteY26" fmla="*/ 1094954 h 3710912"/>
                <a:gd name="connsiteX27" fmla="*/ 1544994 w 2027922"/>
                <a:gd name="connsiteY27" fmla="*/ 2021260 h 3710912"/>
                <a:gd name="connsiteX28" fmla="*/ 1085412 w 2027922"/>
                <a:gd name="connsiteY28" fmla="*/ 2018879 h 3710912"/>
                <a:gd name="connsiteX29" fmla="*/ 1129222 w 2027922"/>
                <a:gd name="connsiteY29" fmla="*/ 3690516 h 3710912"/>
                <a:gd name="connsiteX30" fmla="*/ 899506 w 2027922"/>
                <a:gd name="connsiteY30" fmla="*/ 3600887 h 3710912"/>
                <a:gd name="connsiteX31" fmla="*/ 817923 w 2027922"/>
                <a:gd name="connsiteY31" fmla="*/ 3577093 h 3710912"/>
                <a:gd name="connsiteX32" fmla="*/ 811125 w 2027922"/>
                <a:gd name="connsiteY32" fmla="*/ 3260961 h 3710912"/>
                <a:gd name="connsiteX33" fmla="*/ 685352 w 2027922"/>
                <a:gd name="connsiteY33" fmla="*/ 2302371 h 3710912"/>
                <a:gd name="connsiteX34" fmla="*/ 253852 w 2027922"/>
                <a:gd name="connsiteY34" fmla="*/ 3710912 h 3710912"/>
                <a:gd name="connsiteX35" fmla="*/ 378182 w 2027922"/>
                <a:gd name="connsiteY35" fmla="*/ 1914104 h 3710912"/>
                <a:gd name="connsiteX36" fmla="*/ 301981 w 2027922"/>
                <a:gd name="connsiteY36" fmla="*/ 1861716 h 3710912"/>
                <a:gd name="connsiteX37" fmla="*/ 351987 w 2027922"/>
                <a:gd name="connsiteY37" fmla="*/ 1523579 h 3710912"/>
                <a:gd name="connsiteX38" fmla="*/ 297218 w 2027922"/>
                <a:gd name="connsiteY38" fmla="*/ 1337841 h 3710912"/>
                <a:gd name="connsiteX39" fmla="*/ 409137 w 2027922"/>
                <a:gd name="connsiteY39" fmla="*/ 997323 h 3710912"/>
                <a:gd name="connsiteX40" fmla="*/ 128150 w 2027922"/>
                <a:gd name="connsiteY40" fmla="*/ 652041 h 3710912"/>
                <a:gd name="connsiteX41" fmla="*/ 9087 w 2027922"/>
                <a:gd name="connsiteY41" fmla="*/ 352004 h 3710912"/>
                <a:gd name="connsiteX42" fmla="*/ 59094 w 2027922"/>
                <a:gd name="connsiteY42" fmla="*/ 292473 h 3710912"/>
                <a:gd name="connsiteX43" fmla="*/ 11160 w 2027922"/>
                <a:gd name="connsiteY43" fmla="*/ 171030 h 3710912"/>
                <a:gd name="connsiteX0" fmla="*/ 11160 w 2027922"/>
                <a:gd name="connsiteY0" fmla="*/ 171030 h 3710912"/>
                <a:gd name="connsiteX1" fmla="*/ 30519 w 2027922"/>
                <a:gd name="connsiteY1" fmla="*/ 59110 h 3710912"/>
                <a:gd name="connsiteX2" fmla="*/ 75763 w 2027922"/>
                <a:gd name="connsiteY2" fmla="*/ 25773 h 3710912"/>
                <a:gd name="connsiteX3" fmla="*/ 113863 w 2027922"/>
                <a:gd name="connsiteY3" fmla="*/ 4342 h 3710912"/>
                <a:gd name="connsiteX4" fmla="*/ 197207 w 2027922"/>
                <a:gd name="connsiteY4" fmla="*/ 85306 h 3710912"/>
                <a:gd name="connsiteX5" fmla="*/ 161488 w 2027922"/>
                <a:gd name="connsiteY5" fmla="*/ 249612 h 3710912"/>
                <a:gd name="connsiteX6" fmla="*/ 425807 w 2027922"/>
                <a:gd name="connsiteY6" fmla="*/ 668712 h 3710912"/>
                <a:gd name="connsiteX7" fmla="*/ 525820 w 2027922"/>
                <a:gd name="connsiteY7" fmla="*/ 687762 h 3710912"/>
                <a:gd name="connsiteX8" fmla="*/ 752038 w 2027922"/>
                <a:gd name="connsiteY8" fmla="*/ 790156 h 3710912"/>
                <a:gd name="connsiteX9" fmla="*/ 473432 w 2027922"/>
                <a:gd name="connsiteY9" fmla="*/ 1178299 h 3710912"/>
                <a:gd name="connsiteX10" fmla="*/ 421045 w 2027922"/>
                <a:gd name="connsiteY10" fmla="*/ 1656931 h 3710912"/>
                <a:gd name="connsiteX11" fmla="*/ 1047313 w 2027922"/>
                <a:gd name="connsiteY11" fmla="*/ 1718843 h 3710912"/>
                <a:gd name="connsiteX12" fmla="*/ 1116370 w 2027922"/>
                <a:gd name="connsiteY12" fmla="*/ 1461668 h 3710912"/>
                <a:gd name="connsiteX13" fmla="*/ 923488 w 2027922"/>
                <a:gd name="connsiteY13" fmla="*/ 954461 h 3710912"/>
                <a:gd name="connsiteX14" fmla="*/ 1033026 w 2027922"/>
                <a:gd name="connsiteY14" fmla="*/ 840160 h 3710912"/>
                <a:gd name="connsiteX15" fmla="*/ 1206857 w 2027922"/>
                <a:gd name="connsiteY15" fmla="*/ 756817 h 3710912"/>
                <a:gd name="connsiteX16" fmla="*/ 1335444 w 2027922"/>
                <a:gd name="connsiteY16" fmla="*/ 785392 h 3710912"/>
                <a:gd name="connsiteX17" fmla="*/ 1852176 w 2027922"/>
                <a:gd name="connsiteY17" fmla="*/ 313906 h 3710912"/>
                <a:gd name="connsiteX18" fmla="*/ 1850139 w 2027922"/>
                <a:gd name="connsiteY18" fmla="*/ 175792 h 3710912"/>
                <a:gd name="connsiteX19" fmla="*/ 1925993 w 2027922"/>
                <a:gd name="connsiteY19" fmla="*/ 125785 h 3710912"/>
                <a:gd name="connsiteX20" fmla="*/ 1971238 w 2027922"/>
                <a:gd name="connsiteY20" fmla="*/ 168649 h 3710912"/>
                <a:gd name="connsiteX21" fmla="*/ 2006957 w 2027922"/>
                <a:gd name="connsiteY21" fmla="*/ 218653 h 3710912"/>
                <a:gd name="connsiteX22" fmla="*/ 2021244 w 2027922"/>
                <a:gd name="connsiteY22" fmla="*/ 299616 h 3710912"/>
                <a:gd name="connsiteX23" fmla="*/ 1906944 w 2027922"/>
                <a:gd name="connsiteY23" fmla="*/ 440112 h 3710912"/>
                <a:gd name="connsiteX24" fmla="*/ 1933137 w 2027922"/>
                <a:gd name="connsiteY24" fmla="*/ 502023 h 3710912"/>
                <a:gd name="connsiteX25" fmla="*/ 1544994 w 2027922"/>
                <a:gd name="connsiteY25" fmla="*/ 949698 h 3710912"/>
                <a:gd name="connsiteX26" fmla="*/ 1318775 w 2027922"/>
                <a:gd name="connsiteY26" fmla="*/ 1094954 h 3710912"/>
                <a:gd name="connsiteX27" fmla="*/ 1544994 w 2027922"/>
                <a:gd name="connsiteY27" fmla="*/ 2021260 h 3710912"/>
                <a:gd name="connsiteX28" fmla="*/ 1085412 w 2027922"/>
                <a:gd name="connsiteY28" fmla="*/ 2018879 h 3710912"/>
                <a:gd name="connsiteX29" fmla="*/ 1129222 w 2027922"/>
                <a:gd name="connsiteY29" fmla="*/ 3690516 h 3710912"/>
                <a:gd name="connsiteX30" fmla="*/ 899506 w 2027922"/>
                <a:gd name="connsiteY30" fmla="*/ 3600887 h 3710912"/>
                <a:gd name="connsiteX31" fmla="*/ 817923 w 2027922"/>
                <a:gd name="connsiteY31" fmla="*/ 3577093 h 3710912"/>
                <a:gd name="connsiteX32" fmla="*/ 811125 w 2027922"/>
                <a:gd name="connsiteY32" fmla="*/ 3260961 h 3710912"/>
                <a:gd name="connsiteX33" fmla="*/ 794129 w 2027922"/>
                <a:gd name="connsiteY33" fmla="*/ 2798662 h 3710912"/>
                <a:gd name="connsiteX34" fmla="*/ 685352 w 2027922"/>
                <a:gd name="connsiteY34" fmla="*/ 2302371 h 3710912"/>
                <a:gd name="connsiteX35" fmla="*/ 253852 w 2027922"/>
                <a:gd name="connsiteY35" fmla="*/ 3710912 h 3710912"/>
                <a:gd name="connsiteX36" fmla="*/ 378182 w 2027922"/>
                <a:gd name="connsiteY36" fmla="*/ 1914104 h 3710912"/>
                <a:gd name="connsiteX37" fmla="*/ 301981 w 2027922"/>
                <a:gd name="connsiteY37" fmla="*/ 1861716 h 3710912"/>
                <a:gd name="connsiteX38" fmla="*/ 351987 w 2027922"/>
                <a:gd name="connsiteY38" fmla="*/ 1523579 h 3710912"/>
                <a:gd name="connsiteX39" fmla="*/ 297218 w 2027922"/>
                <a:gd name="connsiteY39" fmla="*/ 1337841 h 3710912"/>
                <a:gd name="connsiteX40" fmla="*/ 409137 w 2027922"/>
                <a:gd name="connsiteY40" fmla="*/ 997323 h 3710912"/>
                <a:gd name="connsiteX41" fmla="*/ 128150 w 2027922"/>
                <a:gd name="connsiteY41" fmla="*/ 652041 h 3710912"/>
                <a:gd name="connsiteX42" fmla="*/ 9087 w 2027922"/>
                <a:gd name="connsiteY42" fmla="*/ 352004 h 3710912"/>
                <a:gd name="connsiteX43" fmla="*/ 59094 w 2027922"/>
                <a:gd name="connsiteY43" fmla="*/ 292473 h 3710912"/>
                <a:gd name="connsiteX44" fmla="*/ 11160 w 2027922"/>
                <a:gd name="connsiteY44" fmla="*/ 171030 h 3710912"/>
                <a:gd name="connsiteX0" fmla="*/ 11160 w 2027922"/>
                <a:gd name="connsiteY0" fmla="*/ 171030 h 3710912"/>
                <a:gd name="connsiteX1" fmla="*/ 30519 w 2027922"/>
                <a:gd name="connsiteY1" fmla="*/ 59110 h 3710912"/>
                <a:gd name="connsiteX2" fmla="*/ 75763 w 2027922"/>
                <a:gd name="connsiteY2" fmla="*/ 25773 h 3710912"/>
                <a:gd name="connsiteX3" fmla="*/ 113863 w 2027922"/>
                <a:gd name="connsiteY3" fmla="*/ 4342 h 3710912"/>
                <a:gd name="connsiteX4" fmla="*/ 197207 w 2027922"/>
                <a:gd name="connsiteY4" fmla="*/ 85306 h 3710912"/>
                <a:gd name="connsiteX5" fmla="*/ 161488 w 2027922"/>
                <a:gd name="connsiteY5" fmla="*/ 249612 h 3710912"/>
                <a:gd name="connsiteX6" fmla="*/ 425807 w 2027922"/>
                <a:gd name="connsiteY6" fmla="*/ 668712 h 3710912"/>
                <a:gd name="connsiteX7" fmla="*/ 525820 w 2027922"/>
                <a:gd name="connsiteY7" fmla="*/ 687762 h 3710912"/>
                <a:gd name="connsiteX8" fmla="*/ 752038 w 2027922"/>
                <a:gd name="connsiteY8" fmla="*/ 790156 h 3710912"/>
                <a:gd name="connsiteX9" fmla="*/ 473432 w 2027922"/>
                <a:gd name="connsiteY9" fmla="*/ 1178299 h 3710912"/>
                <a:gd name="connsiteX10" fmla="*/ 421045 w 2027922"/>
                <a:gd name="connsiteY10" fmla="*/ 1656931 h 3710912"/>
                <a:gd name="connsiteX11" fmla="*/ 1047313 w 2027922"/>
                <a:gd name="connsiteY11" fmla="*/ 1718843 h 3710912"/>
                <a:gd name="connsiteX12" fmla="*/ 1116370 w 2027922"/>
                <a:gd name="connsiteY12" fmla="*/ 1461668 h 3710912"/>
                <a:gd name="connsiteX13" fmla="*/ 923488 w 2027922"/>
                <a:gd name="connsiteY13" fmla="*/ 954461 h 3710912"/>
                <a:gd name="connsiteX14" fmla="*/ 1033026 w 2027922"/>
                <a:gd name="connsiteY14" fmla="*/ 840160 h 3710912"/>
                <a:gd name="connsiteX15" fmla="*/ 1206857 w 2027922"/>
                <a:gd name="connsiteY15" fmla="*/ 756817 h 3710912"/>
                <a:gd name="connsiteX16" fmla="*/ 1335444 w 2027922"/>
                <a:gd name="connsiteY16" fmla="*/ 785392 h 3710912"/>
                <a:gd name="connsiteX17" fmla="*/ 1852176 w 2027922"/>
                <a:gd name="connsiteY17" fmla="*/ 313906 h 3710912"/>
                <a:gd name="connsiteX18" fmla="*/ 1850139 w 2027922"/>
                <a:gd name="connsiteY18" fmla="*/ 175792 h 3710912"/>
                <a:gd name="connsiteX19" fmla="*/ 1925993 w 2027922"/>
                <a:gd name="connsiteY19" fmla="*/ 125785 h 3710912"/>
                <a:gd name="connsiteX20" fmla="*/ 1971238 w 2027922"/>
                <a:gd name="connsiteY20" fmla="*/ 168649 h 3710912"/>
                <a:gd name="connsiteX21" fmla="*/ 2006957 w 2027922"/>
                <a:gd name="connsiteY21" fmla="*/ 218653 h 3710912"/>
                <a:gd name="connsiteX22" fmla="*/ 2021244 w 2027922"/>
                <a:gd name="connsiteY22" fmla="*/ 299616 h 3710912"/>
                <a:gd name="connsiteX23" fmla="*/ 1906944 w 2027922"/>
                <a:gd name="connsiteY23" fmla="*/ 440112 h 3710912"/>
                <a:gd name="connsiteX24" fmla="*/ 1933137 w 2027922"/>
                <a:gd name="connsiteY24" fmla="*/ 502023 h 3710912"/>
                <a:gd name="connsiteX25" fmla="*/ 1544994 w 2027922"/>
                <a:gd name="connsiteY25" fmla="*/ 949698 h 3710912"/>
                <a:gd name="connsiteX26" fmla="*/ 1318775 w 2027922"/>
                <a:gd name="connsiteY26" fmla="*/ 1094954 h 3710912"/>
                <a:gd name="connsiteX27" fmla="*/ 1544994 w 2027922"/>
                <a:gd name="connsiteY27" fmla="*/ 2021260 h 3710912"/>
                <a:gd name="connsiteX28" fmla="*/ 1085412 w 2027922"/>
                <a:gd name="connsiteY28" fmla="*/ 2018879 h 3710912"/>
                <a:gd name="connsiteX29" fmla="*/ 1129222 w 2027922"/>
                <a:gd name="connsiteY29" fmla="*/ 3690516 h 3710912"/>
                <a:gd name="connsiteX30" fmla="*/ 899506 w 2027922"/>
                <a:gd name="connsiteY30" fmla="*/ 3600887 h 3710912"/>
                <a:gd name="connsiteX31" fmla="*/ 817923 w 2027922"/>
                <a:gd name="connsiteY31" fmla="*/ 3577093 h 3710912"/>
                <a:gd name="connsiteX32" fmla="*/ 811125 w 2027922"/>
                <a:gd name="connsiteY32" fmla="*/ 3260961 h 3710912"/>
                <a:gd name="connsiteX33" fmla="*/ 794129 w 2027922"/>
                <a:gd name="connsiteY33" fmla="*/ 2798662 h 3710912"/>
                <a:gd name="connsiteX34" fmla="*/ 685352 w 2027922"/>
                <a:gd name="connsiteY34" fmla="*/ 2302371 h 3710912"/>
                <a:gd name="connsiteX35" fmla="*/ 253852 w 2027922"/>
                <a:gd name="connsiteY35" fmla="*/ 3710912 h 3710912"/>
                <a:gd name="connsiteX36" fmla="*/ 378182 w 2027922"/>
                <a:gd name="connsiteY36" fmla="*/ 1914104 h 3710912"/>
                <a:gd name="connsiteX37" fmla="*/ 301981 w 2027922"/>
                <a:gd name="connsiteY37" fmla="*/ 1861716 h 3710912"/>
                <a:gd name="connsiteX38" fmla="*/ 351987 w 2027922"/>
                <a:gd name="connsiteY38" fmla="*/ 1523579 h 3710912"/>
                <a:gd name="connsiteX39" fmla="*/ 297218 w 2027922"/>
                <a:gd name="connsiteY39" fmla="*/ 1337841 h 3710912"/>
                <a:gd name="connsiteX40" fmla="*/ 409137 w 2027922"/>
                <a:gd name="connsiteY40" fmla="*/ 997323 h 3710912"/>
                <a:gd name="connsiteX41" fmla="*/ 128150 w 2027922"/>
                <a:gd name="connsiteY41" fmla="*/ 652041 h 3710912"/>
                <a:gd name="connsiteX42" fmla="*/ 9087 w 2027922"/>
                <a:gd name="connsiteY42" fmla="*/ 352004 h 3710912"/>
                <a:gd name="connsiteX43" fmla="*/ 59094 w 2027922"/>
                <a:gd name="connsiteY43" fmla="*/ 292473 h 3710912"/>
                <a:gd name="connsiteX44" fmla="*/ 11160 w 2027922"/>
                <a:gd name="connsiteY44" fmla="*/ 171030 h 3710912"/>
                <a:gd name="connsiteX0" fmla="*/ 11160 w 2027922"/>
                <a:gd name="connsiteY0" fmla="*/ 171030 h 3710912"/>
                <a:gd name="connsiteX1" fmla="*/ 30519 w 2027922"/>
                <a:gd name="connsiteY1" fmla="*/ 59110 h 3710912"/>
                <a:gd name="connsiteX2" fmla="*/ 75763 w 2027922"/>
                <a:gd name="connsiteY2" fmla="*/ 25773 h 3710912"/>
                <a:gd name="connsiteX3" fmla="*/ 113863 w 2027922"/>
                <a:gd name="connsiteY3" fmla="*/ 4342 h 3710912"/>
                <a:gd name="connsiteX4" fmla="*/ 197207 w 2027922"/>
                <a:gd name="connsiteY4" fmla="*/ 85306 h 3710912"/>
                <a:gd name="connsiteX5" fmla="*/ 161488 w 2027922"/>
                <a:gd name="connsiteY5" fmla="*/ 249612 h 3710912"/>
                <a:gd name="connsiteX6" fmla="*/ 425807 w 2027922"/>
                <a:gd name="connsiteY6" fmla="*/ 668712 h 3710912"/>
                <a:gd name="connsiteX7" fmla="*/ 525820 w 2027922"/>
                <a:gd name="connsiteY7" fmla="*/ 687762 h 3710912"/>
                <a:gd name="connsiteX8" fmla="*/ 752038 w 2027922"/>
                <a:gd name="connsiteY8" fmla="*/ 790156 h 3710912"/>
                <a:gd name="connsiteX9" fmla="*/ 473432 w 2027922"/>
                <a:gd name="connsiteY9" fmla="*/ 1178299 h 3710912"/>
                <a:gd name="connsiteX10" fmla="*/ 421045 w 2027922"/>
                <a:gd name="connsiteY10" fmla="*/ 1656931 h 3710912"/>
                <a:gd name="connsiteX11" fmla="*/ 1047313 w 2027922"/>
                <a:gd name="connsiteY11" fmla="*/ 1718843 h 3710912"/>
                <a:gd name="connsiteX12" fmla="*/ 1116370 w 2027922"/>
                <a:gd name="connsiteY12" fmla="*/ 1461668 h 3710912"/>
                <a:gd name="connsiteX13" fmla="*/ 923488 w 2027922"/>
                <a:gd name="connsiteY13" fmla="*/ 954461 h 3710912"/>
                <a:gd name="connsiteX14" fmla="*/ 1033026 w 2027922"/>
                <a:gd name="connsiteY14" fmla="*/ 840160 h 3710912"/>
                <a:gd name="connsiteX15" fmla="*/ 1206857 w 2027922"/>
                <a:gd name="connsiteY15" fmla="*/ 756817 h 3710912"/>
                <a:gd name="connsiteX16" fmla="*/ 1335444 w 2027922"/>
                <a:gd name="connsiteY16" fmla="*/ 785392 h 3710912"/>
                <a:gd name="connsiteX17" fmla="*/ 1852176 w 2027922"/>
                <a:gd name="connsiteY17" fmla="*/ 313906 h 3710912"/>
                <a:gd name="connsiteX18" fmla="*/ 1850139 w 2027922"/>
                <a:gd name="connsiteY18" fmla="*/ 175792 h 3710912"/>
                <a:gd name="connsiteX19" fmla="*/ 1925993 w 2027922"/>
                <a:gd name="connsiteY19" fmla="*/ 125785 h 3710912"/>
                <a:gd name="connsiteX20" fmla="*/ 1971238 w 2027922"/>
                <a:gd name="connsiteY20" fmla="*/ 168649 h 3710912"/>
                <a:gd name="connsiteX21" fmla="*/ 2006957 w 2027922"/>
                <a:gd name="connsiteY21" fmla="*/ 218653 h 3710912"/>
                <a:gd name="connsiteX22" fmla="*/ 2021244 w 2027922"/>
                <a:gd name="connsiteY22" fmla="*/ 299616 h 3710912"/>
                <a:gd name="connsiteX23" fmla="*/ 1906944 w 2027922"/>
                <a:gd name="connsiteY23" fmla="*/ 440112 h 3710912"/>
                <a:gd name="connsiteX24" fmla="*/ 1933137 w 2027922"/>
                <a:gd name="connsiteY24" fmla="*/ 502023 h 3710912"/>
                <a:gd name="connsiteX25" fmla="*/ 1544994 w 2027922"/>
                <a:gd name="connsiteY25" fmla="*/ 949698 h 3710912"/>
                <a:gd name="connsiteX26" fmla="*/ 1318775 w 2027922"/>
                <a:gd name="connsiteY26" fmla="*/ 1094954 h 3710912"/>
                <a:gd name="connsiteX27" fmla="*/ 1544994 w 2027922"/>
                <a:gd name="connsiteY27" fmla="*/ 2021260 h 3710912"/>
                <a:gd name="connsiteX28" fmla="*/ 1085412 w 2027922"/>
                <a:gd name="connsiteY28" fmla="*/ 2018879 h 3710912"/>
                <a:gd name="connsiteX29" fmla="*/ 1129222 w 2027922"/>
                <a:gd name="connsiteY29" fmla="*/ 3690516 h 3710912"/>
                <a:gd name="connsiteX30" fmla="*/ 899506 w 2027922"/>
                <a:gd name="connsiteY30" fmla="*/ 3600887 h 3710912"/>
                <a:gd name="connsiteX31" fmla="*/ 817923 w 2027922"/>
                <a:gd name="connsiteY31" fmla="*/ 3577093 h 3710912"/>
                <a:gd name="connsiteX32" fmla="*/ 811125 w 2027922"/>
                <a:gd name="connsiteY32" fmla="*/ 3260961 h 3710912"/>
                <a:gd name="connsiteX33" fmla="*/ 794129 w 2027922"/>
                <a:gd name="connsiteY33" fmla="*/ 2798662 h 3710912"/>
                <a:gd name="connsiteX34" fmla="*/ 685352 w 2027922"/>
                <a:gd name="connsiteY34" fmla="*/ 2302371 h 3710912"/>
                <a:gd name="connsiteX35" fmla="*/ 253852 w 2027922"/>
                <a:gd name="connsiteY35" fmla="*/ 3710912 h 3710912"/>
                <a:gd name="connsiteX36" fmla="*/ 378182 w 2027922"/>
                <a:gd name="connsiteY36" fmla="*/ 1914104 h 3710912"/>
                <a:gd name="connsiteX37" fmla="*/ 301981 w 2027922"/>
                <a:gd name="connsiteY37" fmla="*/ 1861716 h 3710912"/>
                <a:gd name="connsiteX38" fmla="*/ 351987 w 2027922"/>
                <a:gd name="connsiteY38" fmla="*/ 1523579 h 3710912"/>
                <a:gd name="connsiteX39" fmla="*/ 297218 w 2027922"/>
                <a:gd name="connsiteY39" fmla="*/ 1337841 h 3710912"/>
                <a:gd name="connsiteX40" fmla="*/ 409137 w 2027922"/>
                <a:gd name="connsiteY40" fmla="*/ 997323 h 3710912"/>
                <a:gd name="connsiteX41" fmla="*/ 128150 w 2027922"/>
                <a:gd name="connsiteY41" fmla="*/ 652041 h 3710912"/>
                <a:gd name="connsiteX42" fmla="*/ 9087 w 2027922"/>
                <a:gd name="connsiteY42" fmla="*/ 352004 h 3710912"/>
                <a:gd name="connsiteX43" fmla="*/ 59094 w 2027922"/>
                <a:gd name="connsiteY43" fmla="*/ 292473 h 3710912"/>
                <a:gd name="connsiteX44" fmla="*/ 11160 w 2027922"/>
                <a:gd name="connsiteY44" fmla="*/ 171030 h 3710912"/>
                <a:gd name="connsiteX0" fmla="*/ 11160 w 2027922"/>
                <a:gd name="connsiteY0" fmla="*/ 171030 h 3710912"/>
                <a:gd name="connsiteX1" fmla="*/ 30519 w 2027922"/>
                <a:gd name="connsiteY1" fmla="*/ 59110 h 3710912"/>
                <a:gd name="connsiteX2" fmla="*/ 75763 w 2027922"/>
                <a:gd name="connsiteY2" fmla="*/ 25773 h 3710912"/>
                <a:gd name="connsiteX3" fmla="*/ 113863 w 2027922"/>
                <a:gd name="connsiteY3" fmla="*/ 4342 h 3710912"/>
                <a:gd name="connsiteX4" fmla="*/ 197207 w 2027922"/>
                <a:gd name="connsiteY4" fmla="*/ 85306 h 3710912"/>
                <a:gd name="connsiteX5" fmla="*/ 161488 w 2027922"/>
                <a:gd name="connsiteY5" fmla="*/ 249612 h 3710912"/>
                <a:gd name="connsiteX6" fmla="*/ 425807 w 2027922"/>
                <a:gd name="connsiteY6" fmla="*/ 668712 h 3710912"/>
                <a:gd name="connsiteX7" fmla="*/ 525820 w 2027922"/>
                <a:gd name="connsiteY7" fmla="*/ 687762 h 3710912"/>
                <a:gd name="connsiteX8" fmla="*/ 752038 w 2027922"/>
                <a:gd name="connsiteY8" fmla="*/ 790156 h 3710912"/>
                <a:gd name="connsiteX9" fmla="*/ 473432 w 2027922"/>
                <a:gd name="connsiteY9" fmla="*/ 1178299 h 3710912"/>
                <a:gd name="connsiteX10" fmla="*/ 421045 w 2027922"/>
                <a:gd name="connsiteY10" fmla="*/ 1656931 h 3710912"/>
                <a:gd name="connsiteX11" fmla="*/ 1047313 w 2027922"/>
                <a:gd name="connsiteY11" fmla="*/ 1718843 h 3710912"/>
                <a:gd name="connsiteX12" fmla="*/ 1116370 w 2027922"/>
                <a:gd name="connsiteY12" fmla="*/ 1461668 h 3710912"/>
                <a:gd name="connsiteX13" fmla="*/ 923488 w 2027922"/>
                <a:gd name="connsiteY13" fmla="*/ 954461 h 3710912"/>
                <a:gd name="connsiteX14" fmla="*/ 1033026 w 2027922"/>
                <a:gd name="connsiteY14" fmla="*/ 840160 h 3710912"/>
                <a:gd name="connsiteX15" fmla="*/ 1206857 w 2027922"/>
                <a:gd name="connsiteY15" fmla="*/ 756817 h 3710912"/>
                <a:gd name="connsiteX16" fmla="*/ 1335444 w 2027922"/>
                <a:gd name="connsiteY16" fmla="*/ 785392 h 3710912"/>
                <a:gd name="connsiteX17" fmla="*/ 1852176 w 2027922"/>
                <a:gd name="connsiteY17" fmla="*/ 313906 h 3710912"/>
                <a:gd name="connsiteX18" fmla="*/ 1850139 w 2027922"/>
                <a:gd name="connsiteY18" fmla="*/ 175792 h 3710912"/>
                <a:gd name="connsiteX19" fmla="*/ 1925993 w 2027922"/>
                <a:gd name="connsiteY19" fmla="*/ 125785 h 3710912"/>
                <a:gd name="connsiteX20" fmla="*/ 1971238 w 2027922"/>
                <a:gd name="connsiteY20" fmla="*/ 168649 h 3710912"/>
                <a:gd name="connsiteX21" fmla="*/ 2006957 w 2027922"/>
                <a:gd name="connsiteY21" fmla="*/ 218653 h 3710912"/>
                <a:gd name="connsiteX22" fmla="*/ 2021244 w 2027922"/>
                <a:gd name="connsiteY22" fmla="*/ 299616 h 3710912"/>
                <a:gd name="connsiteX23" fmla="*/ 1906944 w 2027922"/>
                <a:gd name="connsiteY23" fmla="*/ 440112 h 3710912"/>
                <a:gd name="connsiteX24" fmla="*/ 1933137 w 2027922"/>
                <a:gd name="connsiteY24" fmla="*/ 502023 h 3710912"/>
                <a:gd name="connsiteX25" fmla="*/ 1544994 w 2027922"/>
                <a:gd name="connsiteY25" fmla="*/ 949698 h 3710912"/>
                <a:gd name="connsiteX26" fmla="*/ 1318775 w 2027922"/>
                <a:gd name="connsiteY26" fmla="*/ 1094954 h 3710912"/>
                <a:gd name="connsiteX27" fmla="*/ 1544994 w 2027922"/>
                <a:gd name="connsiteY27" fmla="*/ 2021260 h 3710912"/>
                <a:gd name="connsiteX28" fmla="*/ 1085412 w 2027922"/>
                <a:gd name="connsiteY28" fmla="*/ 2018879 h 3710912"/>
                <a:gd name="connsiteX29" fmla="*/ 1129222 w 2027922"/>
                <a:gd name="connsiteY29" fmla="*/ 3690516 h 3710912"/>
                <a:gd name="connsiteX30" fmla="*/ 899506 w 2027922"/>
                <a:gd name="connsiteY30" fmla="*/ 3600887 h 3710912"/>
                <a:gd name="connsiteX31" fmla="*/ 817923 w 2027922"/>
                <a:gd name="connsiteY31" fmla="*/ 3577093 h 3710912"/>
                <a:gd name="connsiteX32" fmla="*/ 811125 w 2027922"/>
                <a:gd name="connsiteY32" fmla="*/ 3260961 h 3710912"/>
                <a:gd name="connsiteX33" fmla="*/ 794129 w 2027922"/>
                <a:gd name="connsiteY33" fmla="*/ 2798662 h 3710912"/>
                <a:gd name="connsiteX34" fmla="*/ 685352 w 2027922"/>
                <a:gd name="connsiteY34" fmla="*/ 2302371 h 3710912"/>
                <a:gd name="connsiteX35" fmla="*/ 253852 w 2027922"/>
                <a:gd name="connsiteY35" fmla="*/ 3710912 h 3710912"/>
                <a:gd name="connsiteX36" fmla="*/ 378182 w 2027922"/>
                <a:gd name="connsiteY36" fmla="*/ 1914104 h 3710912"/>
                <a:gd name="connsiteX37" fmla="*/ 301981 w 2027922"/>
                <a:gd name="connsiteY37" fmla="*/ 1861716 h 3710912"/>
                <a:gd name="connsiteX38" fmla="*/ 351987 w 2027922"/>
                <a:gd name="connsiteY38" fmla="*/ 1523579 h 3710912"/>
                <a:gd name="connsiteX39" fmla="*/ 297218 w 2027922"/>
                <a:gd name="connsiteY39" fmla="*/ 1337841 h 3710912"/>
                <a:gd name="connsiteX40" fmla="*/ 409137 w 2027922"/>
                <a:gd name="connsiteY40" fmla="*/ 997323 h 3710912"/>
                <a:gd name="connsiteX41" fmla="*/ 128150 w 2027922"/>
                <a:gd name="connsiteY41" fmla="*/ 652041 h 3710912"/>
                <a:gd name="connsiteX42" fmla="*/ 9087 w 2027922"/>
                <a:gd name="connsiteY42" fmla="*/ 352004 h 3710912"/>
                <a:gd name="connsiteX43" fmla="*/ 59094 w 2027922"/>
                <a:gd name="connsiteY43" fmla="*/ 292473 h 3710912"/>
                <a:gd name="connsiteX44" fmla="*/ 11160 w 2027922"/>
                <a:gd name="connsiteY44" fmla="*/ 171030 h 3710912"/>
                <a:gd name="connsiteX0" fmla="*/ 11160 w 2027922"/>
                <a:gd name="connsiteY0" fmla="*/ 171030 h 3710912"/>
                <a:gd name="connsiteX1" fmla="*/ 30519 w 2027922"/>
                <a:gd name="connsiteY1" fmla="*/ 59110 h 3710912"/>
                <a:gd name="connsiteX2" fmla="*/ 75763 w 2027922"/>
                <a:gd name="connsiteY2" fmla="*/ 25773 h 3710912"/>
                <a:gd name="connsiteX3" fmla="*/ 113863 w 2027922"/>
                <a:gd name="connsiteY3" fmla="*/ 4342 h 3710912"/>
                <a:gd name="connsiteX4" fmla="*/ 197207 w 2027922"/>
                <a:gd name="connsiteY4" fmla="*/ 85306 h 3710912"/>
                <a:gd name="connsiteX5" fmla="*/ 161488 w 2027922"/>
                <a:gd name="connsiteY5" fmla="*/ 249612 h 3710912"/>
                <a:gd name="connsiteX6" fmla="*/ 425807 w 2027922"/>
                <a:gd name="connsiteY6" fmla="*/ 668712 h 3710912"/>
                <a:gd name="connsiteX7" fmla="*/ 525820 w 2027922"/>
                <a:gd name="connsiteY7" fmla="*/ 687762 h 3710912"/>
                <a:gd name="connsiteX8" fmla="*/ 752038 w 2027922"/>
                <a:gd name="connsiteY8" fmla="*/ 790156 h 3710912"/>
                <a:gd name="connsiteX9" fmla="*/ 473432 w 2027922"/>
                <a:gd name="connsiteY9" fmla="*/ 1178299 h 3710912"/>
                <a:gd name="connsiteX10" fmla="*/ 421045 w 2027922"/>
                <a:gd name="connsiteY10" fmla="*/ 1656931 h 3710912"/>
                <a:gd name="connsiteX11" fmla="*/ 1047313 w 2027922"/>
                <a:gd name="connsiteY11" fmla="*/ 1718843 h 3710912"/>
                <a:gd name="connsiteX12" fmla="*/ 1116370 w 2027922"/>
                <a:gd name="connsiteY12" fmla="*/ 1461668 h 3710912"/>
                <a:gd name="connsiteX13" fmla="*/ 923488 w 2027922"/>
                <a:gd name="connsiteY13" fmla="*/ 954461 h 3710912"/>
                <a:gd name="connsiteX14" fmla="*/ 1033026 w 2027922"/>
                <a:gd name="connsiteY14" fmla="*/ 840160 h 3710912"/>
                <a:gd name="connsiteX15" fmla="*/ 1206857 w 2027922"/>
                <a:gd name="connsiteY15" fmla="*/ 756817 h 3710912"/>
                <a:gd name="connsiteX16" fmla="*/ 1335444 w 2027922"/>
                <a:gd name="connsiteY16" fmla="*/ 785392 h 3710912"/>
                <a:gd name="connsiteX17" fmla="*/ 1852176 w 2027922"/>
                <a:gd name="connsiteY17" fmla="*/ 313906 h 3710912"/>
                <a:gd name="connsiteX18" fmla="*/ 1850139 w 2027922"/>
                <a:gd name="connsiteY18" fmla="*/ 175792 h 3710912"/>
                <a:gd name="connsiteX19" fmla="*/ 1925993 w 2027922"/>
                <a:gd name="connsiteY19" fmla="*/ 125785 h 3710912"/>
                <a:gd name="connsiteX20" fmla="*/ 1971238 w 2027922"/>
                <a:gd name="connsiteY20" fmla="*/ 168649 h 3710912"/>
                <a:gd name="connsiteX21" fmla="*/ 2006957 w 2027922"/>
                <a:gd name="connsiteY21" fmla="*/ 218653 h 3710912"/>
                <a:gd name="connsiteX22" fmla="*/ 2021244 w 2027922"/>
                <a:gd name="connsiteY22" fmla="*/ 299616 h 3710912"/>
                <a:gd name="connsiteX23" fmla="*/ 1906944 w 2027922"/>
                <a:gd name="connsiteY23" fmla="*/ 440112 h 3710912"/>
                <a:gd name="connsiteX24" fmla="*/ 1933137 w 2027922"/>
                <a:gd name="connsiteY24" fmla="*/ 502023 h 3710912"/>
                <a:gd name="connsiteX25" fmla="*/ 1544994 w 2027922"/>
                <a:gd name="connsiteY25" fmla="*/ 949698 h 3710912"/>
                <a:gd name="connsiteX26" fmla="*/ 1318775 w 2027922"/>
                <a:gd name="connsiteY26" fmla="*/ 1094954 h 3710912"/>
                <a:gd name="connsiteX27" fmla="*/ 1544994 w 2027922"/>
                <a:gd name="connsiteY27" fmla="*/ 2021260 h 3710912"/>
                <a:gd name="connsiteX28" fmla="*/ 1085412 w 2027922"/>
                <a:gd name="connsiteY28" fmla="*/ 2018879 h 3710912"/>
                <a:gd name="connsiteX29" fmla="*/ 1129222 w 2027922"/>
                <a:gd name="connsiteY29" fmla="*/ 3690516 h 3710912"/>
                <a:gd name="connsiteX30" fmla="*/ 899506 w 2027922"/>
                <a:gd name="connsiteY30" fmla="*/ 3600887 h 3710912"/>
                <a:gd name="connsiteX31" fmla="*/ 817923 w 2027922"/>
                <a:gd name="connsiteY31" fmla="*/ 3577093 h 3710912"/>
                <a:gd name="connsiteX32" fmla="*/ 811125 w 2027922"/>
                <a:gd name="connsiteY32" fmla="*/ 3260961 h 3710912"/>
                <a:gd name="connsiteX33" fmla="*/ 794129 w 2027922"/>
                <a:gd name="connsiteY33" fmla="*/ 2798662 h 3710912"/>
                <a:gd name="connsiteX34" fmla="*/ 685352 w 2027922"/>
                <a:gd name="connsiteY34" fmla="*/ 2302371 h 3710912"/>
                <a:gd name="connsiteX35" fmla="*/ 613968 w 2027922"/>
                <a:gd name="connsiteY35" fmla="*/ 3600886 h 3710912"/>
                <a:gd name="connsiteX36" fmla="*/ 253852 w 2027922"/>
                <a:gd name="connsiteY36" fmla="*/ 3710912 h 3710912"/>
                <a:gd name="connsiteX37" fmla="*/ 378182 w 2027922"/>
                <a:gd name="connsiteY37" fmla="*/ 1914104 h 3710912"/>
                <a:gd name="connsiteX38" fmla="*/ 301981 w 2027922"/>
                <a:gd name="connsiteY38" fmla="*/ 1861716 h 3710912"/>
                <a:gd name="connsiteX39" fmla="*/ 351987 w 2027922"/>
                <a:gd name="connsiteY39" fmla="*/ 1523579 h 3710912"/>
                <a:gd name="connsiteX40" fmla="*/ 297218 w 2027922"/>
                <a:gd name="connsiteY40" fmla="*/ 1337841 h 3710912"/>
                <a:gd name="connsiteX41" fmla="*/ 409137 w 2027922"/>
                <a:gd name="connsiteY41" fmla="*/ 997323 h 3710912"/>
                <a:gd name="connsiteX42" fmla="*/ 128150 w 2027922"/>
                <a:gd name="connsiteY42" fmla="*/ 652041 h 3710912"/>
                <a:gd name="connsiteX43" fmla="*/ 9087 w 2027922"/>
                <a:gd name="connsiteY43" fmla="*/ 352004 h 3710912"/>
                <a:gd name="connsiteX44" fmla="*/ 59094 w 2027922"/>
                <a:gd name="connsiteY44" fmla="*/ 292473 h 3710912"/>
                <a:gd name="connsiteX45" fmla="*/ 11160 w 2027922"/>
                <a:gd name="connsiteY45" fmla="*/ 171030 h 3710912"/>
                <a:gd name="connsiteX0" fmla="*/ 11160 w 2027922"/>
                <a:gd name="connsiteY0" fmla="*/ 171030 h 3710912"/>
                <a:gd name="connsiteX1" fmla="*/ 30519 w 2027922"/>
                <a:gd name="connsiteY1" fmla="*/ 59110 h 3710912"/>
                <a:gd name="connsiteX2" fmla="*/ 75763 w 2027922"/>
                <a:gd name="connsiteY2" fmla="*/ 25773 h 3710912"/>
                <a:gd name="connsiteX3" fmla="*/ 113863 w 2027922"/>
                <a:gd name="connsiteY3" fmla="*/ 4342 h 3710912"/>
                <a:gd name="connsiteX4" fmla="*/ 197207 w 2027922"/>
                <a:gd name="connsiteY4" fmla="*/ 85306 h 3710912"/>
                <a:gd name="connsiteX5" fmla="*/ 161488 w 2027922"/>
                <a:gd name="connsiteY5" fmla="*/ 249612 h 3710912"/>
                <a:gd name="connsiteX6" fmla="*/ 425807 w 2027922"/>
                <a:gd name="connsiteY6" fmla="*/ 668712 h 3710912"/>
                <a:gd name="connsiteX7" fmla="*/ 525820 w 2027922"/>
                <a:gd name="connsiteY7" fmla="*/ 687762 h 3710912"/>
                <a:gd name="connsiteX8" fmla="*/ 752038 w 2027922"/>
                <a:gd name="connsiteY8" fmla="*/ 790156 h 3710912"/>
                <a:gd name="connsiteX9" fmla="*/ 473432 w 2027922"/>
                <a:gd name="connsiteY9" fmla="*/ 1178299 h 3710912"/>
                <a:gd name="connsiteX10" fmla="*/ 421045 w 2027922"/>
                <a:gd name="connsiteY10" fmla="*/ 1656931 h 3710912"/>
                <a:gd name="connsiteX11" fmla="*/ 1047313 w 2027922"/>
                <a:gd name="connsiteY11" fmla="*/ 1718843 h 3710912"/>
                <a:gd name="connsiteX12" fmla="*/ 1116370 w 2027922"/>
                <a:gd name="connsiteY12" fmla="*/ 1461668 h 3710912"/>
                <a:gd name="connsiteX13" fmla="*/ 923488 w 2027922"/>
                <a:gd name="connsiteY13" fmla="*/ 954461 h 3710912"/>
                <a:gd name="connsiteX14" fmla="*/ 1033026 w 2027922"/>
                <a:gd name="connsiteY14" fmla="*/ 840160 h 3710912"/>
                <a:gd name="connsiteX15" fmla="*/ 1206857 w 2027922"/>
                <a:gd name="connsiteY15" fmla="*/ 756817 h 3710912"/>
                <a:gd name="connsiteX16" fmla="*/ 1335444 w 2027922"/>
                <a:gd name="connsiteY16" fmla="*/ 785392 h 3710912"/>
                <a:gd name="connsiteX17" fmla="*/ 1852176 w 2027922"/>
                <a:gd name="connsiteY17" fmla="*/ 313906 h 3710912"/>
                <a:gd name="connsiteX18" fmla="*/ 1850139 w 2027922"/>
                <a:gd name="connsiteY18" fmla="*/ 175792 h 3710912"/>
                <a:gd name="connsiteX19" fmla="*/ 1925993 w 2027922"/>
                <a:gd name="connsiteY19" fmla="*/ 125785 h 3710912"/>
                <a:gd name="connsiteX20" fmla="*/ 1971238 w 2027922"/>
                <a:gd name="connsiteY20" fmla="*/ 168649 h 3710912"/>
                <a:gd name="connsiteX21" fmla="*/ 2006957 w 2027922"/>
                <a:gd name="connsiteY21" fmla="*/ 218653 h 3710912"/>
                <a:gd name="connsiteX22" fmla="*/ 2021244 w 2027922"/>
                <a:gd name="connsiteY22" fmla="*/ 299616 h 3710912"/>
                <a:gd name="connsiteX23" fmla="*/ 1906944 w 2027922"/>
                <a:gd name="connsiteY23" fmla="*/ 440112 h 3710912"/>
                <a:gd name="connsiteX24" fmla="*/ 1933137 w 2027922"/>
                <a:gd name="connsiteY24" fmla="*/ 502023 h 3710912"/>
                <a:gd name="connsiteX25" fmla="*/ 1544994 w 2027922"/>
                <a:gd name="connsiteY25" fmla="*/ 949698 h 3710912"/>
                <a:gd name="connsiteX26" fmla="*/ 1318775 w 2027922"/>
                <a:gd name="connsiteY26" fmla="*/ 1094954 h 3710912"/>
                <a:gd name="connsiteX27" fmla="*/ 1544994 w 2027922"/>
                <a:gd name="connsiteY27" fmla="*/ 2021260 h 3710912"/>
                <a:gd name="connsiteX28" fmla="*/ 1085412 w 2027922"/>
                <a:gd name="connsiteY28" fmla="*/ 2018879 h 3710912"/>
                <a:gd name="connsiteX29" fmla="*/ 1129222 w 2027922"/>
                <a:gd name="connsiteY29" fmla="*/ 3690516 h 3710912"/>
                <a:gd name="connsiteX30" fmla="*/ 899506 w 2027922"/>
                <a:gd name="connsiteY30" fmla="*/ 3600887 h 3710912"/>
                <a:gd name="connsiteX31" fmla="*/ 817923 w 2027922"/>
                <a:gd name="connsiteY31" fmla="*/ 3577093 h 3710912"/>
                <a:gd name="connsiteX32" fmla="*/ 811125 w 2027922"/>
                <a:gd name="connsiteY32" fmla="*/ 3260961 h 3710912"/>
                <a:gd name="connsiteX33" fmla="*/ 794129 w 2027922"/>
                <a:gd name="connsiteY33" fmla="*/ 2798662 h 3710912"/>
                <a:gd name="connsiteX34" fmla="*/ 685352 w 2027922"/>
                <a:gd name="connsiteY34" fmla="*/ 2302371 h 3710912"/>
                <a:gd name="connsiteX35" fmla="*/ 613968 w 2027922"/>
                <a:gd name="connsiteY35" fmla="*/ 3600886 h 3710912"/>
                <a:gd name="connsiteX36" fmla="*/ 545983 w 2027922"/>
                <a:gd name="connsiteY36" fmla="*/ 3638278 h 3710912"/>
                <a:gd name="connsiteX37" fmla="*/ 253852 w 2027922"/>
                <a:gd name="connsiteY37" fmla="*/ 3710912 h 3710912"/>
                <a:gd name="connsiteX38" fmla="*/ 378182 w 2027922"/>
                <a:gd name="connsiteY38" fmla="*/ 1914104 h 3710912"/>
                <a:gd name="connsiteX39" fmla="*/ 301981 w 2027922"/>
                <a:gd name="connsiteY39" fmla="*/ 1861716 h 3710912"/>
                <a:gd name="connsiteX40" fmla="*/ 351987 w 2027922"/>
                <a:gd name="connsiteY40" fmla="*/ 1523579 h 3710912"/>
                <a:gd name="connsiteX41" fmla="*/ 297218 w 2027922"/>
                <a:gd name="connsiteY41" fmla="*/ 1337841 h 3710912"/>
                <a:gd name="connsiteX42" fmla="*/ 409137 w 2027922"/>
                <a:gd name="connsiteY42" fmla="*/ 997323 h 3710912"/>
                <a:gd name="connsiteX43" fmla="*/ 128150 w 2027922"/>
                <a:gd name="connsiteY43" fmla="*/ 652041 h 3710912"/>
                <a:gd name="connsiteX44" fmla="*/ 9087 w 2027922"/>
                <a:gd name="connsiteY44" fmla="*/ 352004 h 3710912"/>
                <a:gd name="connsiteX45" fmla="*/ 59094 w 2027922"/>
                <a:gd name="connsiteY45" fmla="*/ 292473 h 3710912"/>
                <a:gd name="connsiteX46" fmla="*/ 11160 w 2027922"/>
                <a:gd name="connsiteY46" fmla="*/ 171030 h 3710912"/>
                <a:gd name="connsiteX0" fmla="*/ 11160 w 2027922"/>
                <a:gd name="connsiteY0" fmla="*/ 171030 h 3710912"/>
                <a:gd name="connsiteX1" fmla="*/ 30519 w 2027922"/>
                <a:gd name="connsiteY1" fmla="*/ 59110 h 3710912"/>
                <a:gd name="connsiteX2" fmla="*/ 75763 w 2027922"/>
                <a:gd name="connsiteY2" fmla="*/ 25773 h 3710912"/>
                <a:gd name="connsiteX3" fmla="*/ 113863 w 2027922"/>
                <a:gd name="connsiteY3" fmla="*/ 4342 h 3710912"/>
                <a:gd name="connsiteX4" fmla="*/ 197207 w 2027922"/>
                <a:gd name="connsiteY4" fmla="*/ 85306 h 3710912"/>
                <a:gd name="connsiteX5" fmla="*/ 161488 w 2027922"/>
                <a:gd name="connsiteY5" fmla="*/ 249612 h 3710912"/>
                <a:gd name="connsiteX6" fmla="*/ 425807 w 2027922"/>
                <a:gd name="connsiteY6" fmla="*/ 668712 h 3710912"/>
                <a:gd name="connsiteX7" fmla="*/ 525820 w 2027922"/>
                <a:gd name="connsiteY7" fmla="*/ 687762 h 3710912"/>
                <a:gd name="connsiteX8" fmla="*/ 752038 w 2027922"/>
                <a:gd name="connsiteY8" fmla="*/ 790156 h 3710912"/>
                <a:gd name="connsiteX9" fmla="*/ 473432 w 2027922"/>
                <a:gd name="connsiteY9" fmla="*/ 1178299 h 3710912"/>
                <a:gd name="connsiteX10" fmla="*/ 421045 w 2027922"/>
                <a:gd name="connsiteY10" fmla="*/ 1656931 h 3710912"/>
                <a:gd name="connsiteX11" fmla="*/ 1047313 w 2027922"/>
                <a:gd name="connsiteY11" fmla="*/ 1718843 h 3710912"/>
                <a:gd name="connsiteX12" fmla="*/ 1116370 w 2027922"/>
                <a:gd name="connsiteY12" fmla="*/ 1461668 h 3710912"/>
                <a:gd name="connsiteX13" fmla="*/ 923488 w 2027922"/>
                <a:gd name="connsiteY13" fmla="*/ 954461 h 3710912"/>
                <a:gd name="connsiteX14" fmla="*/ 1033026 w 2027922"/>
                <a:gd name="connsiteY14" fmla="*/ 840160 h 3710912"/>
                <a:gd name="connsiteX15" fmla="*/ 1206857 w 2027922"/>
                <a:gd name="connsiteY15" fmla="*/ 756817 h 3710912"/>
                <a:gd name="connsiteX16" fmla="*/ 1335444 w 2027922"/>
                <a:gd name="connsiteY16" fmla="*/ 785392 h 3710912"/>
                <a:gd name="connsiteX17" fmla="*/ 1852176 w 2027922"/>
                <a:gd name="connsiteY17" fmla="*/ 313906 h 3710912"/>
                <a:gd name="connsiteX18" fmla="*/ 1850139 w 2027922"/>
                <a:gd name="connsiteY18" fmla="*/ 175792 h 3710912"/>
                <a:gd name="connsiteX19" fmla="*/ 1925993 w 2027922"/>
                <a:gd name="connsiteY19" fmla="*/ 125785 h 3710912"/>
                <a:gd name="connsiteX20" fmla="*/ 1971238 w 2027922"/>
                <a:gd name="connsiteY20" fmla="*/ 168649 h 3710912"/>
                <a:gd name="connsiteX21" fmla="*/ 2006957 w 2027922"/>
                <a:gd name="connsiteY21" fmla="*/ 218653 h 3710912"/>
                <a:gd name="connsiteX22" fmla="*/ 2021244 w 2027922"/>
                <a:gd name="connsiteY22" fmla="*/ 299616 h 3710912"/>
                <a:gd name="connsiteX23" fmla="*/ 1906944 w 2027922"/>
                <a:gd name="connsiteY23" fmla="*/ 440112 h 3710912"/>
                <a:gd name="connsiteX24" fmla="*/ 1933137 w 2027922"/>
                <a:gd name="connsiteY24" fmla="*/ 502023 h 3710912"/>
                <a:gd name="connsiteX25" fmla="*/ 1544994 w 2027922"/>
                <a:gd name="connsiteY25" fmla="*/ 949698 h 3710912"/>
                <a:gd name="connsiteX26" fmla="*/ 1318775 w 2027922"/>
                <a:gd name="connsiteY26" fmla="*/ 1094954 h 3710912"/>
                <a:gd name="connsiteX27" fmla="*/ 1544994 w 2027922"/>
                <a:gd name="connsiteY27" fmla="*/ 2021260 h 3710912"/>
                <a:gd name="connsiteX28" fmla="*/ 1085412 w 2027922"/>
                <a:gd name="connsiteY28" fmla="*/ 2018879 h 3710912"/>
                <a:gd name="connsiteX29" fmla="*/ 1129222 w 2027922"/>
                <a:gd name="connsiteY29" fmla="*/ 3690516 h 3710912"/>
                <a:gd name="connsiteX30" fmla="*/ 899506 w 2027922"/>
                <a:gd name="connsiteY30" fmla="*/ 3600887 h 3710912"/>
                <a:gd name="connsiteX31" fmla="*/ 817923 w 2027922"/>
                <a:gd name="connsiteY31" fmla="*/ 3577093 h 3710912"/>
                <a:gd name="connsiteX32" fmla="*/ 811125 w 2027922"/>
                <a:gd name="connsiteY32" fmla="*/ 3260961 h 3710912"/>
                <a:gd name="connsiteX33" fmla="*/ 794129 w 2027922"/>
                <a:gd name="connsiteY33" fmla="*/ 2798662 h 3710912"/>
                <a:gd name="connsiteX34" fmla="*/ 685352 w 2027922"/>
                <a:gd name="connsiteY34" fmla="*/ 2302371 h 3710912"/>
                <a:gd name="connsiteX35" fmla="*/ 613968 w 2027922"/>
                <a:gd name="connsiteY35" fmla="*/ 3600886 h 3710912"/>
                <a:gd name="connsiteX36" fmla="*/ 545983 w 2027922"/>
                <a:gd name="connsiteY36" fmla="*/ 3638278 h 3710912"/>
                <a:gd name="connsiteX37" fmla="*/ 253852 w 2027922"/>
                <a:gd name="connsiteY37" fmla="*/ 3710912 h 3710912"/>
                <a:gd name="connsiteX38" fmla="*/ 378182 w 2027922"/>
                <a:gd name="connsiteY38" fmla="*/ 1914104 h 3710912"/>
                <a:gd name="connsiteX39" fmla="*/ 301981 w 2027922"/>
                <a:gd name="connsiteY39" fmla="*/ 1861716 h 3710912"/>
                <a:gd name="connsiteX40" fmla="*/ 351987 w 2027922"/>
                <a:gd name="connsiteY40" fmla="*/ 1523579 h 3710912"/>
                <a:gd name="connsiteX41" fmla="*/ 297218 w 2027922"/>
                <a:gd name="connsiteY41" fmla="*/ 1337841 h 3710912"/>
                <a:gd name="connsiteX42" fmla="*/ 409137 w 2027922"/>
                <a:gd name="connsiteY42" fmla="*/ 997323 h 3710912"/>
                <a:gd name="connsiteX43" fmla="*/ 128150 w 2027922"/>
                <a:gd name="connsiteY43" fmla="*/ 652041 h 3710912"/>
                <a:gd name="connsiteX44" fmla="*/ 9087 w 2027922"/>
                <a:gd name="connsiteY44" fmla="*/ 352004 h 3710912"/>
                <a:gd name="connsiteX45" fmla="*/ 59094 w 2027922"/>
                <a:gd name="connsiteY45" fmla="*/ 292473 h 3710912"/>
                <a:gd name="connsiteX46" fmla="*/ 11160 w 2027922"/>
                <a:gd name="connsiteY46" fmla="*/ 171030 h 3710912"/>
                <a:gd name="connsiteX0" fmla="*/ 11160 w 2027922"/>
                <a:gd name="connsiteY0" fmla="*/ 171030 h 3710912"/>
                <a:gd name="connsiteX1" fmla="*/ 30519 w 2027922"/>
                <a:gd name="connsiteY1" fmla="*/ 59110 h 3710912"/>
                <a:gd name="connsiteX2" fmla="*/ 75763 w 2027922"/>
                <a:gd name="connsiteY2" fmla="*/ 25773 h 3710912"/>
                <a:gd name="connsiteX3" fmla="*/ 113863 w 2027922"/>
                <a:gd name="connsiteY3" fmla="*/ 4342 h 3710912"/>
                <a:gd name="connsiteX4" fmla="*/ 197207 w 2027922"/>
                <a:gd name="connsiteY4" fmla="*/ 85306 h 3710912"/>
                <a:gd name="connsiteX5" fmla="*/ 161488 w 2027922"/>
                <a:gd name="connsiteY5" fmla="*/ 249612 h 3710912"/>
                <a:gd name="connsiteX6" fmla="*/ 425807 w 2027922"/>
                <a:gd name="connsiteY6" fmla="*/ 668712 h 3710912"/>
                <a:gd name="connsiteX7" fmla="*/ 525820 w 2027922"/>
                <a:gd name="connsiteY7" fmla="*/ 687762 h 3710912"/>
                <a:gd name="connsiteX8" fmla="*/ 752038 w 2027922"/>
                <a:gd name="connsiteY8" fmla="*/ 790156 h 3710912"/>
                <a:gd name="connsiteX9" fmla="*/ 473432 w 2027922"/>
                <a:gd name="connsiteY9" fmla="*/ 1178299 h 3710912"/>
                <a:gd name="connsiteX10" fmla="*/ 421045 w 2027922"/>
                <a:gd name="connsiteY10" fmla="*/ 1656931 h 3710912"/>
                <a:gd name="connsiteX11" fmla="*/ 1047313 w 2027922"/>
                <a:gd name="connsiteY11" fmla="*/ 1718843 h 3710912"/>
                <a:gd name="connsiteX12" fmla="*/ 1116370 w 2027922"/>
                <a:gd name="connsiteY12" fmla="*/ 1461668 h 3710912"/>
                <a:gd name="connsiteX13" fmla="*/ 923488 w 2027922"/>
                <a:gd name="connsiteY13" fmla="*/ 954461 h 3710912"/>
                <a:gd name="connsiteX14" fmla="*/ 1033026 w 2027922"/>
                <a:gd name="connsiteY14" fmla="*/ 840160 h 3710912"/>
                <a:gd name="connsiteX15" fmla="*/ 1206857 w 2027922"/>
                <a:gd name="connsiteY15" fmla="*/ 756817 h 3710912"/>
                <a:gd name="connsiteX16" fmla="*/ 1335444 w 2027922"/>
                <a:gd name="connsiteY16" fmla="*/ 785392 h 3710912"/>
                <a:gd name="connsiteX17" fmla="*/ 1852176 w 2027922"/>
                <a:gd name="connsiteY17" fmla="*/ 313906 h 3710912"/>
                <a:gd name="connsiteX18" fmla="*/ 1850139 w 2027922"/>
                <a:gd name="connsiteY18" fmla="*/ 175792 h 3710912"/>
                <a:gd name="connsiteX19" fmla="*/ 1925993 w 2027922"/>
                <a:gd name="connsiteY19" fmla="*/ 125785 h 3710912"/>
                <a:gd name="connsiteX20" fmla="*/ 1971238 w 2027922"/>
                <a:gd name="connsiteY20" fmla="*/ 168649 h 3710912"/>
                <a:gd name="connsiteX21" fmla="*/ 2006957 w 2027922"/>
                <a:gd name="connsiteY21" fmla="*/ 218653 h 3710912"/>
                <a:gd name="connsiteX22" fmla="*/ 2021244 w 2027922"/>
                <a:gd name="connsiteY22" fmla="*/ 299616 h 3710912"/>
                <a:gd name="connsiteX23" fmla="*/ 1906944 w 2027922"/>
                <a:gd name="connsiteY23" fmla="*/ 440112 h 3710912"/>
                <a:gd name="connsiteX24" fmla="*/ 1933137 w 2027922"/>
                <a:gd name="connsiteY24" fmla="*/ 502023 h 3710912"/>
                <a:gd name="connsiteX25" fmla="*/ 1544994 w 2027922"/>
                <a:gd name="connsiteY25" fmla="*/ 949698 h 3710912"/>
                <a:gd name="connsiteX26" fmla="*/ 1318775 w 2027922"/>
                <a:gd name="connsiteY26" fmla="*/ 1094954 h 3710912"/>
                <a:gd name="connsiteX27" fmla="*/ 1544994 w 2027922"/>
                <a:gd name="connsiteY27" fmla="*/ 2021260 h 3710912"/>
                <a:gd name="connsiteX28" fmla="*/ 1085412 w 2027922"/>
                <a:gd name="connsiteY28" fmla="*/ 2018879 h 3710912"/>
                <a:gd name="connsiteX29" fmla="*/ 1129222 w 2027922"/>
                <a:gd name="connsiteY29" fmla="*/ 3690516 h 3710912"/>
                <a:gd name="connsiteX30" fmla="*/ 899506 w 2027922"/>
                <a:gd name="connsiteY30" fmla="*/ 3600887 h 3710912"/>
                <a:gd name="connsiteX31" fmla="*/ 817923 w 2027922"/>
                <a:gd name="connsiteY31" fmla="*/ 3577093 h 3710912"/>
                <a:gd name="connsiteX32" fmla="*/ 811125 w 2027922"/>
                <a:gd name="connsiteY32" fmla="*/ 3260961 h 3710912"/>
                <a:gd name="connsiteX33" fmla="*/ 794129 w 2027922"/>
                <a:gd name="connsiteY33" fmla="*/ 2798662 h 3710912"/>
                <a:gd name="connsiteX34" fmla="*/ 685352 w 2027922"/>
                <a:gd name="connsiteY34" fmla="*/ 2302371 h 3710912"/>
                <a:gd name="connsiteX35" fmla="*/ 613968 w 2027922"/>
                <a:gd name="connsiteY35" fmla="*/ 3600886 h 3710912"/>
                <a:gd name="connsiteX36" fmla="*/ 545983 w 2027922"/>
                <a:gd name="connsiteY36" fmla="*/ 3638278 h 3710912"/>
                <a:gd name="connsiteX37" fmla="*/ 253852 w 2027922"/>
                <a:gd name="connsiteY37" fmla="*/ 3710912 h 3710912"/>
                <a:gd name="connsiteX38" fmla="*/ 378182 w 2027922"/>
                <a:gd name="connsiteY38" fmla="*/ 1914104 h 3710912"/>
                <a:gd name="connsiteX39" fmla="*/ 301981 w 2027922"/>
                <a:gd name="connsiteY39" fmla="*/ 1861716 h 3710912"/>
                <a:gd name="connsiteX40" fmla="*/ 351987 w 2027922"/>
                <a:gd name="connsiteY40" fmla="*/ 1523579 h 3710912"/>
                <a:gd name="connsiteX41" fmla="*/ 297218 w 2027922"/>
                <a:gd name="connsiteY41" fmla="*/ 1337841 h 3710912"/>
                <a:gd name="connsiteX42" fmla="*/ 409137 w 2027922"/>
                <a:gd name="connsiteY42" fmla="*/ 997323 h 3710912"/>
                <a:gd name="connsiteX43" fmla="*/ 128150 w 2027922"/>
                <a:gd name="connsiteY43" fmla="*/ 652041 h 3710912"/>
                <a:gd name="connsiteX44" fmla="*/ 9087 w 2027922"/>
                <a:gd name="connsiteY44" fmla="*/ 352004 h 3710912"/>
                <a:gd name="connsiteX45" fmla="*/ 59094 w 2027922"/>
                <a:gd name="connsiteY45" fmla="*/ 292473 h 3710912"/>
                <a:gd name="connsiteX46" fmla="*/ 11160 w 2027922"/>
                <a:gd name="connsiteY46" fmla="*/ 171030 h 3710912"/>
                <a:gd name="connsiteX0" fmla="*/ 11160 w 2027922"/>
                <a:gd name="connsiteY0" fmla="*/ 171030 h 3725102"/>
                <a:gd name="connsiteX1" fmla="*/ 30519 w 2027922"/>
                <a:gd name="connsiteY1" fmla="*/ 59110 h 3725102"/>
                <a:gd name="connsiteX2" fmla="*/ 75763 w 2027922"/>
                <a:gd name="connsiteY2" fmla="*/ 25773 h 3725102"/>
                <a:gd name="connsiteX3" fmla="*/ 113863 w 2027922"/>
                <a:gd name="connsiteY3" fmla="*/ 4342 h 3725102"/>
                <a:gd name="connsiteX4" fmla="*/ 197207 w 2027922"/>
                <a:gd name="connsiteY4" fmla="*/ 85306 h 3725102"/>
                <a:gd name="connsiteX5" fmla="*/ 161488 w 2027922"/>
                <a:gd name="connsiteY5" fmla="*/ 249612 h 3725102"/>
                <a:gd name="connsiteX6" fmla="*/ 425807 w 2027922"/>
                <a:gd name="connsiteY6" fmla="*/ 668712 h 3725102"/>
                <a:gd name="connsiteX7" fmla="*/ 525820 w 2027922"/>
                <a:gd name="connsiteY7" fmla="*/ 687762 h 3725102"/>
                <a:gd name="connsiteX8" fmla="*/ 752038 w 2027922"/>
                <a:gd name="connsiteY8" fmla="*/ 790156 h 3725102"/>
                <a:gd name="connsiteX9" fmla="*/ 473432 w 2027922"/>
                <a:gd name="connsiteY9" fmla="*/ 1178299 h 3725102"/>
                <a:gd name="connsiteX10" fmla="*/ 421045 w 2027922"/>
                <a:gd name="connsiteY10" fmla="*/ 1656931 h 3725102"/>
                <a:gd name="connsiteX11" fmla="*/ 1047313 w 2027922"/>
                <a:gd name="connsiteY11" fmla="*/ 1718843 h 3725102"/>
                <a:gd name="connsiteX12" fmla="*/ 1116370 w 2027922"/>
                <a:gd name="connsiteY12" fmla="*/ 1461668 h 3725102"/>
                <a:gd name="connsiteX13" fmla="*/ 923488 w 2027922"/>
                <a:gd name="connsiteY13" fmla="*/ 954461 h 3725102"/>
                <a:gd name="connsiteX14" fmla="*/ 1033026 w 2027922"/>
                <a:gd name="connsiteY14" fmla="*/ 840160 h 3725102"/>
                <a:gd name="connsiteX15" fmla="*/ 1206857 w 2027922"/>
                <a:gd name="connsiteY15" fmla="*/ 756817 h 3725102"/>
                <a:gd name="connsiteX16" fmla="*/ 1335444 w 2027922"/>
                <a:gd name="connsiteY16" fmla="*/ 785392 h 3725102"/>
                <a:gd name="connsiteX17" fmla="*/ 1852176 w 2027922"/>
                <a:gd name="connsiteY17" fmla="*/ 313906 h 3725102"/>
                <a:gd name="connsiteX18" fmla="*/ 1850139 w 2027922"/>
                <a:gd name="connsiteY18" fmla="*/ 175792 h 3725102"/>
                <a:gd name="connsiteX19" fmla="*/ 1925993 w 2027922"/>
                <a:gd name="connsiteY19" fmla="*/ 125785 h 3725102"/>
                <a:gd name="connsiteX20" fmla="*/ 1971238 w 2027922"/>
                <a:gd name="connsiteY20" fmla="*/ 168649 h 3725102"/>
                <a:gd name="connsiteX21" fmla="*/ 2006957 w 2027922"/>
                <a:gd name="connsiteY21" fmla="*/ 218653 h 3725102"/>
                <a:gd name="connsiteX22" fmla="*/ 2021244 w 2027922"/>
                <a:gd name="connsiteY22" fmla="*/ 299616 h 3725102"/>
                <a:gd name="connsiteX23" fmla="*/ 1906944 w 2027922"/>
                <a:gd name="connsiteY23" fmla="*/ 440112 h 3725102"/>
                <a:gd name="connsiteX24" fmla="*/ 1933137 w 2027922"/>
                <a:gd name="connsiteY24" fmla="*/ 502023 h 3725102"/>
                <a:gd name="connsiteX25" fmla="*/ 1544994 w 2027922"/>
                <a:gd name="connsiteY25" fmla="*/ 949698 h 3725102"/>
                <a:gd name="connsiteX26" fmla="*/ 1318775 w 2027922"/>
                <a:gd name="connsiteY26" fmla="*/ 1094954 h 3725102"/>
                <a:gd name="connsiteX27" fmla="*/ 1544994 w 2027922"/>
                <a:gd name="connsiteY27" fmla="*/ 2021260 h 3725102"/>
                <a:gd name="connsiteX28" fmla="*/ 1085412 w 2027922"/>
                <a:gd name="connsiteY28" fmla="*/ 2018879 h 3725102"/>
                <a:gd name="connsiteX29" fmla="*/ 1129222 w 2027922"/>
                <a:gd name="connsiteY29" fmla="*/ 3690516 h 3725102"/>
                <a:gd name="connsiteX30" fmla="*/ 899506 w 2027922"/>
                <a:gd name="connsiteY30" fmla="*/ 3600887 h 3725102"/>
                <a:gd name="connsiteX31" fmla="*/ 817923 w 2027922"/>
                <a:gd name="connsiteY31" fmla="*/ 3577093 h 3725102"/>
                <a:gd name="connsiteX32" fmla="*/ 811125 w 2027922"/>
                <a:gd name="connsiteY32" fmla="*/ 3260961 h 3725102"/>
                <a:gd name="connsiteX33" fmla="*/ 794129 w 2027922"/>
                <a:gd name="connsiteY33" fmla="*/ 2798662 h 3725102"/>
                <a:gd name="connsiteX34" fmla="*/ 685352 w 2027922"/>
                <a:gd name="connsiteY34" fmla="*/ 2302371 h 3725102"/>
                <a:gd name="connsiteX35" fmla="*/ 613968 w 2027922"/>
                <a:gd name="connsiteY35" fmla="*/ 3600886 h 3725102"/>
                <a:gd name="connsiteX36" fmla="*/ 545983 w 2027922"/>
                <a:gd name="connsiteY36" fmla="*/ 3638278 h 3725102"/>
                <a:gd name="connsiteX37" fmla="*/ 253852 w 2027922"/>
                <a:gd name="connsiteY37" fmla="*/ 3710912 h 3725102"/>
                <a:gd name="connsiteX38" fmla="*/ 378182 w 2027922"/>
                <a:gd name="connsiteY38" fmla="*/ 1914104 h 3725102"/>
                <a:gd name="connsiteX39" fmla="*/ 301981 w 2027922"/>
                <a:gd name="connsiteY39" fmla="*/ 1861716 h 3725102"/>
                <a:gd name="connsiteX40" fmla="*/ 351987 w 2027922"/>
                <a:gd name="connsiteY40" fmla="*/ 1523579 h 3725102"/>
                <a:gd name="connsiteX41" fmla="*/ 297218 w 2027922"/>
                <a:gd name="connsiteY41" fmla="*/ 1337841 h 3725102"/>
                <a:gd name="connsiteX42" fmla="*/ 409137 w 2027922"/>
                <a:gd name="connsiteY42" fmla="*/ 997323 h 3725102"/>
                <a:gd name="connsiteX43" fmla="*/ 128150 w 2027922"/>
                <a:gd name="connsiteY43" fmla="*/ 652041 h 3725102"/>
                <a:gd name="connsiteX44" fmla="*/ 9087 w 2027922"/>
                <a:gd name="connsiteY44" fmla="*/ 352004 h 3725102"/>
                <a:gd name="connsiteX45" fmla="*/ 59094 w 2027922"/>
                <a:gd name="connsiteY45" fmla="*/ 292473 h 3725102"/>
                <a:gd name="connsiteX46" fmla="*/ 11160 w 2027922"/>
                <a:gd name="connsiteY46" fmla="*/ 171030 h 3725102"/>
                <a:gd name="connsiteX0" fmla="*/ 11160 w 2027922"/>
                <a:gd name="connsiteY0" fmla="*/ 171030 h 3726131"/>
                <a:gd name="connsiteX1" fmla="*/ 30519 w 2027922"/>
                <a:gd name="connsiteY1" fmla="*/ 59110 h 3726131"/>
                <a:gd name="connsiteX2" fmla="*/ 75763 w 2027922"/>
                <a:gd name="connsiteY2" fmla="*/ 25773 h 3726131"/>
                <a:gd name="connsiteX3" fmla="*/ 113863 w 2027922"/>
                <a:gd name="connsiteY3" fmla="*/ 4342 h 3726131"/>
                <a:gd name="connsiteX4" fmla="*/ 197207 w 2027922"/>
                <a:gd name="connsiteY4" fmla="*/ 85306 h 3726131"/>
                <a:gd name="connsiteX5" fmla="*/ 161488 w 2027922"/>
                <a:gd name="connsiteY5" fmla="*/ 249612 h 3726131"/>
                <a:gd name="connsiteX6" fmla="*/ 425807 w 2027922"/>
                <a:gd name="connsiteY6" fmla="*/ 668712 h 3726131"/>
                <a:gd name="connsiteX7" fmla="*/ 525820 w 2027922"/>
                <a:gd name="connsiteY7" fmla="*/ 687762 h 3726131"/>
                <a:gd name="connsiteX8" fmla="*/ 752038 w 2027922"/>
                <a:gd name="connsiteY8" fmla="*/ 790156 h 3726131"/>
                <a:gd name="connsiteX9" fmla="*/ 473432 w 2027922"/>
                <a:gd name="connsiteY9" fmla="*/ 1178299 h 3726131"/>
                <a:gd name="connsiteX10" fmla="*/ 421045 w 2027922"/>
                <a:gd name="connsiteY10" fmla="*/ 1656931 h 3726131"/>
                <a:gd name="connsiteX11" fmla="*/ 1047313 w 2027922"/>
                <a:gd name="connsiteY11" fmla="*/ 1718843 h 3726131"/>
                <a:gd name="connsiteX12" fmla="*/ 1116370 w 2027922"/>
                <a:gd name="connsiteY12" fmla="*/ 1461668 h 3726131"/>
                <a:gd name="connsiteX13" fmla="*/ 923488 w 2027922"/>
                <a:gd name="connsiteY13" fmla="*/ 954461 h 3726131"/>
                <a:gd name="connsiteX14" fmla="*/ 1033026 w 2027922"/>
                <a:gd name="connsiteY14" fmla="*/ 840160 h 3726131"/>
                <a:gd name="connsiteX15" fmla="*/ 1206857 w 2027922"/>
                <a:gd name="connsiteY15" fmla="*/ 756817 h 3726131"/>
                <a:gd name="connsiteX16" fmla="*/ 1335444 w 2027922"/>
                <a:gd name="connsiteY16" fmla="*/ 785392 h 3726131"/>
                <a:gd name="connsiteX17" fmla="*/ 1852176 w 2027922"/>
                <a:gd name="connsiteY17" fmla="*/ 313906 h 3726131"/>
                <a:gd name="connsiteX18" fmla="*/ 1850139 w 2027922"/>
                <a:gd name="connsiteY18" fmla="*/ 175792 h 3726131"/>
                <a:gd name="connsiteX19" fmla="*/ 1925993 w 2027922"/>
                <a:gd name="connsiteY19" fmla="*/ 125785 h 3726131"/>
                <a:gd name="connsiteX20" fmla="*/ 1971238 w 2027922"/>
                <a:gd name="connsiteY20" fmla="*/ 168649 h 3726131"/>
                <a:gd name="connsiteX21" fmla="*/ 2006957 w 2027922"/>
                <a:gd name="connsiteY21" fmla="*/ 218653 h 3726131"/>
                <a:gd name="connsiteX22" fmla="*/ 2021244 w 2027922"/>
                <a:gd name="connsiteY22" fmla="*/ 299616 h 3726131"/>
                <a:gd name="connsiteX23" fmla="*/ 1906944 w 2027922"/>
                <a:gd name="connsiteY23" fmla="*/ 440112 h 3726131"/>
                <a:gd name="connsiteX24" fmla="*/ 1933137 w 2027922"/>
                <a:gd name="connsiteY24" fmla="*/ 502023 h 3726131"/>
                <a:gd name="connsiteX25" fmla="*/ 1544994 w 2027922"/>
                <a:gd name="connsiteY25" fmla="*/ 949698 h 3726131"/>
                <a:gd name="connsiteX26" fmla="*/ 1318775 w 2027922"/>
                <a:gd name="connsiteY26" fmla="*/ 1094954 h 3726131"/>
                <a:gd name="connsiteX27" fmla="*/ 1544994 w 2027922"/>
                <a:gd name="connsiteY27" fmla="*/ 2021260 h 3726131"/>
                <a:gd name="connsiteX28" fmla="*/ 1085412 w 2027922"/>
                <a:gd name="connsiteY28" fmla="*/ 2018879 h 3726131"/>
                <a:gd name="connsiteX29" fmla="*/ 1129222 w 2027922"/>
                <a:gd name="connsiteY29" fmla="*/ 3690516 h 3726131"/>
                <a:gd name="connsiteX30" fmla="*/ 899506 w 2027922"/>
                <a:gd name="connsiteY30" fmla="*/ 3600887 h 3726131"/>
                <a:gd name="connsiteX31" fmla="*/ 817923 w 2027922"/>
                <a:gd name="connsiteY31" fmla="*/ 3577093 h 3726131"/>
                <a:gd name="connsiteX32" fmla="*/ 811125 w 2027922"/>
                <a:gd name="connsiteY32" fmla="*/ 3260961 h 3726131"/>
                <a:gd name="connsiteX33" fmla="*/ 794129 w 2027922"/>
                <a:gd name="connsiteY33" fmla="*/ 2798662 h 3726131"/>
                <a:gd name="connsiteX34" fmla="*/ 685352 w 2027922"/>
                <a:gd name="connsiteY34" fmla="*/ 2302371 h 3726131"/>
                <a:gd name="connsiteX35" fmla="*/ 613968 w 2027922"/>
                <a:gd name="connsiteY35" fmla="*/ 3600886 h 3726131"/>
                <a:gd name="connsiteX36" fmla="*/ 545983 w 2027922"/>
                <a:gd name="connsiteY36" fmla="*/ 3638278 h 3726131"/>
                <a:gd name="connsiteX37" fmla="*/ 253852 w 2027922"/>
                <a:gd name="connsiteY37" fmla="*/ 3710912 h 3726131"/>
                <a:gd name="connsiteX38" fmla="*/ 378182 w 2027922"/>
                <a:gd name="connsiteY38" fmla="*/ 1914104 h 3726131"/>
                <a:gd name="connsiteX39" fmla="*/ 301981 w 2027922"/>
                <a:gd name="connsiteY39" fmla="*/ 1861716 h 3726131"/>
                <a:gd name="connsiteX40" fmla="*/ 351987 w 2027922"/>
                <a:gd name="connsiteY40" fmla="*/ 1523579 h 3726131"/>
                <a:gd name="connsiteX41" fmla="*/ 297218 w 2027922"/>
                <a:gd name="connsiteY41" fmla="*/ 1337841 h 3726131"/>
                <a:gd name="connsiteX42" fmla="*/ 409137 w 2027922"/>
                <a:gd name="connsiteY42" fmla="*/ 997323 h 3726131"/>
                <a:gd name="connsiteX43" fmla="*/ 128150 w 2027922"/>
                <a:gd name="connsiteY43" fmla="*/ 652041 h 3726131"/>
                <a:gd name="connsiteX44" fmla="*/ 9087 w 2027922"/>
                <a:gd name="connsiteY44" fmla="*/ 352004 h 3726131"/>
                <a:gd name="connsiteX45" fmla="*/ 59094 w 2027922"/>
                <a:gd name="connsiteY45" fmla="*/ 292473 h 3726131"/>
                <a:gd name="connsiteX46" fmla="*/ 11160 w 2027922"/>
                <a:gd name="connsiteY46" fmla="*/ 171030 h 3726131"/>
                <a:gd name="connsiteX0" fmla="*/ 11160 w 2027922"/>
                <a:gd name="connsiteY0" fmla="*/ 171030 h 3726131"/>
                <a:gd name="connsiteX1" fmla="*/ 30519 w 2027922"/>
                <a:gd name="connsiteY1" fmla="*/ 59110 h 3726131"/>
                <a:gd name="connsiteX2" fmla="*/ 75763 w 2027922"/>
                <a:gd name="connsiteY2" fmla="*/ 25773 h 3726131"/>
                <a:gd name="connsiteX3" fmla="*/ 113863 w 2027922"/>
                <a:gd name="connsiteY3" fmla="*/ 4342 h 3726131"/>
                <a:gd name="connsiteX4" fmla="*/ 197207 w 2027922"/>
                <a:gd name="connsiteY4" fmla="*/ 85306 h 3726131"/>
                <a:gd name="connsiteX5" fmla="*/ 161488 w 2027922"/>
                <a:gd name="connsiteY5" fmla="*/ 249612 h 3726131"/>
                <a:gd name="connsiteX6" fmla="*/ 425807 w 2027922"/>
                <a:gd name="connsiteY6" fmla="*/ 668712 h 3726131"/>
                <a:gd name="connsiteX7" fmla="*/ 525820 w 2027922"/>
                <a:gd name="connsiteY7" fmla="*/ 687762 h 3726131"/>
                <a:gd name="connsiteX8" fmla="*/ 752038 w 2027922"/>
                <a:gd name="connsiteY8" fmla="*/ 790156 h 3726131"/>
                <a:gd name="connsiteX9" fmla="*/ 473432 w 2027922"/>
                <a:gd name="connsiteY9" fmla="*/ 1178299 h 3726131"/>
                <a:gd name="connsiteX10" fmla="*/ 421045 w 2027922"/>
                <a:gd name="connsiteY10" fmla="*/ 1656931 h 3726131"/>
                <a:gd name="connsiteX11" fmla="*/ 1047313 w 2027922"/>
                <a:gd name="connsiteY11" fmla="*/ 1718843 h 3726131"/>
                <a:gd name="connsiteX12" fmla="*/ 1116370 w 2027922"/>
                <a:gd name="connsiteY12" fmla="*/ 1461668 h 3726131"/>
                <a:gd name="connsiteX13" fmla="*/ 923488 w 2027922"/>
                <a:gd name="connsiteY13" fmla="*/ 954461 h 3726131"/>
                <a:gd name="connsiteX14" fmla="*/ 1033026 w 2027922"/>
                <a:gd name="connsiteY14" fmla="*/ 840160 h 3726131"/>
                <a:gd name="connsiteX15" fmla="*/ 1206857 w 2027922"/>
                <a:gd name="connsiteY15" fmla="*/ 756817 h 3726131"/>
                <a:gd name="connsiteX16" fmla="*/ 1335444 w 2027922"/>
                <a:gd name="connsiteY16" fmla="*/ 785392 h 3726131"/>
                <a:gd name="connsiteX17" fmla="*/ 1852176 w 2027922"/>
                <a:gd name="connsiteY17" fmla="*/ 313906 h 3726131"/>
                <a:gd name="connsiteX18" fmla="*/ 1850139 w 2027922"/>
                <a:gd name="connsiteY18" fmla="*/ 175792 h 3726131"/>
                <a:gd name="connsiteX19" fmla="*/ 1925993 w 2027922"/>
                <a:gd name="connsiteY19" fmla="*/ 125785 h 3726131"/>
                <a:gd name="connsiteX20" fmla="*/ 1971238 w 2027922"/>
                <a:gd name="connsiteY20" fmla="*/ 168649 h 3726131"/>
                <a:gd name="connsiteX21" fmla="*/ 2006957 w 2027922"/>
                <a:gd name="connsiteY21" fmla="*/ 218653 h 3726131"/>
                <a:gd name="connsiteX22" fmla="*/ 2021244 w 2027922"/>
                <a:gd name="connsiteY22" fmla="*/ 299616 h 3726131"/>
                <a:gd name="connsiteX23" fmla="*/ 1906944 w 2027922"/>
                <a:gd name="connsiteY23" fmla="*/ 440112 h 3726131"/>
                <a:gd name="connsiteX24" fmla="*/ 1933137 w 2027922"/>
                <a:gd name="connsiteY24" fmla="*/ 502023 h 3726131"/>
                <a:gd name="connsiteX25" fmla="*/ 1544994 w 2027922"/>
                <a:gd name="connsiteY25" fmla="*/ 949698 h 3726131"/>
                <a:gd name="connsiteX26" fmla="*/ 1318775 w 2027922"/>
                <a:gd name="connsiteY26" fmla="*/ 1094954 h 3726131"/>
                <a:gd name="connsiteX27" fmla="*/ 1544994 w 2027922"/>
                <a:gd name="connsiteY27" fmla="*/ 2021260 h 3726131"/>
                <a:gd name="connsiteX28" fmla="*/ 1085412 w 2027922"/>
                <a:gd name="connsiteY28" fmla="*/ 2018879 h 3726131"/>
                <a:gd name="connsiteX29" fmla="*/ 1129222 w 2027922"/>
                <a:gd name="connsiteY29" fmla="*/ 3690516 h 3726131"/>
                <a:gd name="connsiteX30" fmla="*/ 899506 w 2027922"/>
                <a:gd name="connsiteY30" fmla="*/ 3600887 h 3726131"/>
                <a:gd name="connsiteX31" fmla="*/ 817923 w 2027922"/>
                <a:gd name="connsiteY31" fmla="*/ 3577093 h 3726131"/>
                <a:gd name="connsiteX32" fmla="*/ 811125 w 2027922"/>
                <a:gd name="connsiteY32" fmla="*/ 3260961 h 3726131"/>
                <a:gd name="connsiteX33" fmla="*/ 794129 w 2027922"/>
                <a:gd name="connsiteY33" fmla="*/ 2798662 h 3726131"/>
                <a:gd name="connsiteX34" fmla="*/ 685352 w 2027922"/>
                <a:gd name="connsiteY34" fmla="*/ 2302371 h 3726131"/>
                <a:gd name="connsiteX35" fmla="*/ 613968 w 2027922"/>
                <a:gd name="connsiteY35" fmla="*/ 3600886 h 3726131"/>
                <a:gd name="connsiteX36" fmla="*/ 545983 w 2027922"/>
                <a:gd name="connsiteY36" fmla="*/ 3638278 h 3726131"/>
                <a:gd name="connsiteX37" fmla="*/ 253852 w 2027922"/>
                <a:gd name="connsiteY37" fmla="*/ 3710912 h 3726131"/>
                <a:gd name="connsiteX38" fmla="*/ 376020 w 2027922"/>
                <a:gd name="connsiteY38" fmla="*/ 3512506 h 3726131"/>
                <a:gd name="connsiteX39" fmla="*/ 378182 w 2027922"/>
                <a:gd name="connsiteY39" fmla="*/ 1914104 h 3726131"/>
                <a:gd name="connsiteX40" fmla="*/ 301981 w 2027922"/>
                <a:gd name="connsiteY40" fmla="*/ 1861716 h 3726131"/>
                <a:gd name="connsiteX41" fmla="*/ 351987 w 2027922"/>
                <a:gd name="connsiteY41" fmla="*/ 1523579 h 3726131"/>
                <a:gd name="connsiteX42" fmla="*/ 297218 w 2027922"/>
                <a:gd name="connsiteY42" fmla="*/ 1337841 h 3726131"/>
                <a:gd name="connsiteX43" fmla="*/ 409137 w 2027922"/>
                <a:gd name="connsiteY43" fmla="*/ 997323 h 3726131"/>
                <a:gd name="connsiteX44" fmla="*/ 128150 w 2027922"/>
                <a:gd name="connsiteY44" fmla="*/ 652041 h 3726131"/>
                <a:gd name="connsiteX45" fmla="*/ 9087 w 2027922"/>
                <a:gd name="connsiteY45" fmla="*/ 352004 h 3726131"/>
                <a:gd name="connsiteX46" fmla="*/ 59094 w 2027922"/>
                <a:gd name="connsiteY46" fmla="*/ 292473 h 3726131"/>
                <a:gd name="connsiteX47" fmla="*/ 11160 w 2027922"/>
                <a:gd name="connsiteY47" fmla="*/ 171030 h 3726131"/>
                <a:gd name="connsiteX0" fmla="*/ 11160 w 2027922"/>
                <a:gd name="connsiteY0" fmla="*/ 171030 h 3726131"/>
                <a:gd name="connsiteX1" fmla="*/ 30519 w 2027922"/>
                <a:gd name="connsiteY1" fmla="*/ 59110 h 3726131"/>
                <a:gd name="connsiteX2" fmla="*/ 75763 w 2027922"/>
                <a:gd name="connsiteY2" fmla="*/ 25773 h 3726131"/>
                <a:gd name="connsiteX3" fmla="*/ 113863 w 2027922"/>
                <a:gd name="connsiteY3" fmla="*/ 4342 h 3726131"/>
                <a:gd name="connsiteX4" fmla="*/ 197207 w 2027922"/>
                <a:gd name="connsiteY4" fmla="*/ 85306 h 3726131"/>
                <a:gd name="connsiteX5" fmla="*/ 161488 w 2027922"/>
                <a:gd name="connsiteY5" fmla="*/ 249612 h 3726131"/>
                <a:gd name="connsiteX6" fmla="*/ 425807 w 2027922"/>
                <a:gd name="connsiteY6" fmla="*/ 668712 h 3726131"/>
                <a:gd name="connsiteX7" fmla="*/ 525820 w 2027922"/>
                <a:gd name="connsiteY7" fmla="*/ 687762 h 3726131"/>
                <a:gd name="connsiteX8" fmla="*/ 752038 w 2027922"/>
                <a:gd name="connsiteY8" fmla="*/ 790156 h 3726131"/>
                <a:gd name="connsiteX9" fmla="*/ 473432 w 2027922"/>
                <a:gd name="connsiteY9" fmla="*/ 1178299 h 3726131"/>
                <a:gd name="connsiteX10" fmla="*/ 421045 w 2027922"/>
                <a:gd name="connsiteY10" fmla="*/ 1656931 h 3726131"/>
                <a:gd name="connsiteX11" fmla="*/ 1047313 w 2027922"/>
                <a:gd name="connsiteY11" fmla="*/ 1718843 h 3726131"/>
                <a:gd name="connsiteX12" fmla="*/ 1116370 w 2027922"/>
                <a:gd name="connsiteY12" fmla="*/ 1461668 h 3726131"/>
                <a:gd name="connsiteX13" fmla="*/ 923488 w 2027922"/>
                <a:gd name="connsiteY13" fmla="*/ 954461 h 3726131"/>
                <a:gd name="connsiteX14" fmla="*/ 1033026 w 2027922"/>
                <a:gd name="connsiteY14" fmla="*/ 840160 h 3726131"/>
                <a:gd name="connsiteX15" fmla="*/ 1206857 w 2027922"/>
                <a:gd name="connsiteY15" fmla="*/ 756817 h 3726131"/>
                <a:gd name="connsiteX16" fmla="*/ 1335444 w 2027922"/>
                <a:gd name="connsiteY16" fmla="*/ 785392 h 3726131"/>
                <a:gd name="connsiteX17" fmla="*/ 1852176 w 2027922"/>
                <a:gd name="connsiteY17" fmla="*/ 313906 h 3726131"/>
                <a:gd name="connsiteX18" fmla="*/ 1850139 w 2027922"/>
                <a:gd name="connsiteY18" fmla="*/ 175792 h 3726131"/>
                <a:gd name="connsiteX19" fmla="*/ 1925993 w 2027922"/>
                <a:gd name="connsiteY19" fmla="*/ 125785 h 3726131"/>
                <a:gd name="connsiteX20" fmla="*/ 1971238 w 2027922"/>
                <a:gd name="connsiteY20" fmla="*/ 168649 h 3726131"/>
                <a:gd name="connsiteX21" fmla="*/ 2006957 w 2027922"/>
                <a:gd name="connsiteY21" fmla="*/ 218653 h 3726131"/>
                <a:gd name="connsiteX22" fmla="*/ 2021244 w 2027922"/>
                <a:gd name="connsiteY22" fmla="*/ 299616 h 3726131"/>
                <a:gd name="connsiteX23" fmla="*/ 1906944 w 2027922"/>
                <a:gd name="connsiteY23" fmla="*/ 440112 h 3726131"/>
                <a:gd name="connsiteX24" fmla="*/ 1933137 w 2027922"/>
                <a:gd name="connsiteY24" fmla="*/ 502023 h 3726131"/>
                <a:gd name="connsiteX25" fmla="*/ 1544994 w 2027922"/>
                <a:gd name="connsiteY25" fmla="*/ 949698 h 3726131"/>
                <a:gd name="connsiteX26" fmla="*/ 1318775 w 2027922"/>
                <a:gd name="connsiteY26" fmla="*/ 1094954 h 3726131"/>
                <a:gd name="connsiteX27" fmla="*/ 1544994 w 2027922"/>
                <a:gd name="connsiteY27" fmla="*/ 2021260 h 3726131"/>
                <a:gd name="connsiteX28" fmla="*/ 1085412 w 2027922"/>
                <a:gd name="connsiteY28" fmla="*/ 2018879 h 3726131"/>
                <a:gd name="connsiteX29" fmla="*/ 1129222 w 2027922"/>
                <a:gd name="connsiteY29" fmla="*/ 3690516 h 3726131"/>
                <a:gd name="connsiteX30" fmla="*/ 899506 w 2027922"/>
                <a:gd name="connsiteY30" fmla="*/ 3600887 h 3726131"/>
                <a:gd name="connsiteX31" fmla="*/ 817923 w 2027922"/>
                <a:gd name="connsiteY31" fmla="*/ 3577093 h 3726131"/>
                <a:gd name="connsiteX32" fmla="*/ 811125 w 2027922"/>
                <a:gd name="connsiteY32" fmla="*/ 3260961 h 3726131"/>
                <a:gd name="connsiteX33" fmla="*/ 794129 w 2027922"/>
                <a:gd name="connsiteY33" fmla="*/ 2798662 h 3726131"/>
                <a:gd name="connsiteX34" fmla="*/ 685352 w 2027922"/>
                <a:gd name="connsiteY34" fmla="*/ 2302371 h 3726131"/>
                <a:gd name="connsiteX35" fmla="*/ 613968 w 2027922"/>
                <a:gd name="connsiteY35" fmla="*/ 3600886 h 3726131"/>
                <a:gd name="connsiteX36" fmla="*/ 545983 w 2027922"/>
                <a:gd name="connsiteY36" fmla="*/ 3638278 h 3726131"/>
                <a:gd name="connsiteX37" fmla="*/ 253852 w 2027922"/>
                <a:gd name="connsiteY37" fmla="*/ 3710912 h 3726131"/>
                <a:gd name="connsiteX38" fmla="*/ 376020 w 2027922"/>
                <a:gd name="connsiteY38" fmla="*/ 3512506 h 3726131"/>
                <a:gd name="connsiteX39" fmla="*/ 378182 w 2027922"/>
                <a:gd name="connsiteY39" fmla="*/ 1914104 h 3726131"/>
                <a:gd name="connsiteX40" fmla="*/ 301981 w 2027922"/>
                <a:gd name="connsiteY40" fmla="*/ 1861716 h 3726131"/>
                <a:gd name="connsiteX41" fmla="*/ 351987 w 2027922"/>
                <a:gd name="connsiteY41" fmla="*/ 1523579 h 3726131"/>
                <a:gd name="connsiteX42" fmla="*/ 297218 w 2027922"/>
                <a:gd name="connsiteY42" fmla="*/ 1337841 h 3726131"/>
                <a:gd name="connsiteX43" fmla="*/ 409137 w 2027922"/>
                <a:gd name="connsiteY43" fmla="*/ 997323 h 3726131"/>
                <a:gd name="connsiteX44" fmla="*/ 128150 w 2027922"/>
                <a:gd name="connsiteY44" fmla="*/ 652041 h 3726131"/>
                <a:gd name="connsiteX45" fmla="*/ 9087 w 2027922"/>
                <a:gd name="connsiteY45" fmla="*/ 352004 h 3726131"/>
                <a:gd name="connsiteX46" fmla="*/ 59094 w 2027922"/>
                <a:gd name="connsiteY46" fmla="*/ 292473 h 3726131"/>
                <a:gd name="connsiteX47" fmla="*/ 11160 w 2027922"/>
                <a:gd name="connsiteY47" fmla="*/ 171030 h 3726131"/>
                <a:gd name="connsiteX0" fmla="*/ 11160 w 2027922"/>
                <a:gd name="connsiteY0" fmla="*/ 171030 h 3726131"/>
                <a:gd name="connsiteX1" fmla="*/ 30519 w 2027922"/>
                <a:gd name="connsiteY1" fmla="*/ 59110 h 3726131"/>
                <a:gd name="connsiteX2" fmla="*/ 75763 w 2027922"/>
                <a:gd name="connsiteY2" fmla="*/ 25773 h 3726131"/>
                <a:gd name="connsiteX3" fmla="*/ 113863 w 2027922"/>
                <a:gd name="connsiteY3" fmla="*/ 4342 h 3726131"/>
                <a:gd name="connsiteX4" fmla="*/ 197207 w 2027922"/>
                <a:gd name="connsiteY4" fmla="*/ 85306 h 3726131"/>
                <a:gd name="connsiteX5" fmla="*/ 161488 w 2027922"/>
                <a:gd name="connsiteY5" fmla="*/ 249612 h 3726131"/>
                <a:gd name="connsiteX6" fmla="*/ 425807 w 2027922"/>
                <a:gd name="connsiteY6" fmla="*/ 668712 h 3726131"/>
                <a:gd name="connsiteX7" fmla="*/ 525820 w 2027922"/>
                <a:gd name="connsiteY7" fmla="*/ 687762 h 3726131"/>
                <a:gd name="connsiteX8" fmla="*/ 752038 w 2027922"/>
                <a:gd name="connsiteY8" fmla="*/ 790156 h 3726131"/>
                <a:gd name="connsiteX9" fmla="*/ 473432 w 2027922"/>
                <a:gd name="connsiteY9" fmla="*/ 1178299 h 3726131"/>
                <a:gd name="connsiteX10" fmla="*/ 421045 w 2027922"/>
                <a:gd name="connsiteY10" fmla="*/ 1656931 h 3726131"/>
                <a:gd name="connsiteX11" fmla="*/ 1047313 w 2027922"/>
                <a:gd name="connsiteY11" fmla="*/ 1718843 h 3726131"/>
                <a:gd name="connsiteX12" fmla="*/ 1116370 w 2027922"/>
                <a:gd name="connsiteY12" fmla="*/ 1461668 h 3726131"/>
                <a:gd name="connsiteX13" fmla="*/ 923488 w 2027922"/>
                <a:gd name="connsiteY13" fmla="*/ 954461 h 3726131"/>
                <a:gd name="connsiteX14" fmla="*/ 1033026 w 2027922"/>
                <a:gd name="connsiteY14" fmla="*/ 840160 h 3726131"/>
                <a:gd name="connsiteX15" fmla="*/ 1206857 w 2027922"/>
                <a:gd name="connsiteY15" fmla="*/ 756817 h 3726131"/>
                <a:gd name="connsiteX16" fmla="*/ 1335444 w 2027922"/>
                <a:gd name="connsiteY16" fmla="*/ 785392 h 3726131"/>
                <a:gd name="connsiteX17" fmla="*/ 1852176 w 2027922"/>
                <a:gd name="connsiteY17" fmla="*/ 313906 h 3726131"/>
                <a:gd name="connsiteX18" fmla="*/ 1850139 w 2027922"/>
                <a:gd name="connsiteY18" fmla="*/ 175792 h 3726131"/>
                <a:gd name="connsiteX19" fmla="*/ 1925993 w 2027922"/>
                <a:gd name="connsiteY19" fmla="*/ 125785 h 3726131"/>
                <a:gd name="connsiteX20" fmla="*/ 1971238 w 2027922"/>
                <a:gd name="connsiteY20" fmla="*/ 168649 h 3726131"/>
                <a:gd name="connsiteX21" fmla="*/ 2006957 w 2027922"/>
                <a:gd name="connsiteY21" fmla="*/ 218653 h 3726131"/>
                <a:gd name="connsiteX22" fmla="*/ 2021244 w 2027922"/>
                <a:gd name="connsiteY22" fmla="*/ 299616 h 3726131"/>
                <a:gd name="connsiteX23" fmla="*/ 1906944 w 2027922"/>
                <a:gd name="connsiteY23" fmla="*/ 440112 h 3726131"/>
                <a:gd name="connsiteX24" fmla="*/ 1933137 w 2027922"/>
                <a:gd name="connsiteY24" fmla="*/ 502023 h 3726131"/>
                <a:gd name="connsiteX25" fmla="*/ 1544994 w 2027922"/>
                <a:gd name="connsiteY25" fmla="*/ 949698 h 3726131"/>
                <a:gd name="connsiteX26" fmla="*/ 1318775 w 2027922"/>
                <a:gd name="connsiteY26" fmla="*/ 1094954 h 3726131"/>
                <a:gd name="connsiteX27" fmla="*/ 1544994 w 2027922"/>
                <a:gd name="connsiteY27" fmla="*/ 2021260 h 3726131"/>
                <a:gd name="connsiteX28" fmla="*/ 1085412 w 2027922"/>
                <a:gd name="connsiteY28" fmla="*/ 2018879 h 3726131"/>
                <a:gd name="connsiteX29" fmla="*/ 1129222 w 2027922"/>
                <a:gd name="connsiteY29" fmla="*/ 3690516 h 3726131"/>
                <a:gd name="connsiteX30" fmla="*/ 899506 w 2027922"/>
                <a:gd name="connsiteY30" fmla="*/ 3600887 h 3726131"/>
                <a:gd name="connsiteX31" fmla="*/ 817923 w 2027922"/>
                <a:gd name="connsiteY31" fmla="*/ 3577093 h 3726131"/>
                <a:gd name="connsiteX32" fmla="*/ 811125 w 2027922"/>
                <a:gd name="connsiteY32" fmla="*/ 3260961 h 3726131"/>
                <a:gd name="connsiteX33" fmla="*/ 794129 w 2027922"/>
                <a:gd name="connsiteY33" fmla="*/ 2798662 h 3726131"/>
                <a:gd name="connsiteX34" fmla="*/ 685352 w 2027922"/>
                <a:gd name="connsiteY34" fmla="*/ 2302371 h 3726131"/>
                <a:gd name="connsiteX35" fmla="*/ 613968 w 2027922"/>
                <a:gd name="connsiteY35" fmla="*/ 3600886 h 3726131"/>
                <a:gd name="connsiteX36" fmla="*/ 545983 w 2027922"/>
                <a:gd name="connsiteY36" fmla="*/ 3638278 h 3726131"/>
                <a:gd name="connsiteX37" fmla="*/ 253852 w 2027922"/>
                <a:gd name="connsiteY37" fmla="*/ 3710912 h 3726131"/>
                <a:gd name="connsiteX38" fmla="*/ 376020 w 2027922"/>
                <a:gd name="connsiteY38" fmla="*/ 3512506 h 3726131"/>
                <a:gd name="connsiteX39" fmla="*/ 378182 w 2027922"/>
                <a:gd name="connsiteY39" fmla="*/ 1914104 h 3726131"/>
                <a:gd name="connsiteX40" fmla="*/ 301981 w 2027922"/>
                <a:gd name="connsiteY40" fmla="*/ 1861716 h 3726131"/>
                <a:gd name="connsiteX41" fmla="*/ 351987 w 2027922"/>
                <a:gd name="connsiteY41" fmla="*/ 1523579 h 3726131"/>
                <a:gd name="connsiteX42" fmla="*/ 297218 w 2027922"/>
                <a:gd name="connsiteY42" fmla="*/ 1337841 h 3726131"/>
                <a:gd name="connsiteX43" fmla="*/ 409137 w 2027922"/>
                <a:gd name="connsiteY43" fmla="*/ 997323 h 3726131"/>
                <a:gd name="connsiteX44" fmla="*/ 128150 w 2027922"/>
                <a:gd name="connsiteY44" fmla="*/ 652041 h 3726131"/>
                <a:gd name="connsiteX45" fmla="*/ 9087 w 2027922"/>
                <a:gd name="connsiteY45" fmla="*/ 352004 h 3726131"/>
                <a:gd name="connsiteX46" fmla="*/ 59094 w 2027922"/>
                <a:gd name="connsiteY46" fmla="*/ 292473 h 3726131"/>
                <a:gd name="connsiteX47" fmla="*/ 11160 w 2027922"/>
                <a:gd name="connsiteY47" fmla="*/ 171030 h 3726131"/>
                <a:gd name="connsiteX0" fmla="*/ 11160 w 2027922"/>
                <a:gd name="connsiteY0" fmla="*/ 171030 h 3726131"/>
                <a:gd name="connsiteX1" fmla="*/ 30519 w 2027922"/>
                <a:gd name="connsiteY1" fmla="*/ 59110 h 3726131"/>
                <a:gd name="connsiteX2" fmla="*/ 75763 w 2027922"/>
                <a:gd name="connsiteY2" fmla="*/ 25773 h 3726131"/>
                <a:gd name="connsiteX3" fmla="*/ 113863 w 2027922"/>
                <a:gd name="connsiteY3" fmla="*/ 4342 h 3726131"/>
                <a:gd name="connsiteX4" fmla="*/ 197207 w 2027922"/>
                <a:gd name="connsiteY4" fmla="*/ 85306 h 3726131"/>
                <a:gd name="connsiteX5" fmla="*/ 161488 w 2027922"/>
                <a:gd name="connsiteY5" fmla="*/ 249612 h 3726131"/>
                <a:gd name="connsiteX6" fmla="*/ 425807 w 2027922"/>
                <a:gd name="connsiteY6" fmla="*/ 668712 h 3726131"/>
                <a:gd name="connsiteX7" fmla="*/ 525820 w 2027922"/>
                <a:gd name="connsiteY7" fmla="*/ 687762 h 3726131"/>
                <a:gd name="connsiteX8" fmla="*/ 752038 w 2027922"/>
                <a:gd name="connsiteY8" fmla="*/ 790156 h 3726131"/>
                <a:gd name="connsiteX9" fmla="*/ 473432 w 2027922"/>
                <a:gd name="connsiteY9" fmla="*/ 1178299 h 3726131"/>
                <a:gd name="connsiteX10" fmla="*/ 421045 w 2027922"/>
                <a:gd name="connsiteY10" fmla="*/ 1656931 h 3726131"/>
                <a:gd name="connsiteX11" fmla="*/ 1047313 w 2027922"/>
                <a:gd name="connsiteY11" fmla="*/ 1718843 h 3726131"/>
                <a:gd name="connsiteX12" fmla="*/ 1116370 w 2027922"/>
                <a:gd name="connsiteY12" fmla="*/ 1461668 h 3726131"/>
                <a:gd name="connsiteX13" fmla="*/ 923488 w 2027922"/>
                <a:gd name="connsiteY13" fmla="*/ 954461 h 3726131"/>
                <a:gd name="connsiteX14" fmla="*/ 1033026 w 2027922"/>
                <a:gd name="connsiteY14" fmla="*/ 840160 h 3726131"/>
                <a:gd name="connsiteX15" fmla="*/ 1206857 w 2027922"/>
                <a:gd name="connsiteY15" fmla="*/ 756817 h 3726131"/>
                <a:gd name="connsiteX16" fmla="*/ 1335444 w 2027922"/>
                <a:gd name="connsiteY16" fmla="*/ 785392 h 3726131"/>
                <a:gd name="connsiteX17" fmla="*/ 1852176 w 2027922"/>
                <a:gd name="connsiteY17" fmla="*/ 313906 h 3726131"/>
                <a:gd name="connsiteX18" fmla="*/ 1850139 w 2027922"/>
                <a:gd name="connsiteY18" fmla="*/ 175792 h 3726131"/>
                <a:gd name="connsiteX19" fmla="*/ 1925993 w 2027922"/>
                <a:gd name="connsiteY19" fmla="*/ 125785 h 3726131"/>
                <a:gd name="connsiteX20" fmla="*/ 1971238 w 2027922"/>
                <a:gd name="connsiteY20" fmla="*/ 168649 h 3726131"/>
                <a:gd name="connsiteX21" fmla="*/ 2006957 w 2027922"/>
                <a:gd name="connsiteY21" fmla="*/ 218653 h 3726131"/>
                <a:gd name="connsiteX22" fmla="*/ 2021244 w 2027922"/>
                <a:gd name="connsiteY22" fmla="*/ 299616 h 3726131"/>
                <a:gd name="connsiteX23" fmla="*/ 1906944 w 2027922"/>
                <a:gd name="connsiteY23" fmla="*/ 440112 h 3726131"/>
                <a:gd name="connsiteX24" fmla="*/ 1933137 w 2027922"/>
                <a:gd name="connsiteY24" fmla="*/ 502023 h 3726131"/>
                <a:gd name="connsiteX25" fmla="*/ 1544994 w 2027922"/>
                <a:gd name="connsiteY25" fmla="*/ 949698 h 3726131"/>
                <a:gd name="connsiteX26" fmla="*/ 1318775 w 2027922"/>
                <a:gd name="connsiteY26" fmla="*/ 1094954 h 3726131"/>
                <a:gd name="connsiteX27" fmla="*/ 1544994 w 2027922"/>
                <a:gd name="connsiteY27" fmla="*/ 2021260 h 3726131"/>
                <a:gd name="connsiteX28" fmla="*/ 1085412 w 2027922"/>
                <a:gd name="connsiteY28" fmla="*/ 2018879 h 3726131"/>
                <a:gd name="connsiteX29" fmla="*/ 1129222 w 2027922"/>
                <a:gd name="connsiteY29" fmla="*/ 3690516 h 3726131"/>
                <a:gd name="connsiteX30" fmla="*/ 899506 w 2027922"/>
                <a:gd name="connsiteY30" fmla="*/ 3600887 h 3726131"/>
                <a:gd name="connsiteX31" fmla="*/ 817923 w 2027922"/>
                <a:gd name="connsiteY31" fmla="*/ 3577093 h 3726131"/>
                <a:gd name="connsiteX32" fmla="*/ 811125 w 2027922"/>
                <a:gd name="connsiteY32" fmla="*/ 3260961 h 3726131"/>
                <a:gd name="connsiteX33" fmla="*/ 794129 w 2027922"/>
                <a:gd name="connsiteY33" fmla="*/ 2798662 h 3726131"/>
                <a:gd name="connsiteX34" fmla="*/ 685352 w 2027922"/>
                <a:gd name="connsiteY34" fmla="*/ 2302371 h 3726131"/>
                <a:gd name="connsiteX35" fmla="*/ 613968 w 2027922"/>
                <a:gd name="connsiteY35" fmla="*/ 3600886 h 3726131"/>
                <a:gd name="connsiteX36" fmla="*/ 545983 w 2027922"/>
                <a:gd name="connsiteY36" fmla="*/ 3638278 h 3726131"/>
                <a:gd name="connsiteX37" fmla="*/ 253852 w 2027922"/>
                <a:gd name="connsiteY37" fmla="*/ 3710912 h 3726131"/>
                <a:gd name="connsiteX38" fmla="*/ 376020 w 2027922"/>
                <a:gd name="connsiteY38" fmla="*/ 3512506 h 3726131"/>
                <a:gd name="connsiteX39" fmla="*/ 376020 w 2027922"/>
                <a:gd name="connsiteY39" fmla="*/ 3369737 h 3726131"/>
                <a:gd name="connsiteX40" fmla="*/ 378182 w 2027922"/>
                <a:gd name="connsiteY40" fmla="*/ 1914104 h 3726131"/>
                <a:gd name="connsiteX41" fmla="*/ 301981 w 2027922"/>
                <a:gd name="connsiteY41" fmla="*/ 1861716 h 3726131"/>
                <a:gd name="connsiteX42" fmla="*/ 351987 w 2027922"/>
                <a:gd name="connsiteY42" fmla="*/ 1523579 h 3726131"/>
                <a:gd name="connsiteX43" fmla="*/ 297218 w 2027922"/>
                <a:gd name="connsiteY43" fmla="*/ 1337841 h 3726131"/>
                <a:gd name="connsiteX44" fmla="*/ 409137 w 2027922"/>
                <a:gd name="connsiteY44" fmla="*/ 997323 h 3726131"/>
                <a:gd name="connsiteX45" fmla="*/ 128150 w 2027922"/>
                <a:gd name="connsiteY45" fmla="*/ 652041 h 3726131"/>
                <a:gd name="connsiteX46" fmla="*/ 9087 w 2027922"/>
                <a:gd name="connsiteY46" fmla="*/ 352004 h 3726131"/>
                <a:gd name="connsiteX47" fmla="*/ 59094 w 2027922"/>
                <a:gd name="connsiteY47" fmla="*/ 292473 h 3726131"/>
                <a:gd name="connsiteX48" fmla="*/ 11160 w 2027922"/>
                <a:gd name="connsiteY48" fmla="*/ 171030 h 3726131"/>
                <a:gd name="connsiteX0" fmla="*/ 11160 w 2027922"/>
                <a:gd name="connsiteY0" fmla="*/ 171030 h 3726131"/>
                <a:gd name="connsiteX1" fmla="*/ 30519 w 2027922"/>
                <a:gd name="connsiteY1" fmla="*/ 59110 h 3726131"/>
                <a:gd name="connsiteX2" fmla="*/ 75763 w 2027922"/>
                <a:gd name="connsiteY2" fmla="*/ 25773 h 3726131"/>
                <a:gd name="connsiteX3" fmla="*/ 113863 w 2027922"/>
                <a:gd name="connsiteY3" fmla="*/ 4342 h 3726131"/>
                <a:gd name="connsiteX4" fmla="*/ 197207 w 2027922"/>
                <a:gd name="connsiteY4" fmla="*/ 85306 h 3726131"/>
                <a:gd name="connsiteX5" fmla="*/ 161488 w 2027922"/>
                <a:gd name="connsiteY5" fmla="*/ 249612 h 3726131"/>
                <a:gd name="connsiteX6" fmla="*/ 425807 w 2027922"/>
                <a:gd name="connsiteY6" fmla="*/ 668712 h 3726131"/>
                <a:gd name="connsiteX7" fmla="*/ 525820 w 2027922"/>
                <a:gd name="connsiteY7" fmla="*/ 687762 h 3726131"/>
                <a:gd name="connsiteX8" fmla="*/ 752038 w 2027922"/>
                <a:gd name="connsiteY8" fmla="*/ 790156 h 3726131"/>
                <a:gd name="connsiteX9" fmla="*/ 473432 w 2027922"/>
                <a:gd name="connsiteY9" fmla="*/ 1178299 h 3726131"/>
                <a:gd name="connsiteX10" fmla="*/ 421045 w 2027922"/>
                <a:gd name="connsiteY10" fmla="*/ 1656931 h 3726131"/>
                <a:gd name="connsiteX11" fmla="*/ 1047313 w 2027922"/>
                <a:gd name="connsiteY11" fmla="*/ 1718843 h 3726131"/>
                <a:gd name="connsiteX12" fmla="*/ 1116370 w 2027922"/>
                <a:gd name="connsiteY12" fmla="*/ 1461668 h 3726131"/>
                <a:gd name="connsiteX13" fmla="*/ 923488 w 2027922"/>
                <a:gd name="connsiteY13" fmla="*/ 954461 h 3726131"/>
                <a:gd name="connsiteX14" fmla="*/ 1033026 w 2027922"/>
                <a:gd name="connsiteY14" fmla="*/ 840160 h 3726131"/>
                <a:gd name="connsiteX15" fmla="*/ 1206857 w 2027922"/>
                <a:gd name="connsiteY15" fmla="*/ 756817 h 3726131"/>
                <a:gd name="connsiteX16" fmla="*/ 1335444 w 2027922"/>
                <a:gd name="connsiteY16" fmla="*/ 785392 h 3726131"/>
                <a:gd name="connsiteX17" fmla="*/ 1852176 w 2027922"/>
                <a:gd name="connsiteY17" fmla="*/ 313906 h 3726131"/>
                <a:gd name="connsiteX18" fmla="*/ 1850139 w 2027922"/>
                <a:gd name="connsiteY18" fmla="*/ 175792 h 3726131"/>
                <a:gd name="connsiteX19" fmla="*/ 1925993 w 2027922"/>
                <a:gd name="connsiteY19" fmla="*/ 125785 h 3726131"/>
                <a:gd name="connsiteX20" fmla="*/ 1971238 w 2027922"/>
                <a:gd name="connsiteY20" fmla="*/ 168649 h 3726131"/>
                <a:gd name="connsiteX21" fmla="*/ 2006957 w 2027922"/>
                <a:gd name="connsiteY21" fmla="*/ 218653 h 3726131"/>
                <a:gd name="connsiteX22" fmla="*/ 2021244 w 2027922"/>
                <a:gd name="connsiteY22" fmla="*/ 299616 h 3726131"/>
                <a:gd name="connsiteX23" fmla="*/ 1906944 w 2027922"/>
                <a:gd name="connsiteY23" fmla="*/ 440112 h 3726131"/>
                <a:gd name="connsiteX24" fmla="*/ 1933137 w 2027922"/>
                <a:gd name="connsiteY24" fmla="*/ 502023 h 3726131"/>
                <a:gd name="connsiteX25" fmla="*/ 1544994 w 2027922"/>
                <a:gd name="connsiteY25" fmla="*/ 949698 h 3726131"/>
                <a:gd name="connsiteX26" fmla="*/ 1318775 w 2027922"/>
                <a:gd name="connsiteY26" fmla="*/ 1094954 h 3726131"/>
                <a:gd name="connsiteX27" fmla="*/ 1544994 w 2027922"/>
                <a:gd name="connsiteY27" fmla="*/ 2021260 h 3726131"/>
                <a:gd name="connsiteX28" fmla="*/ 1085412 w 2027922"/>
                <a:gd name="connsiteY28" fmla="*/ 2018879 h 3726131"/>
                <a:gd name="connsiteX29" fmla="*/ 1129222 w 2027922"/>
                <a:gd name="connsiteY29" fmla="*/ 3690516 h 3726131"/>
                <a:gd name="connsiteX30" fmla="*/ 899506 w 2027922"/>
                <a:gd name="connsiteY30" fmla="*/ 3600887 h 3726131"/>
                <a:gd name="connsiteX31" fmla="*/ 817923 w 2027922"/>
                <a:gd name="connsiteY31" fmla="*/ 3577093 h 3726131"/>
                <a:gd name="connsiteX32" fmla="*/ 811125 w 2027922"/>
                <a:gd name="connsiteY32" fmla="*/ 3260961 h 3726131"/>
                <a:gd name="connsiteX33" fmla="*/ 794129 w 2027922"/>
                <a:gd name="connsiteY33" fmla="*/ 2798662 h 3726131"/>
                <a:gd name="connsiteX34" fmla="*/ 685352 w 2027922"/>
                <a:gd name="connsiteY34" fmla="*/ 2302371 h 3726131"/>
                <a:gd name="connsiteX35" fmla="*/ 613968 w 2027922"/>
                <a:gd name="connsiteY35" fmla="*/ 3600886 h 3726131"/>
                <a:gd name="connsiteX36" fmla="*/ 545983 w 2027922"/>
                <a:gd name="connsiteY36" fmla="*/ 3638278 h 3726131"/>
                <a:gd name="connsiteX37" fmla="*/ 253852 w 2027922"/>
                <a:gd name="connsiteY37" fmla="*/ 3710912 h 3726131"/>
                <a:gd name="connsiteX38" fmla="*/ 376020 w 2027922"/>
                <a:gd name="connsiteY38" fmla="*/ 3512506 h 3726131"/>
                <a:gd name="connsiteX39" fmla="*/ 376020 w 2027922"/>
                <a:gd name="connsiteY39" fmla="*/ 3369737 h 3726131"/>
                <a:gd name="connsiteX40" fmla="*/ 378182 w 2027922"/>
                <a:gd name="connsiteY40" fmla="*/ 1914104 h 3726131"/>
                <a:gd name="connsiteX41" fmla="*/ 301981 w 2027922"/>
                <a:gd name="connsiteY41" fmla="*/ 1861716 h 3726131"/>
                <a:gd name="connsiteX42" fmla="*/ 351987 w 2027922"/>
                <a:gd name="connsiteY42" fmla="*/ 1523579 h 3726131"/>
                <a:gd name="connsiteX43" fmla="*/ 297218 w 2027922"/>
                <a:gd name="connsiteY43" fmla="*/ 1337841 h 3726131"/>
                <a:gd name="connsiteX44" fmla="*/ 409137 w 2027922"/>
                <a:gd name="connsiteY44" fmla="*/ 997323 h 3726131"/>
                <a:gd name="connsiteX45" fmla="*/ 128150 w 2027922"/>
                <a:gd name="connsiteY45" fmla="*/ 652041 h 3726131"/>
                <a:gd name="connsiteX46" fmla="*/ 9087 w 2027922"/>
                <a:gd name="connsiteY46" fmla="*/ 352004 h 3726131"/>
                <a:gd name="connsiteX47" fmla="*/ 59094 w 2027922"/>
                <a:gd name="connsiteY47" fmla="*/ 292473 h 3726131"/>
                <a:gd name="connsiteX48" fmla="*/ 11160 w 2027922"/>
                <a:gd name="connsiteY48" fmla="*/ 171030 h 3726131"/>
                <a:gd name="connsiteX0" fmla="*/ 11160 w 2027922"/>
                <a:gd name="connsiteY0" fmla="*/ 171030 h 3726131"/>
                <a:gd name="connsiteX1" fmla="*/ 30519 w 2027922"/>
                <a:gd name="connsiteY1" fmla="*/ 59110 h 3726131"/>
                <a:gd name="connsiteX2" fmla="*/ 75763 w 2027922"/>
                <a:gd name="connsiteY2" fmla="*/ 25773 h 3726131"/>
                <a:gd name="connsiteX3" fmla="*/ 113863 w 2027922"/>
                <a:gd name="connsiteY3" fmla="*/ 4342 h 3726131"/>
                <a:gd name="connsiteX4" fmla="*/ 197207 w 2027922"/>
                <a:gd name="connsiteY4" fmla="*/ 85306 h 3726131"/>
                <a:gd name="connsiteX5" fmla="*/ 161488 w 2027922"/>
                <a:gd name="connsiteY5" fmla="*/ 249612 h 3726131"/>
                <a:gd name="connsiteX6" fmla="*/ 425807 w 2027922"/>
                <a:gd name="connsiteY6" fmla="*/ 668712 h 3726131"/>
                <a:gd name="connsiteX7" fmla="*/ 525820 w 2027922"/>
                <a:gd name="connsiteY7" fmla="*/ 687762 h 3726131"/>
                <a:gd name="connsiteX8" fmla="*/ 752038 w 2027922"/>
                <a:gd name="connsiteY8" fmla="*/ 790156 h 3726131"/>
                <a:gd name="connsiteX9" fmla="*/ 473432 w 2027922"/>
                <a:gd name="connsiteY9" fmla="*/ 1178299 h 3726131"/>
                <a:gd name="connsiteX10" fmla="*/ 421045 w 2027922"/>
                <a:gd name="connsiteY10" fmla="*/ 1656931 h 3726131"/>
                <a:gd name="connsiteX11" fmla="*/ 1047313 w 2027922"/>
                <a:gd name="connsiteY11" fmla="*/ 1718843 h 3726131"/>
                <a:gd name="connsiteX12" fmla="*/ 1116370 w 2027922"/>
                <a:gd name="connsiteY12" fmla="*/ 1461668 h 3726131"/>
                <a:gd name="connsiteX13" fmla="*/ 923488 w 2027922"/>
                <a:gd name="connsiteY13" fmla="*/ 954461 h 3726131"/>
                <a:gd name="connsiteX14" fmla="*/ 1033026 w 2027922"/>
                <a:gd name="connsiteY14" fmla="*/ 840160 h 3726131"/>
                <a:gd name="connsiteX15" fmla="*/ 1206857 w 2027922"/>
                <a:gd name="connsiteY15" fmla="*/ 756817 h 3726131"/>
                <a:gd name="connsiteX16" fmla="*/ 1335444 w 2027922"/>
                <a:gd name="connsiteY16" fmla="*/ 785392 h 3726131"/>
                <a:gd name="connsiteX17" fmla="*/ 1852176 w 2027922"/>
                <a:gd name="connsiteY17" fmla="*/ 313906 h 3726131"/>
                <a:gd name="connsiteX18" fmla="*/ 1850139 w 2027922"/>
                <a:gd name="connsiteY18" fmla="*/ 175792 h 3726131"/>
                <a:gd name="connsiteX19" fmla="*/ 1925993 w 2027922"/>
                <a:gd name="connsiteY19" fmla="*/ 125785 h 3726131"/>
                <a:gd name="connsiteX20" fmla="*/ 1971238 w 2027922"/>
                <a:gd name="connsiteY20" fmla="*/ 168649 h 3726131"/>
                <a:gd name="connsiteX21" fmla="*/ 2006957 w 2027922"/>
                <a:gd name="connsiteY21" fmla="*/ 218653 h 3726131"/>
                <a:gd name="connsiteX22" fmla="*/ 2021244 w 2027922"/>
                <a:gd name="connsiteY22" fmla="*/ 299616 h 3726131"/>
                <a:gd name="connsiteX23" fmla="*/ 1906944 w 2027922"/>
                <a:gd name="connsiteY23" fmla="*/ 440112 h 3726131"/>
                <a:gd name="connsiteX24" fmla="*/ 1933137 w 2027922"/>
                <a:gd name="connsiteY24" fmla="*/ 502023 h 3726131"/>
                <a:gd name="connsiteX25" fmla="*/ 1544994 w 2027922"/>
                <a:gd name="connsiteY25" fmla="*/ 949698 h 3726131"/>
                <a:gd name="connsiteX26" fmla="*/ 1318775 w 2027922"/>
                <a:gd name="connsiteY26" fmla="*/ 1094954 h 3726131"/>
                <a:gd name="connsiteX27" fmla="*/ 1544994 w 2027922"/>
                <a:gd name="connsiteY27" fmla="*/ 2021260 h 3726131"/>
                <a:gd name="connsiteX28" fmla="*/ 1085412 w 2027922"/>
                <a:gd name="connsiteY28" fmla="*/ 2018879 h 3726131"/>
                <a:gd name="connsiteX29" fmla="*/ 1129222 w 2027922"/>
                <a:gd name="connsiteY29" fmla="*/ 3690516 h 3726131"/>
                <a:gd name="connsiteX30" fmla="*/ 899506 w 2027922"/>
                <a:gd name="connsiteY30" fmla="*/ 3600887 h 3726131"/>
                <a:gd name="connsiteX31" fmla="*/ 817923 w 2027922"/>
                <a:gd name="connsiteY31" fmla="*/ 3577093 h 3726131"/>
                <a:gd name="connsiteX32" fmla="*/ 811125 w 2027922"/>
                <a:gd name="connsiteY32" fmla="*/ 3260961 h 3726131"/>
                <a:gd name="connsiteX33" fmla="*/ 794129 w 2027922"/>
                <a:gd name="connsiteY33" fmla="*/ 2798662 h 3726131"/>
                <a:gd name="connsiteX34" fmla="*/ 685352 w 2027922"/>
                <a:gd name="connsiteY34" fmla="*/ 2302371 h 3726131"/>
                <a:gd name="connsiteX35" fmla="*/ 613968 w 2027922"/>
                <a:gd name="connsiteY35" fmla="*/ 3600886 h 3726131"/>
                <a:gd name="connsiteX36" fmla="*/ 545983 w 2027922"/>
                <a:gd name="connsiteY36" fmla="*/ 3638278 h 3726131"/>
                <a:gd name="connsiteX37" fmla="*/ 253852 w 2027922"/>
                <a:gd name="connsiteY37" fmla="*/ 3710912 h 3726131"/>
                <a:gd name="connsiteX38" fmla="*/ 376020 w 2027922"/>
                <a:gd name="connsiteY38" fmla="*/ 3512506 h 3726131"/>
                <a:gd name="connsiteX39" fmla="*/ 379419 w 2027922"/>
                <a:gd name="connsiteY39" fmla="*/ 3383335 h 3726131"/>
                <a:gd name="connsiteX40" fmla="*/ 378182 w 2027922"/>
                <a:gd name="connsiteY40" fmla="*/ 1914104 h 3726131"/>
                <a:gd name="connsiteX41" fmla="*/ 301981 w 2027922"/>
                <a:gd name="connsiteY41" fmla="*/ 1861716 h 3726131"/>
                <a:gd name="connsiteX42" fmla="*/ 351987 w 2027922"/>
                <a:gd name="connsiteY42" fmla="*/ 1523579 h 3726131"/>
                <a:gd name="connsiteX43" fmla="*/ 297218 w 2027922"/>
                <a:gd name="connsiteY43" fmla="*/ 1337841 h 3726131"/>
                <a:gd name="connsiteX44" fmla="*/ 409137 w 2027922"/>
                <a:gd name="connsiteY44" fmla="*/ 997323 h 3726131"/>
                <a:gd name="connsiteX45" fmla="*/ 128150 w 2027922"/>
                <a:gd name="connsiteY45" fmla="*/ 652041 h 3726131"/>
                <a:gd name="connsiteX46" fmla="*/ 9087 w 2027922"/>
                <a:gd name="connsiteY46" fmla="*/ 352004 h 3726131"/>
                <a:gd name="connsiteX47" fmla="*/ 59094 w 2027922"/>
                <a:gd name="connsiteY47" fmla="*/ 292473 h 3726131"/>
                <a:gd name="connsiteX48" fmla="*/ 11160 w 2027922"/>
                <a:gd name="connsiteY48" fmla="*/ 171030 h 3726131"/>
                <a:gd name="connsiteX0" fmla="*/ 11160 w 2027922"/>
                <a:gd name="connsiteY0" fmla="*/ 171030 h 3726131"/>
                <a:gd name="connsiteX1" fmla="*/ 30519 w 2027922"/>
                <a:gd name="connsiteY1" fmla="*/ 59110 h 3726131"/>
                <a:gd name="connsiteX2" fmla="*/ 75763 w 2027922"/>
                <a:gd name="connsiteY2" fmla="*/ 25773 h 3726131"/>
                <a:gd name="connsiteX3" fmla="*/ 113863 w 2027922"/>
                <a:gd name="connsiteY3" fmla="*/ 4342 h 3726131"/>
                <a:gd name="connsiteX4" fmla="*/ 197207 w 2027922"/>
                <a:gd name="connsiteY4" fmla="*/ 85306 h 3726131"/>
                <a:gd name="connsiteX5" fmla="*/ 161488 w 2027922"/>
                <a:gd name="connsiteY5" fmla="*/ 249612 h 3726131"/>
                <a:gd name="connsiteX6" fmla="*/ 425807 w 2027922"/>
                <a:gd name="connsiteY6" fmla="*/ 668712 h 3726131"/>
                <a:gd name="connsiteX7" fmla="*/ 525820 w 2027922"/>
                <a:gd name="connsiteY7" fmla="*/ 687762 h 3726131"/>
                <a:gd name="connsiteX8" fmla="*/ 752038 w 2027922"/>
                <a:gd name="connsiteY8" fmla="*/ 790156 h 3726131"/>
                <a:gd name="connsiteX9" fmla="*/ 473432 w 2027922"/>
                <a:gd name="connsiteY9" fmla="*/ 1178299 h 3726131"/>
                <a:gd name="connsiteX10" fmla="*/ 421045 w 2027922"/>
                <a:gd name="connsiteY10" fmla="*/ 1656931 h 3726131"/>
                <a:gd name="connsiteX11" fmla="*/ 1047313 w 2027922"/>
                <a:gd name="connsiteY11" fmla="*/ 1718843 h 3726131"/>
                <a:gd name="connsiteX12" fmla="*/ 1116370 w 2027922"/>
                <a:gd name="connsiteY12" fmla="*/ 1461668 h 3726131"/>
                <a:gd name="connsiteX13" fmla="*/ 923488 w 2027922"/>
                <a:gd name="connsiteY13" fmla="*/ 954461 h 3726131"/>
                <a:gd name="connsiteX14" fmla="*/ 1033026 w 2027922"/>
                <a:gd name="connsiteY14" fmla="*/ 840160 h 3726131"/>
                <a:gd name="connsiteX15" fmla="*/ 1206857 w 2027922"/>
                <a:gd name="connsiteY15" fmla="*/ 756817 h 3726131"/>
                <a:gd name="connsiteX16" fmla="*/ 1335444 w 2027922"/>
                <a:gd name="connsiteY16" fmla="*/ 785392 h 3726131"/>
                <a:gd name="connsiteX17" fmla="*/ 1852176 w 2027922"/>
                <a:gd name="connsiteY17" fmla="*/ 313906 h 3726131"/>
                <a:gd name="connsiteX18" fmla="*/ 1850139 w 2027922"/>
                <a:gd name="connsiteY18" fmla="*/ 175792 h 3726131"/>
                <a:gd name="connsiteX19" fmla="*/ 1925993 w 2027922"/>
                <a:gd name="connsiteY19" fmla="*/ 125785 h 3726131"/>
                <a:gd name="connsiteX20" fmla="*/ 1971238 w 2027922"/>
                <a:gd name="connsiteY20" fmla="*/ 168649 h 3726131"/>
                <a:gd name="connsiteX21" fmla="*/ 2006957 w 2027922"/>
                <a:gd name="connsiteY21" fmla="*/ 218653 h 3726131"/>
                <a:gd name="connsiteX22" fmla="*/ 2021244 w 2027922"/>
                <a:gd name="connsiteY22" fmla="*/ 299616 h 3726131"/>
                <a:gd name="connsiteX23" fmla="*/ 1906944 w 2027922"/>
                <a:gd name="connsiteY23" fmla="*/ 440112 h 3726131"/>
                <a:gd name="connsiteX24" fmla="*/ 1933137 w 2027922"/>
                <a:gd name="connsiteY24" fmla="*/ 502023 h 3726131"/>
                <a:gd name="connsiteX25" fmla="*/ 1544994 w 2027922"/>
                <a:gd name="connsiteY25" fmla="*/ 949698 h 3726131"/>
                <a:gd name="connsiteX26" fmla="*/ 1318775 w 2027922"/>
                <a:gd name="connsiteY26" fmla="*/ 1094954 h 3726131"/>
                <a:gd name="connsiteX27" fmla="*/ 1544994 w 2027922"/>
                <a:gd name="connsiteY27" fmla="*/ 2021260 h 3726131"/>
                <a:gd name="connsiteX28" fmla="*/ 1085412 w 2027922"/>
                <a:gd name="connsiteY28" fmla="*/ 2018879 h 3726131"/>
                <a:gd name="connsiteX29" fmla="*/ 1129222 w 2027922"/>
                <a:gd name="connsiteY29" fmla="*/ 3690516 h 3726131"/>
                <a:gd name="connsiteX30" fmla="*/ 899506 w 2027922"/>
                <a:gd name="connsiteY30" fmla="*/ 3600887 h 3726131"/>
                <a:gd name="connsiteX31" fmla="*/ 817923 w 2027922"/>
                <a:gd name="connsiteY31" fmla="*/ 3577093 h 3726131"/>
                <a:gd name="connsiteX32" fmla="*/ 811125 w 2027922"/>
                <a:gd name="connsiteY32" fmla="*/ 3260961 h 3726131"/>
                <a:gd name="connsiteX33" fmla="*/ 794129 w 2027922"/>
                <a:gd name="connsiteY33" fmla="*/ 2798662 h 3726131"/>
                <a:gd name="connsiteX34" fmla="*/ 685352 w 2027922"/>
                <a:gd name="connsiteY34" fmla="*/ 2302371 h 3726131"/>
                <a:gd name="connsiteX35" fmla="*/ 613968 w 2027922"/>
                <a:gd name="connsiteY35" fmla="*/ 3600886 h 3726131"/>
                <a:gd name="connsiteX36" fmla="*/ 545983 w 2027922"/>
                <a:gd name="connsiteY36" fmla="*/ 3638278 h 3726131"/>
                <a:gd name="connsiteX37" fmla="*/ 253852 w 2027922"/>
                <a:gd name="connsiteY37" fmla="*/ 3710912 h 3726131"/>
                <a:gd name="connsiteX38" fmla="*/ 376020 w 2027922"/>
                <a:gd name="connsiteY38" fmla="*/ 3512506 h 3726131"/>
                <a:gd name="connsiteX39" fmla="*/ 379419 w 2027922"/>
                <a:gd name="connsiteY39" fmla="*/ 3383335 h 3726131"/>
                <a:gd name="connsiteX40" fmla="*/ 378182 w 2027922"/>
                <a:gd name="connsiteY40" fmla="*/ 1914104 h 3726131"/>
                <a:gd name="connsiteX41" fmla="*/ 301981 w 2027922"/>
                <a:gd name="connsiteY41" fmla="*/ 1861716 h 3726131"/>
                <a:gd name="connsiteX42" fmla="*/ 351987 w 2027922"/>
                <a:gd name="connsiteY42" fmla="*/ 1523579 h 3726131"/>
                <a:gd name="connsiteX43" fmla="*/ 297218 w 2027922"/>
                <a:gd name="connsiteY43" fmla="*/ 1337841 h 3726131"/>
                <a:gd name="connsiteX44" fmla="*/ 409137 w 2027922"/>
                <a:gd name="connsiteY44" fmla="*/ 997323 h 3726131"/>
                <a:gd name="connsiteX45" fmla="*/ 128150 w 2027922"/>
                <a:gd name="connsiteY45" fmla="*/ 652041 h 3726131"/>
                <a:gd name="connsiteX46" fmla="*/ 9087 w 2027922"/>
                <a:gd name="connsiteY46" fmla="*/ 352004 h 3726131"/>
                <a:gd name="connsiteX47" fmla="*/ 59094 w 2027922"/>
                <a:gd name="connsiteY47" fmla="*/ 292473 h 3726131"/>
                <a:gd name="connsiteX48" fmla="*/ 11160 w 2027922"/>
                <a:gd name="connsiteY48" fmla="*/ 171030 h 3726131"/>
                <a:gd name="connsiteX0" fmla="*/ 11160 w 2027922"/>
                <a:gd name="connsiteY0" fmla="*/ 171030 h 3726131"/>
                <a:gd name="connsiteX1" fmla="*/ 30519 w 2027922"/>
                <a:gd name="connsiteY1" fmla="*/ 59110 h 3726131"/>
                <a:gd name="connsiteX2" fmla="*/ 75763 w 2027922"/>
                <a:gd name="connsiteY2" fmla="*/ 25773 h 3726131"/>
                <a:gd name="connsiteX3" fmla="*/ 113863 w 2027922"/>
                <a:gd name="connsiteY3" fmla="*/ 4342 h 3726131"/>
                <a:gd name="connsiteX4" fmla="*/ 197207 w 2027922"/>
                <a:gd name="connsiteY4" fmla="*/ 85306 h 3726131"/>
                <a:gd name="connsiteX5" fmla="*/ 161488 w 2027922"/>
                <a:gd name="connsiteY5" fmla="*/ 249612 h 3726131"/>
                <a:gd name="connsiteX6" fmla="*/ 425807 w 2027922"/>
                <a:gd name="connsiteY6" fmla="*/ 668712 h 3726131"/>
                <a:gd name="connsiteX7" fmla="*/ 525820 w 2027922"/>
                <a:gd name="connsiteY7" fmla="*/ 687762 h 3726131"/>
                <a:gd name="connsiteX8" fmla="*/ 752038 w 2027922"/>
                <a:gd name="connsiteY8" fmla="*/ 790156 h 3726131"/>
                <a:gd name="connsiteX9" fmla="*/ 473432 w 2027922"/>
                <a:gd name="connsiteY9" fmla="*/ 1178299 h 3726131"/>
                <a:gd name="connsiteX10" fmla="*/ 421045 w 2027922"/>
                <a:gd name="connsiteY10" fmla="*/ 1656931 h 3726131"/>
                <a:gd name="connsiteX11" fmla="*/ 1047313 w 2027922"/>
                <a:gd name="connsiteY11" fmla="*/ 1718843 h 3726131"/>
                <a:gd name="connsiteX12" fmla="*/ 1116370 w 2027922"/>
                <a:gd name="connsiteY12" fmla="*/ 1461668 h 3726131"/>
                <a:gd name="connsiteX13" fmla="*/ 923488 w 2027922"/>
                <a:gd name="connsiteY13" fmla="*/ 954461 h 3726131"/>
                <a:gd name="connsiteX14" fmla="*/ 1033026 w 2027922"/>
                <a:gd name="connsiteY14" fmla="*/ 840160 h 3726131"/>
                <a:gd name="connsiteX15" fmla="*/ 1206857 w 2027922"/>
                <a:gd name="connsiteY15" fmla="*/ 756817 h 3726131"/>
                <a:gd name="connsiteX16" fmla="*/ 1335444 w 2027922"/>
                <a:gd name="connsiteY16" fmla="*/ 785392 h 3726131"/>
                <a:gd name="connsiteX17" fmla="*/ 1852176 w 2027922"/>
                <a:gd name="connsiteY17" fmla="*/ 313906 h 3726131"/>
                <a:gd name="connsiteX18" fmla="*/ 1850139 w 2027922"/>
                <a:gd name="connsiteY18" fmla="*/ 175792 h 3726131"/>
                <a:gd name="connsiteX19" fmla="*/ 1925993 w 2027922"/>
                <a:gd name="connsiteY19" fmla="*/ 125785 h 3726131"/>
                <a:gd name="connsiteX20" fmla="*/ 1971238 w 2027922"/>
                <a:gd name="connsiteY20" fmla="*/ 168649 h 3726131"/>
                <a:gd name="connsiteX21" fmla="*/ 2006957 w 2027922"/>
                <a:gd name="connsiteY21" fmla="*/ 218653 h 3726131"/>
                <a:gd name="connsiteX22" fmla="*/ 2021244 w 2027922"/>
                <a:gd name="connsiteY22" fmla="*/ 299616 h 3726131"/>
                <a:gd name="connsiteX23" fmla="*/ 1906944 w 2027922"/>
                <a:gd name="connsiteY23" fmla="*/ 440112 h 3726131"/>
                <a:gd name="connsiteX24" fmla="*/ 1933137 w 2027922"/>
                <a:gd name="connsiteY24" fmla="*/ 502023 h 3726131"/>
                <a:gd name="connsiteX25" fmla="*/ 1544994 w 2027922"/>
                <a:gd name="connsiteY25" fmla="*/ 949698 h 3726131"/>
                <a:gd name="connsiteX26" fmla="*/ 1318775 w 2027922"/>
                <a:gd name="connsiteY26" fmla="*/ 1094954 h 3726131"/>
                <a:gd name="connsiteX27" fmla="*/ 1544994 w 2027922"/>
                <a:gd name="connsiteY27" fmla="*/ 2021260 h 3726131"/>
                <a:gd name="connsiteX28" fmla="*/ 1085412 w 2027922"/>
                <a:gd name="connsiteY28" fmla="*/ 2018879 h 3726131"/>
                <a:gd name="connsiteX29" fmla="*/ 1129222 w 2027922"/>
                <a:gd name="connsiteY29" fmla="*/ 3690516 h 3726131"/>
                <a:gd name="connsiteX30" fmla="*/ 899506 w 2027922"/>
                <a:gd name="connsiteY30" fmla="*/ 3600887 h 3726131"/>
                <a:gd name="connsiteX31" fmla="*/ 817923 w 2027922"/>
                <a:gd name="connsiteY31" fmla="*/ 3577093 h 3726131"/>
                <a:gd name="connsiteX32" fmla="*/ 811125 w 2027922"/>
                <a:gd name="connsiteY32" fmla="*/ 3260961 h 3726131"/>
                <a:gd name="connsiteX33" fmla="*/ 794129 w 2027922"/>
                <a:gd name="connsiteY33" fmla="*/ 2798662 h 3726131"/>
                <a:gd name="connsiteX34" fmla="*/ 685352 w 2027922"/>
                <a:gd name="connsiteY34" fmla="*/ 2302371 h 3726131"/>
                <a:gd name="connsiteX35" fmla="*/ 613968 w 2027922"/>
                <a:gd name="connsiteY35" fmla="*/ 3600886 h 3726131"/>
                <a:gd name="connsiteX36" fmla="*/ 545983 w 2027922"/>
                <a:gd name="connsiteY36" fmla="*/ 3638278 h 3726131"/>
                <a:gd name="connsiteX37" fmla="*/ 253852 w 2027922"/>
                <a:gd name="connsiteY37" fmla="*/ 3710912 h 3726131"/>
                <a:gd name="connsiteX38" fmla="*/ 376020 w 2027922"/>
                <a:gd name="connsiteY38" fmla="*/ 3512506 h 3726131"/>
                <a:gd name="connsiteX39" fmla="*/ 379419 w 2027922"/>
                <a:gd name="connsiteY39" fmla="*/ 3383335 h 3726131"/>
                <a:gd name="connsiteX40" fmla="*/ 378182 w 2027922"/>
                <a:gd name="connsiteY40" fmla="*/ 1914104 h 3726131"/>
                <a:gd name="connsiteX41" fmla="*/ 301981 w 2027922"/>
                <a:gd name="connsiteY41" fmla="*/ 1861716 h 3726131"/>
                <a:gd name="connsiteX42" fmla="*/ 351987 w 2027922"/>
                <a:gd name="connsiteY42" fmla="*/ 1523579 h 3726131"/>
                <a:gd name="connsiteX43" fmla="*/ 297218 w 2027922"/>
                <a:gd name="connsiteY43" fmla="*/ 1337841 h 3726131"/>
                <a:gd name="connsiteX44" fmla="*/ 409137 w 2027922"/>
                <a:gd name="connsiteY44" fmla="*/ 997323 h 3726131"/>
                <a:gd name="connsiteX45" fmla="*/ 128150 w 2027922"/>
                <a:gd name="connsiteY45" fmla="*/ 652041 h 3726131"/>
                <a:gd name="connsiteX46" fmla="*/ 9087 w 2027922"/>
                <a:gd name="connsiteY46" fmla="*/ 352004 h 3726131"/>
                <a:gd name="connsiteX47" fmla="*/ 59094 w 2027922"/>
                <a:gd name="connsiteY47" fmla="*/ 292473 h 3726131"/>
                <a:gd name="connsiteX48" fmla="*/ 11160 w 2027922"/>
                <a:gd name="connsiteY48" fmla="*/ 171030 h 3726131"/>
                <a:gd name="connsiteX0" fmla="*/ 11160 w 2027922"/>
                <a:gd name="connsiteY0" fmla="*/ 171030 h 3726131"/>
                <a:gd name="connsiteX1" fmla="*/ 30519 w 2027922"/>
                <a:gd name="connsiteY1" fmla="*/ 59110 h 3726131"/>
                <a:gd name="connsiteX2" fmla="*/ 75763 w 2027922"/>
                <a:gd name="connsiteY2" fmla="*/ 25773 h 3726131"/>
                <a:gd name="connsiteX3" fmla="*/ 113863 w 2027922"/>
                <a:gd name="connsiteY3" fmla="*/ 4342 h 3726131"/>
                <a:gd name="connsiteX4" fmla="*/ 197207 w 2027922"/>
                <a:gd name="connsiteY4" fmla="*/ 85306 h 3726131"/>
                <a:gd name="connsiteX5" fmla="*/ 161488 w 2027922"/>
                <a:gd name="connsiteY5" fmla="*/ 249612 h 3726131"/>
                <a:gd name="connsiteX6" fmla="*/ 425807 w 2027922"/>
                <a:gd name="connsiteY6" fmla="*/ 668712 h 3726131"/>
                <a:gd name="connsiteX7" fmla="*/ 525820 w 2027922"/>
                <a:gd name="connsiteY7" fmla="*/ 687762 h 3726131"/>
                <a:gd name="connsiteX8" fmla="*/ 752038 w 2027922"/>
                <a:gd name="connsiteY8" fmla="*/ 790156 h 3726131"/>
                <a:gd name="connsiteX9" fmla="*/ 473432 w 2027922"/>
                <a:gd name="connsiteY9" fmla="*/ 1178299 h 3726131"/>
                <a:gd name="connsiteX10" fmla="*/ 421045 w 2027922"/>
                <a:gd name="connsiteY10" fmla="*/ 1656931 h 3726131"/>
                <a:gd name="connsiteX11" fmla="*/ 1047313 w 2027922"/>
                <a:gd name="connsiteY11" fmla="*/ 1718843 h 3726131"/>
                <a:gd name="connsiteX12" fmla="*/ 1116370 w 2027922"/>
                <a:gd name="connsiteY12" fmla="*/ 1461668 h 3726131"/>
                <a:gd name="connsiteX13" fmla="*/ 923488 w 2027922"/>
                <a:gd name="connsiteY13" fmla="*/ 954461 h 3726131"/>
                <a:gd name="connsiteX14" fmla="*/ 1033026 w 2027922"/>
                <a:gd name="connsiteY14" fmla="*/ 840160 h 3726131"/>
                <a:gd name="connsiteX15" fmla="*/ 1206857 w 2027922"/>
                <a:gd name="connsiteY15" fmla="*/ 756817 h 3726131"/>
                <a:gd name="connsiteX16" fmla="*/ 1335444 w 2027922"/>
                <a:gd name="connsiteY16" fmla="*/ 785392 h 3726131"/>
                <a:gd name="connsiteX17" fmla="*/ 1852176 w 2027922"/>
                <a:gd name="connsiteY17" fmla="*/ 313906 h 3726131"/>
                <a:gd name="connsiteX18" fmla="*/ 1850139 w 2027922"/>
                <a:gd name="connsiteY18" fmla="*/ 175792 h 3726131"/>
                <a:gd name="connsiteX19" fmla="*/ 1925993 w 2027922"/>
                <a:gd name="connsiteY19" fmla="*/ 125785 h 3726131"/>
                <a:gd name="connsiteX20" fmla="*/ 1971238 w 2027922"/>
                <a:gd name="connsiteY20" fmla="*/ 168649 h 3726131"/>
                <a:gd name="connsiteX21" fmla="*/ 2006957 w 2027922"/>
                <a:gd name="connsiteY21" fmla="*/ 218653 h 3726131"/>
                <a:gd name="connsiteX22" fmla="*/ 2021244 w 2027922"/>
                <a:gd name="connsiteY22" fmla="*/ 299616 h 3726131"/>
                <a:gd name="connsiteX23" fmla="*/ 1906944 w 2027922"/>
                <a:gd name="connsiteY23" fmla="*/ 440112 h 3726131"/>
                <a:gd name="connsiteX24" fmla="*/ 1933137 w 2027922"/>
                <a:gd name="connsiteY24" fmla="*/ 502023 h 3726131"/>
                <a:gd name="connsiteX25" fmla="*/ 1544994 w 2027922"/>
                <a:gd name="connsiteY25" fmla="*/ 949698 h 3726131"/>
                <a:gd name="connsiteX26" fmla="*/ 1318775 w 2027922"/>
                <a:gd name="connsiteY26" fmla="*/ 1094954 h 3726131"/>
                <a:gd name="connsiteX27" fmla="*/ 1544994 w 2027922"/>
                <a:gd name="connsiteY27" fmla="*/ 2021260 h 3726131"/>
                <a:gd name="connsiteX28" fmla="*/ 1085412 w 2027922"/>
                <a:gd name="connsiteY28" fmla="*/ 2018879 h 3726131"/>
                <a:gd name="connsiteX29" fmla="*/ 1129222 w 2027922"/>
                <a:gd name="connsiteY29" fmla="*/ 3690516 h 3726131"/>
                <a:gd name="connsiteX30" fmla="*/ 899506 w 2027922"/>
                <a:gd name="connsiteY30" fmla="*/ 3600887 h 3726131"/>
                <a:gd name="connsiteX31" fmla="*/ 817923 w 2027922"/>
                <a:gd name="connsiteY31" fmla="*/ 3577093 h 3726131"/>
                <a:gd name="connsiteX32" fmla="*/ 811125 w 2027922"/>
                <a:gd name="connsiteY32" fmla="*/ 3260961 h 3726131"/>
                <a:gd name="connsiteX33" fmla="*/ 794129 w 2027922"/>
                <a:gd name="connsiteY33" fmla="*/ 2798662 h 3726131"/>
                <a:gd name="connsiteX34" fmla="*/ 685352 w 2027922"/>
                <a:gd name="connsiteY34" fmla="*/ 2302371 h 3726131"/>
                <a:gd name="connsiteX35" fmla="*/ 613968 w 2027922"/>
                <a:gd name="connsiteY35" fmla="*/ 3600886 h 3726131"/>
                <a:gd name="connsiteX36" fmla="*/ 545983 w 2027922"/>
                <a:gd name="connsiteY36" fmla="*/ 3638278 h 3726131"/>
                <a:gd name="connsiteX37" fmla="*/ 253852 w 2027922"/>
                <a:gd name="connsiteY37" fmla="*/ 3710912 h 3726131"/>
                <a:gd name="connsiteX38" fmla="*/ 376020 w 2027922"/>
                <a:gd name="connsiteY38" fmla="*/ 3512506 h 3726131"/>
                <a:gd name="connsiteX39" fmla="*/ 379419 w 2027922"/>
                <a:gd name="connsiteY39" fmla="*/ 3383335 h 3726131"/>
                <a:gd name="connsiteX40" fmla="*/ 384980 w 2027922"/>
                <a:gd name="connsiteY40" fmla="*/ 1920902 h 3726131"/>
                <a:gd name="connsiteX41" fmla="*/ 301981 w 2027922"/>
                <a:gd name="connsiteY41" fmla="*/ 1861716 h 3726131"/>
                <a:gd name="connsiteX42" fmla="*/ 351987 w 2027922"/>
                <a:gd name="connsiteY42" fmla="*/ 1523579 h 3726131"/>
                <a:gd name="connsiteX43" fmla="*/ 297218 w 2027922"/>
                <a:gd name="connsiteY43" fmla="*/ 1337841 h 3726131"/>
                <a:gd name="connsiteX44" fmla="*/ 409137 w 2027922"/>
                <a:gd name="connsiteY44" fmla="*/ 997323 h 3726131"/>
                <a:gd name="connsiteX45" fmla="*/ 128150 w 2027922"/>
                <a:gd name="connsiteY45" fmla="*/ 652041 h 3726131"/>
                <a:gd name="connsiteX46" fmla="*/ 9087 w 2027922"/>
                <a:gd name="connsiteY46" fmla="*/ 352004 h 3726131"/>
                <a:gd name="connsiteX47" fmla="*/ 59094 w 2027922"/>
                <a:gd name="connsiteY47" fmla="*/ 292473 h 3726131"/>
                <a:gd name="connsiteX48" fmla="*/ 11160 w 2027922"/>
                <a:gd name="connsiteY48" fmla="*/ 171030 h 3726131"/>
                <a:gd name="connsiteX0" fmla="*/ 11160 w 2027922"/>
                <a:gd name="connsiteY0" fmla="*/ 171030 h 3726131"/>
                <a:gd name="connsiteX1" fmla="*/ 30519 w 2027922"/>
                <a:gd name="connsiteY1" fmla="*/ 59110 h 3726131"/>
                <a:gd name="connsiteX2" fmla="*/ 75763 w 2027922"/>
                <a:gd name="connsiteY2" fmla="*/ 25773 h 3726131"/>
                <a:gd name="connsiteX3" fmla="*/ 113863 w 2027922"/>
                <a:gd name="connsiteY3" fmla="*/ 4342 h 3726131"/>
                <a:gd name="connsiteX4" fmla="*/ 197207 w 2027922"/>
                <a:gd name="connsiteY4" fmla="*/ 85306 h 3726131"/>
                <a:gd name="connsiteX5" fmla="*/ 161488 w 2027922"/>
                <a:gd name="connsiteY5" fmla="*/ 249612 h 3726131"/>
                <a:gd name="connsiteX6" fmla="*/ 425807 w 2027922"/>
                <a:gd name="connsiteY6" fmla="*/ 668712 h 3726131"/>
                <a:gd name="connsiteX7" fmla="*/ 525820 w 2027922"/>
                <a:gd name="connsiteY7" fmla="*/ 687762 h 3726131"/>
                <a:gd name="connsiteX8" fmla="*/ 752038 w 2027922"/>
                <a:gd name="connsiteY8" fmla="*/ 790156 h 3726131"/>
                <a:gd name="connsiteX9" fmla="*/ 473432 w 2027922"/>
                <a:gd name="connsiteY9" fmla="*/ 1178299 h 3726131"/>
                <a:gd name="connsiteX10" fmla="*/ 421045 w 2027922"/>
                <a:gd name="connsiteY10" fmla="*/ 1656931 h 3726131"/>
                <a:gd name="connsiteX11" fmla="*/ 1047313 w 2027922"/>
                <a:gd name="connsiteY11" fmla="*/ 1718843 h 3726131"/>
                <a:gd name="connsiteX12" fmla="*/ 1116370 w 2027922"/>
                <a:gd name="connsiteY12" fmla="*/ 1461668 h 3726131"/>
                <a:gd name="connsiteX13" fmla="*/ 923488 w 2027922"/>
                <a:gd name="connsiteY13" fmla="*/ 954461 h 3726131"/>
                <a:gd name="connsiteX14" fmla="*/ 1033026 w 2027922"/>
                <a:gd name="connsiteY14" fmla="*/ 840160 h 3726131"/>
                <a:gd name="connsiteX15" fmla="*/ 1206857 w 2027922"/>
                <a:gd name="connsiteY15" fmla="*/ 756817 h 3726131"/>
                <a:gd name="connsiteX16" fmla="*/ 1335444 w 2027922"/>
                <a:gd name="connsiteY16" fmla="*/ 785392 h 3726131"/>
                <a:gd name="connsiteX17" fmla="*/ 1852176 w 2027922"/>
                <a:gd name="connsiteY17" fmla="*/ 313906 h 3726131"/>
                <a:gd name="connsiteX18" fmla="*/ 1850139 w 2027922"/>
                <a:gd name="connsiteY18" fmla="*/ 175792 h 3726131"/>
                <a:gd name="connsiteX19" fmla="*/ 1925993 w 2027922"/>
                <a:gd name="connsiteY19" fmla="*/ 125785 h 3726131"/>
                <a:gd name="connsiteX20" fmla="*/ 1971238 w 2027922"/>
                <a:gd name="connsiteY20" fmla="*/ 168649 h 3726131"/>
                <a:gd name="connsiteX21" fmla="*/ 2006957 w 2027922"/>
                <a:gd name="connsiteY21" fmla="*/ 218653 h 3726131"/>
                <a:gd name="connsiteX22" fmla="*/ 2021244 w 2027922"/>
                <a:gd name="connsiteY22" fmla="*/ 299616 h 3726131"/>
                <a:gd name="connsiteX23" fmla="*/ 1906944 w 2027922"/>
                <a:gd name="connsiteY23" fmla="*/ 440112 h 3726131"/>
                <a:gd name="connsiteX24" fmla="*/ 1933137 w 2027922"/>
                <a:gd name="connsiteY24" fmla="*/ 502023 h 3726131"/>
                <a:gd name="connsiteX25" fmla="*/ 1544994 w 2027922"/>
                <a:gd name="connsiteY25" fmla="*/ 949698 h 3726131"/>
                <a:gd name="connsiteX26" fmla="*/ 1318775 w 2027922"/>
                <a:gd name="connsiteY26" fmla="*/ 1094954 h 3726131"/>
                <a:gd name="connsiteX27" fmla="*/ 1544994 w 2027922"/>
                <a:gd name="connsiteY27" fmla="*/ 2021260 h 3726131"/>
                <a:gd name="connsiteX28" fmla="*/ 1085412 w 2027922"/>
                <a:gd name="connsiteY28" fmla="*/ 2018879 h 3726131"/>
                <a:gd name="connsiteX29" fmla="*/ 1129222 w 2027922"/>
                <a:gd name="connsiteY29" fmla="*/ 3690516 h 3726131"/>
                <a:gd name="connsiteX30" fmla="*/ 899506 w 2027922"/>
                <a:gd name="connsiteY30" fmla="*/ 3600887 h 3726131"/>
                <a:gd name="connsiteX31" fmla="*/ 817923 w 2027922"/>
                <a:gd name="connsiteY31" fmla="*/ 3577093 h 3726131"/>
                <a:gd name="connsiteX32" fmla="*/ 811125 w 2027922"/>
                <a:gd name="connsiteY32" fmla="*/ 3260961 h 3726131"/>
                <a:gd name="connsiteX33" fmla="*/ 794129 w 2027922"/>
                <a:gd name="connsiteY33" fmla="*/ 2798662 h 3726131"/>
                <a:gd name="connsiteX34" fmla="*/ 685352 w 2027922"/>
                <a:gd name="connsiteY34" fmla="*/ 2302371 h 3726131"/>
                <a:gd name="connsiteX35" fmla="*/ 613968 w 2027922"/>
                <a:gd name="connsiteY35" fmla="*/ 3600886 h 3726131"/>
                <a:gd name="connsiteX36" fmla="*/ 545983 w 2027922"/>
                <a:gd name="connsiteY36" fmla="*/ 3638278 h 3726131"/>
                <a:gd name="connsiteX37" fmla="*/ 253852 w 2027922"/>
                <a:gd name="connsiteY37" fmla="*/ 3710912 h 3726131"/>
                <a:gd name="connsiteX38" fmla="*/ 376020 w 2027922"/>
                <a:gd name="connsiteY38" fmla="*/ 3512506 h 3726131"/>
                <a:gd name="connsiteX39" fmla="*/ 379419 w 2027922"/>
                <a:gd name="connsiteY39" fmla="*/ 3383335 h 3726131"/>
                <a:gd name="connsiteX40" fmla="*/ 384980 w 2027922"/>
                <a:gd name="connsiteY40" fmla="*/ 1920902 h 3726131"/>
                <a:gd name="connsiteX41" fmla="*/ 301981 w 2027922"/>
                <a:gd name="connsiteY41" fmla="*/ 1861716 h 3726131"/>
                <a:gd name="connsiteX42" fmla="*/ 351987 w 2027922"/>
                <a:gd name="connsiteY42" fmla="*/ 1523579 h 3726131"/>
                <a:gd name="connsiteX43" fmla="*/ 297218 w 2027922"/>
                <a:gd name="connsiteY43" fmla="*/ 1337841 h 3726131"/>
                <a:gd name="connsiteX44" fmla="*/ 409137 w 2027922"/>
                <a:gd name="connsiteY44" fmla="*/ 997323 h 3726131"/>
                <a:gd name="connsiteX45" fmla="*/ 128150 w 2027922"/>
                <a:gd name="connsiteY45" fmla="*/ 652041 h 3726131"/>
                <a:gd name="connsiteX46" fmla="*/ 9087 w 2027922"/>
                <a:gd name="connsiteY46" fmla="*/ 352004 h 3726131"/>
                <a:gd name="connsiteX47" fmla="*/ 59094 w 2027922"/>
                <a:gd name="connsiteY47" fmla="*/ 292473 h 3726131"/>
                <a:gd name="connsiteX48" fmla="*/ 11160 w 2027922"/>
                <a:gd name="connsiteY48" fmla="*/ 171030 h 3726131"/>
                <a:gd name="connsiteX0" fmla="*/ 11160 w 2027922"/>
                <a:gd name="connsiteY0" fmla="*/ 171030 h 3726131"/>
                <a:gd name="connsiteX1" fmla="*/ 30519 w 2027922"/>
                <a:gd name="connsiteY1" fmla="*/ 59110 h 3726131"/>
                <a:gd name="connsiteX2" fmla="*/ 75763 w 2027922"/>
                <a:gd name="connsiteY2" fmla="*/ 25773 h 3726131"/>
                <a:gd name="connsiteX3" fmla="*/ 113863 w 2027922"/>
                <a:gd name="connsiteY3" fmla="*/ 4342 h 3726131"/>
                <a:gd name="connsiteX4" fmla="*/ 197207 w 2027922"/>
                <a:gd name="connsiteY4" fmla="*/ 85306 h 3726131"/>
                <a:gd name="connsiteX5" fmla="*/ 161488 w 2027922"/>
                <a:gd name="connsiteY5" fmla="*/ 249612 h 3726131"/>
                <a:gd name="connsiteX6" fmla="*/ 425807 w 2027922"/>
                <a:gd name="connsiteY6" fmla="*/ 668712 h 3726131"/>
                <a:gd name="connsiteX7" fmla="*/ 525820 w 2027922"/>
                <a:gd name="connsiteY7" fmla="*/ 687762 h 3726131"/>
                <a:gd name="connsiteX8" fmla="*/ 752038 w 2027922"/>
                <a:gd name="connsiteY8" fmla="*/ 790156 h 3726131"/>
                <a:gd name="connsiteX9" fmla="*/ 473432 w 2027922"/>
                <a:gd name="connsiteY9" fmla="*/ 1178299 h 3726131"/>
                <a:gd name="connsiteX10" fmla="*/ 421045 w 2027922"/>
                <a:gd name="connsiteY10" fmla="*/ 1656931 h 3726131"/>
                <a:gd name="connsiteX11" fmla="*/ 1047313 w 2027922"/>
                <a:gd name="connsiteY11" fmla="*/ 1718843 h 3726131"/>
                <a:gd name="connsiteX12" fmla="*/ 1116370 w 2027922"/>
                <a:gd name="connsiteY12" fmla="*/ 1461668 h 3726131"/>
                <a:gd name="connsiteX13" fmla="*/ 923488 w 2027922"/>
                <a:gd name="connsiteY13" fmla="*/ 954461 h 3726131"/>
                <a:gd name="connsiteX14" fmla="*/ 1033026 w 2027922"/>
                <a:gd name="connsiteY14" fmla="*/ 840160 h 3726131"/>
                <a:gd name="connsiteX15" fmla="*/ 1206857 w 2027922"/>
                <a:gd name="connsiteY15" fmla="*/ 756817 h 3726131"/>
                <a:gd name="connsiteX16" fmla="*/ 1335444 w 2027922"/>
                <a:gd name="connsiteY16" fmla="*/ 785392 h 3726131"/>
                <a:gd name="connsiteX17" fmla="*/ 1852176 w 2027922"/>
                <a:gd name="connsiteY17" fmla="*/ 313906 h 3726131"/>
                <a:gd name="connsiteX18" fmla="*/ 1850139 w 2027922"/>
                <a:gd name="connsiteY18" fmla="*/ 175792 h 3726131"/>
                <a:gd name="connsiteX19" fmla="*/ 1925993 w 2027922"/>
                <a:gd name="connsiteY19" fmla="*/ 125785 h 3726131"/>
                <a:gd name="connsiteX20" fmla="*/ 1971238 w 2027922"/>
                <a:gd name="connsiteY20" fmla="*/ 168649 h 3726131"/>
                <a:gd name="connsiteX21" fmla="*/ 2006957 w 2027922"/>
                <a:gd name="connsiteY21" fmla="*/ 218653 h 3726131"/>
                <a:gd name="connsiteX22" fmla="*/ 2021244 w 2027922"/>
                <a:gd name="connsiteY22" fmla="*/ 299616 h 3726131"/>
                <a:gd name="connsiteX23" fmla="*/ 1906944 w 2027922"/>
                <a:gd name="connsiteY23" fmla="*/ 440112 h 3726131"/>
                <a:gd name="connsiteX24" fmla="*/ 1933137 w 2027922"/>
                <a:gd name="connsiteY24" fmla="*/ 502023 h 3726131"/>
                <a:gd name="connsiteX25" fmla="*/ 1544994 w 2027922"/>
                <a:gd name="connsiteY25" fmla="*/ 949698 h 3726131"/>
                <a:gd name="connsiteX26" fmla="*/ 1318775 w 2027922"/>
                <a:gd name="connsiteY26" fmla="*/ 1094954 h 3726131"/>
                <a:gd name="connsiteX27" fmla="*/ 1544994 w 2027922"/>
                <a:gd name="connsiteY27" fmla="*/ 2021260 h 3726131"/>
                <a:gd name="connsiteX28" fmla="*/ 1085412 w 2027922"/>
                <a:gd name="connsiteY28" fmla="*/ 2018879 h 3726131"/>
                <a:gd name="connsiteX29" fmla="*/ 1129222 w 2027922"/>
                <a:gd name="connsiteY29" fmla="*/ 3690516 h 3726131"/>
                <a:gd name="connsiteX30" fmla="*/ 899506 w 2027922"/>
                <a:gd name="connsiteY30" fmla="*/ 3600887 h 3726131"/>
                <a:gd name="connsiteX31" fmla="*/ 817923 w 2027922"/>
                <a:gd name="connsiteY31" fmla="*/ 3577093 h 3726131"/>
                <a:gd name="connsiteX32" fmla="*/ 811125 w 2027922"/>
                <a:gd name="connsiteY32" fmla="*/ 3260961 h 3726131"/>
                <a:gd name="connsiteX33" fmla="*/ 794129 w 2027922"/>
                <a:gd name="connsiteY33" fmla="*/ 2798662 h 3726131"/>
                <a:gd name="connsiteX34" fmla="*/ 685352 w 2027922"/>
                <a:gd name="connsiteY34" fmla="*/ 2302371 h 3726131"/>
                <a:gd name="connsiteX35" fmla="*/ 613968 w 2027922"/>
                <a:gd name="connsiteY35" fmla="*/ 3600886 h 3726131"/>
                <a:gd name="connsiteX36" fmla="*/ 545983 w 2027922"/>
                <a:gd name="connsiteY36" fmla="*/ 3638278 h 3726131"/>
                <a:gd name="connsiteX37" fmla="*/ 253852 w 2027922"/>
                <a:gd name="connsiteY37" fmla="*/ 3710912 h 3726131"/>
                <a:gd name="connsiteX38" fmla="*/ 376020 w 2027922"/>
                <a:gd name="connsiteY38" fmla="*/ 3512506 h 3726131"/>
                <a:gd name="connsiteX39" fmla="*/ 379419 w 2027922"/>
                <a:gd name="connsiteY39" fmla="*/ 3383335 h 3726131"/>
                <a:gd name="connsiteX40" fmla="*/ 384980 w 2027922"/>
                <a:gd name="connsiteY40" fmla="*/ 1920902 h 3726131"/>
                <a:gd name="connsiteX41" fmla="*/ 301981 w 2027922"/>
                <a:gd name="connsiteY41" fmla="*/ 1861716 h 3726131"/>
                <a:gd name="connsiteX42" fmla="*/ 351987 w 2027922"/>
                <a:gd name="connsiteY42" fmla="*/ 1523579 h 3726131"/>
                <a:gd name="connsiteX43" fmla="*/ 297218 w 2027922"/>
                <a:gd name="connsiteY43" fmla="*/ 1337841 h 3726131"/>
                <a:gd name="connsiteX44" fmla="*/ 409137 w 2027922"/>
                <a:gd name="connsiteY44" fmla="*/ 997323 h 3726131"/>
                <a:gd name="connsiteX45" fmla="*/ 128150 w 2027922"/>
                <a:gd name="connsiteY45" fmla="*/ 652041 h 3726131"/>
                <a:gd name="connsiteX46" fmla="*/ 9087 w 2027922"/>
                <a:gd name="connsiteY46" fmla="*/ 352004 h 3726131"/>
                <a:gd name="connsiteX47" fmla="*/ 59094 w 2027922"/>
                <a:gd name="connsiteY47" fmla="*/ 292473 h 3726131"/>
                <a:gd name="connsiteX48" fmla="*/ 11160 w 2027922"/>
                <a:gd name="connsiteY48" fmla="*/ 171030 h 3726131"/>
                <a:gd name="connsiteX0" fmla="*/ 11160 w 2027922"/>
                <a:gd name="connsiteY0" fmla="*/ 171030 h 3726131"/>
                <a:gd name="connsiteX1" fmla="*/ 30519 w 2027922"/>
                <a:gd name="connsiteY1" fmla="*/ 59110 h 3726131"/>
                <a:gd name="connsiteX2" fmla="*/ 75763 w 2027922"/>
                <a:gd name="connsiteY2" fmla="*/ 25773 h 3726131"/>
                <a:gd name="connsiteX3" fmla="*/ 113863 w 2027922"/>
                <a:gd name="connsiteY3" fmla="*/ 4342 h 3726131"/>
                <a:gd name="connsiteX4" fmla="*/ 197207 w 2027922"/>
                <a:gd name="connsiteY4" fmla="*/ 85306 h 3726131"/>
                <a:gd name="connsiteX5" fmla="*/ 161488 w 2027922"/>
                <a:gd name="connsiteY5" fmla="*/ 249612 h 3726131"/>
                <a:gd name="connsiteX6" fmla="*/ 425807 w 2027922"/>
                <a:gd name="connsiteY6" fmla="*/ 668712 h 3726131"/>
                <a:gd name="connsiteX7" fmla="*/ 525820 w 2027922"/>
                <a:gd name="connsiteY7" fmla="*/ 687762 h 3726131"/>
                <a:gd name="connsiteX8" fmla="*/ 752038 w 2027922"/>
                <a:gd name="connsiteY8" fmla="*/ 790156 h 3726131"/>
                <a:gd name="connsiteX9" fmla="*/ 473432 w 2027922"/>
                <a:gd name="connsiteY9" fmla="*/ 1178299 h 3726131"/>
                <a:gd name="connsiteX10" fmla="*/ 421045 w 2027922"/>
                <a:gd name="connsiteY10" fmla="*/ 1656931 h 3726131"/>
                <a:gd name="connsiteX11" fmla="*/ 1047313 w 2027922"/>
                <a:gd name="connsiteY11" fmla="*/ 1718843 h 3726131"/>
                <a:gd name="connsiteX12" fmla="*/ 1116370 w 2027922"/>
                <a:gd name="connsiteY12" fmla="*/ 1461668 h 3726131"/>
                <a:gd name="connsiteX13" fmla="*/ 923488 w 2027922"/>
                <a:gd name="connsiteY13" fmla="*/ 954461 h 3726131"/>
                <a:gd name="connsiteX14" fmla="*/ 1033026 w 2027922"/>
                <a:gd name="connsiteY14" fmla="*/ 840160 h 3726131"/>
                <a:gd name="connsiteX15" fmla="*/ 1206857 w 2027922"/>
                <a:gd name="connsiteY15" fmla="*/ 756817 h 3726131"/>
                <a:gd name="connsiteX16" fmla="*/ 1335444 w 2027922"/>
                <a:gd name="connsiteY16" fmla="*/ 785392 h 3726131"/>
                <a:gd name="connsiteX17" fmla="*/ 1852176 w 2027922"/>
                <a:gd name="connsiteY17" fmla="*/ 313906 h 3726131"/>
                <a:gd name="connsiteX18" fmla="*/ 1850139 w 2027922"/>
                <a:gd name="connsiteY18" fmla="*/ 175792 h 3726131"/>
                <a:gd name="connsiteX19" fmla="*/ 1925993 w 2027922"/>
                <a:gd name="connsiteY19" fmla="*/ 125785 h 3726131"/>
                <a:gd name="connsiteX20" fmla="*/ 1971238 w 2027922"/>
                <a:gd name="connsiteY20" fmla="*/ 168649 h 3726131"/>
                <a:gd name="connsiteX21" fmla="*/ 2006957 w 2027922"/>
                <a:gd name="connsiteY21" fmla="*/ 218653 h 3726131"/>
                <a:gd name="connsiteX22" fmla="*/ 2021244 w 2027922"/>
                <a:gd name="connsiteY22" fmla="*/ 299616 h 3726131"/>
                <a:gd name="connsiteX23" fmla="*/ 1906944 w 2027922"/>
                <a:gd name="connsiteY23" fmla="*/ 440112 h 3726131"/>
                <a:gd name="connsiteX24" fmla="*/ 1933137 w 2027922"/>
                <a:gd name="connsiteY24" fmla="*/ 502023 h 3726131"/>
                <a:gd name="connsiteX25" fmla="*/ 1544994 w 2027922"/>
                <a:gd name="connsiteY25" fmla="*/ 949698 h 3726131"/>
                <a:gd name="connsiteX26" fmla="*/ 1318775 w 2027922"/>
                <a:gd name="connsiteY26" fmla="*/ 1094954 h 3726131"/>
                <a:gd name="connsiteX27" fmla="*/ 1544994 w 2027922"/>
                <a:gd name="connsiteY27" fmla="*/ 2021260 h 3726131"/>
                <a:gd name="connsiteX28" fmla="*/ 1085412 w 2027922"/>
                <a:gd name="connsiteY28" fmla="*/ 2018879 h 3726131"/>
                <a:gd name="connsiteX29" fmla="*/ 1129222 w 2027922"/>
                <a:gd name="connsiteY29" fmla="*/ 3690516 h 3726131"/>
                <a:gd name="connsiteX30" fmla="*/ 899506 w 2027922"/>
                <a:gd name="connsiteY30" fmla="*/ 3600887 h 3726131"/>
                <a:gd name="connsiteX31" fmla="*/ 817923 w 2027922"/>
                <a:gd name="connsiteY31" fmla="*/ 3577093 h 3726131"/>
                <a:gd name="connsiteX32" fmla="*/ 811125 w 2027922"/>
                <a:gd name="connsiteY32" fmla="*/ 3260961 h 3726131"/>
                <a:gd name="connsiteX33" fmla="*/ 794129 w 2027922"/>
                <a:gd name="connsiteY33" fmla="*/ 2798662 h 3726131"/>
                <a:gd name="connsiteX34" fmla="*/ 685352 w 2027922"/>
                <a:gd name="connsiteY34" fmla="*/ 2302371 h 3726131"/>
                <a:gd name="connsiteX35" fmla="*/ 627565 w 2027922"/>
                <a:gd name="connsiteY35" fmla="*/ 2883643 h 3726131"/>
                <a:gd name="connsiteX36" fmla="*/ 613968 w 2027922"/>
                <a:gd name="connsiteY36" fmla="*/ 3600886 h 3726131"/>
                <a:gd name="connsiteX37" fmla="*/ 545983 w 2027922"/>
                <a:gd name="connsiteY37" fmla="*/ 3638278 h 3726131"/>
                <a:gd name="connsiteX38" fmla="*/ 253852 w 2027922"/>
                <a:gd name="connsiteY38" fmla="*/ 3710912 h 3726131"/>
                <a:gd name="connsiteX39" fmla="*/ 376020 w 2027922"/>
                <a:gd name="connsiteY39" fmla="*/ 3512506 h 3726131"/>
                <a:gd name="connsiteX40" fmla="*/ 379419 w 2027922"/>
                <a:gd name="connsiteY40" fmla="*/ 3383335 h 3726131"/>
                <a:gd name="connsiteX41" fmla="*/ 384980 w 2027922"/>
                <a:gd name="connsiteY41" fmla="*/ 1920902 h 3726131"/>
                <a:gd name="connsiteX42" fmla="*/ 301981 w 2027922"/>
                <a:gd name="connsiteY42" fmla="*/ 1861716 h 3726131"/>
                <a:gd name="connsiteX43" fmla="*/ 351987 w 2027922"/>
                <a:gd name="connsiteY43" fmla="*/ 1523579 h 3726131"/>
                <a:gd name="connsiteX44" fmla="*/ 297218 w 2027922"/>
                <a:gd name="connsiteY44" fmla="*/ 1337841 h 3726131"/>
                <a:gd name="connsiteX45" fmla="*/ 409137 w 2027922"/>
                <a:gd name="connsiteY45" fmla="*/ 997323 h 3726131"/>
                <a:gd name="connsiteX46" fmla="*/ 128150 w 2027922"/>
                <a:gd name="connsiteY46" fmla="*/ 652041 h 3726131"/>
                <a:gd name="connsiteX47" fmla="*/ 9087 w 2027922"/>
                <a:gd name="connsiteY47" fmla="*/ 352004 h 3726131"/>
                <a:gd name="connsiteX48" fmla="*/ 59094 w 2027922"/>
                <a:gd name="connsiteY48" fmla="*/ 292473 h 3726131"/>
                <a:gd name="connsiteX49" fmla="*/ 11160 w 2027922"/>
                <a:gd name="connsiteY49" fmla="*/ 171030 h 3726131"/>
                <a:gd name="connsiteX0" fmla="*/ 11160 w 2027922"/>
                <a:gd name="connsiteY0" fmla="*/ 171030 h 3726131"/>
                <a:gd name="connsiteX1" fmla="*/ 30519 w 2027922"/>
                <a:gd name="connsiteY1" fmla="*/ 59110 h 3726131"/>
                <a:gd name="connsiteX2" fmla="*/ 75763 w 2027922"/>
                <a:gd name="connsiteY2" fmla="*/ 25773 h 3726131"/>
                <a:gd name="connsiteX3" fmla="*/ 113863 w 2027922"/>
                <a:gd name="connsiteY3" fmla="*/ 4342 h 3726131"/>
                <a:gd name="connsiteX4" fmla="*/ 197207 w 2027922"/>
                <a:gd name="connsiteY4" fmla="*/ 85306 h 3726131"/>
                <a:gd name="connsiteX5" fmla="*/ 161488 w 2027922"/>
                <a:gd name="connsiteY5" fmla="*/ 249612 h 3726131"/>
                <a:gd name="connsiteX6" fmla="*/ 425807 w 2027922"/>
                <a:gd name="connsiteY6" fmla="*/ 668712 h 3726131"/>
                <a:gd name="connsiteX7" fmla="*/ 525820 w 2027922"/>
                <a:gd name="connsiteY7" fmla="*/ 687762 h 3726131"/>
                <a:gd name="connsiteX8" fmla="*/ 752038 w 2027922"/>
                <a:gd name="connsiteY8" fmla="*/ 790156 h 3726131"/>
                <a:gd name="connsiteX9" fmla="*/ 473432 w 2027922"/>
                <a:gd name="connsiteY9" fmla="*/ 1178299 h 3726131"/>
                <a:gd name="connsiteX10" fmla="*/ 421045 w 2027922"/>
                <a:gd name="connsiteY10" fmla="*/ 1656931 h 3726131"/>
                <a:gd name="connsiteX11" fmla="*/ 1047313 w 2027922"/>
                <a:gd name="connsiteY11" fmla="*/ 1718843 h 3726131"/>
                <a:gd name="connsiteX12" fmla="*/ 1116370 w 2027922"/>
                <a:gd name="connsiteY12" fmla="*/ 1461668 h 3726131"/>
                <a:gd name="connsiteX13" fmla="*/ 923488 w 2027922"/>
                <a:gd name="connsiteY13" fmla="*/ 954461 h 3726131"/>
                <a:gd name="connsiteX14" fmla="*/ 1033026 w 2027922"/>
                <a:gd name="connsiteY14" fmla="*/ 840160 h 3726131"/>
                <a:gd name="connsiteX15" fmla="*/ 1206857 w 2027922"/>
                <a:gd name="connsiteY15" fmla="*/ 756817 h 3726131"/>
                <a:gd name="connsiteX16" fmla="*/ 1335444 w 2027922"/>
                <a:gd name="connsiteY16" fmla="*/ 785392 h 3726131"/>
                <a:gd name="connsiteX17" fmla="*/ 1852176 w 2027922"/>
                <a:gd name="connsiteY17" fmla="*/ 313906 h 3726131"/>
                <a:gd name="connsiteX18" fmla="*/ 1850139 w 2027922"/>
                <a:gd name="connsiteY18" fmla="*/ 175792 h 3726131"/>
                <a:gd name="connsiteX19" fmla="*/ 1925993 w 2027922"/>
                <a:gd name="connsiteY19" fmla="*/ 125785 h 3726131"/>
                <a:gd name="connsiteX20" fmla="*/ 1971238 w 2027922"/>
                <a:gd name="connsiteY20" fmla="*/ 168649 h 3726131"/>
                <a:gd name="connsiteX21" fmla="*/ 2006957 w 2027922"/>
                <a:gd name="connsiteY21" fmla="*/ 218653 h 3726131"/>
                <a:gd name="connsiteX22" fmla="*/ 2021244 w 2027922"/>
                <a:gd name="connsiteY22" fmla="*/ 299616 h 3726131"/>
                <a:gd name="connsiteX23" fmla="*/ 1906944 w 2027922"/>
                <a:gd name="connsiteY23" fmla="*/ 440112 h 3726131"/>
                <a:gd name="connsiteX24" fmla="*/ 1933137 w 2027922"/>
                <a:gd name="connsiteY24" fmla="*/ 502023 h 3726131"/>
                <a:gd name="connsiteX25" fmla="*/ 1544994 w 2027922"/>
                <a:gd name="connsiteY25" fmla="*/ 949698 h 3726131"/>
                <a:gd name="connsiteX26" fmla="*/ 1318775 w 2027922"/>
                <a:gd name="connsiteY26" fmla="*/ 1094954 h 3726131"/>
                <a:gd name="connsiteX27" fmla="*/ 1544994 w 2027922"/>
                <a:gd name="connsiteY27" fmla="*/ 2021260 h 3726131"/>
                <a:gd name="connsiteX28" fmla="*/ 1085412 w 2027922"/>
                <a:gd name="connsiteY28" fmla="*/ 2018879 h 3726131"/>
                <a:gd name="connsiteX29" fmla="*/ 1129222 w 2027922"/>
                <a:gd name="connsiteY29" fmla="*/ 3690516 h 3726131"/>
                <a:gd name="connsiteX30" fmla="*/ 899506 w 2027922"/>
                <a:gd name="connsiteY30" fmla="*/ 3600887 h 3726131"/>
                <a:gd name="connsiteX31" fmla="*/ 817923 w 2027922"/>
                <a:gd name="connsiteY31" fmla="*/ 3577093 h 3726131"/>
                <a:gd name="connsiteX32" fmla="*/ 811125 w 2027922"/>
                <a:gd name="connsiteY32" fmla="*/ 3260961 h 3726131"/>
                <a:gd name="connsiteX33" fmla="*/ 794129 w 2027922"/>
                <a:gd name="connsiteY33" fmla="*/ 2798662 h 3726131"/>
                <a:gd name="connsiteX34" fmla="*/ 685352 w 2027922"/>
                <a:gd name="connsiteY34" fmla="*/ 2302371 h 3726131"/>
                <a:gd name="connsiteX35" fmla="*/ 617367 w 2027922"/>
                <a:gd name="connsiteY35" fmla="*/ 2805460 h 3726131"/>
                <a:gd name="connsiteX36" fmla="*/ 613968 w 2027922"/>
                <a:gd name="connsiteY36" fmla="*/ 3600886 h 3726131"/>
                <a:gd name="connsiteX37" fmla="*/ 545983 w 2027922"/>
                <a:gd name="connsiteY37" fmla="*/ 3638278 h 3726131"/>
                <a:gd name="connsiteX38" fmla="*/ 253852 w 2027922"/>
                <a:gd name="connsiteY38" fmla="*/ 3710912 h 3726131"/>
                <a:gd name="connsiteX39" fmla="*/ 376020 w 2027922"/>
                <a:gd name="connsiteY39" fmla="*/ 3512506 h 3726131"/>
                <a:gd name="connsiteX40" fmla="*/ 379419 w 2027922"/>
                <a:gd name="connsiteY40" fmla="*/ 3383335 h 3726131"/>
                <a:gd name="connsiteX41" fmla="*/ 384980 w 2027922"/>
                <a:gd name="connsiteY41" fmla="*/ 1920902 h 3726131"/>
                <a:gd name="connsiteX42" fmla="*/ 301981 w 2027922"/>
                <a:gd name="connsiteY42" fmla="*/ 1861716 h 3726131"/>
                <a:gd name="connsiteX43" fmla="*/ 351987 w 2027922"/>
                <a:gd name="connsiteY43" fmla="*/ 1523579 h 3726131"/>
                <a:gd name="connsiteX44" fmla="*/ 297218 w 2027922"/>
                <a:gd name="connsiteY44" fmla="*/ 1337841 h 3726131"/>
                <a:gd name="connsiteX45" fmla="*/ 409137 w 2027922"/>
                <a:gd name="connsiteY45" fmla="*/ 997323 h 3726131"/>
                <a:gd name="connsiteX46" fmla="*/ 128150 w 2027922"/>
                <a:gd name="connsiteY46" fmla="*/ 652041 h 3726131"/>
                <a:gd name="connsiteX47" fmla="*/ 9087 w 2027922"/>
                <a:gd name="connsiteY47" fmla="*/ 352004 h 3726131"/>
                <a:gd name="connsiteX48" fmla="*/ 59094 w 2027922"/>
                <a:gd name="connsiteY48" fmla="*/ 292473 h 3726131"/>
                <a:gd name="connsiteX49" fmla="*/ 11160 w 2027922"/>
                <a:gd name="connsiteY49" fmla="*/ 171030 h 3726131"/>
                <a:gd name="connsiteX0" fmla="*/ 11160 w 2027922"/>
                <a:gd name="connsiteY0" fmla="*/ 171030 h 3726131"/>
                <a:gd name="connsiteX1" fmla="*/ 30519 w 2027922"/>
                <a:gd name="connsiteY1" fmla="*/ 59110 h 3726131"/>
                <a:gd name="connsiteX2" fmla="*/ 75763 w 2027922"/>
                <a:gd name="connsiteY2" fmla="*/ 25773 h 3726131"/>
                <a:gd name="connsiteX3" fmla="*/ 113863 w 2027922"/>
                <a:gd name="connsiteY3" fmla="*/ 4342 h 3726131"/>
                <a:gd name="connsiteX4" fmla="*/ 197207 w 2027922"/>
                <a:gd name="connsiteY4" fmla="*/ 85306 h 3726131"/>
                <a:gd name="connsiteX5" fmla="*/ 161488 w 2027922"/>
                <a:gd name="connsiteY5" fmla="*/ 249612 h 3726131"/>
                <a:gd name="connsiteX6" fmla="*/ 425807 w 2027922"/>
                <a:gd name="connsiteY6" fmla="*/ 668712 h 3726131"/>
                <a:gd name="connsiteX7" fmla="*/ 525820 w 2027922"/>
                <a:gd name="connsiteY7" fmla="*/ 687762 h 3726131"/>
                <a:gd name="connsiteX8" fmla="*/ 752038 w 2027922"/>
                <a:gd name="connsiteY8" fmla="*/ 790156 h 3726131"/>
                <a:gd name="connsiteX9" fmla="*/ 473432 w 2027922"/>
                <a:gd name="connsiteY9" fmla="*/ 1178299 h 3726131"/>
                <a:gd name="connsiteX10" fmla="*/ 421045 w 2027922"/>
                <a:gd name="connsiteY10" fmla="*/ 1656931 h 3726131"/>
                <a:gd name="connsiteX11" fmla="*/ 1047313 w 2027922"/>
                <a:gd name="connsiteY11" fmla="*/ 1718843 h 3726131"/>
                <a:gd name="connsiteX12" fmla="*/ 1116370 w 2027922"/>
                <a:gd name="connsiteY12" fmla="*/ 1461668 h 3726131"/>
                <a:gd name="connsiteX13" fmla="*/ 923488 w 2027922"/>
                <a:gd name="connsiteY13" fmla="*/ 954461 h 3726131"/>
                <a:gd name="connsiteX14" fmla="*/ 1033026 w 2027922"/>
                <a:gd name="connsiteY14" fmla="*/ 840160 h 3726131"/>
                <a:gd name="connsiteX15" fmla="*/ 1206857 w 2027922"/>
                <a:gd name="connsiteY15" fmla="*/ 756817 h 3726131"/>
                <a:gd name="connsiteX16" fmla="*/ 1335444 w 2027922"/>
                <a:gd name="connsiteY16" fmla="*/ 785392 h 3726131"/>
                <a:gd name="connsiteX17" fmla="*/ 1852176 w 2027922"/>
                <a:gd name="connsiteY17" fmla="*/ 313906 h 3726131"/>
                <a:gd name="connsiteX18" fmla="*/ 1850139 w 2027922"/>
                <a:gd name="connsiteY18" fmla="*/ 175792 h 3726131"/>
                <a:gd name="connsiteX19" fmla="*/ 1925993 w 2027922"/>
                <a:gd name="connsiteY19" fmla="*/ 125785 h 3726131"/>
                <a:gd name="connsiteX20" fmla="*/ 1971238 w 2027922"/>
                <a:gd name="connsiteY20" fmla="*/ 168649 h 3726131"/>
                <a:gd name="connsiteX21" fmla="*/ 2006957 w 2027922"/>
                <a:gd name="connsiteY21" fmla="*/ 218653 h 3726131"/>
                <a:gd name="connsiteX22" fmla="*/ 2021244 w 2027922"/>
                <a:gd name="connsiteY22" fmla="*/ 299616 h 3726131"/>
                <a:gd name="connsiteX23" fmla="*/ 1906944 w 2027922"/>
                <a:gd name="connsiteY23" fmla="*/ 440112 h 3726131"/>
                <a:gd name="connsiteX24" fmla="*/ 1933137 w 2027922"/>
                <a:gd name="connsiteY24" fmla="*/ 502023 h 3726131"/>
                <a:gd name="connsiteX25" fmla="*/ 1544994 w 2027922"/>
                <a:gd name="connsiteY25" fmla="*/ 949698 h 3726131"/>
                <a:gd name="connsiteX26" fmla="*/ 1318775 w 2027922"/>
                <a:gd name="connsiteY26" fmla="*/ 1094954 h 3726131"/>
                <a:gd name="connsiteX27" fmla="*/ 1544994 w 2027922"/>
                <a:gd name="connsiteY27" fmla="*/ 2021260 h 3726131"/>
                <a:gd name="connsiteX28" fmla="*/ 1085412 w 2027922"/>
                <a:gd name="connsiteY28" fmla="*/ 2018879 h 3726131"/>
                <a:gd name="connsiteX29" fmla="*/ 1129222 w 2027922"/>
                <a:gd name="connsiteY29" fmla="*/ 3690516 h 3726131"/>
                <a:gd name="connsiteX30" fmla="*/ 899506 w 2027922"/>
                <a:gd name="connsiteY30" fmla="*/ 3600887 h 3726131"/>
                <a:gd name="connsiteX31" fmla="*/ 817923 w 2027922"/>
                <a:gd name="connsiteY31" fmla="*/ 3577093 h 3726131"/>
                <a:gd name="connsiteX32" fmla="*/ 811125 w 2027922"/>
                <a:gd name="connsiteY32" fmla="*/ 3260961 h 3726131"/>
                <a:gd name="connsiteX33" fmla="*/ 794129 w 2027922"/>
                <a:gd name="connsiteY33" fmla="*/ 2798662 h 3726131"/>
                <a:gd name="connsiteX34" fmla="*/ 685352 w 2027922"/>
                <a:gd name="connsiteY34" fmla="*/ 2302371 h 3726131"/>
                <a:gd name="connsiteX35" fmla="*/ 617367 w 2027922"/>
                <a:gd name="connsiteY35" fmla="*/ 2805460 h 3726131"/>
                <a:gd name="connsiteX36" fmla="*/ 613968 w 2027922"/>
                <a:gd name="connsiteY36" fmla="*/ 3600886 h 3726131"/>
                <a:gd name="connsiteX37" fmla="*/ 545983 w 2027922"/>
                <a:gd name="connsiteY37" fmla="*/ 3638278 h 3726131"/>
                <a:gd name="connsiteX38" fmla="*/ 253852 w 2027922"/>
                <a:gd name="connsiteY38" fmla="*/ 3710912 h 3726131"/>
                <a:gd name="connsiteX39" fmla="*/ 376020 w 2027922"/>
                <a:gd name="connsiteY39" fmla="*/ 3512506 h 3726131"/>
                <a:gd name="connsiteX40" fmla="*/ 379419 w 2027922"/>
                <a:gd name="connsiteY40" fmla="*/ 3383335 h 3726131"/>
                <a:gd name="connsiteX41" fmla="*/ 384980 w 2027922"/>
                <a:gd name="connsiteY41" fmla="*/ 1920902 h 3726131"/>
                <a:gd name="connsiteX42" fmla="*/ 301981 w 2027922"/>
                <a:gd name="connsiteY42" fmla="*/ 1861716 h 3726131"/>
                <a:gd name="connsiteX43" fmla="*/ 351987 w 2027922"/>
                <a:gd name="connsiteY43" fmla="*/ 1523579 h 3726131"/>
                <a:gd name="connsiteX44" fmla="*/ 297218 w 2027922"/>
                <a:gd name="connsiteY44" fmla="*/ 1337841 h 3726131"/>
                <a:gd name="connsiteX45" fmla="*/ 409137 w 2027922"/>
                <a:gd name="connsiteY45" fmla="*/ 997323 h 3726131"/>
                <a:gd name="connsiteX46" fmla="*/ 128150 w 2027922"/>
                <a:gd name="connsiteY46" fmla="*/ 652041 h 3726131"/>
                <a:gd name="connsiteX47" fmla="*/ 9087 w 2027922"/>
                <a:gd name="connsiteY47" fmla="*/ 352004 h 3726131"/>
                <a:gd name="connsiteX48" fmla="*/ 59094 w 2027922"/>
                <a:gd name="connsiteY48" fmla="*/ 292473 h 3726131"/>
                <a:gd name="connsiteX49" fmla="*/ 11160 w 2027922"/>
                <a:gd name="connsiteY49" fmla="*/ 171030 h 3726131"/>
                <a:gd name="connsiteX0" fmla="*/ 11160 w 2027922"/>
                <a:gd name="connsiteY0" fmla="*/ 171030 h 3726131"/>
                <a:gd name="connsiteX1" fmla="*/ 30519 w 2027922"/>
                <a:gd name="connsiteY1" fmla="*/ 59110 h 3726131"/>
                <a:gd name="connsiteX2" fmla="*/ 75763 w 2027922"/>
                <a:gd name="connsiteY2" fmla="*/ 25773 h 3726131"/>
                <a:gd name="connsiteX3" fmla="*/ 113863 w 2027922"/>
                <a:gd name="connsiteY3" fmla="*/ 4342 h 3726131"/>
                <a:gd name="connsiteX4" fmla="*/ 197207 w 2027922"/>
                <a:gd name="connsiteY4" fmla="*/ 85306 h 3726131"/>
                <a:gd name="connsiteX5" fmla="*/ 161488 w 2027922"/>
                <a:gd name="connsiteY5" fmla="*/ 249612 h 3726131"/>
                <a:gd name="connsiteX6" fmla="*/ 425807 w 2027922"/>
                <a:gd name="connsiteY6" fmla="*/ 668712 h 3726131"/>
                <a:gd name="connsiteX7" fmla="*/ 525820 w 2027922"/>
                <a:gd name="connsiteY7" fmla="*/ 687762 h 3726131"/>
                <a:gd name="connsiteX8" fmla="*/ 752038 w 2027922"/>
                <a:gd name="connsiteY8" fmla="*/ 790156 h 3726131"/>
                <a:gd name="connsiteX9" fmla="*/ 473432 w 2027922"/>
                <a:gd name="connsiteY9" fmla="*/ 1178299 h 3726131"/>
                <a:gd name="connsiteX10" fmla="*/ 421045 w 2027922"/>
                <a:gd name="connsiteY10" fmla="*/ 1656931 h 3726131"/>
                <a:gd name="connsiteX11" fmla="*/ 1047313 w 2027922"/>
                <a:gd name="connsiteY11" fmla="*/ 1718843 h 3726131"/>
                <a:gd name="connsiteX12" fmla="*/ 1116370 w 2027922"/>
                <a:gd name="connsiteY12" fmla="*/ 1461668 h 3726131"/>
                <a:gd name="connsiteX13" fmla="*/ 923488 w 2027922"/>
                <a:gd name="connsiteY13" fmla="*/ 954461 h 3726131"/>
                <a:gd name="connsiteX14" fmla="*/ 1033026 w 2027922"/>
                <a:gd name="connsiteY14" fmla="*/ 840160 h 3726131"/>
                <a:gd name="connsiteX15" fmla="*/ 1206857 w 2027922"/>
                <a:gd name="connsiteY15" fmla="*/ 756817 h 3726131"/>
                <a:gd name="connsiteX16" fmla="*/ 1335444 w 2027922"/>
                <a:gd name="connsiteY16" fmla="*/ 785392 h 3726131"/>
                <a:gd name="connsiteX17" fmla="*/ 1852176 w 2027922"/>
                <a:gd name="connsiteY17" fmla="*/ 313906 h 3726131"/>
                <a:gd name="connsiteX18" fmla="*/ 1850139 w 2027922"/>
                <a:gd name="connsiteY18" fmla="*/ 175792 h 3726131"/>
                <a:gd name="connsiteX19" fmla="*/ 1925993 w 2027922"/>
                <a:gd name="connsiteY19" fmla="*/ 125785 h 3726131"/>
                <a:gd name="connsiteX20" fmla="*/ 1971238 w 2027922"/>
                <a:gd name="connsiteY20" fmla="*/ 168649 h 3726131"/>
                <a:gd name="connsiteX21" fmla="*/ 2006957 w 2027922"/>
                <a:gd name="connsiteY21" fmla="*/ 218653 h 3726131"/>
                <a:gd name="connsiteX22" fmla="*/ 2021244 w 2027922"/>
                <a:gd name="connsiteY22" fmla="*/ 299616 h 3726131"/>
                <a:gd name="connsiteX23" fmla="*/ 1906944 w 2027922"/>
                <a:gd name="connsiteY23" fmla="*/ 440112 h 3726131"/>
                <a:gd name="connsiteX24" fmla="*/ 1933137 w 2027922"/>
                <a:gd name="connsiteY24" fmla="*/ 502023 h 3726131"/>
                <a:gd name="connsiteX25" fmla="*/ 1544994 w 2027922"/>
                <a:gd name="connsiteY25" fmla="*/ 949698 h 3726131"/>
                <a:gd name="connsiteX26" fmla="*/ 1318775 w 2027922"/>
                <a:gd name="connsiteY26" fmla="*/ 1094954 h 3726131"/>
                <a:gd name="connsiteX27" fmla="*/ 1544994 w 2027922"/>
                <a:gd name="connsiteY27" fmla="*/ 2021260 h 3726131"/>
                <a:gd name="connsiteX28" fmla="*/ 1085412 w 2027922"/>
                <a:gd name="connsiteY28" fmla="*/ 2018879 h 3726131"/>
                <a:gd name="connsiteX29" fmla="*/ 1129222 w 2027922"/>
                <a:gd name="connsiteY29" fmla="*/ 3690516 h 3726131"/>
                <a:gd name="connsiteX30" fmla="*/ 899506 w 2027922"/>
                <a:gd name="connsiteY30" fmla="*/ 3600887 h 3726131"/>
                <a:gd name="connsiteX31" fmla="*/ 817923 w 2027922"/>
                <a:gd name="connsiteY31" fmla="*/ 3577093 h 3726131"/>
                <a:gd name="connsiteX32" fmla="*/ 811125 w 2027922"/>
                <a:gd name="connsiteY32" fmla="*/ 3260961 h 3726131"/>
                <a:gd name="connsiteX33" fmla="*/ 794129 w 2027922"/>
                <a:gd name="connsiteY33" fmla="*/ 2798662 h 3726131"/>
                <a:gd name="connsiteX34" fmla="*/ 685352 w 2027922"/>
                <a:gd name="connsiteY34" fmla="*/ 2302371 h 3726131"/>
                <a:gd name="connsiteX35" fmla="*/ 617367 w 2027922"/>
                <a:gd name="connsiteY35" fmla="*/ 2805460 h 3726131"/>
                <a:gd name="connsiteX36" fmla="*/ 613968 w 2027922"/>
                <a:gd name="connsiteY36" fmla="*/ 3600886 h 3726131"/>
                <a:gd name="connsiteX37" fmla="*/ 545983 w 2027922"/>
                <a:gd name="connsiteY37" fmla="*/ 3638278 h 3726131"/>
                <a:gd name="connsiteX38" fmla="*/ 253852 w 2027922"/>
                <a:gd name="connsiteY38" fmla="*/ 3710912 h 3726131"/>
                <a:gd name="connsiteX39" fmla="*/ 376020 w 2027922"/>
                <a:gd name="connsiteY39" fmla="*/ 3512506 h 3726131"/>
                <a:gd name="connsiteX40" fmla="*/ 379419 w 2027922"/>
                <a:gd name="connsiteY40" fmla="*/ 3383335 h 3726131"/>
                <a:gd name="connsiteX41" fmla="*/ 384980 w 2027922"/>
                <a:gd name="connsiteY41" fmla="*/ 1920902 h 3726131"/>
                <a:gd name="connsiteX42" fmla="*/ 301981 w 2027922"/>
                <a:gd name="connsiteY42" fmla="*/ 1861716 h 3726131"/>
                <a:gd name="connsiteX43" fmla="*/ 351987 w 2027922"/>
                <a:gd name="connsiteY43" fmla="*/ 1523579 h 3726131"/>
                <a:gd name="connsiteX44" fmla="*/ 297218 w 2027922"/>
                <a:gd name="connsiteY44" fmla="*/ 1337841 h 3726131"/>
                <a:gd name="connsiteX45" fmla="*/ 409137 w 2027922"/>
                <a:gd name="connsiteY45" fmla="*/ 997323 h 3726131"/>
                <a:gd name="connsiteX46" fmla="*/ 128150 w 2027922"/>
                <a:gd name="connsiteY46" fmla="*/ 652041 h 3726131"/>
                <a:gd name="connsiteX47" fmla="*/ 9087 w 2027922"/>
                <a:gd name="connsiteY47" fmla="*/ 352004 h 3726131"/>
                <a:gd name="connsiteX48" fmla="*/ 59094 w 2027922"/>
                <a:gd name="connsiteY48" fmla="*/ 292473 h 3726131"/>
                <a:gd name="connsiteX49" fmla="*/ 11160 w 2027922"/>
                <a:gd name="connsiteY49" fmla="*/ 171030 h 3726131"/>
                <a:gd name="connsiteX0" fmla="*/ 11160 w 2027922"/>
                <a:gd name="connsiteY0" fmla="*/ 171030 h 3726131"/>
                <a:gd name="connsiteX1" fmla="*/ 30519 w 2027922"/>
                <a:gd name="connsiteY1" fmla="*/ 59110 h 3726131"/>
                <a:gd name="connsiteX2" fmla="*/ 75763 w 2027922"/>
                <a:gd name="connsiteY2" fmla="*/ 25773 h 3726131"/>
                <a:gd name="connsiteX3" fmla="*/ 113863 w 2027922"/>
                <a:gd name="connsiteY3" fmla="*/ 4342 h 3726131"/>
                <a:gd name="connsiteX4" fmla="*/ 197207 w 2027922"/>
                <a:gd name="connsiteY4" fmla="*/ 85306 h 3726131"/>
                <a:gd name="connsiteX5" fmla="*/ 161488 w 2027922"/>
                <a:gd name="connsiteY5" fmla="*/ 249612 h 3726131"/>
                <a:gd name="connsiteX6" fmla="*/ 425807 w 2027922"/>
                <a:gd name="connsiteY6" fmla="*/ 668712 h 3726131"/>
                <a:gd name="connsiteX7" fmla="*/ 525820 w 2027922"/>
                <a:gd name="connsiteY7" fmla="*/ 687762 h 3726131"/>
                <a:gd name="connsiteX8" fmla="*/ 752038 w 2027922"/>
                <a:gd name="connsiteY8" fmla="*/ 790156 h 3726131"/>
                <a:gd name="connsiteX9" fmla="*/ 473432 w 2027922"/>
                <a:gd name="connsiteY9" fmla="*/ 1178299 h 3726131"/>
                <a:gd name="connsiteX10" fmla="*/ 421045 w 2027922"/>
                <a:gd name="connsiteY10" fmla="*/ 1656931 h 3726131"/>
                <a:gd name="connsiteX11" fmla="*/ 1047313 w 2027922"/>
                <a:gd name="connsiteY11" fmla="*/ 1718843 h 3726131"/>
                <a:gd name="connsiteX12" fmla="*/ 1116370 w 2027922"/>
                <a:gd name="connsiteY12" fmla="*/ 1461668 h 3726131"/>
                <a:gd name="connsiteX13" fmla="*/ 923488 w 2027922"/>
                <a:gd name="connsiteY13" fmla="*/ 954461 h 3726131"/>
                <a:gd name="connsiteX14" fmla="*/ 1033026 w 2027922"/>
                <a:gd name="connsiteY14" fmla="*/ 840160 h 3726131"/>
                <a:gd name="connsiteX15" fmla="*/ 1206857 w 2027922"/>
                <a:gd name="connsiteY15" fmla="*/ 756817 h 3726131"/>
                <a:gd name="connsiteX16" fmla="*/ 1335444 w 2027922"/>
                <a:gd name="connsiteY16" fmla="*/ 785392 h 3726131"/>
                <a:gd name="connsiteX17" fmla="*/ 1852176 w 2027922"/>
                <a:gd name="connsiteY17" fmla="*/ 313906 h 3726131"/>
                <a:gd name="connsiteX18" fmla="*/ 1850139 w 2027922"/>
                <a:gd name="connsiteY18" fmla="*/ 175792 h 3726131"/>
                <a:gd name="connsiteX19" fmla="*/ 1925993 w 2027922"/>
                <a:gd name="connsiteY19" fmla="*/ 125785 h 3726131"/>
                <a:gd name="connsiteX20" fmla="*/ 1971238 w 2027922"/>
                <a:gd name="connsiteY20" fmla="*/ 168649 h 3726131"/>
                <a:gd name="connsiteX21" fmla="*/ 2006957 w 2027922"/>
                <a:gd name="connsiteY21" fmla="*/ 218653 h 3726131"/>
                <a:gd name="connsiteX22" fmla="*/ 2021244 w 2027922"/>
                <a:gd name="connsiteY22" fmla="*/ 299616 h 3726131"/>
                <a:gd name="connsiteX23" fmla="*/ 1906944 w 2027922"/>
                <a:gd name="connsiteY23" fmla="*/ 440112 h 3726131"/>
                <a:gd name="connsiteX24" fmla="*/ 1933137 w 2027922"/>
                <a:gd name="connsiteY24" fmla="*/ 502023 h 3726131"/>
                <a:gd name="connsiteX25" fmla="*/ 1544994 w 2027922"/>
                <a:gd name="connsiteY25" fmla="*/ 949698 h 3726131"/>
                <a:gd name="connsiteX26" fmla="*/ 1318775 w 2027922"/>
                <a:gd name="connsiteY26" fmla="*/ 1094954 h 3726131"/>
                <a:gd name="connsiteX27" fmla="*/ 1544994 w 2027922"/>
                <a:gd name="connsiteY27" fmla="*/ 2021260 h 3726131"/>
                <a:gd name="connsiteX28" fmla="*/ 1085412 w 2027922"/>
                <a:gd name="connsiteY28" fmla="*/ 2018879 h 3726131"/>
                <a:gd name="connsiteX29" fmla="*/ 1129222 w 2027922"/>
                <a:gd name="connsiteY29" fmla="*/ 3690516 h 3726131"/>
                <a:gd name="connsiteX30" fmla="*/ 899506 w 2027922"/>
                <a:gd name="connsiteY30" fmla="*/ 3600887 h 3726131"/>
                <a:gd name="connsiteX31" fmla="*/ 817923 w 2027922"/>
                <a:gd name="connsiteY31" fmla="*/ 3577093 h 3726131"/>
                <a:gd name="connsiteX32" fmla="*/ 811125 w 2027922"/>
                <a:gd name="connsiteY32" fmla="*/ 3260961 h 3726131"/>
                <a:gd name="connsiteX33" fmla="*/ 794129 w 2027922"/>
                <a:gd name="connsiteY33" fmla="*/ 2798662 h 3726131"/>
                <a:gd name="connsiteX34" fmla="*/ 685352 w 2027922"/>
                <a:gd name="connsiteY34" fmla="*/ 2302371 h 3726131"/>
                <a:gd name="connsiteX35" fmla="*/ 617367 w 2027922"/>
                <a:gd name="connsiteY35" fmla="*/ 2805460 h 3726131"/>
                <a:gd name="connsiteX36" fmla="*/ 610569 w 2027922"/>
                <a:gd name="connsiteY36" fmla="*/ 3318748 h 3726131"/>
                <a:gd name="connsiteX37" fmla="*/ 613968 w 2027922"/>
                <a:gd name="connsiteY37" fmla="*/ 3600886 h 3726131"/>
                <a:gd name="connsiteX38" fmla="*/ 545983 w 2027922"/>
                <a:gd name="connsiteY38" fmla="*/ 3638278 h 3726131"/>
                <a:gd name="connsiteX39" fmla="*/ 253852 w 2027922"/>
                <a:gd name="connsiteY39" fmla="*/ 3710912 h 3726131"/>
                <a:gd name="connsiteX40" fmla="*/ 376020 w 2027922"/>
                <a:gd name="connsiteY40" fmla="*/ 3512506 h 3726131"/>
                <a:gd name="connsiteX41" fmla="*/ 379419 w 2027922"/>
                <a:gd name="connsiteY41" fmla="*/ 3383335 h 3726131"/>
                <a:gd name="connsiteX42" fmla="*/ 384980 w 2027922"/>
                <a:gd name="connsiteY42" fmla="*/ 1920902 h 3726131"/>
                <a:gd name="connsiteX43" fmla="*/ 301981 w 2027922"/>
                <a:gd name="connsiteY43" fmla="*/ 1861716 h 3726131"/>
                <a:gd name="connsiteX44" fmla="*/ 351987 w 2027922"/>
                <a:gd name="connsiteY44" fmla="*/ 1523579 h 3726131"/>
                <a:gd name="connsiteX45" fmla="*/ 297218 w 2027922"/>
                <a:gd name="connsiteY45" fmla="*/ 1337841 h 3726131"/>
                <a:gd name="connsiteX46" fmla="*/ 409137 w 2027922"/>
                <a:gd name="connsiteY46" fmla="*/ 997323 h 3726131"/>
                <a:gd name="connsiteX47" fmla="*/ 128150 w 2027922"/>
                <a:gd name="connsiteY47" fmla="*/ 652041 h 3726131"/>
                <a:gd name="connsiteX48" fmla="*/ 9087 w 2027922"/>
                <a:gd name="connsiteY48" fmla="*/ 352004 h 3726131"/>
                <a:gd name="connsiteX49" fmla="*/ 59094 w 2027922"/>
                <a:gd name="connsiteY49" fmla="*/ 292473 h 3726131"/>
                <a:gd name="connsiteX50" fmla="*/ 11160 w 2027922"/>
                <a:gd name="connsiteY50" fmla="*/ 171030 h 3726131"/>
                <a:gd name="connsiteX0" fmla="*/ 11160 w 2027922"/>
                <a:gd name="connsiteY0" fmla="*/ 171030 h 3726131"/>
                <a:gd name="connsiteX1" fmla="*/ 30519 w 2027922"/>
                <a:gd name="connsiteY1" fmla="*/ 59110 h 3726131"/>
                <a:gd name="connsiteX2" fmla="*/ 75763 w 2027922"/>
                <a:gd name="connsiteY2" fmla="*/ 25773 h 3726131"/>
                <a:gd name="connsiteX3" fmla="*/ 113863 w 2027922"/>
                <a:gd name="connsiteY3" fmla="*/ 4342 h 3726131"/>
                <a:gd name="connsiteX4" fmla="*/ 197207 w 2027922"/>
                <a:gd name="connsiteY4" fmla="*/ 85306 h 3726131"/>
                <a:gd name="connsiteX5" fmla="*/ 161488 w 2027922"/>
                <a:gd name="connsiteY5" fmla="*/ 249612 h 3726131"/>
                <a:gd name="connsiteX6" fmla="*/ 425807 w 2027922"/>
                <a:gd name="connsiteY6" fmla="*/ 668712 h 3726131"/>
                <a:gd name="connsiteX7" fmla="*/ 525820 w 2027922"/>
                <a:gd name="connsiteY7" fmla="*/ 687762 h 3726131"/>
                <a:gd name="connsiteX8" fmla="*/ 752038 w 2027922"/>
                <a:gd name="connsiteY8" fmla="*/ 790156 h 3726131"/>
                <a:gd name="connsiteX9" fmla="*/ 473432 w 2027922"/>
                <a:gd name="connsiteY9" fmla="*/ 1178299 h 3726131"/>
                <a:gd name="connsiteX10" fmla="*/ 421045 w 2027922"/>
                <a:gd name="connsiteY10" fmla="*/ 1656931 h 3726131"/>
                <a:gd name="connsiteX11" fmla="*/ 1047313 w 2027922"/>
                <a:gd name="connsiteY11" fmla="*/ 1718843 h 3726131"/>
                <a:gd name="connsiteX12" fmla="*/ 1116370 w 2027922"/>
                <a:gd name="connsiteY12" fmla="*/ 1461668 h 3726131"/>
                <a:gd name="connsiteX13" fmla="*/ 923488 w 2027922"/>
                <a:gd name="connsiteY13" fmla="*/ 954461 h 3726131"/>
                <a:gd name="connsiteX14" fmla="*/ 1033026 w 2027922"/>
                <a:gd name="connsiteY14" fmla="*/ 840160 h 3726131"/>
                <a:gd name="connsiteX15" fmla="*/ 1206857 w 2027922"/>
                <a:gd name="connsiteY15" fmla="*/ 756817 h 3726131"/>
                <a:gd name="connsiteX16" fmla="*/ 1335444 w 2027922"/>
                <a:gd name="connsiteY16" fmla="*/ 785392 h 3726131"/>
                <a:gd name="connsiteX17" fmla="*/ 1852176 w 2027922"/>
                <a:gd name="connsiteY17" fmla="*/ 313906 h 3726131"/>
                <a:gd name="connsiteX18" fmla="*/ 1850139 w 2027922"/>
                <a:gd name="connsiteY18" fmla="*/ 175792 h 3726131"/>
                <a:gd name="connsiteX19" fmla="*/ 1925993 w 2027922"/>
                <a:gd name="connsiteY19" fmla="*/ 125785 h 3726131"/>
                <a:gd name="connsiteX20" fmla="*/ 1971238 w 2027922"/>
                <a:gd name="connsiteY20" fmla="*/ 168649 h 3726131"/>
                <a:gd name="connsiteX21" fmla="*/ 2006957 w 2027922"/>
                <a:gd name="connsiteY21" fmla="*/ 218653 h 3726131"/>
                <a:gd name="connsiteX22" fmla="*/ 2021244 w 2027922"/>
                <a:gd name="connsiteY22" fmla="*/ 299616 h 3726131"/>
                <a:gd name="connsiteX23" fmla="*/ 1906944 w 2027922"/>
                <a:gd name="connsiteY23" fmla="*/ 440112 h 3726131"/>
                <a:gd name="connsiteX24" fmla="*/ 1933137 w 2027922"/>
                <a:gd name="connsiteY24" fmla="*/ 502023 h 3726131"/>
                <a:gd name="connsiteX25" fmla="*/ 1544994 w 2027922"/>
                <a:gd name="connsiteY25" fmla="*/ 949698 h 3726131"/>
                <a:gd name="connsiteX26" fmla="*/ 1318775 w 2027922"/>
                <a:gd name="connsiteY26" fmla="*/ 1094954 h 3726131"/>
                <a:gd name="connsiteX27" fmla="*/ 1544994 w 2027922"/>
                <a:gd name="connsiteY27" fmla="*/ 2021260 h 3726131"/>
                <a:gd name="connsiteX28" fmla="*/ 1085412 w 2027922"/>
                <a:gd name="connsiteY28" fmla="*/ 2018879 h 3726131"/>
                <a:gd name="connsiteX29" fmla="*/ 1129222 w 2027922"/>
                <a:gd name="connsiteY29" fmla="*/ 3690516 h 3726131"/>
                <a:gd name="connsiteX30" fmla="*/ 899506 w 2027922"/>
                <a:gd name="connsiteY30" fmla="*/ 3600887 h 3726131"/>
                <a:gd name="connsiteX31" fmla="*/ 817923 w 2027922"/>
                <a:gd name="connsiteY31" fmla="*/ 3577093 h 3726131"/>
                <a:gd name="connsiteX32" fmla="*/ 811125 w 2027922"/>
                <a:gd name="connsiteY32" fmla="*/ 3260961 h 3726131"/>
                <a:gd name="connsiteX33" fmla="*/ 794129 w 2027922"/>
                <a:gd name="connsiteY33" fmla="*/ 2798662 h 3726131"/>
                <a:gd name="connsiteX34" fmla="*/ 685352 w 2027922"/>
                <a:gd name="connsiteY34" fmla="*/ 2302371 h 3726131"/>
                <a:gd name="connsiteX35" fmla="*/ 617367 w 2027922"/>
                <a:gd name="connsiteY35" fmla="*/ 2805460 h 3726131"/>
                <a:gd name="connsiteX36" fmla="*/ 610569 w 2027922"/>
                <a:gd name="connsiteY36" fmla="*/ 3318748 h 3726131"/>
                <a:gd name="connsiteX37" fmla="*/ 613968 w 2027922"/>
                <a:gd name="connsiteY37" fmla="*/ 3600886 h 3726131"/>
                <a:gd name="connsiteX38" fmla="*/ 545983 w 2027922"/>
                <a:gd name="connsiteY38" fmla="*/ 3638278 h 3726131"/>
                <a:gd name="connsiteX39" fmla="*/ 253852 w 2027922"/>
                <a:gd name="connsiteY39" fmla="*/ 3710912 h 3726131"/>
                <a:gd name="connsiteX40" fmla="*/ 376020 w 2027922"/>
                <a:gd name="connsiteY40" fmla="*/ 3512506 h 3726131"/>
                <a:gd name="connsiteX41" fmla="*/ 379419 w 2027922"/>
                <a:gd name="connsiteY41" fmla="*/ 3383335 h 3726131"/>
                <a:gd name="connsiteX42" fmla="*/ 384980 w 2027922"/>
                <a:gd name="connsiteY42" fmla="*/ 1920902 h 3726131"/>
                <a:gd name="connsiteX43" fmla="*/ 301981 w 2027922"/>
                <a:gd name="connsiteY43" fmla="*/ 1861716 h 3726131"/>
                <a:gd name="connsiteX44" fmla="*/ 351987 w 2027922"/>
                <a:gd name="connsiteY44" fmla="*/ 1523579 h 3726131"/>
                <a:gd name="connsiteX45" fmla="*/ 297218 w 2027922"/>
                <a:gd name="connsiteY45" fmla="*/ 1337841 h 3726131"/>
                <a:gd name="connsiteX46" fmla="*/ 409137 w 2027922"/>
                <a:gd name="connsiteY46" fmla="*/ 997323 h 3726131"/>
                <a:gd name="connsiteX47" fmla="*/ 128150 w 2027922"/>
                <a:gd name="connsiteY47" fmla="*/ 652041 h 3726131"/>
                <a:gd name="connsiteX48" fmla="*/ 9087 w 2027922"/>
                <a:gd name="connsiteY48" fmla="*/ 352004 h 3726131"/>
                <a:gd name="connsiteX49" fmla="*/ 59094 w 2027922"/>
                <a:gd name="connsiteY49" fmla="*/ 292473 h 3726131"/>
                <a:gd name="connsiteX50" fmla="*/ 11160 w 2027922"/>
                <a:gd name="connsiteY50" fmla="*/ 171030 h 3726131"/>
                <a:gd name="connsiteX0" fmla="*/ 11160 w 2027922"/>
                <a:gd name="connsiteY0" fmla="*/ 171030 h 3726131"/>
                <a:gd name="connsiteX1" fmla="*/ 30519 w 2027922"/>
                <a:gd name="connsiteY1" fmla="*/ 59110 h 3726131"/>
                <a:gd name="connsiteX2" fmla="*/ 75763 w 2027922"/>
                <a:gd name="connsiteY2" fmla="*/ 25773 h 3726131"/>
                <a:gd name="connsiteX3" fmla="*/ 113863 w 2027922"/>
                <a:gd name="connsiteY3" fmla="*/ 4342 h 3726131"/>
                <a:gd name="connsiteX4" fmla="*/ 197207 w 2027922"/>
                <a:gd name="connsiteY4" fmla="*/ 85306 h 3726131"/>
                <a:gd name="connsiteX5" fmla="*/ 161488 w 2027922"/>
                <a:gd name="connsiteY5" fmla="*/ 249612 h 3726131"/>
                <a:gd name="connsiteX6" fmla="*/ 425807 w 2027922"/>
                <a:gd name="connsiteY6" fmla="*/ 668712 h 3726131"/>
                <a:gd name="connsiteX7" fmla="*/ 525820 w 2027922"/>
                <a:gd name="connsiteY7" fmla="*/ 687762 h 3726131"/>
                <a:gd name="connsiteX8" fmla="*/ 752038 w 2027922"/>
                <a:gd name="connsiteY8" fmla="*/ 790156 h 3726131"/>
                <a:gd name="connsiteX9" fmla="*/ 473432 w 2027922"/>
                <a:gd name="connsiteY9" fmla="*/ 1178299 h 3726131"/>
                <a:gd name="connsiteX10" fmla="*/ 421045 w 2027922"/>
                <a:gd name="connsiteY10" fmla="*/ 1656931 h 3726131"/>
                <a:gd name="connsiteX11" fmla="*/ 1047313 w 2027922"/>
                <a:gd name="connsiteY11" fmla="*/ 1718843 h 3726131"/>
                <a:gd name="connsiteX12" fmla="*/ 1116370 w 2027922"/>
                <a:gd name="connsiteY12" fmla="*/ 1461668 h 3726131"/>
                <a:gd name="connsiteX13" fmla="*/ 923488 w 2027922"/>
                <a:gd name="connsiteY13" fmla="*/ 954461 h 3726131"/>
                <a:gd name="connsiteX14" fmla="*/ 1033026 w 2027922"/>
                <a:gd name="connsiteY14" fmla="*/ 840160 h 3726131"/>
                <a:gd name="connsiteX15" fmla="*/ 1206857 w 2027922"/>
                <a:gd name="connsiteY15" fmla="*/ 756817 h 3726131"/>
                <a:gd name="connsiteX16" fmla="*/ 1335444 w 2027922"/>
                <a:gd name="connsiteY16" fmla="*/ 785392 h 3726131"/>
                <a:gd name="connsiteX17" fmla="*/ 1852176 w 2027922"/>
                <a:gd name="connsiteY17" fmla="*/ 313906 h 3726131"/>
                <a:gd name="connsiteX18" fmla="*/ 1850139 w 2027922"/>
                <a:gd name="connsiteY18" fmla="*/ 175792 h 3726131"/>
                <a:gd name="connsiteX19" fmla="*/ 1925993 w 2027922"/>
                <a:gd name="connsiteY19" fmla="*/ 125785 h 3726131"/>
                <a:gd name="connsiteX20" fmla="*/ 1971238 w 2027922"/>
                <a:gd name="connsiteY20" fmla="*/ 168649 h 3726131"/>
                <a:gd name="connsiteX21" fmla="*/ 2006957 w 2027922"/>
                <a:gd name="connsiteY21" fmla="*/ 218653 h 3726131"/>
                <a:gd name="connsiteX22" fmla="*/ 2021244 w 2027922"/>
                <a:gd name="connsiteY22" fmla="*/ 299616 h 3726131"/>
                <a:gd name="connsiteX23" fmla="*/ 1906944 w 2027922"/>
                <a:gd name="connsiteY23" fmla="*/ 440112 h 3726131"/>
                <a:gd name="connsiteX24" fmla="*/ 1933137 w 2027922"/>
                <a:gd name="connsiteY24" fmla="*/ 502023 h 3726131"/>
                <a:gd name="connsiteX25" fmla="*/ 1544994 w 2027922"/>
                <a:gd name="connsiteY25" fmla="*/ 949698 h 3726131"/>
                <a:gd name="connsiteX26" fmla="*/ 1318775 w 2027922"/>
                <a:gd name="connsiteY26" fmla="*/ 1094954 h 3726131"/>
                <a:gd name="connsiteX27" fmla="*/ 1544994 w 2027922"/>
                <a:gd name="connsiteY27" fmla="*/ 2021260 h 3726131"/>
                <a:gd name="connsiteX28" fmla="*/ 1085412 w 2027922"/>
                <a:gd name="connsiteY28" fmla="*/ 2018879 h 3726131"/>
                <a:gd name="connsiteX29" fmla="*/ 1129222 w 2027922"/>
                <a:gd name="connsiteY29" fmla="*/ 3690516 h 3726131"/>
                <a:gd name="connsiteX30" fmla="*/ 899506 w 2027922"/>
                <a:gd name="connsiteY30" fmla="*/ 3600887 h 3726131"/>
                <a:gd name="connsiteX31" fmla="*/ 817923 w 2027922"/>
                <a:gd name="connsiteY31" fmla="*/ 3577093 h 3726131"/>
                <a:gd name="connsiteX32" fmla="*/ 811125 w 2027922"/>
                <a:gd name="connsiteY32" fmla="*/ 3260961 h 3726131"/>
                <a:gd name="connsiteX33" fmla="*/ 794129 w 2027922"/>
                <a:gd name="connsiteY33" fmla="*/ 2798662 h 3726131"/>
                <a:gd name="connsiteX34" fmla="*/ 685352 w 2027922"/>
                <a:gd name="connsiteY34" fmla="*/ 2302371 h 3726131"/>
                <a:gd name="connsiteX35" fmla="*/ 617367 w 2027922"/>
                <a:gd name="connsiteY35" fmla="*/ 2805460 h 3726131"/>
                <a:gd name="connsiteX36" fmla="*/ 603771 w 2027922"/>
                <a:gd name="connsiteY36" fmla="*/ 3288155 h 3726131"/>
                <a:gd name="connsiteX37" fmla="*/ 613968 w 2027922"/>
                <a:gd name="connsiteY37" fmla="*/ 3600886 h 3726131"/>
                <a:gd name="connsiteX38" fmla="*/ 545983 w 2027922"/>
                <a:gd name="connsiteY38" fmla="*/ 3638278 h 3726131"/>
                <a:gd name="connsiteX39" fmla="*/ 253852 w 2027922"/>
                <a:gd name="connsiteY39" fmla="*/ 3710912 h 3726131"/>
                <a:gd name="connsiteX40" fmla="*/ 376020 w 2027922"/>
                <a:gd name="connsiteY40" fmla="*/ 3512506 h 3726131"/>
                <a:gd name="connsiteX41" fmla="*/ 379419 w 2027922"/>
                <a:gd name="connsiteY41" fmla="*/ 3383335 h 3726131"/>
                <a:gd name="connsiteX42" fmla="*/ 384980 w 2027922"/>
                <a:gd name="connsiteY42" fmla="*/ 1920902 h 3726131"/>
                <a:gd name="connsiteX43" fmla="*/ 301981 w 2027922"/>
                <a:gd name="connsiteY43" fmla="*/ 1861716 h 3726131"/>
                <a:gd name="connsiteX44" fmla="*/ 351987 w 2027922"/>
                <a:gd name="connsiteY44" fmla="*/ 1523579 h 3726131"/>
                <a:gd name="connsiteX45" fmla="*/ 297218 w 2027922"/>
                <a:gd name="connsiteY45" fmla="*/ 1337841 h 3726131"/>
                <a:gd name="connsiteX46" fmla="*/ 409137 w 2027922"/>
                <a:gd name="connsiteY46" fmla="*/ 997323 h 3726131"/>
                <a:gd name="connsiteX47" fmla="*/ 128150 w 2027922"/>
                <a:gd name="connsiteY47" fmla="*/ 652041 h 3726131"/>
                <a:gd name="connsiteX48" fmla="*/ 9087 w 2027922"/>
                <a:gd name="connsiteY48" fmla="*/ 352004 h 3726131"/>
                <a:gd name="connsiteX49" fmla="*/ 59094 w 2027922"/>
                <a:gd name="connsiteY49" fmla="*/ 292473 h 3726131"/>
                <a:gd name="connsiteX50" fmla="*/ 11160 w 2027922"/>
                <a:gd name="connsiteY50" fmla="*/ 171030 h 3726131"/>
                <a:gd name="connsiteX0" fmla="*/ 11160 w 2027922"/>
                <a:gd name="connsiteY0" fmla="*/ 171030 h 3726131"/>
                <a:gd name="connsiteX1" fmla="*/ 30519 w 2027922"/>
                <a:gd name="connsiteY1" fmla="*/ 59110 h 3726131"/>
                <a:gd name="connsiteX2" fmla="*/ 75763 w 2027922"/>
                <a:gd name="connsiteY2" fmla="*/ 25773 h 3726131"/>
                <a:gd name="connsiteX3" fmla="*/ 113863 w 2027922"/>
                <a:gd name="connsiteY3" fmla="*/ 4342 h 3726131"/>
                <a:gd name="connsiteX4" fmla="*/ 197207 w 2027922"/>
                <a:gd name="connsiteY4" fmla="*/ 85306 h 3726131"/>
                <a:gd name="connsiteX5" fmla="*/ 161488 w 2027922"/>
                <a:gd name="connsiteY5" fmla="*/ 249612 h 3726131"/>
                <a:gd name="connsiteX6" fmla="*/ 425807 w 2027922"/>
                <a:gd name="connsiteY6" fmla="*/ 668712 h 3726131"/>
                <a:gd name="connsiteX7" fmla="*/ 525820 w 2027922"/>
                <a:gd name="connsiteY7" fmla="*/ 687762 h 3726131"/>
                <a:gd name="connsiteX8" fmla="*/ 752038 w 2027922"/>
                <a:gd name="connsiteY8" fmla="*/ 790156 h 3726131"/>
                <a:gd name="connsiteX9" fmla="*/ 473432 w 2027922"/>
                <a:gd name="connsiteY9" fmla="*/ 1178299 h 3726131"/>
                <a:gd name="connsiteX10" fmla="*/ 421045 w 2027922"/>
                <a:gd name="connsiteY10" fmla="*/ 1656931 h 3726131"/>
                <a:gd name="connsiteX11" fmla="*/ 1047313 w 2027922"/>
                <a:gd name="connsiteY11" fmla="*/ 1718843 h 3726131"/>
                <a:gd name="connsiteX12" fmla="*/ 1116370 w 2027922"/>
                <a:gd name="connsiteY12" fmla="*/ 1461668 h 3726131"/>
                <a:gd name="connsiteX13" fmla="*/ 923488 w 2027922"/>
                <a:gd name="connsiteY13" fmla="*/ 954461 h 3726131"/>
                <a:gd name="connsiteX14" fmla="*/ 1033026 w 2027922"/>
                <a:gd name="connsiteY14" fmla="*/ 840160 h 3726131"/>
                <a:gd name="connsiteX15" fmla="*/ 1206857 w 2027922"/>
                <a:gd name="connsiteY15" fmla="*/ 756817 h 3726131"/>
                <a:gd name="connsiteX16" fmla="*/ 1335444 w 2027922"/>
                <a:gd name="connsiteY16" fmla="*/ 785392 h 3726131"/>
                <a:gd name="connsiteX17" fmla="*/ 1852176 w 2027922"/>
                <a:gd name="connsiteY17" fmla="*/ 313906 h 3726131"/>
                <a:gd name="connsiteX18" fmla="*/ 1850139 w 2027922"/>
                <a:gd name="connsiteY18" fmla="*/ 175792 h 3726131"/>
                <a:gd name="connsiteX19" fmla="*/ 1925993 w 2027922"/>
                <a:gd name="connsiteY19" fmla="*/ 125785 h 3726131"/>
                <a:gd name="connsiteX20" fmla="*/ 1971238 w 2027922"/>
                <a:gd name="connsiteY20" fmla="*/ 168649 h 3726131"/>
                <a:gd name="connsiteX21" fmla="*/ 2006957 w 2027922"/>
                <a:gd name="connsiteY21" fmla="*/ 218653 h 3726131"/>
                <a:gd name="connsiteX22" fmla="*/ 2021244 w 2027922"/>
                <a:gd name="connsiteY22" fmla="*/ 299616 h 3726131"/>
                <a:gd name="connsiteX23" fmla="*/ 1906944 w 2027922"/>
                <a:gd name="connsiteY23" fmla="*/ 440112 h 3726131"/>
                <a:gd name="connsiteX24" fmla="*/ 1933137 w 2027922"/>
                <a:gd name="connsiteY24" fmla="*/ 502023 h 3726131"/>
                <a:gd name="connsiteX25" fmla="*/ 1544994 w 2027922"/>
                <a:gd name="connsiteY25" fmla="*/ 949698 h 3726131"/>
                <a:gd name="connsiteX26" fmla="*/ 1318775 w 2027922"/>
                <a:gd name="connsiteY26" fmla="*/ 1094954 h 3726131"/>
                <a:gd name="connsiteX27" fmla="*/ 1544994 w 2027922"/>
                <a:gd name="connsiteY27" fmla="*/ 2021260 h 3726131"/>
                <a:gd name="connsiteX28" fmla="*/ 1085412 w 2027922"/>
                <a:gd name="connsiteY28" fmla="*/ 2018879 h 3726131"/>
                <a:gd name="connsiteX29" fmla="*/ 1129222 w 2027922"/>
                <a:gd name="connsiteY29" fmla="*/ 3690516 h 3726131"/>
                <a:gd name="connsiteX30" fmla="*/ 899506 w 2027922"/>
                <a:gd name="connsiteY30" fmla="*/ 3600887 h 3726131"/>
                <a:gd name="connsiteX31" fmla="*/ 817923 w 2027922"/>
                <a:gd name="connsiteY31" fmla="*/ 3577093 h 3726131"/>
                <a:gd name="connsiteX32" fmla="*/ 811125 w 2027922"/>
                <a:gd name="connsiteY32" fmla="*/ 3260961 h 3726131"/>
                <a:gd name="connsiteX33" fmla="*/ 794129 w 2027922"/>
                <a:gd name="connsiteY33" fmla="*/ 2798662 h 3726131"/>
                <a:gd name="connsiteX34" fmla="*/ 685352 w 2027922"/>
                <a:gd name="connsiteY34" fmla="*/ 2302371 h 3726131"/>
                <a:gd name="connsiteX35" fmla="*/ 617367 w 2027922"/>
                <a:gd name="connsiteY35" fmla="*/ 2805460 h 3726131"/>
                <a:gd name="connsiteX36" fmla="*/ 603771 w 2027922"/>
                <a:gd name="connsiteY36" fmla="*/ 3288155 h 3726131"/>
                <a:gd name="connsiteX37" fmla="*/ 613968 w 2027922"/>
                <a:gd name="connsiteY37" fmla="*/ 3600886 h 3726131"/>
                <a:gd name="connsiteX38" fmla="*/ 545983 w 2027922"/>
                <a:gd name="connsiteY38" fmla="*/ 3638278 h 3726131"/>
                <a:gd name="connsiteX39" fmla="*/ 253852 w 2027922"/>
                <a:gd name="connsiteY39" fmla="*/ 3710912 h 3726131"/>
                <a:gd name="connsiteX40" fmla="*/ 376020 w 2027922"/>
                <a:gd name="connsiteY40" fmla="*/ 3512506 h 3726131"/>
                <a:gd name="connsiteX41" fmla="*/ 379419 w 2027922"/>
                <a:gd name="connsiteY41" fmla="*/ 3383335 h 3726131"/>
                <a:gd name="connsiteX42" fmla="*/ 384980 w 2027922"/>
                <a:gd name="connsiteY42" fmla="*/ 1920902 h 3726131"/>
                <a:gd name="connsiteX43" fmla="*/ 301981 w 2027922"/>
                <a:gd name="connsiteY43" fmla="*/ 1861716 h 3726131"/>
                <a:gd name="connsiteX44" fmla="*/ 351987 w 2027922"/>
                <a:gd name="connsiteY44" fmla="*/ 1523579 h 3726131"/>
                <a:gd name="connsiteX45" fmla="*/ 297218 w 2027922"/>
                <a:gd name="connsiteY45" fmla="*/ 1337841 h 3726131"/>
                <a:gd name="connsiteX46" fmla="*/ 409137 w 2027922"/>
                <a:gd name="connsiteY46" fmla="*/ 997323 h 3726131"/>
                <a:gd name="connsiteX47" fmla="*/ 128150 w 2027922"/>
                <a:gd name="connsiteY47" fmla="*/ 652041 h 3726131"/>
                <a:gd name="connsiteX48" fmla="*/ 9087 w 2027922"/>
                <a:gd name="connsiteY48" fmla="*/ 352004 h 3726131"/>
                <a:gd name="connsiteX49" fmla="*/ 59094 w 2027922"/>
                <a:gd name="connsiteY49" fmla="*/ 292473 h 3726131"/>
                <a:gd name="connsiteX50" fmla="*/ 11160 w 2027922"/>
                <a:gd name="connsiteY50" fmla="*/ 171030 h 3726131"/>
                <a:gd name="connsiteX0" fmla="*/ 11160 w 2027922"/>
                <a:gd name="connsiteY0" fmla="*/ 171030 h 3726131"/>
                <a:gd name="connsiteX1" fmla="*/ 30519 w 2027922"/>
                <a:gd name="connsiteY1" fmla="*/ 59110 h 3726131"/>
                <a:gd name="connsiteX2" fmla="*/ 75763 w 2027922"/>
                <a:gd name="connsiteY2" fmla="*/ 25773 h 3726131"/>
                <a:gd name="connsiteX3" fmla="*/ 113863 w 2027922"/>
                <a:gd name="connsiteY3" fmla="*/ 4342 h 3726131"/>
                <a:gd name="connsiteX4" fmla="*/ 197207 w 2027922"/>
                <a:gd name="connsiteY4" fmla="*/ 85306 h 3726131"/>
                <a:gd name="connsiteX5" fmla="*/ 161488 w 2027922"/>
                <a:gd name="connsiteY5" fmla="*/ 249612 h 3726131"/>
                <a:gd name="connsiteX6" fmla="*/ 425807 w 2027922"/>
                <a:gd name="connsiteY6" fmla="*/ 668712 h 3726131"/>
                <a:gd name="connsiteX7" fmla="*/ 525820 w 2027922"/>
                <a:gd name="connsiteY7" fmla="*/ 687762 h 3726131"/>
                <a:gd name="connsiteX8" fmla="*/ 752038 w 2027922"/>
                <a:gd name="connsiteY8" fmla="*/ 790156 h 3726131"/>
                <a:gd name="connsiteX9" fmla="*/ 473432 w 2027922"/>
                <a:gd name="connsiteY9" fmla="*/ 1178299 h 3726131"/>
                <a:gd name="connsiteX10" fmla="*/ 421045 w 2027922"/>
                <a:gd name="connsiteY10" fmla="*/ 1656931 h 3726131"/>
                <a:gd name="connsiteX11" fmla="*/ 1047313 w 2027922"/>
                <a:gd name="connsiteY11" fmla="*/ 1718843 h 3726131"/>
                <a:gd name="connsiteX12" fmla="*/ 1116370 w 2027922"/>
                <a:gd name="connsiteY12" fmla="*/ 1461668 h 3726131"/>
                <a:gd name="connsiteX13" fmla="*/ 923488 w 2027922"/>
                <a:gd name="connsiteY13" fmla="*/ 954461 h 3726131"/>
                <a:gd name="connsiteX14" fmla="*/ 1033026 w 2027922"/>
                <a:gd name="connsiteY14" fmla="*/ 840160 h 3726131"/>
                <a:gd name="connsiteX15" fmla="*/ 1206857 w 2027922"/>
                <a:gd name="connsiteY15" fmla="*/ 756817 h 3726131"/>
                <a:gd name="connsiteX16" fmla="*/ 1335444 w 2027922"/>
                <a:gd name="connsiteY16" fmla="*/ 785392 h 3726131"/>
                <a:gd name="connsiteX17" fmla="*/ 1852176 w 2027922"/>
                <a:gd name="connsiteY17" fmla="*/ 313906 h 3726131"/>
                <a:gd name="connsiteX18" fmla="*/ 1850139 w 2027922"/>
                <a:gd name="connsiteY18" fmla="*/ 175792 h 3726131"/>
                <a:gd name="connsiteX19" fmla="*/ 1925993 w 2027922"/>
                <a:gd name="connsiteY19" fmla="*/ 125785 h 3726131"/>
                <a:gd name="connsiteX20" fmla="*/ 1971238 w 2027922"/>
                <a:gd name="connsiteY20" fmla="*/ 168649 h 3726131"/>
                <a:gd name="connsiteX21" fmla="*/ 2006957 w 2027922"/>
                <a:gd name="connsiteY21" fmla="*/ 218653 h 3726131"/>
                <a:gd name="connsiteX22" fmla="*/ 2021244 w 2027922"/>
                <a:gd name="connsiteY22" fmla="*/ 299616 h 3726131"/>
                <a:gd name="connsiteX23" fmla="*/ 1906944 w 2027922"/>
                <a:gd name="connsiteY23" fmla="*/ 440112 h 3726131"/>
                <a:gd name="connsiteX24" fmla="*/ 1933137 w 2027922"/>
                <a:gd name="connsiteY24" fmla="*/ 502023 h 3726131"/>
                <a:gd name="connsiteX25" fmla="*/ 1544994 w 2027922"/>
                <a:gd name="connsiteY25" fmla="*/ 949698 h 3726131"/>
                <a:gd name="connsiteX26" fmla="*/ 1318775 w 2027922"/>
                <a:gd name="connsiteY26" fmla="*/ 1094954 h 3726131"/>
                <a:gd name="connsiteX27" fmla="*/ 1544994 w 2027922"/>
                <a:gd name="connsiteY27" fmla="*/ 2021260 h 3726131"/>
                <a:gd name="connsiteX28" fmla="*/ 1085412 w 2027922"/>
                <a:gd name="connsiteY28" fmla="*/ 2018879 h 3726131"/>
                <a:gd name="connsiteX29" fmla="*/ 1129222 w 2027922"/>
                <a:gd name="connsiteY29" fmla="*/ 3690516 h 3726131"/>
                <a:gd name="connsiteX30" fmla="*/ 899506 w 2027922"/>
                <a:gd name="connsiteY30" fmla="*/ 3600887 h 3726131"/>
                <a:gd name="connsiteX31" fmla="*/ 817923 w 2027922"/>
                <a:gd name="connsiteY31" fmla="*/ 3577093 h 3726131"/>
                <a:gd name="connsiteX32" fmla="*/ 811125 w 2027922"/>
                <a:gd name="connsiteY32" fmla="*/ 3260961 h 3726131"/>
                <a:gd name="connsiteX33" fmla="*/ 794129 w 2027922"/>
                <a:gd name="connsiteY33" fmla="*/ 2798662 h 3726131"/>
                <a:gd name="connsiteX34" fmla="*/ 685352 w 2027922"/>
                <a:gd name="connsiteY34" fmla="*/ 2302371 h 3726131"/>
                <a:gd name="connsiteX35" fmla="*/ 617367 w 2027922"/>
                <a:gd name="connsiteY35" fmla="*/ 2805460 h 3726131"/>
                <a:gd name="connsiteX36" fmla="*/ 603771 w 2027922"/>
                <a:gd name="connsiteY36" fmla="*/ 3288155 h 3726131"/>
                <a:gd name="connsiteX37" fmla="*/ 613968 w 2027922"/>
                <a:gd name="connsiteY37" fmla="*/ 3600886 h 3726131"/>
                <a:gd name="connsiteX38" fmla="*/ 545983 w 2027922"/>
                <a:gd name="connsiteY38" fmla="*/ 3638278 h 3726131"/>
                <a:gd name="connsiteX39" fmla="*/ 253852 w 2027922"/>
                <a:gd name="connsiteY39" fmla="*/ 3710912 h 3726131"/>
                <a:gd name="connsiteX40" fmla="*/ 376020 w 2027922"/>
                <a:gd name="connsiteY40" fmla="*/ 3512506 h 3726131"/>
                <a:gd name="connsiteX41" fmla="*/ 379419 w 2027922"/>
                <a:gd name="connsiteY41" fmla="*/ 3383335 h 3726131"/>
                <a:gd name="connsiteX42" fmla="*/ 384980 w 2027922"/>
                <a:gd name="connsiteY42" fmla="*/ 1920902 h 3726131"/>
                <a:gd name="connsiteX43" fmla="*/ 301981 w 2027922"/>
                <a:gd name="connsiteY43" fmla="*/ 1861716 h 3726131"/>
                <a:gd name="connsiteX44" fmla="*/ 351987 w 2027922"/>
                <a:gd name="connsiteY44" fmla="*/ 1523579 h 3726131"/>
                <a:gd name="connsiteX45" fmla="*/ 297218 w 2027922"/>
                <a:gd name="connsiteY45" fmla="*/ 1337841 h 3726131"/>
                <a:gd name="connsiteX46" fmla="*/ 409137 w 2027922"/>
                <a:gd name="connsiteY46" fmla="*/ 997323 h 3726131"/>
                <a:gd name="connsiteX47" fmla="*/ 128150 w 2027922"/>
                <a:gd name="connsiteY47" fmla="*/ 652041 h 3726131"/>
                <a:gd name="connsiteX48" fmla="*/ 9087 w 2027922"/>
                <a:gd name="connsiteY48" fmla="*/ 352004 h 3726131"/>
                <a:gd name="connsiteX49" fmla="*/ 59094 w 2027922"/>
                <a:gd name="connsiteY49" fmla="*/ 292473 h 3726131"/>
                <a:gd name="connsiteX50" fmla="*/ 11160 w 2027922"/>
                <a:gd name="connsiteY50" fmla="*/ 171030 h 3726131"/>
                <a:gd name="connsiteX0" fmla="*/ 11160 w 2027922"/>
                <a:gd name="connsiteY0" fmla="*/ 171030 h 3726131"/>
                <a:gd name="connsiteX1" fmla="*/ 30519 w 2027922"/>
                <a:gd name="connsiteY1" fmla="*/ 59110 h 3726131"/>
                <a:gd name="connsiteX2" fmla="*/ 75763 w 2027922"/>
                <a:gd name="connsiteY2" fmla="*/ 25773 h 3726131"/>
                <a:gd name="connsiteX3" fmla="*/ 113863 w 2027922"/>
                <a:gd name="connsiteY3" fmla="*/ 4342 h 3726131"/>
                <a:gd name="connsiteX4" fmla="*/ 197207 w 2027922"/>
                <a:gd name="connsiteY4" fmla="*/ 85306 h 3726131"/>
                <a:gd name="connsiteX5" fmla="*/ 161488 w 2027922"/>
                <a:gd name="connsiteY5" fmla="*/ 249612 h 3726131"/>
                <a:gd name="connsiteX6" fmla="*/ 425807 w 2027922"/>
                <a:gd name="connsiteY6" fmla="*/ 668712 h 3726131"/>
                <a:gd name="connsiteX7" fmla="*/ 525820 w 2027922"/>
                <a:gd name="connsiteY7" fmla="*/ 687762 h 3726131"/>
                <a:gd name="connsiteX8" fmla="*/ 752038 w 2027922"/>
                <a:gd name="connsiteY8" fmla="*/ 790156 h 3726131"/>
                <a:gd name="connsiteX9" fmla="*/ 473432 w 2027922"/>
                <a:gd name="connsiteY9" fmla="*/ 1178299 h 3726131"/>
                <a:gd name="connsiteX10" fmla="*/ 421045 w 2027922"/>
                <a:gd name="connsiteY10" fmla="*/ 1656931 h 3726131"/>
                <a:gd name="connsiteX11" fmla="*/ 1047313 w 2027922"/>
                <a:gd name="connsiteY11" fmla="*/ 1718843 h 3726131"/>
                <a:gd name="connsiteX12" fmla="*/ 1116370 w 2027922"/>
                <a:gd name="connsiteY12" fmla="*/ 1461668 h 3726131"/>
                <a:gd name="connsiteX13" fmla="*/ 923488 w 2027922"/>
                <a:gd name="connsiteY13" fmla="*/ 954461 h 3726131"/>
                <a:gd name="connsiteX14" fmla="*/ 1033026 w 2027922"/>
                <a:gd name="connsiteY14" fmla="*/ 840160 h 3726131"/>
                <a:gd name="connsiteX15" fmla="*/ 1206857 w 2027922"/>
                <a:gd name="connsiteY15" fmla="*/ 756817 h 3726131"/>
                <a:gd name="connsiteX16" fmla="*/ 1335444 w 2027922"/>
                <a:gd name="connsiteY16" fmla="*/ 785392 h 3726131"/>
                <a:gd name="connsiteX17" fmla="*/ 1852176 w 2027922"/>
                <a:gd name="connsiteY17" fmla="*/ 313906 h 3726131"/>
                <a:gd name="connsiteX18" fmla="*/ 1850139 w 2027922"/>
                <a:gd name="connsiteY18" fmla="*/ 175792 h 3726131"/>
                <a:gd name="connsiteX19" fmla="*/ 1925993 w 2027922"/>
                <a:gd name="connsiteY19" fmla="*/ 125785 h 3726131"/>
                <a:gd name="connsiteX20" fmla="*/ 1971238 w 2027922"/>
                <a:gd name="connsiteY20" fmla="*/ 168649 h 3726131"/>
                <a:gd name="connsiteX21" fmla="*/ 2006957 w 2027922"/>
                <a:gd name="connsiteY21" fmla="*/ 218653 h 3726131"/>
                <a:gd name="connsiteX22" fmla="*/ 2021244 w 2027922"/>
                <a:gd name="connsiteY22" fmla="*/ 299616 h 3726131"/>
                <a:gd name="connsiteX23" fmla="*/ 1906944 w 2027922"/>
                <a:gd name="connsiteY23" fmla="*/ 440112 h 3726131"/>
                <a:gd name="connsiteX24" fmla="*/ 1933137 w 2027922"/>
                <a:gd name="connsiteY24" fmla="*/ 502023 h 3726131"/>
                <a:gd name="connsiteX25" fmla="*/ 1544994 w 2027922"/>
                <a:gd name="connsiteY25" fmla="*/ 949698 h 3726131"/>
                <a:gd name="connsiteX26" fmla="*/ 1318775 w 2027922"/>
                <a:gd name="connsiteY26" fmla="*/ 1094954 h 3726131"/>
                <a:gd name="connsiteX27" fmla="*/ 1544994 w 2027922"/>
                <a:gd name="connsiteY27" fmla="*/ 2021260 h 3726131"/>
                <a:gd name="connsiteX28" fmla="*/ 1085412 w 2027922"/>
                <a:gd name="connsiteY28" fmla="*/ 2018879 h 3726131"/>
                <a:gd name="connsiteX29" fmla="*/ 1129222 w 2027922"/>
                <a:gd name="connsiteY29" fmla="*/ 3690516 h 3726131"/>
                <a:gd name="connsiteX30" fmla="*/ 899506 w 2027922"/>
                <a:gd name="connsiteY30" fmla="*/ 3600887 h 3726131"/>
                <a:gd name="connsiteX31" fmla="*/ 817923 w 2027922"/>
                <a:gd name="connsiteY31" fmla="*/ 3577093 h 3726131"/>
                <a:gd name="connsiteX32" fmla="*/ 811125 w 2027922"/>
                <a:gd name="connsiteY32" fmla="*/ 3260961 h 3726131"/>
                <a:gd name="connsiteX33" fmla="*/ 794129 w 2027922"/>
                <a:gd name="connsiteY33" fmla="*/ 2798662 h 3726131"/>
                <a:gd name="connsiteX34" fmla="*/ 685352 w 2027922"/>
                <a:gd name="connsiteY34" fmla="*/ 2302371 h 3726131"/>
                <a:gd name="connsiteX35" fmla="*/ 617367 w 2027922"/>
                <a:gd name="connsiteY35" fmla="*/ 2805460 h 3726131"/>
                <a:gd name="connsiteX36" fmla="*/ 603771 w 2027922"/>
                <a:gd name="connsiteY36" fmla="*/ 3288155 h 3726131"/>
                <a:gd name="connsiteX37" fmla="*/ 613968 w 2027922"/>
                <a:gd name="connsiteY37" fmla="*/ 3600886 h 3726131"/>
                <a:gd name="connsiteX38" fmla="*/ 545983 w 2027922"/>
                <a:gd name="connsiteY38" fmla="*/ 3638278 h 3726131"/>
                <a:gd name="connsiteX39" fmla="*/ 253852 w 2027922"/>
                <a:gd name="connsiteY39" fmla="*/ 3710912 h 3726131"/>
                <a:gd name="connsiteX40" fmla="*/ 376020 w 2027922"/>
                <a:gd name="connsiteY40" fmla="*/ 3512506 h 3726131"/>
                <a:gd name="connsiteX41" fmla="*/ 379419 w 2027922"/>
                <a:gd name="connsiteY41" fmla="*/ 3383335 h 3726131"/>
                <a:gd name="connsiteX42" fmla="*/ 384980 w 2027922"/>
                <a:gd name="connsiteY42" fmla="*/ 1920902 h 3726131"/>
                <a:gd name="connsiteX43" fmla="*/ 301981 w 2027922"/>
                <a:gd name="connsiteY43" fmla="*/ 1861716 h 3726131"/>
                <a:gd name="connsiteX44" fmla="*/ 351987 w 2027922"/>
                <a:gd name="connsiteY44" fmla="*/ 1523579 h 3726131"/>
                <a:gd name="connsiteX45" fmla="*/ 297218 w 2027922"/>
                <a:gd name="connsiteY45" fmla="*/ 1337841 h 3726131"/>
                <a:gd name="connsiteX46" fmla="*/ 409137 w 2027922"/>
                <a:gd name="connsiteY46" fmla="*/ 997323 h 3726131"/>
                <a:gd name="connsiteX47" fmla="*/ 128150 w 2027922"/>
                <a:gd name="connsiteY47" fmla="*/ 652041 h 3726131"/>
                <a:gd name="connsiteX48" fmla="*/ 9087 w 2027922"/>
                <a:gd name="connsiteY48" fmla="*/ 352004 h 3726131"/>
                <a:gd name="connsiteX49" fmla="*/ 59094 w 2027922"/>
                <a:gd name="connsiteY49" fmla="*/ 292473 h 3726131"/>
                <a:gd name="connsiteX50" fmla="*/ 11160 w 2027922"/>
                <a:gd name="connsiteY50" fmla="*/ 171030 h 3726131"/>
                <a:gd name="connsiteX0" fmla="*/ 11160 w 2027922"/>
                <a:gd name="connsiteY0" fmla="*/ 171030 h 3726131"/>
                <a:gd name="connsiteX1" fmla="*/ 30519 w 2027922"/>
                <a:gd name="connsiteY1" fmla="*/ 59110 h 3726131"/>
                <a:gd name="connsiteX2" fmla="*/ 75763 w 2027922"/>
                <a:gd name="connsiteY2" fmla="*/ 25773 h 3726131"/>
                <a:gd name="connsiteX3" fmla="*/ 113863 w 2027922"/>
                <a:gd name="connsiteY3" fmla="*/ 4342 h 3726131"/>
                <a:gd name="connsiteX4" fmla="*/ 197207 w 2027922"/>
                <a:gd name="connsiteY4" fmla="*/ 85306 h 3726131"/>
                <a:gd name="connsiteX5" fmla="*/ 161488 w 2027922"/>
                <a:gd name="connsiteY5" fmla="*/ 249612 h 3726131"/>
                <a:gd name="connsiteX6" fmla="*/ 425807 w 2027922"/>
                <a:gd name="connsiteY6" fmla="*/ 668712 h 3726131"/>
                <a:gd name="connsiteX7" fmla="*/ 525820 w 2027922"/>
                <a:gd name="connsiteY7" fmla="*/ 687762 h 3726131"/>
                <a:gd name="connsiteX8" fmla="*/ 752038 w 2027922"/>
                <a:gd name="connsiteY8" fmla="*/ 790156 h 3726131"/>
                <a:gd name="connsiteX9" fmla="*/ 473432 w 2027922"/>
                <a:gd name="connsiteY9" fmla="*/ 1178299 h 3726131"/>
                <a:gd name="connsiteX10" fmla="*/ 421045 w 2027922"/>
                <a:gd name="connsiteY10" fmla="*/ 1656931 h 3726131"/>
                <a:gd name="connsiteX11" fmla="*/ 1047313 w 2027922"/>
                <a:gd name="connsiteY11" fmla="*/ 1718843 h 3726131"/>
                <a:gd name="connsiteX12" fmla="*/ 1116370 w 2027922"/>
                <a:gd name="connsiteY12" fmla="*/ 1461668 h 3726131"/>
                <a:gd name="connsiteX13" fmla="*/ 923488 w 2027922"/>
                <a:gd name="connsiteY13" fmla="*/ 954461 h 3726131"/>
                <a:gd name="connsiteX14" fmla="*/ 1033026 w 2027922"/>
                <a:gd name="connsiteY14" fmla="*/ 840160 h 3726131"/>
                <a:gd name="connsiteX15" fmla="*/ 1206857 w 2027922"/>
                <a:gd name="connsiteY15" fmla="*/ 756817 h 3726131"/>
                <a:gd name="connsiteX16" fmla="*/ 1335444 w 2027922"/>
                <a:gd name="connsiteY16" fmla="*/ 785392 h 3726131"/>
                <a:gd name="connsiteX17" fmla="*/ 1852176 w 2027922"/>
                <a:gd name="connsiteY17" fmla="*/ 313906 h 3726131"/>
                <a:gd name="connsiteX18" fmla="*/ 1850139 w 2027922"/>
                <a:gd name="connsiteY18" fmla="*/ 175792 h 3726131"/>
                <a:gd name="connsiteX19" fmla="*/ 1925993 w 2027922"/>
                <a:gd name="connsiteY19" fmla="*/ 125785 h 3726131"/>
                <a:gd name="connsiteX20" fmla="*/ 1971238 w 2027922"/>
                <a:gd name="connsiteY20" fmla="*/ 168649 h 3726131"/>
                <a:gd name="connsiteX21" fmla="*/ 2006957 w 2027922"/>
                <a:gd name="connsiteY21" fmla="*/ 218653 h 3726131"/>
                <a:gd name="connsiteX22" fmla="*/ 2021244 w 2027922"/>
                <a:gd name="connsiteY22" fmla="*/ 299616 h 3726131"/>
                <a:gd name="connsiteX23" fmla="*/ 1906944 w 2027922"/>
                <a:gd name="connsiteY23" fmla="*/ 440112 h 3726131"/>
                <a:gd name="connsiteX24" fmla="*/ 1933137 w 2027922"/>
                <a:gd name="connsiteY24" fmla="*/ 502023 h 3726131"/>
                <a:gd name="connsiteX25" fmla="*/ 1544994 w 2027922"/>
                <a:gd name="connsiteY25" fmla="*/ 949698 h 3726131"/>
                <a:gd name="connsiteX26" fmla="*/ 1318775 w 2027922"/>
                <a:gd name="connsiteY26" fmla="*/ 1094954 h 3726131"/>
                <a:gd name="connsiteX27" fmla="*/ 1544994 w 2027922"/>
                <a:gd name="connsiteY27" fmla="*/ 2021260 h 3726131"/>
                <a:gd name="connsiteX28" fmla="*/ 1085412 w 2027922"/>
                <a:gd name="connsiteY28" fmla="*/ 2018879 h 3726131"/>
                <a:gd name="connsiteX29" fmla="*/ 1129222 w 2027922"/>
                <a:gd name="connsiteY29" fmla="*/ 3690516 h 3726131"/>
                <a:gd name="connsiteX30" fmla="*/ 899506 w 2027922"/>
                <a:gd name="connsiteY30" fmla="*/ 3600887 h 3726131"/>
                <a:gd name="connsiteX31" fmla="*/ 817923 w 2027922"/>
                <a:gd name="connsiteY31" fmla="*/ 3577093 h 3726131"/>
                <a:gd name="connsiteX32" fmla="*/ 811125 w 2027922"/>
                <a:gd name="connsiteY32" fmla="*/ 3260961 h 3726131"/>
                <a:gd name="connsiteX33" fmla="*/ 794129 w 2027922"/>
                <a:gd name="connsiteY33" fmla="*/ 2798662 h 3726131"/>
                <a:gd name="connsiteX34" fmla="*/ 685352 w 2027922"/>
                <a:gd name="connsiteY34" fmla="*/ 2302371 h 3726131"/>
                <a:gd name="connsiteX35" fmla="*/ 617367 w 2027922"/>
                <a:gd name="connsiteY35" fmla="*/ 2805460 h 3726131"/>
                <a:gd name="connsiteX36" fmla="*/ 603771 w 2027922"/>
                <a:gd name="connsiteY36" fmla="*/ 3288155 h 3726131"/>
                <a:gd name="connsiteX37" fmla="*/ 607169 w 2027922"/>
                <a:gd name="connsiteY37" fmla="*/ 3512506 h 3726131"/>
                <a:gd name="connsiteX38" fmla="*/ 613968 w 2027922"/>
                <a:gd name="connsiteY38" fmla="*/ 3600886 h 3726131"/>
                <a:gd name="connsiteX39" fmla="*/ 545983 w 2027922"/>
                <a:gd name="connsiteY39" fmla="*/ 3638278 h 3726131"/>
                <a:gd name="connsiteX40" fmla="*/ 253852 w 2027922"/>
                <a:gd name="connsiteY40" fmla="*/ 3710912 h 3726131"/>
                <a:gd name="connsiteX41" fmla="*/ 376020 w 2027922"/>
                <a:gd name="connsiteY41" fmla="*/ 3512506 h 3726131"/>
                <a:gd name="connsiteX42" fmla="*/ 379419 w 2027922"/>
                <a:gd name="connsiteY42" fmla="*/ 3383335 h 3726131"/>
                <a:gd name="connsiteX43" fmla="*/ 384980 w 2027922"/>
                <a:gd name="connsiteY43" fmla="*/ 1920902 h 3726131"/>
                <a:gd name="connsiteX44" fmla="*/ 301981 w 2027922"/>
                <a:gd name="connsiteY44" fmla="*/ 1861716 h 3726131"/>
                <a:gd name="connsiteX45" fmla="*/ 351987 w 2027922"/>
                <a:gd name="connsiteY45" fmla="*/ 1523579 h 3726131"/>
                <a:gd name="connsiteX46" fmla="*/ 297218 w 2027922"/>
                <a:gd name="connsiteY46" fmla="*/ 1337841 h 3726131"/>
                <a:gd name="connsiteX47" fmla="*/ 409137 w 2027922"/>
                <a:gd name="connsiteY47" fmla="*/ 997323 h 3726131"/>
                <a:gd name="connsiteX48" fmla="*/ 128150 w 2027922"/>
                <a:gd name="connsiteY48" fmla="*/ 652041 h 3726131"/>
                <a:gd name="connsiteX49" fmla="*/ 9087 w 2027922"/>
                <a:gd name="connsiteY49" fmla="*/ 352004 h 3726131"/>
                <a:gd name="connsiteX50" fmla="*/ 59094 w 2027922"/>
                <a:gd name="connsiteY50" fmla="*/ 292473 h 3726131"/>
                <a:gd name="connsiteX51" fmla="*/ 11160 w 2027922"/>
                <a:gd name="connsiteY51" fmla="*/ 171030 h 3726131"/>
                <a:gd name="connsiteX0" fmla="*/ 11160 w 2027922"/>
                <a:gd name="connsiteY0" fmla="*/ 171030 h 3726131"/>
                <a:gd name="connsiteX1" fmla="*/ 30519 w 2027922"/>
                <a:gd name="connsiteY1" fmla="*/ 59110 h 3726131"/>
                <a:gd name="connsiteX2" fmla="*/ 75763 w 2027922"/>
                <a:gd name="connsiteY2" fmla="*/ 25773 h 3726131"/>
                <a:gd name="connsiteX3" fmla="*/ 113863 w 2027922"/>
                <a:gd name="connsiteY3" fmla="*/ 4342 h 3726131"/>
                <a:gd name="connsiteX4" fmla="*/ 197207 w 2027922"/>
                <a:gd name="connsiteY4" fmla="*/ 85306 h 3726131"/>
                <a:gd name="connsiteX5" fmla="*/ 161488 w 2027922"/>
                <a:gd name="connsiteY5" fmla="*/ 249612 h 3726131"/>
                <a:gd name="connsiteX6" fmla="*/ 425807 w 2027922"/>
                <a:gd name="connsiteY6" fmla="*/ 668712 h 3726131"/>
                <a:gd name="connsiteX7" fmla="*/ 525820 w 2027922"/>
                <a:gd name="connsiteY7" fmla="*/ 687762 h 3726131"/>
                <a:gd name="connsiteX8" fmla="*/ 752038 w 2027922"/>
                <a:gd name="connsiteY8" fmla="*/ 790156 h 3726131"/>
                <a:gd name="connsiteX9" fmla="*/ 473432 w 2027922"/>
                <a:gd name="connsiteY9" fmla="*/ 1178299 h 3726131"/>
                <a:gd name="connsiteX10" fmla="*/ 421045 w 2027922"/>
                <a:gd name="connsiteY10" fmla="*/ 1656931 h 3726131"/>
                <a:gd name="connsiteX11" fmla="*/ 1047313 w 2027922"/>
                <a:gd name="connsiteY11" fmla="*/ 1718843 h 3726131"/>
                <a:gd name="connsiteX12" fmla="*/ 1116370 w 2027922"/>
                <a:gd name="connsiteY12" fmla="*/ 1461668 h 3726131"/>
                <a:gd name="connsiteX13" fmla="*/ 923488 w 2027922"/>
                <a:gd name="connsiteY13" fmla="*/ 954461 h 3726131"/>
                <a:gd name="connsiteX14" fmla="*/ 1033026 w 2027922"/>
                <a:gd name="connsiteY14" fmla="*/ 840160 h 3726131"/>
                <a:gd name="connsiteX15" fmla="*/ 1206857 w 2027922"/>
                <a:gd name="connsiteY15" fmla="*/ 756817 h 3726131"/>
                <a:gd name="connsiteX16" fmla="*/ 1335444 w 2027922"/>
                <a:gd name="connsiteY16" fmla="*/ 785392 h 3726131"/>
                <a:gd name="connsiteX17" fmla="*/ 1852176 w 2027922"/>
                <a:gd name="connsiteY17" fmla="*/ 313906 h 3726131"/>
                <a:gd name="connsiteX18" fmla="*/ 1850139 w 2027922"/>
                <a:gd name="connsiteY18" fmla="*/ 175792 h 3726131"/>
                <a:gd name="connsiteX19" fmla="*/ 1925993 w 2027922"/>
                <a:gd name="connsiteY19" fmla="*/ 125785 h 3726131"/>
                <a:gd name="connsiteX20" fmla="*/ 1971238 w 2027922"/>
                <a:gd name="connsiteY20" fmla="*/ 168649 h 3726131"/>
                <a:gd name="connsiteX21" fmla="*/ 2006957 w 2027922"/>
                <a:gd name="connsiteY21" fmla="*/ 218653 h 3726131"/>
                <a:gd name="connsiteX22" fmla="*/ 2021244 w 2027922"/>
                <a:gd name="connsiteY22" fmla="*/ 299616 h 3726131"/>
                <a:gd name="connsiteX23" fmla="*/ 1906944 w 2027922"/>
                <a:gd name="connsiteY23" fmla="*/ 440112 h 3726131"/>
                <a:gd name="connsiteX24" fmla="*/ 1933137 w 2027922"/>
                <a:gd name="connsiteY24" fmla="*/ 502023 h 3726131"/>
                <a:gd name="connsiteX25" fmla="*/ 1544994 w 2027922"/>
                <a:gd name="connsiteY25" fmla="*/ 949698 h 3726131"/>
                <a:gd name="connsiteX26" fmla="*/ 1318775 w 2027922"/>
                <a:gd name="connsiteY26" fmla="*/ 1094954 h 3726131"/>
                <a:gd name="connsiteX27" fmla="*/ 1544994 w 2027922"/>
                <a:gd name="connsiteY27" fmla="*/ 2021260 h 3726131"/>
                <a:gd name="connsiteX28" fmla="*/ 1085412 w 2027922"/>
                <a:gd name="connsiteY28" fmla="*/ 2018879 h 3726131"/>
                <a:gd name="connsiteX29" fmla="*/ 1129222 w 2027922"/>
                <a:gd name="connsiteY29" fmla="*/ 3690516 h 3726131"/>
                <a:gd name="connsiteX30" fmla="*/ 899506 w 2027922"/>
                <a:gd name="connsiteY30" fmla="*/ 3600887 h 3726131"/>
                <a:gd name="connsiteX31" fmla="*/ 817923 w 2027922"/>
                <a:gd name="connsiteY31" fmla="*/ 3577093 h 3726131"/>
                <a:gd name="connsiteX32" fmla="*/ 811125 w 2027922"/>
                <a:gd name="connsiteY32" fmla="*/ 3260961 h 3726131"/>
                <a:gd name="connsiteX33" fmla="*/ 794129 w 2027922"/>
                <a:gd name="connsiteY33" fmla="*/ 2798662 h 3726131"/>
                <a:gd name="connsiteX34" fmla="*/ 685352 w 2027922"/>
                <a:gd name="connsiteY34" fmla="*/ 2302371 h 3726131"/>
                <a:gd name="connsiteX35" fmla="*/ 617367 w 2027922"/>
                <a:gd name="connsiteY35" fmla="*/ 2805460 h 3726131"/>
                <a:gd name="connsiteX36" fmla="*/ 603771 w 2027922"/>
                <a:gd name="connsiteY36" fmla="*/ 3288155 h 3726131"/>
                <a:gd name="connsiteX37" fmla="*/ 607169 w 2027922"/>
                <a:gd name="connsiteY37" fmla="*/ 3512506 h 3726131"/>
                <a:gd name="connsiteX38" fmla="*/ 613968 w 2027922"/>
                <a:gd name="connsiteY38" fmla="*/ 3600886 h 3726131"/>
                <a:gd name="connsiteX39" fmla="*/ 545983 w 2027922"/>
                <a:gd name="connsiteY39" fmla="*/ 3638278 h 3726131"/>
                <a:gd name="connsiteX40" fmla="*/ 253852 w 2027922"/>
                <a:gd name="connsiteY40" fmla="*/ 3710912 h 3726131"/>
                <a:gd name="connsiteX41" fmla="*/ 376020 w 2027922"/>
                <a:gd name="connsiteY41" fmla="*/ 3512506 h 3726131"/>
                <a:gd name="connsiteX42" fmla="*/ 379419 w 2027922"/>
                <a:gd name="connsiteY42" fmla="*/ 3383335 h 3726131"/>
                <a:gd name="connsiteX43" fmla="*/ 384980 w 2027922"/>
                <a:gd name="connsiteY43" fmla="*/ 1920902 h 3726131"/>
                <a:gd name="connsiteX44" fmla="*/ 301981 w 2027922"/>
                <a:gd name="connsiteY44" fmla="*/ 1861716 h 3726131"/>
                <a:gd name="connsiteX45" fmla="*/ 351987 w 2027922"/>
                <a:gd name="connsiteY45" fmla="*/ 1523579 h 3726131"/>
                <a:gd name="connsiteX46" fmla="*/ 297218 w 2027922"/>
                <a:gd name="connsiteY46" fmla="*/ 1337841 h 3726131"/>
                <a:gd name="connsiteX47" fmla="*/ 409137 w 2027922"/>
                <a:gd name="connsiteY47" fmla="*/ 997323 h 3726131"/>
                <a:gd name="connsiteX48" fmla="*/ 128150 w 2027922"/>
                <a:gd name="connsiteY48" fmla="*/ 652041 h 3726131"/>
                <a:gd name="connsiteX49" fmla="*/ 9087 w 2027922"/>
                <a:gd name="connsiteY49" fmla="*/ 352004 h 3726131"/>
                <a:gd name="connsiteX50" fmla="*/ 59094 w 2027922"/>
                <a:gd name="connsiteY50" fmla="*/ 292473 h 3726131"/>
                <a:gd name="connsiteX51" fmla="*/ 11160 w 2027922"/>
                <a:gd name="connsiteY51" fmla="*/ 171030 h 3726131"/>
                <a:gd name="connsiteX0" fmla="*/ 11160 w 2027922"/>
                <a:gd name="connsiteY0" fmla="*/ 171030 h 3726131"/>
                <a:gd name="connsiteX1" fmla="*/ 30519 w 2027922"/>
                <a:gd name="connsiteY1" fmla="*/ 59110 h 3726131"/>
                <a:gd name="connsiteX2" fmla="*/ 75763 w 2027922"/>
                <a:gd name="connsiteY2" fmla="*/ 25773 h 3726131"/>
                <a:gd name="connsiteX3" fmla="*/ 113863 w 2027922"/>
                <a:gd name="connsiteY3" fmla="*/ 4342 h 3726131"/>
                <a:gd name="connsiteX4" fmla="*/ 197207 w 2027922"/>
                <a:gd name="connsiteY4" fmla="*/ 85306 h 3726131"/>
                <a:gd name="connsiteX5" fmla="*/ 161488 w 2027922"/>
                <a:gd name="connsiteY5" fmla="*/ 249612 h 3726131"/>
                <a:gd name="connsiteX6" fmla="*/ 425807 w 2027922"/>
                <a:gd name="connsiteY6" fmla="*/ 668712 h 3726131"/>
                <a:gd name="connsiteX7" fmla="*/ 525820 w 2027922"/>
                <a:gd name="connsiteY7" fmla="*/ 687762 h 3726131"/>
                <a:gd name="connsiteX8" fmla="*/ 752038 w 2027922"/>
                <a:gd name="connsiteY8" fmla="*/ 790156 h 3726131"/>
                <a:gd name="connsiteX9" fmla="*/ 473432 w 2027922"/>
                <a:gd name="connsiteY9" fmla="*/ 1178299 h 3726131"/>
                <a:gd name="connsiteX10" fmla="*/ 421045 w 2027922"/>
                <a:gd name="connsiteY10" fmla="*/ 1656931 h 3726131"/>
                <a:gd name="connsiteX11" fmla="*/ 1047313 w 2027922"/>
                <a:gd name="connsiteY11" fmla="*/ 1718843 h 3726131"/>
                <a:gd name="connsiteX12" fmla="*/ 1116370 w 2027922"/>
                <a:gd name="connsiteY12" fmla="*/ 1461668 h 3726131"/>
                <a:gd name="connsiteX13" fmla="*/ 923488 w 2027922"/>
                <a:gd name="connsiteY13" fmla="*/ 954461 h 3726131"/>
                <a:gd name="connsiteX14" fmla="*/ 1033026 w 2027922"/>
                <a:gd name="connsiteY14" fmla="*/ 840160 h 3726131"/>
                <a:gd name="connsiteX15" fmla="*/ 1206857 w 2027922"/>
                <a:gd name="connsiteY15" fmla="*/ 756817 h 3726131"/>
                <a:gd name="connsiteX16" fmla="*/ 1335444 w 2027922"/>
                <a:gd name="connsiteY16" fmla="*/ 785392 h 3726131"/>
                <a:gd name="connsiteX17" fmla="*/ 1852176 w 2027922"/>
                <a:gd name="connsiteY17" fmla="*/ 313906 h 3726131"/>
                <a:gd name="connsiteX18" fmla="*/ 1850139 w 2027922"/>
                <a:gd name="connsiteY18" fmla="*/ 175792 h 3726131"/>
                <a:gd name="connsiteX19" fmla="*/ 1925993 w 2027922"/>
                <a:gd name="connsiteY19" fmla="*/ 125785 h 3726131"/>
                <a:gd name="connsiteX20" fmla="*/ 1971238 w 2027922"/>
                <a:gd name="connsiteY20" fmla="*/ 168649 h 3726131"/>
                <a:gd name="connsiteX21" fmla="*/ 2006957 w 2027922"/>
                <a:gd name="connsiteY21" fmla="*/ 218653 h 3726131"/>
                <a:gd name="connsiteX22" fmla="*/ 2021244 w 2027922"/>
                <a:gd name="connsiteY22" fmla="*/ 299616 h 3726131"/>
                <a:gd name="connsiteX23" fmla="*/ 1906944 w 2027922"/>
                <a:gd name="connsiteY23" fmla="*/ 440112 h 3726131"/>
                <a:gd name="connsiteX24" fmla="*/ 1933137 w 2027922"/>
                <a:gd name="connsiteY24" fmla="*/ 502023 h 3726131"/>
                <a:gd name="connsiteX25" fmla="*/ 1544994 w 2027922"/>
                <a:gd name="connsiteY25" fmla="*/ 949698 h 3726131"/>
                <a:gd name="connsiteX26" fmla="*/ 1318775 w 2027922"/>
                <a:gd name="connsiteY26" fmla="*/ 1094954 h 3726131"/>
                <a:gd name="connsiteX27" fmla="*/ 1544994 w 2027922"/>
                <a:gd name="connsiteY27" fmla="*/ 2021260 h 3726131"/>
                <a:gd name="connsiteX28" fmla="*/ 1085412 w 2027922"/>
                <a:gd name="connsiteY28" fmla="*/ 2018879 h 3726131"/>
                <a:gd name="connsiteX29" fmla="*/ 1129222 w 2027922"/>
                <a:gd name="connsiteY29" fmla="*/ 3690516 h 3726131"/>
                <a:gd name="connsiteX30" fmla="*/ 899506 w 2027922"/>
                <a:gd name="connsiteY30" fmla="*/ 3600887 h 3726131"/>
                <a:gd name="connsiteX31" fmla="*/ 817923 w 2027922"/>
                <a:gd name="connsiteY31" fmla="*/ 3577093 h 3726131"/>
                <a:gd name="connsiteX32" fmla="*/ 811125 w 2027922"/>
                <a:gd name="connsiteY32" fmla="*/ 3260961 h 3726131"/>
                <a:gd name="connsiteX33" fmla="*/ 794129 w 2027922"/>
                <a:gd name="connsiteY33" fmla="*/ 2798662 h 3726131"/>
                <a:gd name="connsiteX34" fmla="*/ 685352 w 2027922"/>
                <a:gd name="connsiteY34" fmla="*/ 2302371 h 3726131"/>
                <a:gd name="connsiteX35" fmla="*/ 617367 w 2027922"/>
                <a:gd name="connsiteY35" fmla="*/ 2805460 h 3726131"/>
                <a:gd name="connsiteX36" fmla="*/ 603771 w 2027922"/>
                <a:gd name="connsiteY36" fmla="*/ 3288155 h 3726131"/>
                <a:gd name="connsiteX37" fmla="*/ 607169 w 2027922"/>
                <a:gd name="connsiteY37" fmla="*/ 3512506 h 3726131"/>
                <a:gd name="connsiteX38" fmla="*/ 613968 w 2027922"/>
                <a:gd name="connsiteY38" fmla="*/ 3600886 h 3726131"/>
                <a:gd name="connsiteX39" fmla="*/ 545983 w 2027922"/>
                <a:gd name="connsiteY39" fmla="*/ 3638278 h 3726131"/>
                <a:gd name="connsiteX40" fmla="*/ 253852 w 2027922"/>
                <a:gd name="connsiteY40" fmla="*/ 3710912 h 3726131"/>
                <a:gd name="connsiteX41" fmla="*/ 376020 w 2027922"/>
                <a:gd name="connsiteY41" fmla="*/ 3512506 h 3726131"/>
                <a:gd name="connsiteX42" fmla="*/ 379419 w 2027922"/>
                <a:gd name="connsiteY42" fmla="*/ 3383335 h 3726131"/>
                <a:gd name="connsiteX43" fmla="*/ 384980 w 2027922"/>
                <a:gd name="connsiteY43" fmla="*/ 1920902 h 3726131"/>
                <a:gd name="connsiteX44" fmla="*/ 301981 w 2027922"/>
                <a:gd name="connsiteY44" fmla="*/ 1861716 h 3726131"/>
                <a:gd name="connsiteX45" fmla="*/ 351987 w 2027922"/>
                <a:gd name="connsiteY45" fmla="*/ 1523579 h 3726131"/>
                <a:gd name="connsiteX46" fmla="*/ 297218 w 2027922"/>
                <a:gd name="connsiteY46" fmla="*/ 1337841 h 3726131"/>
                <a:gd name="connsiteX47" fmla="*/ 409137 w 2027922"/>
                <a:gd name="connsiteY47" fmla="*/ 997323 h 3726131"/>
                <a:gd name="connsiteX48" fmla="*/ 128150 w 2027922"/>
                <a:gd name="connsiteY48" fmla="*/ 652041 h 3726131"/>
                <a:gd name="connsiteX49" fmla="*/ 9087 w 2027922"/>
                <a:gd name="connsiteY49" fmla="*/ 352004 h 3726131"/>
                <a:gd name="connsiteX50" fmla="*/ 59094 w 2027922"/>
                <a:gd name="connsiteY50" fmla="*/ 292473 h 3726131"/>
                <a:gd name="connsiteX51" fmla="*/ 11160 w 2027922"/>
                <a:gd name="connsiteY51" fmla="*/ 171030 h 3726131"/>
                <a:gd name="connsiteX0" fmla="*/ 11160 w 2027922"/>
                <a:gd name="connsiteY0" fmla="*/ 171030 h 3726131"/>
                <a:gd name="connsiteX1" fmla="*/ 30519 w 2027922"/>
                <a:gd name="connsiteY1" fmla="*/ 59110 h 3726131"/>
                <a:gd name="connsiteX2" fmla="*/ 75763 w 2027922"/>
                <a:gd name="connsiteY2" fmla="*/ 25773 h 3726131"/>
                <a:gd name="connsiteX3" fmla="*/ 113863 w 2027922"/>
                <a:gd name="connsiteY3" fmla="*/ 4342 h 3726131"/>
                <a:gd name="connsiteX4" fmla="*/ 197207 w 2027922"/>
                <a:gd name="connsiteY4" fmla="*/ 85306 h 3726131"/>
                <a:gd name="connsiteX5" fmla="*/ 161488 w 2027922"/>
                <a:gd name="connsiteY5" fmla="*/ 249612 h 3726131"/>
                <a:gd name="connsiteX6" fmla="*/ 425807 w 2027922"/>
                <a:gd name="connsiteY6" fmla="*/ 668712 h 3726131"/>
                <a:gd name="connsiteX7" fmla="*/ 525820 w 2027922"/>
                <a:gd name="connsiteY7" fmla="*/ 687762 h 3726131"/>
                <a:gd name="connsiteX8" fmla="*/ 752038 w 2027922"/>
                <a:gd name="connsiteY8" fmla="*/ 790156 h 3726131"/>
                <a:gd name="connsiteX9" fmla="*/ 473432 w 2027922"/>
                <a:gd name="connsiteY9" fmla="*/ 1178299 h 3726131"/>
                <a:gd name="connsiteX10" fmla="*/ 421045 w 2027922"/>
                <a:gd name="connsiteY10" fmla="*/ 1656931 h 3726131"/>
                <a:gd name="connsiteX11" fmla="*/ 1047313 w 2027922"/>
                <a:gd name="connsiteY11" fmla="*/ 1718843 h 3726131"/>
                <a:gd name="connsiteX12" fmla="*/ 1116370 w 2027922"/>
                <a:gd name="connsiteY12" fmla="*/ 1461668 h 3726131"/>
                <a:gd name="connsiteX13" fmla="*/ 923488 w 2027922"/>
                <a:gd name="connsiteY13" fmla="*/ 954461 h 3726131"/>
                <a:gd name="connsiteX14" fmla="*/ 1033026 w 2027922"/>
                <a:gd name="connsiteY14" fmla="*/ 840160 h 3726131"/>
                <a:gd name="connsiteX15" fmla="*/ 1206857 w 2027922"/>
                <a:gd name="connsiteY15" fmla="*/ 756817 h 3726131"/>
                <a:gd name="connsiteX16" fmla="*/ 1335444 w 2027922"/>
                <a:gd name="connsiteY16" fmla="*/ 785392 h 3726131"/>
                <a:gd name="connsiteX17" fmla="*/ 1852176 w 2027922"/>
                <a:gd name="connsiteY17" fmla="*/ 313906 h 3726131"/>
                <a:gd name="connsiteX18" fmla="*/ 1850139 w 2027922"/>
                <a:gd name="connsiteY18" fmla="*/ 175792 h 3726131"/>
                <a:gd name="connsiteX19" fmla="*/ 1925993 w 2027922"/>
                <a:gd name="connsiteY19" fmla="*/ 125785 h 3726131"/>
                <a:gd name="connsiteX20" fmla="*/ 1971238 w 2027922"/>
                <a:gd name="connsiteY20" fmla="*/ 168649 h 3726131"/>
                <a:gd name="connsiteX21" fmla="*/ 2006957 w 2027922"/>
                <a:gd name="connsiteY21" fmla="*/ 218653 h 3726131"/>
                <a:gd name="connsiteX22" fmla="*/ 2021244 w 2027922"/>
                <a:gd name="connsiteY22" fmla="*/ 299616 h 3726131"/>
                <a:gd name="connsiteX23" fmla="*/ 1906944 w 2027922"/>
                <a:gd name="connsiteY23" fmla="*/ 440112 h 3726131"/>
                <a:gd name="connsiteX24" fmla="*/ 1933137 w 2027922"/>
                <a:gd name="connsiteY24" fmla="*/ 502023 h 3726131"/>
                <a:gd name="connsiteX25" fmla="*/ 1544994 w 2027922"/>
                <a:gd name="connsiteY25" fmla="*/ 949698 h 3726131"/>
                <a:gd name="connsiteX26" fmla="*/ 1318775 w 2027922"/>
                <a:gd name="connsiteY26" fmla="*/ 1094954 h 3726131"/>
                <a:gd name="connsiteX27" fmla="*/ 1544994 w 2027922"/>
                <a:gd name="connsiteY27" fmla="*/ 2021260 h 3726131"/>
                <a:gd name="connsiteX28" fmla="*/ 1085412 w 2027922"/>
                <a:gd name="connsiteY28" fmla="*/ 2018879 h 3726131"/>
                <a:gd name="connsiteX29" fmla="*/ 1129222 w 2027922"/>
                <a:gd name="connsiteY29" fmla="*/ 3690516 h 3726131"/>
                <a:gd name="connsiteX30" fmla="*/ 899506 w 2027922"/>
                <a:gd name="connsiteY30" fmla="*/ 3600887 h 3726131"/>
                <a:gd name="connsiteX31" fmla="*/ 817923 w 2027922"/>
                <a:gd name="connsiteY31" fmla="*/ 3577093 h 3726131"/>
                <a:gd name="connsiteX32" fmla="*/ 811125 w 2027922"/>
                <a:gd name="connsiteY32" fmla="*/ 3260961 h 3726131"/>
                <a:gd name="connsiteX33" fmla="*/ 794129 w 2027922"/>
                <a:gd name="connsiteY33" fmla="*/ 2798662 h 3726131"/>
                <a:gd name="connsiteX34" fmla="*/ 685352 w 2027922"/>
                <a:gd name="connsiteY34" fmla="*/ 2302371 h 3726131"/>
                <a:gd name="connsiteX35" fmla="*/ 617367 w 2027922"/>
                <a:gd name="connsiteY35" fmla="*/ 2805460 h 3726131"/>
                <a:gd name="connsiteX36" fmla="*/ 603771 w 2027922"/>
                <a:gd name="connsiteY36" fmla="*/ 3288155 h 3726131"/>
                <a:gd name="connsiteX37" fmla="*/ 607169 w 2027922"/>
                <a:gd name="connsiteY37" fmla="*/ 3512506 h 3726131"/>
                <a:gd name="connsiteX38" fmla="*/ 613968 w 2027922"/>
                <a:gd name="connsiteY38" fmla="*/ 3600886 h 3726131"/>
                <a:gd name="connsiteX39" fmla="*/ 545983 w 2027922"/>
                <a:gd name="connsiteY39" fmla="*/ 3638278 h 3726131"/>
                <a:gd name="connsiteX40" fmla="*/ 253852 w 2027922"/>
                <a:gd name="connsiteY40" fmla="*/ 3710912 h 3726131"/>
                <a:gd name="connsiteX41" fmla="*/ 376020 w 2027922"/>
                <a:gd name="connsiteY41" fmla="*/ 3512506 h 3726131"/>
                <a:gd name="connsiteX42" fmla="*/ 379419 w 2027922"/>
                <a:gd name="connsiteY42" fmla="*/ 3383335 h 3726131"/>
                <a:gd name="connsiteX43" fmla="*/ 384980 w 2027922"/>
                <a:gd name="connsiteY43" fmla="*/ 1920902 h 3726131"/>
                <a:gd name="connsiteX44" fmla="*/ 301981 w 2027922"/>
                <a:gd name="connsiteY44" fmla="*/ 1861716 h 3726131"/>
                <a:gd name="connsiteX45" fmla="*/ 351987 w 2027922"/>
                <a:gd name="connsiteY45" fmla="*/ 1523579 h 3726131"/>
                <a:gd name="connsiteX46" fmla="*/ 297218 w 2027922"/>
                <a:gd name="connsiteY46" fmla="*/ 1337841 h 3726131"/>
                <a:gd name="connsiteX47" fmla="*/ 409137 w 2027922"/>
                <a:gd name="connsiteY47" fmla="*/ 997323 h 3726131"/>
                <a:gd name="connsiteX48" fmla="*/ 128150 w 2027922"/>
                <a:gd name="connsiteY48" fmla="*/ 652041 h 3726131"/>
                <a:gd name="connsiteX49" fmla="*/ 9087 w 2027922"/>
                <a:gd name="connsiteY49" fmla="*/ 352004 h 3726131"/>
                <a:gd name="connsiteX50" fmla="*/ 59094 w 2027922"/>
                <a:gd name="connsiteY50" fmla="*/ 292473 h 3726131"/>
                <a:gd name="connsiteX51" fmla="*/ 11160 w 2027922"/>
                <a:gd name="connsiteY51" fmla="*/ 171030 h 3726131"/>
                <a:gd name="connsiteX0" fmla="*/ 11160 w 2027922"/>
                <a:gd name="connsiteY0" fmla="*/ 171030 h 3726131"/>
                <a:gd name="connsiteX1" fmla="*/ 30519 w 2027922"/>
                <a:gd name="connsiteY1" fmla="*/ 59110 h 3726131"/>
                <a:gd name="connsiteX2" fmla="*/ 75763 w 2027922"/>
                <a:gd name="connsiteY2" fmla="*/ 25773 h 3726131"/>
                <a:gd name="connsiteX3" fmla="*/ 113863 w 2027922"/>
                <a:gd name="connsiteY3" fmla="*/ 4342 h 3726131"/>
                <a:gd name="connsiteX4" fmla="*/ 197207 w 2027922"/>
                <a:gd name="connsiteY4" fmla="*/ 85306 h 3726131"/>
                <a:gd name="connsiteX5" fmla="*/ 161488 w 2027922"/>
                <a:gd name="connsiteY5" fmla="*/ 249612 h 3726131"/>
                <a:gd name="connsiteX6" fmla="*/ 425807 w 2027922"/>
                <a:gd name="connsiteY6" fmla="*/ 668712 h 3726131"/>
                <a:gd name="connsiteX7" fmla="*/ 525820 w 2027922"/>
                <a:gd name="connsiteY7" fmla="*/ 687762 h 3726131"/>
                <a:gd name="connsiteX8" fmla="*/ 752038 w 2027922"/>
                <a:gd name="connsiteY8" fmla="*/ 790156 h 3726131"/>
                <a:gd name="connsiteX9" fmla="*/ 473432 w 2027922"/>
                <a:gd name="connsiteY9" fmla="*/ 1178299 h 3726131"/>
                <a:gd name="connsiteX10" fmla="*/ 421045 w 2027922"/>
                <a:gd name="connsiteY10" fmla="*/ 1656931 h 3726131"/>
                <a:gd name="connsiteX11" fmla="*/ 1047313 w 2027922"/>
                <a:gd name="connsiteY11" fmla="*/ 1718843 h 3726131"/>
                <a:gd name="connsiteX12" fmla="*/ 1116370 w 2027922"/>
                <a:gd name="connsiteY12" fmla="*/ 1461668 h 3726131"/>
                <a:gd name="connsiteX13" fmla="*/ 923488 w 2027922"/>
                <a:gd name="connsiteY13" fmla="*/ 954461 h 3726131"/>
                <a:gd name="connsiteX14" fmla="*/ 1033026 w 2027922"/>
                <a:gd name="connsiteY14" fmla="*/ 840160 h 3726131"/>
                <a:gd name="connsiteX15" fmla="*/ 1206857 w 2027922"/>
                <a:gd name="connsiteY15" fmla="*/ 756817 h 3726131"/>
                <a:gd name="connsiteX16" fmla="*/ 1335444 w 2027922"/>
                <a:gd name="connsiteY16" fmla="*/ 785392 h 3726131"/>
                <a:gd name="connsiteX17" fmla="*/ 1852176 w 2027922"/>
                <a:gd name="connsiteY17" fmla="*/ 313906 h 3726131"/>
                <a:gd name="connsiteX18" fmla="*/ 1850139 w 2027922"/>
                <a:gd name="connsiteY18" fmla="*/ 175792 h 3726131"/>
                <a:gd name="connsiteX19" fmla="*/ 1925993 w 2027922"/>
                <a:gd name="connsiteY19" fmla="*/ 125785 h 3726131"/>
                <a:gd name="connsiteX20" fmla="*/ 1971238 w 2027922"/>
                <a:gd name="connsiteY20" fmla="*/ 168649 h 3726131"/>
                <a:gd name="connsiteX21" fmla="*/ 2006957 w 2027922"/>
                <a:gd name="connsiteY21" fmla="*/ 218653 h 3726131"/>
                <a:gd name="connsiteX22" fmla="*/ 2021244 w 2027922"/>
                <a:gd name="connsiteY22" fmla="*/ 299616 h 3726131"/>
                <a:gd name="connsiteX23" fmla="*/ 1906944 w 2027922"/>
                <a:gd name="connsiteY23" fmla="*/ 440112 h 3726131"/>
                <a:gd name="connsiteX24" fmla="*/ 1933137 w 2027922"/>
                <a:gd name="connsiteY24" fmla="*/ 502023 h 3726131"/>
                <a:gd name="connsiteX25" fmla="*/ 1544994 w 2027922"/>
                <a:gd name="connsiteY25" fmla="*/ 949698 h 3726131"/>
                <a:gd name="connsiteX26" fmla="*/ 1318775 w 2027922"/>
                <a:gd name="connsiteY26" fmla="*/ 1094954 h 3726131"/>
                <a:gd name="connsiteX27" fmla="*/ 1544994 w 2027922"/>
                <a:gd name="connsiteY27" fmla="*/ 2021260 h 3726131"/>
                <a:gd name="connsiteX28" fmla="*/ 1085412 w 2027922"/>
                <a:gd name="connsiteY28" fmla="*/ 2018879 h 3726131"/>
                <a:gd name="connsiteX29" fmla="*/ 1129222 w 2027922"/>
                <a:gd name="connsiteY29" fmla="*/ 3690516 h 3726131"/>
                <a:gd name="connsiteX30" fmla="*/ 899506 w 2027922"/>
                <a:gd name="connsiteY30" fmla="*/ 3600887 h 3726131"/>
                <a:gd name="connsiteX31" fmla="*/ 817923 w 2027922"/>
                <a:gd name="connsiteY31" fmla="*/ 3577093 h 3726131"/>
                <a:gd name="connsiteX32" fmla="*/ 811125 w 2027922"/>
                <a:gd name="connsiteY32" fmla="*/ 3260961 h 3726131"/>
                <a:gd name="connsiteX33" fmla="*/ 794129 w 2027922"/>
                <a:gd name="connsiteY33" fmla="*/ 2798662 h 3726131"/>
                <a:gd name="connsiteX34" fmla="*/ 685352 w 2027922"/>
                <a:gd name="connsiteY34" fmla="*/ 2302371 h 3726131"/>
                <a:gd name="connsiteX35" fmla="*/ 617367 w 2027922"/>
                <a:gd name="connsiteY35" fmla="*/ 2805460 h 3726131"/>
                <a:gd name="connsiteX36" fmla="*/ 603771 w 2027922"/>
                <a:gd name="connsiteY36" fmla="*/ 3288155 h 3726131"/>
                <a:gd name="connsiteX37" fmla="*/ 607169 w 2027922"/>
                <a:gd name="connsiteY37" fmla="*/ 3512506 h 3726131"/>
                <a:gd name="connsiteX38" fmla="*/ 613968 w 2027922"/>
                <a:gd name="connsiteY38" fmla="*/ 3600886 h 3726131"/>
                <a:gd name="connsiteX39" fmla="*/ 545983 w 2027922"/>
                <a:gd name="connsiteY39" fmla="*/ 3638278 h 3726131"/>
                <a:gd name="connsiteX40" fmla="*/ 253852 w 2027922"/>
                <a:gd name="connsiteY40" fmla="*/ 3710912 h 3726131"/>
                <a:gd name="connsiteX41" fmla="*/ 376020 w 2027922"/>
                <a:gd name="connsiteY41" fmla="*/ 3512506 h 3726131"/>
                <a:gd name="connsiteX42" fmla="*/ 379419 w 2027922"/>
                <a:gd name="connsiteY42" fmla="*/ 3383335 h 3726131"/>
                <a:gd name="connsiteX43" fmla="*/ 384980 w 2027922"/>
                <a:gd name="connsiteY43" fmla="*/ 1920902 h 3726131"/>
                <a:gd name="connsiteX44" fmla="*/ 301981 w 2027922"/>
                <a:gd name="connsiteY44" fmla="*/ 1861716 h 3726131"/>
                <a:gd name="connsiteX45" fmla="*/ 351987 w 2027922"/>
                <a:gd name="connsiteY45" fmla="*/ 1523579 h 3726131"/>
                <a:gd name="connsiteX46" fmla="*/ 297218 w 2027922"/>
                <a:gd name="connsiteY46" fmla="*/ 1337841 h 3726131"/>
                <a:gd name="connsiteX47" fmla="*/ 409137 w 2027922"/>
                <a:gd name="connsiteY47" fmla="*/ 997323 h 3726131"/>
                <a:gd name="connsiteX48" fmla="*/ 128150 w 2027922"/>
                <a:gd name="connsiteY48" fmla="*/ 652041 h 3726131"/>
                <a:gd name="connsiteX49" fmla="*/ 9087 w 2027922"/>
                <a:gd name="connsiteY49" fmla="*/ 352004 h 3726131"/>
                <a:gd name="connsiteX50" fmla="*/ 59094 w 2027922"/>
                <a:gd name="connsiteY50" fmla="*/ 292473 h 3726131"/>
                <a:gd name="connsiteX51" fmla="*/ 11160 w 2027922"/>
                <a:gd name="connsiteY51" fmla="*/ 171030 h 3726131"/>
                <a:gd name="connsiteX0" fmla="*/ 11160 w 2027922"/>
                <a:gd name="connsiteY0" fmla="*/ 171030 h 3726131"/>
                <a:gd name="connsiteX1" fmla="*/ 30519 w 2027922"/>
                <a:gd name="connsiteY1" fmla="*/ 59110 h 3726131"/>
                <a:gd name="connsiteX2" fmla="*/ 75763 w 2027922"/>
                <a:gd name="connsiteY2" fmla="*/ 25773 h 3726131"/>
                <a:gd name="connsiteX3" fmla="*/ 113863 w 2027922"/>
                <a:gd name="connsiteY3" fmla="*/ 4342 h 3726131"/>
                <a:gd name="connsiteX4" fmla="*/ 197207 w 2027922"/>
                <a:gd name="connsiteY4" fmla="*/ 85306 h 3726131"/>
                <a:gd name="connsiteX5" fmla="*/ 161488 w 2027922"/>
                <a:gd name="connsiteY5" fmla="*/ 249612 h 3726131"/>
                <a:gd name="connsiteX6" fmla="*/ 425807 w 2027922"/>
                <a:gd name="connsiteY6" fmla="*/ 668712 h 3726131"/>
                <a:gd name="connsiteX7" fmla="*/ 525820 w 2027922"/>
                <a:gd name="connsiteY7" fmla="*/ 687762 h 3726131"/>
                <a:gd name="connsiteX8" fmla="*/ 752038 w 2027922"/>
                <a:gd name="connsiteY8" fmla="*/ 790156 h 3726131"/>
                <a:gd name="connsiteX9" fmla="*/ 473432 w 2027922"/>
                <a:gd name="connsiteY9" fmla="*/ 1178299 h 3726131"/>
                <a:gd name="connsiteX10" fmla="*/ 421045 w 2027922"/>
                <a:gd name="connsiteY10" fmla="*/ 1656931 h 3726131"/>
                <a:gd name="connsiteX11" fmla="*/ 1047313 w 2027922"/>
                <a:gd name="connsiteY11" fmla="*/ 1718843 h 3726131"/>
                <a:gd name="connsiteX12" fmla="*/ 1116370 w 2027922"/>
                <a:gd name="connsiteY12" fmla="*/ 1461668 h 3726131"/>
                <a:gd name="connsiteX13" fmla="*/ 923488 w 2027922"/>
                <a:gd name="connsiteY13" fmla="*/ 954461 h 3726131"/>
                <a:gd name="connsiteX14" fmla="*/ 1033026 w 2027922"/>
                <a:gd name="connsiteY14" fmla="*/ 840160 h 3726131"/>
                <a:gd name="connsiteX15" fmla="*/ 1206857 w 2027922"/>
                <a:gd name="connsiteY15" fmla="*/ 756817 h 3726131"/>
                <a:gd name="connsiteX16" fmla="*/ 1335444 w 2027922"/>
                <a:gd name="connsiteY16" fmla="*/ 785392 h 3726131"/>
                <a:gd name="connsiteX17" fmla="*/ 1852176 w 2027922"/>
                <a:gd name="connsiteY17" fmla="*/ 313906 h 3726131"/>
                <a:gd name="connsiteX18" fmla="*/ 1850139 w 2027922"/>
                <a:gd name="connsiteY18" fmla="*/ 175792 h 3726131"/>
                <a:gd name="connsiteX19" fmla="*/ 1925993 w 2027922"/>
                <a:gd name="connsiteY19" fmla="*/ 125785 h 3726131"/>
                <a:gd name="connsiteX20" fmla="*/ 1971238 w 2027922"/>
                <a:gd name="connsiteY20" fmla="*/ 168649 h 3726131"/>
                <a:gd name="connsiteX21" fmla="*/ 2006957 w 2027922"/>
                <a:gd name="connsiteY21" fmla="*/ 218653 h 3726131"/>
                <a:gd name="connsiteX22" fmla="*/ 2021244 w 2027922"/>
                <a:gd name="connsiteY22" fmla="*/ 299616 h 3726131"/>
                <a:gd name="connsiteX23" fmla="*/ 1906944 w 2027922"/>
                <a:gd name="connsiteY23" fmla="*/ 440112 h 3726131"/>
                <a:gd name="connsiteX24" fmla="*/ 1933137 w 2027922"/>
                <a:gd name="connsiteY24" fmla="*/ 502023 h 3726131"/>
                <a:gd name="connsiteX25" fmla="*/ 1544994 w 2027922"/>
                <a:gd name="connsiteY25" fmla="*/ 949698 h 3726131"/>
                <a:gd name="connsiteX26" fmla="*/ 1318775 w 2027922"/>
                <a:gd name="connsiteY26" fmla="*/ 1094954 h 3726131"/>
                <a:gd name="connsiteX27" fmla="*/ 1544994 w 2027922"/>
                <a:gd name="connsiteY27" fmla="*/ 2021260 h 3726131"/>
                <a:gd name="connsiteX28" fmla="*/ 1085412 w 2027922"/>
                <a:gd name="connsiteY28" fmla="*/ 2018879 h 3726131"/>
                <a:gd name="connsiteX29" fmla="*/ 1129222 w 2027922"/>
                <a:gd name="connsiteY29" fmla="*/ 3690516 h 3726131"/>
                <a:gd name="connsiteX30" fmla="*/ 899506 w 2027922"/>
                <a:gd name="connsiteY30" fmla="*/ 3600887 h 3726131"/>
                <a:gd name="connsiteX31" fmla="*/ 817923 w 2027922"/>
                <a:gd name="connsiteY31" fmla="*/ 3577093 h 3726131"/>
                <a:gd name="connsiteX32" fmla="*/ 811125 w 2027922"/>
                <a:gd name="connsiteY32" fmla="*/ 3260961 h 3726131"/>
                <a:gd name="connsiteX33" fmla="*/ 794129 w 2027922"/>
                <a:gd name="connsiteY33" fmla="*/ 2798662 h 3726131"/>
                <a:gd name="connsiteX34" fmla="*/ 685352 w 2027922"/>
                <a:gd name="connsiteY34" fmla="*/ 2302371 h 3726131"/>
                <a:gd name="connsiteX35" fmla="*/ 617367 w 2027922"/>
                <a:gd name="connsiteY35" fmla="*/ 2805460 h 3726131"/>
                <a:gd name="connsiteX36" fmla="*/ 603771 w 2027922"/>
                <a:gd name="connsiteY36" fmla="*/ 3288155 h 3726131"/>
                <a:gd name="connsiteX37" fmla="*/ 607169 w 2027922"/>
                <a:gd name="connsiteY37" fmla="*/ 3512506 h 3726131"/>
                <a:gd name="connsiteX38" fmla="*/ 613968 w 2027922"/>
                <a:gd name="connsiteY38" fmla="*/ 3600886 h 3726131"/>
                <a:gd name="connsiteX39" fmla="*/ 545983 w 2027922"/>
                <a:gd name="connsiteY39" fmla="*/ 3638278 h 3726131"/>
                <a:gd name="connsiteX40" fmla="*/ 253852 w 2027922"/>
                <a:gd name="connsiteY40" fmla="*/ 3710912 h 3726131"/>
                <a:gd name="connsiteX41" fmla="*/ 376020 w 2027922"/>
                <a:gd name="connsiteY41" fmla="*/ 3512506 h 3726131"/>
                <a:gd name="connsiteX42" fmla="*/ 379419 w 2027922"/>
                <a:gd name="connsiteY42" fmla="*/ 3383335 h 3726131"/>
                <a:gd name="connsiteX43" fmla="*/ 384980 w 2027922"/>
                <a:gd name="connsiteY43" fmla="*/ 1920902 h 3726131"/>
                <a:gd name="connsiteX44" fmla="*/ 301981 w 2027922"/>
                <a:gd name="connsiteY44" fmla="*/ 1861716 h 3726131"/>
                <a:gd name="connsiteX45" fmla="*/ 351987 w 2027922"/>
                <a:gd name="connsiteY45" fmla="*/ 1523579 h 3726131"/>
                <a:gd name="connsiteX46" fmla="*/ 297218 w 2027922"/>
                <a:gd name="connsiteY46" fmla="*/ 1337841 h 3726131"/>
                <a:gd name="connsiteX47" fmla="*/ 409137 w 2027922"/>
                <a:gd name="connsiteY47" fmla="*/ 997323 h 3726131"/>
                <a:gd name="connsiteX48" fmla="*/ 128150 w 2027922"/>
                <a:gd name="connsiteY48" fmla="*/ 652041 h 3726131"/>
                <a:gd name="connsiteX49" fmla="*/ 9087 w 2027922"/>
                <a:gd name="connsiteY49" fmla="*/ 352004 h 3726131"/>
                <a:gd name="connsiteX50" fmla="*/ 59094 w 2027922"/>
                <a:gd name="connsiteY50" fmla="*/ 292473 h 3726131"/>
                <a:gd name="connsiteX51" fmla="*/ 11160 w 2027922"/>
                <a:gd name="connsiteY51" fmla="*/ 171030 h 3726131"/>
                <a:gd name="connsiteX0" fmla="*/ 11160 w 2027922"/>
                <a:gd name="connsiteY0" fmla="*/ 171030 h 3726131"/>
                <a:gd name="connsiteX1" fmla="*/ 30519 w 2027922"/>
                <a:gd name="connsiteY1" fmla="*/ 59110 h 3726131"/>
                <a:gd name="connsiteX2" fmla="*/ 75763 w 2027922"/>
                <a:gd name="connsiteY2" fmla="*/ 25773 h 3726131"/>
                <a:gd name="connsiteX3" fmla="*/ 113863 w 2027922"/>
                <a:gd name="connsiteY3" fmla="*/ 4342 h 3726131"/>
                <a:gd name="connsiteX4" fmla="*/ 197207 w 2027922"/>
                <a:gd name="connsiteY4" fmla="*/ 85306 h 3726131"/>
                <a:gd name="connsiteX5" fmla="*/ 161488 w 2027922"/>
                <a:gd name="connsiteY5" fmla="*/ 249612 h 3726131"/>
                <a:gd name="connsiteX6" fmla="*/ 425807 w 2027922"/>
                <a:gd name="connsiteY6" fmla="*/ 668712 h 3726131"/>
                <a:gd name="connsiteX7" fmla="*/ 525820 w 2027922"/>
                <a:gd name="connsiteY7" fmla="*/ 687762 h 3726131"/>
                <a:gd name="connsiteX8" fmla="*/ 752038 w 2027922"/>
                <a:gd name="connsiteY8" fmla="*/ 790156 h 3726131"/>
                <a:gd name="connsiteX9" fmla="*/ 473432 w 2027922"/>
                <a:gd name="connsiteY9" fmla="*/ 1178299 h 3726131"/>
                <a:gd name="connsiteX10" fmla="*/ 421045 w 2027922"/>
                <a:gd name="connsiteY10" fmla="*/ 1656931 h 3726131"/>
                <a:gd name="connsiteX11" fmla="*/ 1047313 w 2027922"/>
                <a:gd name="connsiteY11" fmla="*/ 1718843 h 3726131"/>
                <a:gd name="connsiteX12" fmla="*/ 1116370 w 2027922"/>
                <a:gd name="connsiteY12" fmla="*/ 1461668 h 3726131"/>
                <a:gd name="connsiteX13" fmla="*/ 923488 w 2027922"/>
                <a:gd name="connsiteY13" fmla="*/ 954461 h 3726131"/>
                <a:gd name="connsiteX14" fmla="*/ 1033026 w 2027922"/>
                <a:gd name="connsiteY14" fmla="*/ 840160 h 3726131"/>
                <a:gd name="connsiteX15" fmla="*/ 1206857 w 2027922"/>
                <a:gd name="connsiteY15" fmla="*/ 756817 h 3726131"/>
                <a:gd name="connsiteX16" fmla="*/ 1335444 w 2027922"/>
                <a:gd name="connsiteY16" fmla="*/ 785392 h 3726131"/>
                <a:gd name="connsiteX17" fmla="*/ 1852176 w 2027922"/>
                <a:gd name="connsiteY17" fmla="*/ 313906 h 3726131"/>
                <a:gd name="connsiteX18" fmla="*/ 1850139 w 2027922"/>
                <a:gd name="connsiteY18" fmla="*/ 175792 h 3726131"/>
                <a:gd name="connsiteX19" fmla="*/ 1925993 w 2027922"/>
                <a:gd name="connsiteY19" fmla="*/ 125785 h 3726131"/>
                <a:gd name="connsiteX20" fmla="*/ 1971238 w 2027922"/>
                <a:gd name="connsiteY20" fmla="*/ 168649 h 3726131"/>
                <a:gd name="connsiteX21" fmla="*/ 2006957 w 2027922"/>
                <a:gd name="connsiteY21" fmla="*/ 218653 h 3726131"/>
                <a:gd name="connsiteX22" fmla="*/ 2021244 w 2027922"/>
                <a:gd name="connsiteY22" fmla="*/ 299616 h 3726131"/>
                <a:gd name="connsiteX23" fmla="*/ 1906944 w 2027922"/>
                <a:gd name="connsiteY23" fmla="*/ 440112 h 3726131"/>
                <a:gd name="connsiteX24" fmla="*/ 1933137 w 2027922"/>
                <a:gd name="connsiteY24" fmla="*/ 502023 h 3726131"/>
                <a:gd name="connsiteX25" fmla="*/ 1544994 w 2027922"/>
                <a:gd name="connsiteY25" fmla="*/ 949698 h 3726131"/>
                <a:gd name="connsiteX26" fmla="*/ 1318775 w 2027922"/>
                <a:gd name="connsiteY26" fmla="*/ 1094954 h 3726131"/>
                <a:gd name="connsiteX27" fmla="*/ 1544994 w 2027922"/>
                <a:gd name="connsiteY27" fmla="*/ 2021260 h 3726131"/>
                <a:gd name="connsiteX28" fmla="*/ 1085412 w 2027922"/>
                <a:gd name="connsiteY28" fmla="*/ 2018879 h 3726131"/>
                <a:gd name="connsiteX29" fmla="*/ 1129222 w 2027922"/>
                <a:gd name="connsiteY29" fmla="*/ 3690516 h 3726131"/>
                <a:gd name="connsiteX30" fmla="*/ 899506 w 2027922"/>
                <a:gd name="connsiteY30" fmla="*/ 3600887 h 3726131"/>
                <a:gd name="connsiteX31" fmla="*/ 817923 w 2027922"/>
                <a:gd name="connsiteY31" fmla="*/ 3560097 h 3726131"/>
                <a:gd name="connsiteX32" fmla="*/ 811125 w 2027922"/>
                <a:gd name="connsiteY32" fmla="*/ 3260961 h 3726131"/>
                <a:gd name="connsiteX33" fmla="*/ 794129 w 2027922"/>
                <a:gd name="connsiteY33" fmla="*/ 2798662 h 3726131"/>
                <a:gd name="connsiteX34" fmla="*/ 685352 w 2027922"/>
                <a:gd name="connsiteY34" fmla="*/ 2302371 h 3726131"/>
                <a:gd name="connsiteX35" fmla="*/ 617367 w 2027922"/>
                <a:gd name="connsiteY35" fmla="*/ 2805460 h 3726131"/>
                <a:gd name="connsiteX36" fmla="*/ 603771 w 2027922"/>
                <a:gd name="connsiteY36" fmla="*/ 3288155 h 3726131"/>
                <a:gd name="connsiteX37" fmla="*/ 607169 w 2027922"/>
                <a:gd name="connsiteY37" fmla="*/ 3512506 h 3726131"/>
                <a:gd name="connsiteX38" fmla="*/ 613968 w 2027922"/>
                <a:gd name="connsiteY38" fmla="*/ 3600886 h 3726131"/>
                <a:gd name="connsiteX39" fmla="*/ 545983 w 2027922"/>
                <a:gd name="connsiteY39" fmla="*/ 3638278 h 3726131"/>
                <a:gd name="connsiteX40" fmla="*/ 253852 w 2027922"/>
                <a:gd name="connsiteY40" fmla="*/ 3710912 h 3726131"/>
                <a:gd name="connsiteX41" fmla="*/ 376020 w 2027922"/>
                <a:gd name="connsiteY41" fmla="*/ 3512506 h 3726131"/>
                <a:gd name="connsiteX42" fmla="*/ 379419 w 2027922"/>
                <a:gd name="connsiteY42" fmla="*/ 3383335 h 3726131"/>
                <a:gd name="connsiteX43" fmla="*/ 384980 w 2027922"/>
                <a:gd name="connsiteY43" fmla="*/ 1920902 h 3726131"/>
                <a:gd name="connsiteX44" fmla="*/ 301981 w 2027922"/>
                <a:gd name="connsiteY44" fmla="*/ 1861716 h 3726131"/>
                <a:gd name="connsiteX45" fmla="*/ 351987 w 2027922"/>
                <a:gd name="connsiteY45" fmla="*/ 1523579 h 3726131"/>
                <a:gd name="connsiteX46" fmla="*/ 297218 w 2027922"/>
                <a:gd name="connsiteY46" fmla="*/ 1337841 h 3726131"/>
                <a:gd name="connsiteX47" fmla="*/ 409137 w 2027922"/>
                <a:gd name="connsiteY47" fmla="*/ 997323 h 3726131"/>
                <a:gd name="connsiteX48" fmla="*/ 128150 w 2027922"/>
                <a:gd name="connsiteY48" fmla="*/ 652041 h 3726131"/>
                <a:gd name="connsiteX49" fmla="*/ 9087 w 2027922"/>
                <a:gd name="connsiteY49" fmla="*/ 352004 h 3726131"/>
                <a:gd name="connsiteX50" fmla="*/ 59094 w 2027922"/>
                <a:gd name="connsiteY50" fmla="*/ 292473 h 3726131"/>
                <a:gd name="connsiteX51" fmla="*/ 11160 w 2027922"/>
                <a:gd name="connsiteY51" fmla="*/ 171030 h 3726131"/>
                <a:gd name="connsiteX0" fmla="*/ 11160 w 2027922"/>
                <a:gd name="connsiteY0" fmla="*/ 171030 h 3726131"/>
                <a:gd name="connsiteX1" fmla="*/ 30519 w 2027922"/>
                <a:gd name="connsiteY1" fmla="*/ 59110 h 3726131"/>
                <a:gd name="connsiteX2" fmla="*/ 75763 w 2027922"/>
                <a:gd name="connsiteY2" fmla="*/ 25773 h 3726131"/>
                <a:gd name="connsiteX3" fmla="*/ 113863 w 2027922"/>
                <a:gd name="connsiteY3" fmla="*/ 4342 h 3726131"/>
                <a:gd name="connsiteX4" fmla="*/ 197207 w 2027922"/>
                <a:gd name="connsiteY4" fmla="*/ 85306 h 3726131"/>
                <a:gd name="connsiteX5" fmla="*/ 161488 w 2027922"/>
                <a:gd name="connsiteY5" fmla="*/ 249612 h 3726131"/>
                <a:gd name="connsiteX6" fmla="*/ 425807 w 2027922"/>
                <a:gd name="connsiteY6" fmla="*/ 668712 h 3726131"/>
                <a:gd name="connsiteX7" fmla="*/ 525820 w 2027922"/>
                <a:gd name="connsiteY7" fmla="*/ 687762 h 3726131"/>
                <a:gd name="connsiteX8" fmla="*/ 752038 w 2027922"/>
                <a:gd name="connsiteY8" fmla="*/ 790156 h 3726131"/>
                <a:gd name="connsiteX9" fmla="*/ 473432 w 2027922"/>
                <a:gd name="connsiteY9" fmla="*/ 1178299 h 3726131"/>
                <a:gd name="connsiteX10" fmla="*/ 421045 w 2027922"/>
                <a:gd name="connsiteY10" fmla="*/ 1656931 h 3726131"/>
                <a:gd name="connsiteX11" fmla="*/ 1047313 w 2027922"/>
                <a:gd name="connsiteY11" fmla="*/ 1718843 h 3726131"/>
                <a:gd name="connsiteX12" fmla="*/ 1116370 w 2027922"/>
                <a:gd name="connsiteY12" fmla="*/ 1461668 h 3726131"/>
                <a:gd name="connsiteX13" fmla="*/ 923488 w 2027922"/>
                <a:gd name="connsiteY13" fmla="*/ 954461 h 3726131"/>
                <a:gd name="connsiteX14" fmla="*/ 1033026 w 2027922"/>
                <a:gd name="connsiteY14" fmla="*/ 840160 h 3726131"/>
                <a:gd name="connsiteX15" fmla="*/ 1206857 w 2027922"/>
                <a:gd name="connsiteY15" fmla="*/ 756817 h 3726131"/>
                <a:gd name="connsiteX16" fmla="*/ 1335444 w 2027922"/>
                <a:gd name="connsiteY16" fmla="*/ 785392 h 3726131"/>
                <a:gd name="connsiteX17" fmla="*/ 1852176 w 2027922"/>
                <a:gd name="connsiteY17" fmla="*/ 313906 h 3726131"/>
                <a:gd name="connsiteX18" fmla="*/ 1850139 w 2027922"/>
                <a:gd name="connsiteY18" fmla="*/ 175792 h 3726131"/>
                <a:gd name="connsiteX19" fmla="*/ 1925993 w 2027922"/>
                <a:gd name="connsiteY19" fmla="*/ 125785 h 3726131"/>
                <a:gd name="connsiteX20" fmla="*/ 1971238 w 2027922"/>
                <a:gd name="connsiteY20" fmla="*/ 168649 h 3726131"/>
                <a:gd name="connsiteX21" fmla="*/ 2006957 w 2027922"/>
                <a:gd name="connsiteY21" fmla="*/ 218653 h 3726131"/>
                <a:gd name="connsiteX22" fmla="*/ 2021244 w 2027922"/>
                <a:gd name="connsiteY22" fmla="*/ 299616 h 3726131"/>
                <a:gd name="connsiteX23" fmla="*/ 1906944 w 2027922"/>
                <a:gd name="connsiteY23" fmla="*/ 440112 h 3726131"/>
                <a:gd name="connsiteX24" fmla="*/ 1933137 w 2027922"/>
                <a:gd name="connsiteY24" fmla="*/ 502023 h 3726131"/>
                <a:gd name="connsiteX25" fmla="*/ 1544994 w 2027922"/>
                <a:gd name="connsiteY25" fmla="*/ 949698 h 3726131"/>
                <a:gd name="connsiteX26" fmla="*/ 1318775 w 2027922"/>
                <a:gd name="connsiteY26" fmla="*/ 1094954 h 3726131"/>
                <a:gd name="connsiteX27" fmla="*/ 1544994 w 2027922"/>
                <a:gd name="connsiteY27" fmla="*/ 2021260 h 3726131"/>
                <a:gd name="connsiteX28" fmla="*/ 1085412 w 2027922"/>
                <a:gd name="connsiteY28" fmla="*/ 2018879 h 3726131"/>
                <a:gd name="connsiteX29" fmla="*/ 1129222 w 2027922"/>
                <a:gd name="connsiteY29" fmla="*/ 3690516 h 3726131"/>
                <a:gd name="connsiteX30" fmla="*/ 899506 w 2027922"/>
                <a:gd name="connsiteY30" fmla="*/ 3600887 h 3726131"/>
                <a:gd name="connsiteX31" fmla="*/ 817923 w 2027922"/>
                <a:gd name="connsiteY31" fmla="*/ 3560097 h 3726131"/>
                <a:gd name="connsiteX32" fmla="*/ 811125 w 2027922"/>
                <a:gd name="connsiteY32" fmla="*/ 3260961 h 3726131"/>
                <a:gd name="connsiteX33" fmla="*/ 794129 w 2027922"/>
                <a:gd name="connsiteY33" fmla="*/ 2798662 h 3726131"/>
                <a:gd name="connsiteX34" fmla="*/ 685352 w 2027922"/>
                <a:gd name="connsiteY34" fmla="*/ 2302371 h 3726131"/>
                <a:gd name="connsiteX35" fmla="*/ 617367 w 2027922"/>
                <a:gd name="connsiteY35" fmla="*/ 2805460 h 3726131"/>
                <a:gd name="connsiteX36" fmla="*/ 603771 w 2027922"/>
                <a:gd name="connsiteY36" fmla="*/ 3288155 h 3726131"/>
                <a:gd name="connsiteX37" fmla="*/ 607169 w 2027922"/>
                <a:gd name="connsiteY37" fmla="*/ 3512506 h 3726131"/>
                <a:gd name="connsiteX38" fmla="*/ 613968 w 2027922"/>
                <a:gd name="connsiteY38" fmla="*/ 3600886 h 3726131"/>
                <a:gd name="connsiteX39" fmla="*/ 545983 w 2027922"/>
                <a:gd name="connsiteY39" fmla="*/ 3638278 h 3726131"/>
                <a:gd name="connsiteX40" fmla="*/ 253852 w 2027922"/>
                <a:gd name="connsiteY40" fmla="*/ 3710912 h 3726131"/>
                <a:gd name="connsiteX41" fmla="*/ 376020 w 2027922"/>
                <a:gd name="connsiteY41" fmla="*/ 3512506 h 3726131"/>
                <a:gd name="connsiteX42" fmla="*/ 379419 w 2027922"/>
                <a:gd name="connsiteY42" fmla="*/ 3383335 h 3726131"/>
                <a:gd name="connsiteX43" fmla="*/ 384980 w 2027922"/>
                <a:gd name="connsiteY43" fmla="*/ 1920902 h 3726131"/>
                <a:gd name="connsiteX44" fmla="*/ 301981 w 2027922"/>
                <a:gd name="connsiteY44" fmla="*/ 1861716 h 3726131"/>
                <a:gd name="connsiteX45" fmla="*/ 351987 w 2027922"/>
                <a:gd name="connsiteY45" fmla="*/ 1523579 h 3726131"/>
                <a:gd name="connsiteX46" fmla="*/ 297218 w 2027922"/>
                <a:gd name="connsiteY46" fmla="*/ 1337841 h 3726131"/>
                <a:gd name="connsiteX47" fmla="*/ 409137 w 2027922"/>
                <a:gd name="connsiteY47" fmla="*/ 997323 h 3726131"/>
                <a:gd name="connsiteX48" fmla="*/ 128150 w 2027922"/>
                <a:gd name="connsiteY48" fmla="*/ 652041 h 3726131"/>
                <a:gd name="connsiteX49" fmla="*/ 9087 w 2027922"/>
                <a:gd name="connsiteY49" fmla="*/ 352004 h 3726131"/>
                <a:gd name="connsiteX50" fmla="*/ 59094 w 2027922"/>
                <a:gd name="connsiteY50" fmla="*/ 292473 h 3726131"/>
                <a:gd name="connsiteX51" fmla="*/ 11160 w 2027922"/>
                <a:gd name="connsiteY51" fmla="*/ 171030 h 3726131"/>
                <a:gd name="connsiteX0" fmla="*/ 11160 w 2027922"/>
                <a:gd name="connsiteY0" fmla="*/ 171030 h 3726131"/>
                <a:gd name="connsiteX1" fmla="*/ 30519 w 2027922"/>
                <a:gd name="connsiteY1" fmla="*/ 59110 h 3726131"/>
                <a:gd name="connsiteX2" fmla="*/ 75763 w 2027922"/>
                <a:gd name="connsiteY2" fmla="*/ 25773 h 3726131"/>
                <a:gd name="connsiteX3" fmla="*/ 113863 w 2027922"/>
                <a:gd name="connsiteY3" fmla="*/ 4342 h 3726131"/>
                <a:gd name="connsiteX4" fmla="*/ 197207 w 2027922"/>
                <a:gd name="connsiteY4" fmla="*/ 85306 h 3726131"/>
                <a:gd name="connsiteX5" fmla="*/ 161488 w 2027922"/>
                <a:gd name="connsiteY5" fmla="*/ 249612 h 3726131"/>
                <a:gd name="connsiteX6" fmla="*/ 425807 w 2027922"/>
                <a:gd name="connsiteY6" fmla="*/ 668712 h 3726131"/>
                <a:gd name="connsiteX7" fmla="*/ 525820 w 2027922"/>
                <a:gd name="connsiteY7" fmla="*/ 687762 h 3726131"/>
                <a:gd name="connsiteX8" fmla="*/ 752038 w 2027922"/>
                <a:gd name="connsiteY8" fmla="*/ 790156 h 3726131"/>
                <a:gd name="connsiteX9" fmla="*/ 473432 w 2027922"/>
                <a:gd name="connsiteY9" fmla="*/ 1178299 h 3726131"/>
                <a:gd name="connsiteX10" fmla="*/ 421045 w 2027922"/>
                <a:gd name="connsiteY10" fmla="*/ 1656931 h 3726131"/>
                <a:gd name="connsiteX11" fmla="*/ 1047313 w 2027922"/>
                <a:gd name="connsiteY11" fmla="*/ 1718843 h 3726131"/>
                <a:gd name="connsiteX12" fmla="*/ 1116370 w 2027922"/>
                <a:gd name="connsiteY12" fmla="*/ 1461668 h 3726131"/>
                <a:gd name="connsiteX13" fmla="*/ 923488 w 2027922"/>
                <a:gd name="connsiteY13" fmla="*/ 954461 h 3726131"/>
                <a:gd name="connsiteX14" fmla="*/ 1033026 w 2027922"/>
                <a:gd name="connsiteY14" fmla="*/ 840160 h 3726131"/>
                <a:gd name="connsiteX15" fmla="*/ 1206857 w 2027922"/>
                <a:gd name="connsiteY15" fmla="*/ 756817 h 3726131"/>
                <a:gd name="connsiteX16" fmla="*/ 1335444 w 2027922"/>
                <a:gd name="connsiteY16" fmla="*/ 785392 h 3726131"/>
                <a:gd name="connsiteX17" fmla="*/ 1852176 w 2027922"/>
                <a:gd name="connsiteY17" fmla="*/ 313906 h 3726131"/>
                <a:gd name="connsiteX18" fmla="*/ 1850139 w 2027922"/>
                <a:gd name="connsiteY18" fmla="*/ 175792 h 3726131"/>
                <a:gd name="connsiteX19" fmla="*/ 1925993 w 2027922"/>
                <a:gd name="connsiteY19" fmla="*/ 125785 h 3726131"/>
                <a:gd name="connsiteX20" fmla="*/ 1971238 w 2027922"/>
                <a:gd name="connsiteY20" fmla="*/ 168649 h 3726131"/>
                <a:gd name="connsiteX21" fmla="*/ 2006957 w 2027922"/>
                <a:gd name="connsiteY21" fmla="*/ 218653 h 3726131"/>
                <a:gd name="connsiteX22" fmla="*/ 2021244 w 2027922"/>
                <a:gd name="connsiteY22" fmla="*/ 299616 h 3726131"/>
                <a:gd name="connsiteX23" fmla="*/ 1906944 w 2027922"/>
                <a:gd name="connsiteY23" fmla="*/ 440112 h 3726131"/>
                <a:gd name="connsiteX24" fmla="*/ 1933137 w 2027922"/>
                <a:gd name="connsiteY24" fmla="*/ 502023 h 3726131"/>
                <a:gd name="connsiteX25" fmla="*/ 1544994 w 2027922"/>
                <a:gd name="connsiteY25" fmla="*/ 949698 h 3726131"/>
                <a:gd name="connsiteX26" fmla="*/ 1318775 w 2027922"/>
                <a:gd name="connsiteY26" fmla="*/ 1094954 h 3726131"/>
                <a:gd name="connsiteX27" fmla="*/ 1544994 w 2027922"/>
                <a:gd name="connsiteY27" fmla="*/ 2021260 h 3726131"/>
                <a:gd name="connsiteX28" fmla="*/ 1085412 w 2027922"/>
                <a:gd name="connsiteY28" fmla="*/ 2018879 h 3726131"/>
                <a:gd name="connsiteX29" fmla="*/ 1129222 w 2027922"/>
                <a:gd name="connsiteY29" fmla="*/ 3690516 h 3726131"/>
                <a:gd name="connsiteX30" fmla="*/ 899506 w 2027922"/>
                <a:gd name="connsiteY30" fmla="*/ 3600887 h 3726131"/>
                <a:gd name="connsiteX31" fmla="*/ 817923 w 2027922"/>
                <a:gd name="connsiteY31" fmla="*/ 3560097 h 3726131"/>
                <a:gd name="connsiteX32" fmla="*/ 811125 w 2027922"/>
                <a:gd name="connsiteY32" fmla="*/ 3260961 h 3726131"/>
                <a:gd name="connsiteX33" fmla="*/ 794129 w 2027922"/>
                <a:gd name="connsiteY33" fmla="*/ 2798662 h 3726131"/>
                <a:gd name="connsiteX34" fmla="*/ 685352 w 2027922"/>
                <a:gd name="connsiteY34" fmla="*/ 2302371 h 3726131"/>
                <a:gd name="connsiteX35" fmla="*/ 617367 w 2027922"/>
                <a:gd name="connsiteY35" fmla="*/ 2805460 h 3726131"/>
                <a:gd name="connsiteX36" fmla="*/ 603771 w 2027922"/>
                <a:gd name="connsiteY36" fmla="*/ 3288155 h 3726131"/>
                <a:gd name="connsiteX37" fmla="*/ 607169 w 2027922"/>
                <a:gd name="connsiteY37" fmla="*/ 3512506 h 3726131"/>
                <a:gd name="connsiteX38" fmla="*/ 613968 w 2027922"/>
                <a:gd name="connsiteY38" fmla="*/ 3600886 h 3726131"/>
                <a:gd name="connsiteX39" fmla="*/ 545983 w 2027922"/>
                <a:gd name="connsiteY39" fmla="*/ 3638278 h 3726131"/>
                <a:gd name="connsiteX40" fmla="*/ 253852 w 2027922"/>
                <a:gd name="connsiteY40" fmla="*/ 3710912 h 3726131"/>
                <a:gd name="connsiteX41" fmla="*/ 376020 w 2027922"/>
                <a:gd name="connsiteY41" fmla="*/ 3512506 h 3726131"/>
                <a:gd name="connsiteX42" fmla="*/ 379419 w 2027922"/>
                <a:gd name="connsiteY42" fmla="*/ 3383335 h 3726131"/>
                <a:gd name="connsiteX43" fmla="*/ 384980 w 2027922"/>
                <a:gd name="connsiteY43" fmla="*/ 1920902 h 3726131"/>
                <a:gd name="connsiteX44" fmla="*/ 301981 w 2027922"/>
                <a:gd name="connsiteY44" fmla="*/ 1861716 h 3726131"/>
                <a:gd name="connsiteX45" fmla="*/ 351987 w 2027922"/>
                <a:gd name="connsiteY45" fmla="*/ 1523579 h 3726131"/>
                <a:gd name="connsiteX46" fmla="*/ 297218 w 2027922"/>
                <a:gd name="connsiteY46" fmla="*/ 1337841 h 3726131"/>
                <a:gd name="connsiteX47" fmla="*/ 409137 w 2027922"/>
                <a:gd name="connsiteY47" fmla="*/ 997323 h 3726131"/>
                <a:gd name="connsiteX48" fmla="*/ 128150 w 2027922"/>
                <a:gd name="connsiteY48" fmla="*/ 652041 h 3726131"/>
                <a:gd name="connsiteX49" fmla="*/ 9087 w 2027922"/>
                <a:gd name="connsiteY49" fmla="*/ 352004 h 3726131"/>
                <a:gd name="connsiteX50" fmla="*/ 59094 w 2027922"/>
                <a:gd name="connsiteY50" fmla="*/ 292473 h 3726131"/>
                <a:gd name="connsiteX51" fmla="*/ 11160 w 2027922"/>
                <a:gd name="connsiteY51" fmla="*/ 171030 h 3726131"/>
                <a:gd name="connsiteX0" fmla="*/ 11160 w 2027922"/>
                <a:gd name="connsiteY0" fmla="*/ 171030 h 3726131"/>
                <a:gd name="connsiteX1" fmla="*/ 30519 w 2027922"/>
                <a:gd name="connsiteY1" fmla="*/ 59110 h 3726131"/>
                <a:gd name="connsiteX2" fmla="*/ 75763 w 2027922"/>
                <a:gd name="connsiteY2" fmla="*/ 25773 h 3726131"/>
                <a:gd name="connsiteX3" fmla="*/ 113863 w 2027922"/>
                <a:gd name="connsiteY3" fmla="*/ 4342 h 3726131"/>
                <a:gd name="connsiteX4" fmla="*/ 197207 w 2027922"/>
                <a:gd name="connsiteY4" fmla="*/ 85306 h 3726131"/>
                <a:gd name="connsiteX5" fmla="*/ 161488 w 2027922"/>
                <a:gd name="connsiteY5" fmla="*/ 249612 h 3726131"/>
                <a:gd name="connsiteX6" fmla="*/ 425807 w 2027922"/>
                <a:gd name="connsiteY6" fmla="*/ 668712 h 3726131"/>
                <a:gd name="connsiteX7" fmla="*/ 525820 w 2027922"/>
                <a:gd name="connsiteY7" fmla="*/ 687762 h 3726131"/>
                <a:gd name="connsiteX8" fmla="*/ 752038 w 2027922"/>
                <a:gd name="connsiteY8" fmla="*/ 790156 h 3726131"/>
                <a:gd name="connsiteX9" fmla="*/ 473432 w 2027922"/>
                <a:gd name="connsiteY9" fmla="*/ 1178299 h 3726131"/>
                <a:gd name="connsiteX10" fmla="*/ 421045 w 2027922"/>
                <a:gd name="connsiteY10" fmla="*/ 1656931 h 3726131"/>
                <a:gd name="connsiteX11" fmla="*/ 1047313 w 2027922"/>
                <a:gd name="connsiteY11" fmla="*/ 1718843 h 3726131"/>
                <a:gd name="connsiteX12" fmla="*/ 1116370 w 2027922"/>
                <a:gd name="connsiteY12" fmla="*/ 1461668 h 3726131"/>
                <a:gd name="connsiteX13" fmla="*/ 923488 w 2027922"/>
                <a:gd name="connsiteY13" fmla="*/ 954461 h 3726131"/>
                <a:gd name="connsiteX14" fmla="*/ 1033026 w 2027922"/>
                <a:gd name="connsiteY14" fmla="*/ 840160 h 3726131"/>
                <a:gd name="connsiteX15" fmla="*/ 1206857 w 2027922"/>
                <a:gd name="connsiteY15" fmla="*/ 756817 h 3726131"/>
                <a:gd name="connsiteX16" fmla="*/ 1335444 w 2027922"/>
                <a:gd name="connsiteY16" fmla="*/ 785392 h 3726131"/>
                <a:gd name="connsiteX17" fmla="*/ 1852176 w 2027922"/>
                <a:gd name="connsiteY17" fmla="*/ 313906 h 3726131"/>
                <a:gd name="connsiteX18" fmla="*/ 1850139 w 2027922"/>
                <a:gd name="connsiteY18" fmla="*/ 175792 h 3726131"/>
                <a:gd name="connsiteX19" fmla="*/ 1925993 w 2027922"/>
                <a:gd name="connsiteY19" fmla="*/ 125785 h 3726131"/>
                <a:gd name="connsiteX20" fmla="*/ 1971238 w 2027922"/>
                <a:gd name="connsiteY20" fmla="*/ 168649 h 3726131"/>
                <a:gd name="connsiteX21" fmla="*/ 2006957 w 2027922"/>
                <a:gd name="connsiteY21" fmla="*/ 218653 h 3726131"/>
                <a:gd name="connsiteX22" fmla="*/ 2021244 w 2027922"/>
                <a:gd name="connsiteY22" fmla="*/ 299616 h 3726131"/>
                <a:gd name="connsiteX23" fmla="*/ 1906944 w 2027922"/>
                <a:gd name="connsiteY23" fmla="*/ 440112 h 3726131"/>
                <a:gd name="connsiteX24" fmla="*/ 1933137 w 2027922"/>
                <a:gd name="connsiteY24" fmla="*/ 502023 h 3726131"/>
                <a:gd name="connsiteX25" fmla="*/ 1544994 w 2027922"/>
                <a:gd name="connsiteY25" fmla="*/ 949698 h 3726131"/>
                <a:gd name="connsiteX26" fmla="*/ 1318775 w 2027922"/>
                <a:gd name="connsiteY26" fmla="*/ 1094954 h 3726131"/>
                <a:gd name="connsiteX27" fmla="*/ 1544994 w 2027922"/>
                <a:gd name="connsiteY27" fmla="*/ 2021260 h 3726131"/>
                <a:gd name="connsiteX28" fmla="*/ 1085412 w 2027922"/>
                <a:gd name="connsiteY28" fmla="*/ 2018879 h 3726131"/>
                <a:gd name="connsiteX29" fmla="*/ 1042274 w 2027922"/>
                <a:gd name="connsiteY29" fmla="*/ 3318748 h 3726131"/>
                <a:gd name="connsiteX30" fmla="*/ 1129222 w 2027922"/>
                <a:gd name="connsiteY30" fmla="*/ 3690516 h 3726131"/>
                <a:gd name="connsiteX31" fmla="*/ 899506 w 2027922"/>
                <a:gd name="connsiteY31" fmla="*/ 3600887 h 3726131"/>
                <a:gd name="connsiteX32" fmla="*/ 817923 w 2027922"/>
                <a:gd name="connsiteY32" fmla="*/ 3560097 h 3726131"/>
                <a:gd name="connsiteX33" fmla="*/ 811125 w 2027922"/>
                <a:gd name="connsiteY33" fmla="*/ 3260961 h 3726131"/>
                <a:gd name="connsiteX34" fmla="*/ 794129 w 2027922"/>
                <a:gd name="connsiteY34" fmla="*/ 2798662 h 3726131"/>
                <a:gd name="connsiteX35" fmla="*/ 685352 w 2027922"/>
                <a:gd name="connsiteY35" fmla="*/ 2302371 h 3726131"/>
                <a:gd name="connsiteX36" fmla="*/ 617367 w 2027922"/>
                <a:gd name="connsiteY36" fmla="*/ 2805460 h 3726131"/>
                <a:gd name="connsiteX37" fmla="*/ 603771 w 2027922"/>
                <a:gd name="connsiteY37" fmla="*/ 3288155 h 3726131"/>
                <a:gd name="connsiteX38" fmla="*/ 607169 w 2027922"/>
                <a:gd name="connsiteY38" fmla="*/ 3512506 h 3726131"/>
                <a:gd name="connsiteX39" fmla="*/ 613968 w 2027922"/>
                <a:gd name="connsiteY39" fmla="*/ 3600886 h 3726131"/>
                <a:gd name="connsiteX40" fmla="*/ 545983 w 2027922"/>
                <a:gd name="connsiteY40" fmla="*/ 3638278 h 3726131"/>
                <a:gd name="connsiteX41" fmla="*/ 253852 w 2027922"/>
                <a:gd name="connsiteY41" fmla="*/ 3710912 h 3726131"/>
                <a:gd name="connsiteX42" fmla="*/ 376020 w 2027922"/>
                <a:gd name="connsiteY42" fmla="*/ 3512506 h 3726131"/>
                <a:gd name="connsiteX43" fmla="*/ 379419 w 2027922"/>
                <a:gd name="connsiteY43" fmla="*/ 3383335 h 3726131"/>
                <a:gd name="connsiteX44" fmla="*/ 384980 w 2027922"/>
                <a:gd name="connsiteY44" fmla="*/ 1920902 h 3726131"/>
                <a:gd name="connsiteX45" fmla="*/ 301981 w 2027922"/>
                <a:gd name="connsiteY45" fmla="*/ 1861716 h 3726131"/>
                <a:gd name="connsiteX46" fmla="*/ 351987 w 2027922"/>
                <a:gd name="connsiteY46" fmla="*/ 1523579 h 3726131"/>
                <a:gd name="connsiteX47" fmla="*/ 297218 w 2027922"/>
                <a:gd name="connsiteY47" fmla="*/ 1337841 h 3726131"/>
                <a:gd name="connsiteX48" fmla="*/ 409137 w 2027922"/>
                <a:gd name="connsiteY48" fmla="*/ 997323 h 3726131"/>
                <a:gd name="connsiteX49" fmla="*/ 128150 w 2027922"/>
                <a:gd name="connsiteY49" fmla="*/ 652041 h 3726131"/>
                <a:gd name="connsiteX50" fmla="*/ 9087 w 2027922"/>
                <a:gd name="connsiteY50" fmla="*/ 352004 h 3726131"/>
                <a:gd name="connsiteX51" fmla="*/ 59094 w 2027922"/>
                <a:gd name="connsiteY51" fmla="*/ 292473 h 3726131"/>
                <a:gd name="connsiteX52" fmla="*/ 11160 w 2027922"/>
                <a:gd name="connsiteY52" fmla="*/ 171030 h 3726131"/>
                <a:gd name="connsiteX0" fmla="*/ 11160 w 2027922"/>
                <a:gd name="connsiteY0" fmla="*/ 171030 h 3726131"/>
                <a:gd name="connsiteX1" fmla="*/ 30519 w 2027922"/>
                <a:gd name="connsiteY1" fmla="*/ 59110 h 3726131"/>
                <a:gd name="connsiteX2" fmla="*/ 75763 w 2027922"/>
                <a:gd name="connsiteY2" fmla="*/ 25773 h 3726131"/>
                <a:gd name="connsiteX3" fmla="*/ 113863 w 2027922"/>
                <a:gd name="connsiteY3" fmla="*/ 4342 h 3726131"/>
                <a:gd name="connsiteX4" fmla="*/ 197207 w 2027922"/>
                <a:gd name="connsiteY4" fmla="*/ 85306 h 3726131"/>
                <a:gd name="connsiteX5" fmla="*/ 161488 w 2027922"/>
                <a:gd name="connsiteY5" fmla="*/ 249612 h 3726131"/>
                <a:gd name="connsiteX6" fmla="*/ 425807 w 2027922"/>
                <a:gd name="connsiteY6" fmla="*/ 668712 h 3726131"/>
                <a:gd name="connsiteX7" fmla="*/ 525820 w 2027922"/>
                <a:gd name="connsiteY7" fmla="*/ 687762 h 3726131"/>
                <a:gd name="connsiteX8" fmla="*/ 752038 w 2027922"/>
                <a:gd name="connsiteY8" fmla="*/ 790156 h 3726131"/>
                <a:gd name="connsiteX9" fmla="*/ 473432 w 2027922"/>
                <a:gd name="connsiteY9" fmla="*/ 1178299 h 3726131"/>
                <a:gd name="connsiteX10" fmla="*/ 421045 w 2027922"/>
                <a:gd name="connsiteY10" fmla="*/ 1656931 h 3726131"/>
                <a:gd name="connsiteX11" fmla="*/ 1047313 w 2027922"/>
                <a:gd name="connsiteY11" fmla="*/ 1718843 h 3726131"/>
                <a:gd name="connsiteX12" fmla="*/ 1116370 w 2027922"/>
                <a:gd name="connsiteY12" fmla="*/ 1461668 h 3726131"/>
                <a:gd name="connsiteX13" fmla="*/ 923488 w 2027922"/>
                <a:gd name="connsiteY13" fmla="*/ 954461 h 3726131"/>
                <a:gd name="connsiteX14" fmla="*/ 1033026 w 2027922"/>
                <a:gd name="connsiteY14" fmla="*/ 840160 h 3726131"/>
                <a:gd name="connsiteX15" fmla="*/ 1206857 w 2027922"/>
                <a:gd name="connsiteY15" fmla="*/ 756817 h 3726131"/>
                <a:gd name="connsiteX16" fmla="*/ 1335444 w 2027922"/>
                <a:gd name="connsiteY16" fmla="*/ 785392 h 3726131"/>
                <a:gd name="connsiteX17" fmla="*/ 1852176 w 2027922"/>
                <a:gd name="connsiteY17" fmla="*/ 313906 h 3726131"/>
                <a:gd name="connsiteX18" fmla="*/ 1850139 w 2027922"/>
                <a:gd name="connsiteY18" fmla="*/ 175792 h 3726131"/>
                <a:gd name="connsiteX19" fmla="*/ 1925993 w 2027922"/>
                <a:gd name="connsiteY19" fmla="*/ 125785 h 3726131"/>
                <a:gd name="connsiteX20" fmla="*/ 1971238 w 2027922"/>
                <a:gd name="connsiteY20" fmla="*/ 168649 h 3726131"/>
                <a:gd name="connsiteX21" fmla="*/ 2006957 w 2027922"/>
                <a:gd name="connsiteY21" fmla="*/ 218653 h 3726131"/>
                <a:gd name="connsiteX22" fmla="*/ 2021244 w 2027922"/>
                <a:gd name="connsiteY22" fmla="*/ 299616 h 3726131"/>
                <a:gd name="connsiteX23" fmla="*/ 1906944 w 2027922"/>
                <a:gd name="connsiteY23" fmla="*/ 440112 h 3726131"/>
                <a:gd name="connsiteX24" fmla="*/ 1933137 w 2027922"/>
                <a:gd name="connsiteY24" fmla="*/ 502023 h 3726131"/>
                <a:gd name="connsiteX25" fmla="*/ 1544994 w 2027922"/>
                <a:gd name="connsiteY25" fmla="*/ 949698 h 3726131"/>
                <a:gd name="connsiteX26" fmla="*/ 1318775 w 2027922"/>
                <a:gd name="connsiteY26" fmla="*/ 1094954 h 3726131"/>
                <a:gd name="connsiteX27" fmla="*/ 1544994 w 2027922"/>
                <a:gd name="connsiteY27" fmla="*/ 2021260 h 3726131"/>
                <a:gd name="connsiteX28" fmla="*/ 1085412 w 2027922"/>
                <a:gd name="connsiteY28" fmla="*/ 2018879 h 3726131"/>
                <a:gd name="connsiteX29" fmla="*/ 1042274 w 2027922"/>
                <a:gd name="connsiteY29" fmla="*/ 3318748 h 3726131"/>
                <a:gd name="connsiteX30" fmla="*/ 1129222 w 2027922"/>
                <a:gd name="connsiteY30" fmla="*/ 3690516 h 3726131"/>
                <a:gd name="connsiteX31" fmla="*/ 899506 w 2027922"/>
                <a:gd name="connsiteY31" fmla="*/ 3600887 h 3726131"/>
                <a:gd name="connsiteX32" fmla="*/ 817923 w 2027922"/>
                <a:gd name="connsiteY32" fmla="*/ 3560097 h 3726131"/>
                <a:gd name="connsiteX33" fmla="*/ 811125 w 2027922"/>
                <a:gd name="connsiteY33" fmla="*/ 3260961 h 3726131"/>
                <a:gd name="connsiteX34" fmla="*/ 794129 w 2027922"/>
                <a:gd name="connsiteY34" fmla="*/ 2798662 h 3726131"/>
                <a:gd name="connsiteX35" fmla="*/ 685352 w 2027922"/>
                <a:gd name="connsiteY35" fmla="*/ 2302371 h 3726131"/>
                <a:gd name="connsiteX36" fmla="*/ 617367 w 2027922"/>
                <a:gd name="connsiteY36" fmla="*/ 2805460 h 3726131"/>
                <a:gd name="connsiteX37" fmla="*/ 603771 w 2027922"/>
                <a:gd name="connsiteY37" fmla="*/ 3288155 h 3726131"/>
                <a:gd name="connsiteX38" fmla="*/ 607169 w 2027922"/>
                <a:gd name="connsiteY38" fmla="*/ 3512506 h 3726131"/>
                <a:gd name="connsiteX39" fmla="*/ 613968 w 2027922"/>
                <a:gd name="connsiteY39" fmla="*/ 3600886 h 3726131"/>
                <a:gd name="connsiteX40" fmla="*/ 545983 w 2027922"/>
                <a:gd name="connsiteY40" fmla="*/ 3638278 h 3726131"/>
                <a:gd name="connsiteX41" fmla="*/ 253852 w 2027922"/>
                <a:gd name="connsiteY41" fmla="*/ 3710912 h 3726131"/>
                <a:gd name="connsiteX42" fmla="*/ 376020 w 2027922"/>
                <a:gd name="connsiteY42" fmla="*/ 3512506 h 3726131"/>
                <a:gd name="connsiteX43" fmla="*/ 379419 w 2027922"/>
                <a:gd name="connsiteY43" fmla="*/ 3383335 h 3726131"/>
                <a:gd name="connsiteX44" fmla="*/ 384980 w 2027922"/>
                <a:gd name="connsiteY44" fmla="*/ 1920902 h 3726131"/>
                <a:gd name="connsiteX45" fmla="*/ 301981 w 2027922"/>
                <a:gd name="connsiteY45" fmla="*/ 1861716 h 3726131"/>
                <a:gd name="connsiteX46" fmla="*/ 351987 w 2027922"/>
                <a:gd name="connsiteY46" fmla="*/ 1523579 h 3726131"/>
                <a:gd name="connsiteX47" fmla="*/ 297218 w 2027922"/>
                <a:gd name="connsiteY47" fmla="*/ 1337841 h 3726131"/>
                <a:gd name="connsiteX48" fmla="*/ 409137 w 2027922"/>
                <a:gd name="connsiteY48" fmla="*/ 997323 h 3726131"/>
                <a:gd name="connsiteX49" fmla="*/ 128150 w 2027922"/>
                <a:gd name="connsiteY49" fmla="*/ 652041 h 3726131"/>
                <a:gd name="connsiteX50" fmla="*/ 9087 w 2027922"/>
                <a:gd name="connsiteY50" fmla="*/ 352004 h 3726131"/>
                <a:gd name="connsiteX51" fmla="*/ 59094 w 2027922"/>
                <a:gd name="connsiteY51" fmla="*/ 292473 h 3726131"/>
                <a:gd name="connsiteX52" fmla="*/ 11160 w 2027922"/>
                <a:gd name="connsiteY52" fmla="*/ 171030 h 3726131"/>
                <a:gd name="connsiteX0" fmla="*/ 11160 w 2027922"/>
                <a:gd name="connsiteY0" fmla="*/ 171030 h 3726131"/>
                <a:gd name="connsiteX1" fmla="*/ 30519 w 2027922"/>
                <a:gd name="connsiteY1" fmla="*/ 59110 h 3726131"/>
                <a:gd name="connsiteX2" fmla="*/ 75763 w 2027922"/>
                <a:gd name="connsiteY2" fmla="*/ 25773 h 3726131"/>
                <a:gd name="connsiteX3" fmla="*/ 113863 w 2027922"/>
                <a:gd name="connsiteY3" fmla="*/ 4342 h 3726131"/>
                <a:gd name="connsiteX4" fmla="*/ 197207 w 2027922"/>
                <a:gd name="connsiteY4" fmla="*/ 85306 h 3726131"/>
                <a:gd name="connsiteX5" fmla="*/ 161488 w 2027922"/>
                <a:gd name="connsiteY5" fmla="*/ 249612 h 3726131"/>
                <a:gd name="connsiteX6" fmla="*/ 425807 w 2027922"/>
                <a:gd name="connsiteY6" fmla="*/ 668712 h 3726131"/>
                <a:gd name="connsiteX7" fmla="*/ 525820 w 2027922"/>
                <a:gd name="connsiteY7" fmla="*/ 687762 h 3726131"/>
                <a:gd name="connsiteX8" fmla="*/ 752038 w 2027922"/>
                <a:gd name="connsiteY8" fmla="*/ 790156 h 3726131"/>
                <a:gd name="connsiteX9" fmla="*/ 473432 w 2027922"/>
                <a:gd name="connsiteY9" fmla="*/ 1178299 h 3726131"/>
                <a:gd name="connsiteX10" fmla="*/ 421045 w 2027922"/>
                <a:gd name="connsiteY10" fmla="*/ 1656931 h 3726131"/>
                <a:gd name="connsiteX11" fmla="*/ 1047313 w 2027922"/>
                <a:gd name="connsiteY11" fmla="*/ 1718843 h 3726131"/>
                <a:gd name="connsiteX12" fmla="*/ 1116370 w 2027922"/>
                <a:gd name="connsiteY12" fmla="*/ 1461668 h 3726131"/>
                <a:gd name="connsiteX13" fmla="*/ 923488 w 2027922"/>
                <a:gd name="connsiteY13" fmla="*/ 954461 h 3726131"/>
                <a:gd name="connsiteX14" fmla="*/ 1033026 w 2027922"/>
                <a:gd name="connsiteY14" fmla="*/ 840160 h 3726131"/>
                <a:gd name="connsiteX15" fmla="*/ 1206857 w 2027922"/>
                <a:gd name="connsiteY15" fmla="*/ 756817 h 3726131"/>
                <a:gd name="connsiteX16" fmla="*/ 1335444 w 2027922"/>
                <a:gd name="connsiteY16" fmla="*/ 785392 h 3726131"/>
                <a:gd name="connsiteX17" fmla="*/ 1852176 w 2027922"/>
                <a:gd name="connsiteY17" fmla="*/ 313906 h 3726131"/>
                <a:gd name="connsiteX18" fmla="*/ 1850139 w 2027922"/>
                <a:gd name="connsiteY18" fmla="*/ 175792 h 3726131"/>
                <a:gd name="connsiteX19" fmla="*/ 1925993 w 2027922"/>
                <a:gd name="connsiteY19" fmla="*/ 125785 h 3726131"/>
                <a:gd name="connsiteX20" fmla="*/ 1971238 w 2027922"/>
                <a:gd name="connsiteY20" fmla="*/ 168649 h 3726131"/>
                <a:gd name="connsiteX21" fmla="*/ 2006957 w 2027922"/>
                <a:gd name="connsiteY21" fmla="*/ 218653 h 3726131"/>
                <a:gd name="connsiteX22" fmla="*/ 2021244 w 2027922"/>
                <a:gd name="connsiteY22" fmla="*/ 299616 h 3726131"/>
                <a:gd name="connsiteX23" fmla="*/ 1906944 w 2027922"/>
                <a:gd name="connsiteY23" fmla="*/ 440112 h 3726131"/>
                <a:gd name="connsiteX24" fmla="*/ 1933137 w 2027922"/>
                <a:gd name="connsiteY24" fmla="*/ 502023 h 3726131"/>
                <a:gd name="connsiteX25" fmla="*/ 1544994 w 2027922"/>
                <a:gd name="connsiteY25" fmla="*/ 949698 h 3726131"/>
                <a:gd name="connsiteX26" fmla="*/ 1318775 w 2027922"/>
                <a:gd name="connsiteY26" fmla="*/ 1094954 h 3726131"/>
                <a:gd name="connsiteX27" fmla="*/ 1544994 w 2027922"/>
                <a:gd name="connsiteY27" fmla="*/ 2021260 h 3726131"/>
                <a:gd name="connsiteX28" fmla="*/ 1085412 w 2027922"/>
                <a:gd name="connsiteY28" fmla="*/ 2018879 h 3726131"/>
                <a:gd name="connsiteX29" fmla="*/ 1042274 w 2027922"/>
                <a:gd name="connsiteY29" fmla="*/ 3318748 h 3726131"/>
                <a:gd name="connsiteX30" fmla="*/ 1008282 w 2027922"/>
                <a:gd name="connsiteY30" fmla="*/ 3481912 h 3726131"/>
                <a:gd name="connsiteX31" fmla="*/ 1129222 w 2027922"/>
                <a:gd name="connsiteY31" fmla="*/ 3690516 h 3726131"/>
                <a:gd name="connsiteX32" fmla="*/ 899506 w 2027922"/>
                <a:gd name="connsiteY32" fmla="*/ 3600887 h 3726131"/>
                <a:gd name="connsiteX33" fmla="*/ 817923 w 2027922"/>
                <a:gd name="connsiteY33" fmla="*/ 3560097 h 3726131"/>
                <a:gd name="connsiteX34" fmla="*/ 811125 w 2027922"/>
                <a:gd name="connsiteY34" fmla="*/ 3260961 h 3726131"/>
                <a:gd name="connsiteX35" fmla="*/ 794129 w 2027922"/>
                <a:gd name="connsiteY35" fmla="*/ 2798662 h 3726131"/>
                <a:gd name="connsiteX36" fmla="*/ 685352 w 2027922"/>
                <a:gd name="connsiteY36" fmla="*/ 2302371 h 3726131"/>
                <a:gd name="connsiteX37" fmla="*/ 617367 w 2027922"/>
                <a:gd name="connsiteY37" fmla="*/ 2805460 h 3726131"/>
                <a:gd name="connsiteX38" fmla="*/ 603771 w 2027922"/>
                <a:gd name="connsiteY38" fmla="*/ 3288155 h 3726131"/>
                <a:gd name="connsiteX39" fmla="*/ 607169 w 2027922"/>
                <a:gd name="connsiteY39" fmla="*/ 3512506 h 3726131"/>
                <a:gd name="connsiteX40" fmla="*/ 613968 w 2027922"/>
                <a:gd name="connsiteY40" fmla="*/ 3600886 h 3726131"/>
                <a:gd name="connsiteX41" fmla="*/ 545983 w 2027922"/>
                <a:gd name="connsiteY41" fmla="*/ 3638278 h 3726131"/>
                <a:gd name="connsiteX42" fmla="*/ 253852 w 2027922"/>
                <a:gd name="connsiteY42" fmla="*/ 3710912 h 3726131"/>
                <a:gd name="connsiteX43" fmla="*/ 376020 w 2027922"/>
                <a:gd name="connsiteY43" fmla="*/ 3512506 h 3726131"/>
                <a:gd name="connsiteX44" fmla="*/ 379419 w 2027922"/>
                <a:gd name="connsiteY44" fmla="*/ 3383335 h 3726131"/>
                <a:gd name="connsiteX45" fmla="*/ 384980 w 2027922"/>
                <a:gd name="connsiteY45" fmla="*/ 1920902 h 3726131"/>
                <a:gd name="connsiteX46" fmla="*/ 301981 w 2027922"/>
                <a:gd name="connsiteY46" fmla="*/ 1861716 h 3726131"/>
                <a:gd name="connsiteX47" fmla="*/ 351987 w 2027922"/>
                <a:gd name="connsiteY47" fmla="*/ 1523579 h 3726131"/>
                <a:gd name="connsiteX48" fmla="*/ 297218 w 2027922"/>
                <a:gd name="connsiteY48" fmla="*/ 1337841 h 3726131"/>
                <a:gd name="connsiteX49" fmla="*/ 409137 w 2027922"/>
                <a:gd name="connsiteY49" fmla="*/ 997323 h 3726131"/>
                <a:gd name="connsiteX50" fmla="*/ 128150 w 2027922"/>
                <a:gd name="connsiteY50" fmla="*/ 652041 h 3726131"/>
                <a:gd name="connsiteX51" fmla="*/ 9087 w 2027922"/>
                <a:gd name="connsiteY51" fmla="*/ 352004 h 3726131"/>
                <a:gd name="connsiteX52" fmla="*/ 59094 w 2027922"/>
                <a:gd name="connsiteY52" fmla="*/ 292473 h 3726131"/>
                <a:gd name="connsiteX53" fmla="*/ 11160 w 2027922"/>
                <a:gd name="connsiteY53" fmla="*/ 171030 h 3726131"/>
                <a:gd name="connsiteX0" fmla="*/ 11160 w 2027922"/>
                <a:gd name="connsiteY0" fmla="*/ 171030 h 3726131"/>
                <a:gd name="connsiteX1" fmla="*/ 30519 w 2027922"/>
                <a:gd name="connsiteY1" fmla="*/ 59110 h 3726131"/>
                <a:gd name="connsiteX2" fmla="*/ 75763 w 2027922"/>
                <a:gd name="connsiteY2" fmla="*/ 25773 h 3726131"/>
                <a:gd name="connsiteX3" fmla="*/ 113863 w 2027922"/>
                <a:gd name="connsiteY3" fmla="*/ 4342 h 3726131"/>
                <a:gd name="connsiteX4" fmla="*/ 197207 w 2027922"/>
                <a:gd name="connsiteY4" fmla="*/ 85306 h 3726131"/>
                <a:gd name="connsiteX5" fmla="*/ 161488 w 2027922"/>
                <a:gd name="connsiteY5" fmla="*/ 249612 h 3726131"/>
                <a:gd name="connsiteX6" fmla="*/ 425807 w 2027922"/>
                <a:gd name="connsiteY6" fmla="*/ 668712 h 3726131"/>
                <a:gd name="connsiteX7" fmla="*/ 525820 w 2027922"/>
                <a:gd name="connsiteY7" fmla="*/ 687762 h 3726131"/>
                <a:gd name="connsiteX8" fmla="*/ 752038 w 2027922"/>
                <a:gd name="connsiteY8" fmla="*/ 790156 h 3726131"/>
                <a:gd name="connsiteX9" fmla="*/ 473432 w 2027922"/>
                <a:gd name="connsiteY9" fmla="*/ 1178299 h 3726131"/>
                <a:gd name="connsiteX10" fmla="*/ 421045 w 2027922"/>
                <a:gd name="connsiteY10" fmla="*/ 1656931 h 3726131"/>
                <a:gd name="connsiteX11" fmla="*/ 1047313 w 2027922"/>
                <a:gd name="connsiteY11" fmla="*/ 1718843 h 3726131"/>
                <a:gd name="connsiteX12" fmla="*/ 1116370 w 2027922"/>
                <a:gd name="connsiteY12" fmla="*/ 1461668 h 3726131"/>
                <a:gd name="connsiteX13" fmla="*/ 923488 w 2027922"/>
                <a:gd name="connsiteY13" fmla="*/ 954461 h 3726131"/>
                <a:gd name="connsiteX14" fmla="*/ 1033026 w 2027922"/>
                <a:gd name="connsiteY14" fmla="*/ 840160 h 3726131"/>
                <a:gd name="connsiteX15" fmla="*/ 1206857 w 2027922"/>
                <a:gd name="connsiteY15" fmla="*/ 756817 h 3726131"/>
                <a:gd name="connsiteX16" fmla="*/ 1335444 w 2027922"/>
                <a:gd name="connsiteY16" fmla="*/ 785392 h 3726131"/>
                <a:gd name="connsiteX17" fmla="*/ 1852176 w 2027922"/>
                <a:gd name="connsiteY17" fmla="*/ 313906 h 3726131"/>
                <a:gd name="connsiteX18" fmla="*/ 1850139 w 2027922"/>
                <a:gd name="connsiteY18" fmla="*/ 175792 h 3726131"/>
                <a:gd name="connsiteX19" fmla="*/ 1925993 w 2027922"/>
                <a:gd name="connsiteY19" fmla="*/ 125785 h 3726131"/>
                <a:gd name="connsiteX20" fmla="*/ 1971238 w 2027922"/>
                <a:gd name="connsiteY20" fmla="*/ 168649 h 3726131"/>
                <a:gd name="connsiteX21" fmla="*/ 2006957 w 2027922"/>
                <a:gd name="connsiteY21" fmla="*/ 218653 h 3726131"/>
                <a:gd name="connsiteX22" fmla="*/ 2021244 w 2027922"/>
                <a:gd name="connsiteY22" fmla="*/ 299616 h 3726131"/>
                <a:gd name="connsiteX23" fmla="*/ 1906944 w 2027922"/>
                <a:gd name="connsiteY23" fmla="*/ 440112 h 3726131"/>
                <a:gd name="connsiteX24" fmla="*/ 1933137 w 2027922"/>
                <a:gd name="connsiteY24" fmla="*/ 502023 h 3726131"/>
                <a:gd name="connsiteX25" fmla="*/ 1544994 w 2027922"/>
                <a:gd name="connsiteY25" fmla="*/ 949698 h 3726131"/>
                <a:gd name="connsiteX26" fmla="*/ 1318775 w 2027922"/>
                <a:gd name="connsiteY26" fmla="*/ 1094954 h 3726131"/>
                <a:gd name="connsiteX27" fmla="*/ 1544994 w 2027922"/>
                <a:gd name="connsiteY27" fmla="*/ 2021260 h 3726131"/>
                <a:gd name="connsiteX28" fmla="*/ 1085412 w 2027922"/>
                <a:gd name="connsiteY28" fmla="*/ 2018879 h 3726131"/>
                <a:gd name="connsiteX29" fmla="*/ 1042274 w 2027922"/>
                <a:gd name="connsiteY29" fmla="*/ 3318748 h 3726131"/>
                <a:gd name="connsiteX30" fmla="*/ 1008282 w 2027922"/>
                <a:gd name="connsiteY30" fmla="*/ 3481912 h 3726131"/>
                <a:gd name="connsiteX31" fmla="*/ 1129222 w 2027922"/>
                <a:gd name="connsiteY31" fmla="*/ 3690516 h 3726131"/>
                <a:gd name="connsiteX32" fmla="*/ 899506 w 2027922"/>
                <a:gd name="connsiteY32" fmla="*/ 3600887 h 3726131"/>
                <a:gd name="connsiteX33" fmla="*/ 817923 w 2027922"/>
                <a:gd name="connsiteY33" fmla="*/ 3560097 h 3726131"/>
                <a:gd name="connsiteX34" fmla="*/ 811125 w 2027922"/>
                <a:gd name="connsiteY34" fmla="*/ 3260961 h 3726131"/>
                <a:gd name="connsiteX35" fmla="*/ 794129 w 2027922"/>
                <a:gd name="connsiteY35" fmla="*/ 2798662 h 3726131"/>
                <a:gd name="connsiteX36" fmla="*/ 685352 w 2027922"/>
                <a:gd name="connsiteY36" fmla="*/ 2302371 h 3726131"/>
                <a:gd name="connsiteX37" fmla="*/ 617367 w 2027922"/>
                <a:gd name="connsiteY37" fmla="*/ 2805460 h 3726131"/>
                <a:gd name="connsiteX38" fmla="*/ 603771 w 2027922"/>
                <a:gd name="connsiteY38" fmla="*/ 3288155 h 3726131"/>
                <a:gd name="connsiteX39" fmla="*/ 607169 w 2027922"/>
                <a:gd name="connsiteY39" fmla="*/ 3512506 h 3726131"/>
                <a:gd name="connsiteX40" fmla="*/ 613968 w 2027922"/>
                <a:gd name="connsiteY40" fmla="*/ 3600886 h 3726131"/>
                <a:gd name="connsiteX41" fmla="*/ 545983 w 2027922"/>
                <a:gd name="connsiteY41" fmla="*/ 3638278 h 3726131"/>
                <a:gd name="connsiteX42" fmla="*/ 253852 w 2027922"/>
                <a:gd name="connsiteY42" fmla="*/ 3710912 h 3726131"/>
                <a:gd name="connsiteX43" fmla="*/ 376020 w 2027922"/>
                <a:gd name="connsiteY43" fmla="*/ 3512506 h 3726131"/>
                <a:gd name="connsiteX44" fmla="*/ 379419 w 2027922"/>
                <a:gd name="connsiteY44" fmla="*/ 3383335 h 3726131"/>
                <a:gd name="connsiteX45" fmla="*/ 384980 w 2027922"/>
                <a:gd name="connsiteY45" fmla="*/ 1920902 h 3726131"/>
                <a:gd name="connsiteX46" fmla="*/ 301981 w 2027922"/>
                <a:gd name="connsiteY46" fmla="*/ 1861716 h 3726131"/>
                <a:gd name="connsiteX47" fmla="*/ 351987 w 2027922"/>
                <a:gd name="connsiteY47" fmla="*/ 1523579 h 3726131"/>
                <a:gd name="connsiteX48" fmla="*/ 297218 w 2027922"/>
                <a:gd name="connsiteY48" fmla="*/ 1337841 h 3726131"/>
                <a:gd name="connsiteX49" fmla="*/ 409137 w 2027922"/>
                <a:gd name="connsiteY49" fmla="*/ 997323 h 3726131"/>
                <a:gd name="connsiteX50" fmla="*/ 128150 w 2027922"/>
                <a:gd name="connsiteY50" fmla="*/ 652041 h 3726131"/>
                <a:gd name="connsiteX51" fmla="*/ 9087 w 2027922"/>
                <a:gd name="connsiteY51" fmla="*/ 352004 h 3726131"/>
                <a:gd name="connsiteX52" fmla="*/ 59094 w 2027922"/>
                <a:gd name="connsiteY52" fmla="*/ 292473 h 3726131"/>
                <a:gd name="connsiteX53" fmla="*/ 11160 w 2027922"/>
                <a:gd name="connsiteY53" fmla="*/ 171030 h 3726131"/>
                <a:gd name="connsiteX0" fmla="*/ 11160 w 2027922"/>
                <a:gd name="connsiteY0" fmla="*/ 171030 h 3726131"/>
                <a:gd name="connsiteX1" fmla="*/ 30519 w 2027922"/>
                <a:gd name="connsiteY1" fmla="*/ 59110 h 3726131"/>
                <a:gd name="connsiteX2" fmla="*/ 75763 w 2027922"/>
                <a:gd name="connsiteY2" fmla="*/ 25773 h 3726131"/>
                <a:gd name="connsiteX3" fmla="*/ 113863 w 2027922"/>
                <a:gd name="connsiteY3" fmla="*/ 4342 h 3726131"/>
                <a:gd name="connsiteX4" fmla="*/ 197207 w 2027922"/>
                <a:gd name="connsiteY4" fmla="*/ 85306 h 3726131"/>
                <a:gd name="connsiteX5" fmla="*/ 161488 w 2027922"/>
                <a:gd name="connsiteY5" fmla="*/ 249612 h 3726131"/>
                <a:gd name="connsiteX6" fmla="*/ 425807 w 2027922"/>
                <a:gd name="connsiteY6" fmla="*/ 668712 h 3726131"/>
                <a:gd name="connsiteX7" fmla="*/ 525820 w 2027922"/>
                <a:gd name="connsiteY7" fmla="*/ 687762 h 3726131"/>
                <a:gd name="connsiteX8" fmla="*/ 752038 w 2027922"/>
                <a:gd name="connsiteY8" fmla="*/ 790156 h 3726131"/>
                <a:gd name="connsiteX9" fmla="*/ 473432 w 2027922"/>
                <a:gd name="connsiteY9" fmla="*/ 1178299 h 3726131"/>
                <a:gd name="connsiteX10" fmla="*/ 421045 w 2027922"/>
                <a:gd name="connsiteY10" fmla="*/ 1656931 h 3726131"/>
                <a:gd name="connsiteX11" fmla="*/ 1047313 w 2027922"/>
                <a:gd name="connsiteY11" fmla="*/ 1718843 h 3726131"/>
                <a:gd name="connsiteX12" fmla="*/ 1116370 w 2027922"/>
                <a:gd name="connsiteY12" fmla="*/ 1461668 h 3726131"/>
                <a:gd name="connsiteX13" fmla="*/ 923488 w 2027922"/>
                <a:gd name="connsiteY13" fmla="*/ 954461 h 3726131"/>
                <a:gd name="connsiteX14" fmla="*/ 1033026 w 2027922"/>
                <a:gd name="connsiteY14" fmla="*/ 840160 h 3726131"/>
                <a:gd name="connsiteX15" fmla="*/ 1206857 w 2027922"/>
                <a:gd name="connsiteY15" fmla="*/ 756817 h 3726131"/>
                <a:gd name="connsiteX16" fmla="*/ 1335444 w 2027922"/>
                <a:gd name="connsiteY16" fmla="*/ 785392 h 3726131"/>
                <a:gd name="connsiteX17" fmla="*/ 1852176 w 2027922"/>
                <a:gd name="connsiteY17" fmla="*/ 313906 h 3726131"/>
                <a:gd name="connsiteX18" fmla="*/ 1850139 w 2027922"/>
                <a:gd name="connsiteY18" fmla="*/ 175792 h 3726131"/>
                <a:gd name="connsiteX19" fmla="*/ 1925993 w 2027922"/>
                <a:gd name="connsiteY19" fmla="*/ 125785 h 3726131"/>
                <a:gd name="connsiteX20" fmla="*/ 1971238 w 2027922"/>
                <a:gd name="connsiteY20" fmla="*/ 168649 h 3726131"/>
                <a:gd name="connsiteX21" fmla="*/ 2006957 w 2027922"/>
                <a:gd name="connsiteY21" fmla="*/ 218653 h 3726131"/>
                <a:gd name="connsiteX22" fmla="*/ 2021244 w 2027922"/>
                <a:gd name="connsiteY22" fmla="*/ 299616 h 3726131"/>
                <a:gd name="connsiteX23" fmla="*/ 1906944 w 2027922"/>
                <a:gd name="connsiteY23" fmla="*/ 440112 h 3726131"/>
                <a:gd name="connsiteX24" fmla="*/ 1933137 w 2027922"/>
                <a:gd name="connsiteY24" fmla="*/ 502023 h 3726131"/>
                <a:gd name="connsiteX25" fmla="*/ 1544994 w 2027922"/>
                <a:gd name="connsiteY25" fmla="*/ 949698 h 3726131"/>
                <a:gd name="connsiteX26" fmla="*/ 1318775 w 2027922"/>
                <a:gd name="connsiteY26" fmla="*/ 1094954 h 3726131"/>
                <a:gd name="connsiteX27" fmla="*/ 1544994 w 2027922"/>
                <a:gd name="connsiteY27" fmla="*/ 2021260 h 3726131"/>
                <a:gd name="connsiteX28" fmla="*/ 1085412 w 2027922"/>
                <a:gd name="connsiteY28" fmla="*/ 2018879 h 3726131"/>
                <a:gd name="connsiteX29" fmla="*/ 1042274 w 2027922"/>
                <a:gd name="connsiteY29" fmla="*/ 3318748 h 3726131"/>
                <a:gd name="connsiteX30" fmla="*/ 1008282 w 2027922"/>
                <a:gd name="connsiteY30" fmla="*/ 3481912 h 3726131"/>
                <a:gd name="connsiteX31" fmla="*/ 1129222 w 2027922"/>
                <a:gd name="connsiteY31" fmla="*/ 3690516 h 3726131"/>
                <a:gd name="connsiteX32" fmla="*/ 899506 w 2027922"/>
                <a:gd name="connsiteY32" fmla="*/ 3600887 h 3726131"/>
                <a:gd name="connsiteX33" fmla="*/ 817923 w 2027922"/>
                <a:gd name="connsiteY33" fmla="*/ 3560097 h 3726131"/>
                <a:gd name="connsiteX34" fmla="*/ 811125 w 2027922"/>
                <a:gd name="connsiteY34" fmla="*/ 3260961 h 3726131"/>
                <a:gd name="connsiteX35" fmla="*/ 794129 w 2027922"/>
                <a:gd name="connsiteY35" fmla="*/ 2798662 h 3726131"/>
                <a:gd name="connsiteX36" fmla="*/ 685352 w 2027922"/>
                <a:gd name="connsiteY36" fmla="*/ 2302371 h 3726131"/>
                <a:gd name="connsiteX37" fmla="*/ 617367 w 2027922"/>
                <a:gd name="connsiteY37" fmla="*/ 2805460 h 3726131"/>
                <a:gd name="connsiteX38" fmla="*/ 603771 w 2027922"/>
                <a:gd name="connsiteY38" fmla="*/ 3288155 h 3726131"/>
                <a:gd name="connsiteX39" fmla="*/ 607169 w 2027922"/>
                <a:gd name="connsiteY39" fmla="*/ 3512506 h 3726131"/>
                <a:gd name="connsiteX40" fmla="*/ 613968 w 2027922"/>
                <a:gd name="connsiteY40" fmla="*/ 3600886 h 3726131"/>
                <a:gd name="connsiteX41" fmla="*/ 545983 w 2027922"/>
                <a:gd name="connsiteY41" fmla="*/ 3638278 h 3726131"/>
                <a:gd name="connsiteX42" fmla="*/ 253852 w 2027922"/>
                <a:gd name="connsiteY42" fmla="*/ 3710912 h 3726131"/>
                <a:gd name="connsiteX43" fmla="*/ 376020 w 2027922"/>
                <a:gd name="connsiteY43" fmla="*/ 3512506 h 3726131"/>
                <a:gd name="connsiteX44" fmla="*/ 379419 w 2027922"/>
                <a:gd name="connsiteY44" fmla="*/ 3383335 h 3726131"/>
                <a:gd name="connsiteX45" fmla="*/ 384980 w 2027922"/>
                <a:gd name="connsiteY45" fmla="*/ 1920902 h 3726131"/>
                <a:gd name="connsiteX46" fmla="*/ 301981 w 2027922"/>
                <a:gd name="connsiteY46" fmla="*/ 1861716 h 3726131"/>
                <a:gd name="connsiteX47" fmla="*/ 351987 w 2027922"/>
                <a:gd name="connsiteY47" fmla="*/ 1523579 h 3726131"/>
                <a:gd name="connsiteX48" fmla="*/ 297218 w 2027922"/>
                <a:gd name="connsiteY48" fmla="*/ 1337841 h 3726131"/>
                <a:gd name="connsiteX49" fmla="*/ 409137 w 2027922"/>
                <a:gd name="connsiteY49" fmla="*/ 997323 h 3726131"/>
                <a:gd name="connsiteX50" fmla="*/ 128150 w 2027922"/>
                <a:gd name="connsiteY50" fmla="*/ 652041 h 3726131"/>
                <a:gd name="connsiteX51" fmla="*/ 9087 w 2027922"/>
                <a:gd name="connsiteY51" fmla="*/ 352004 h 3726131"/>
                <a:gd name="connsiteX52" fmla="*/ 59094 w 2027922"/>
                <a:gd name="connsiteY52" fmla="*/ 292473 h 3726131"/>
                <a:gd name="connsiteX53" fmla="*/ 11160 w 2027922"/>
                <a:gd name="connsiteY53" fmla="*/ 171030 h 3726131"/>
                <a:gd name="connsiteX0" fmla="*/ 11160 w 2027922"/>
                <a:gd name="connsiteY0" fmla="*/ 171030 h 3726131"/>
                <a:gd name="connsiteX1" fmla="*/ 30519 w 2027922"/>
                <a:gd name="connsiteY1" fmla="*/ 59110 h 3726131"/>
                <a:gd name="connsiteX2" fmla="*/ 75763 w 2027922"/>
                <a:gd name="connsiteY2" fmla="*/ 25773 h 3726131"/>
                <a:gd name="connsiteX3" fmla="*/ 113863 w 2027922"/>
                <a:gd name="connsiteY3" fmla="*/ 4342 h 3726131"/>
                <a:gd name="connsiteX4" fmla="*/ 197207 w 2027922"/>
                <a:gd name="connsiteY4" fmla="*/ 85306 h 3726131"/>
                <a:gd name="connsiteX5" fmla="*/ 161488 w 2027922"/>
                <a:gd name="connsiteY5" fmla="*/ 249612 h 3726131"/>
                <a:gd name="connsiteX6" fmla="*/ 425807 w 2027922"/>
                <a:gd name="connsiteY6" fmla="*/ 668712 h 3726131"/>
                <a:gd name="connsiteX7" fmla="*/ 525820 w 2027922"/>
                <a:gd name="connsiteY7" fmla="*/ 687762 h 3726131"/>
                <a:gd name="connsiteX8" fmla="*/ 752038 w 2027922"/>
                <a:gd name="connsiteY8" fmla="*/ 790156 h 3726131"/>
                <a:gd name="connsiteX9" fmla="*/ 473432 w 2027922"/>
                <a:gd name="connsiteY9" fmla="*/ 1178299 h 3726131"/>
                <a:gd name="connsiteX10" fmla="*/ 421045 w 2027922"/>
                <a:gd name="connsiteY10" fmla="*/ 1656931 h 3726131"/>
                <a:gd name="connsiteX11" fmla="*/ 1047313 w 2027922"/>
                <a:gd name="connsiteY11" fmla="*/ 1718843 h 3726131"/>
                <a:gd name="connsiteX12" fmla="*/ 1116370 w 2027922"/>
                <a:gd name="connsiteY12" fmla="*/ 1461668 h 3726131"/>
                <a:gd name="connsiteX13" fmla="*/ 923488 w 2027922"/>
                <a:gd name="connsiteY13" fmla="*/ 954461 h 3726131"/>
                <a:gd name="connsiteX14" fmla="*/ 1033026 w 2027922"/>
                <a:gd name="connsiteY14" fmla="*/ 840160 h 3726131"/>
                <a:gd name="connsiteX15" fmla="*/ 1206857 w 2027922"/>
                <a:gd name="connsiteY15" fmla="*/ 756817 h 3726131"/>
                <a:gd name="connsiteX16" fmla="*/ 1335444 w 2027922"/>
                <a:gd name="connsiteY16" fmla="*/ 785392 h 3726131"/>
                <a:gd name="connsiteX17" fmla="*/ 1852176 w 2027922"/>
                <a:gd name="connsiteY17" fmla="*/ 313906 h 3726131"/>
                <a:gd name="connsiteX18" fmla="*/ 1850139 w 2027922"/>
                <a:gd name="connsiteY18" fmla="*/ 175792 h 3726131"/>
                <a:gd name="connsiteX19" fmla="*/ 1925993 w 2027922"/>
                <a:gd name="connsiteY19" fmla="*/ 125785 h 3726131"/>
                <a:gd name="connsiteX20" fmla="*/ 1971238 w 2027922"/>
                <a:gd name="connsiteY20" fmla="*/ 168649 h 3726131"/>
                <a:gd name="connsiteX21" fmla="*/ 2006957 w 2027922"/>
                <a:gd name="connsiteY21" fmla="*/ 218653 h 3726131"/>
                <a:gd name="connsiteX22" fmla="*/ 2021244 w 2027922"/>
                <a:gd name="connsiteY22" fmla="*/ 299616 h 3726131"/>
                <a:gd name="connsiteX23" fmla="*/ 1906944 w 2027922"/>
                <a:gd name="connsiteY23" fmla="*/ 440112 h 3726131"/>
                <a:gd name="connsiteX24" fmla="*/ 1933137 w 2027922"/>
                <a:gd name="connsiteY24" fmla="*/ 502023 h 3726131"/>
                <a:gd name="connsiteX25" fmla="*/ 1544994 w 2027922"/>
                <a:gd name="connsiteY25" fmla="*/ 949698 h 3726131"/>
                <a:gd name="connsiteX26" fmla="*/ 1318775 w 2027922"/>
                <a:gd name="connsiteY26" fmla="*/ 1094954 h 3726131"/>
                <a:gd name="connsiteX27" fmla="*/ 1544994 w 2027922"/>
                <a:gd name="connsiteY27" fmla="*/ 2021260 h 3726131"/>
                <a:gd name="connsiteX28" fmla="*/ 1085412 w 2027922"/>
                <a:gd name="connsiteY28" fmla="*/ 2018879 h 3726131"/>
                <a:gd name="connsiteX29" fmla="*/ 1042274 w 2027922"/>
                <a:gd name="connsiteY29" fmla="*/ 3318748 h 3726131"/>
                <a:gd name="connsiteX30" fmla="*/ 1008282 w 2027922"/>
                <a:gd name="connsiteY30" fmla="*/ 3481912 h 3726131"/>
                <a:gd name="connsiteX31" fmla="*/ 1129222 w 2027922"/>
                <a:gd name="connsiteY31" fmla="*/ 3690516 h 3726131"/>
                <a:gd name="connsiteX32" fmla="*/ 899506 w 2027922"/>
                <a:gd name="connsiteY32" fmla="*/ 3600887 h 3726131"/>
                <a:gd name="connsiteX33" fmla="*/ 817923 w 2027922"/>
                <a:gd name="connsiteY33" fmla="*/ 3560097 h 3726131"/>
                <a:gd name="connsiteX34" fmla="*/ 811125 w 2027922"/>
                <a:gd name="connsiteY34" fmla="*/ 3260961 h 3726131"/>
                <a:gd name="connsiteX35" fmla="*/ 794129 w 2027922"/>
                <a:gd name="connsiteY35" fmla="*/ 2798662 h 3726131"/>
                <a:gd name="connsiteX36" fmla="*/ 685352 w 2027922"/>
                <a:gd name="connsiteY36" fmla="*/ 2302371 h 3726131"/>
                <a:gd name="connsiteX37" fmla="*/ 617367 w 2027922"/>
                <a:gd name="connsiteY37" fmla="*/ 2805460 h 3726131"/>
                <a:gd name="connsiteX38" fmla="*/ 603771 w 2027922"/>
                <a:gd name="connsiteY38" fmla="*/ 3288155 h 3726131"/>
                <a:gd name="connsiteX39" fmla="*/ 607169 w 2027922"/>
                <a:gd name="connsiteY39" fmla="*/ 3512506 h 3726131"/>
                <a:gd name="connsiteX40" fmla="*/ 613968 w 2027922"/>
                <a:gd name="connsiteY40" fmla="*/ 3600886 h 3726131"/>
                <a:gd name="connsiteX41" fmla="*/ 545983 w 2027922"/>
                <a:gd name="connsiteY41" fmla="*/ 3638278 h 3726131"/>
                <a:gd name="connsiteX42" fmla="*/ 253852 w 2027922"/>
                <a:gd name="connsiteY42" fmla="*/ 3710912 h 3726131"/>
                <a:gd name="connsiteX43" fmla="*/ 376020 w 2027922"/>
                <a:gd name="connsiteY43" fmla="*/ 3512506 h 3726131"/>
                <a:gd name="connsiteX44" fmla="*/ 379419 w 2027922"/>
                <a:gd name="connsiteY44" fmla="*/ 3383335 h 3726131"/>
                <a:gd name="connsiteX45" fmla="*/ 384980 w 2027922"/>
                <a:gd name="connsiteY45" fmla="*/ 1920902 h 3726131"/>
                <a:gd name="connsiteX46" fmla="*/ 301981 w 2027922"/>
                <a:gd name="connsiteY46" fmla="*/ 1861716 h 3726131"/>
                <a:gd name="connsiteX47" fmla="*/ 351987 w 2027922"/>
                <a:gd name="connsiteY47" fmla="*/ 1523579 h 3726131"/>
                <a:gd name="connsiteX48" fmla="*/ 297218 w 2027922"/>
                <a:gd name="connsiteY48" fmla="*/ 1337841 h 3726131"/>
                <a:gd name="connsiteX49" fmla="*/ 409137 w 2027922"/>
                <a:gd name="connsiteY49" fmla="*/ 997323 h 3726131"/>
                <a:gd name="connsiteX50" fmla="*/ 128150 w 2027922"/>
                <a:gd name="connsiteY50" fmla="*/ 652041 h 3726131"/>
                <a:gd name="connsiteX51" fmla="*/ 9087 w 2027922"/>
                <a:gd name="connsiteY51" fmla="*/ 352004 h 3726131"/>
                <a:gd name="connsiteX52" fmla="*/ 59094 w 2027922"/>
                <a:gd name="connsiteY52" fmla="*/ 292473 h 3726131"/>
                <a:gd name="connsiteX53" fmla="*/ 11160 w 2027922"/>
                <a:gd name="connsiteY53" fmla="*/ 171030 h 3726131"/>
                <a:gd name="connsiteX0" fmla="*/ 11160 w 2027922"/>
                <a:gd name="connsiteY0" fmla="*/ 171030 h 3726131"/>
                <a:gd name="connsiteX1" fmla="*/ 30519 w 2027922"/>
                <a:gd name="connsiteY1" fmla="*/ 59110 h 3726131"/>
                <a:gd name="connsiteX2" fmla="*/ 75763 w 2027922"/>
                <a:gd name="connsiteY2" fmla="*/ 25773 h 3726131"/>
                <a:gd name="connsiteX3" fmla="*/ 113863 w 2027922"/>
                <a:gd name="connsiteY3" fmla="*/ 4342 h 3726131"/>
                <a:gd name="connsiteX4" fmla="*/ 197207 w 2027922"/>
                <a:gd name="connsiteY4" fmla="*/ 85306 h 3726131"/>
                <a:gd name="connsiteX5" fmla="*/ 161488 w 2027922"/>
                <a:gd name="connsiteY5" fmla="*/ 249612 h 3726131"/>
                <a:gd name="connsiteX6" fmla="*/ 425807 w 2027922"/>
                <a:gd name="connsiteY6" fmla="*/ 668712 h 3726131"/>
                <a:gd name="connsiteX7" fmla="*/ 525820 w 2027922"/>
                <a:gd name="connsiteY7" fmla="*/ 687762 h 3726131"/>
                <a:gd name="connsiteX8" fmla="*/ 752038 w 2027922"/>
                <a:gd name="connsiteY8" fmla="*/ 790156 h 3726131"/>
                <a:gd name="connsiteX9" fmla="*/ 473432 w 2027922"/>
                <a:gd name="connsiteY9" fmla="*/ 1178299 h 3726131"/>
                <a:gd name="connsiteX10" fmla="*/ 421045 w 2027922"/>
                <a:gd name="connsiteY10" fmla="*/ 1656931 h 3726131"/>
                <a:gd name="connsiteX11" fmla="*/ 1047313 w 2027922"/>
                <a:gd name="connsiteY11" fmla="*/ 1718843 h 3726131"/>
                <a:gd name="connsiteX12" fmla="*/ 1116370 w 2027922"/>
                <a:gd name="connsiteY12" fmla="*/ 1461668 h 3726131"/>
                <a:gd name="connsiteX13" fmla="*/ 923488 w 2027922"/>
                <a:gd name="connsiteY13" fmla="*/ 954461 h 3726131"/>
                <a:gd name="connsiteX14" fmla="*/ 1033026 w 2027922"/>
                <a:gd name="connsiteY14" fmla="*/ 840160 h 3726131"/>
                <a:gd name="connsiteX15" fmla="*/ 1206857 w 2027922"/>
                <a:gd name="connsiteY15" fmla="*/ 756817 h 3726131"/>
                <a:gd name="connsiteX16" fmla="*/ 1335444 w 2027922"/>
                <a:gd name="connsiteY16" fmla="*/ 785392 h 3726131"/>
                <a:gd name="connsiteX17" fmla="*/ 1852176 w 2027922"/>
                <a:gd name="connsiteY17" fmla="*/ 313906 h 3726131"/>
                <a:gd name="connsiteX18" fmla="*/ 1850139 w 2027922"/>
                <a:gd name="connsiteY18" fmla="*/ 175792 h 3726131"/>
                <a:gd name="connsiteX19" fmla="*/ 1925993 w 2027922"/>
                <a:gd name="connsiteY19" fmla="*/ 125785 h 3726131"/>
                <a:gd name="connsiteX20" fmla="*/ 1971238 w 2027922"/>
                <a:gd name="connsiteY20" fmla="*/ 168649 h 3726131"/>
                <a:gd name="connsiteX21" fmla="*/ 2006957 w 2027922"/>
                <a:gd name="connsiteY21" fmla="*/ 218653 h 3726131"/>
                <a:gd name="connsiteX22" fmla="*/ 2021244 w 2027922"/>
                <a:gd name="connsiteY22" fmla="*/ 299616 h 3726131"/>
                <a:gd name="connsiteX23" fmla="*/ 1906944 w 2027922"/>
                <a:gd name="connsiteY23" fmla="*/ 440112 h 3726131"/>
                <a:gd name="connsiteX24" fmla="*/ 1933137 w 2027922"/>
                <a:gd name="connsiteY24" fmla="*/ 502023 h 3726131"/>
                <a:gd name="connsiteX25" fmla="*/ 1544994 w 2027922"/>
                <a:gd name="connsiteY25" fmla="*/ 949698 h 3726131"/>
                <a:gd name="connsiteX26" fmla="*/ 1318775 w 2027922"/>
                <a:gd name="connsiteY26" fmla="*/ 1094954 h 3726131"/>
                <a:gd name="connsiteX27" fmla="*/ 1544994 w 2027922"/>
                <a:gd name="connsiteY27" fmla="*/ 2021260 h 3726131"/>
                <a:gd name="connsiteX28" fmla="*/ 1085412 w 2027922"/>
                <a:gd name="connsiteY28" fmla="*/ 2018879 h 3726131"/>
                <a:gd name="connsiteX29" fmla="*/ 1042274 w 2027922"/>
                <a:gd name="connsiteY29" fmla="*/ 3318748 h 3726131"/>
                <a:gd name="connsiteX30" fmla="*/ 1008282 w 2027922"/>
                <a:gd name="connsiteY30" fmla="*/ 3481912 h 3726131"/>
                <a:gd name="connsiteX31" fmla="*/ 1129222 w 2027922"/>
                <a:gd name="connsiteY31" fmla="*/ 3690516 h 3726131"/>
                <a:gd name="connsiteX32" fmla="*/ 899506 w 2027922"/>
                <a:gd name="connsiteY32" fmla="*/ 3600887 h 3726131"/>
                <a:gd name="connsiteX33" fmla="*/ 817923 w 2027922"/>
                <a:gd name="connsiteY33" fmla="*/ 3560097 h 3726131"/>
                <a:gd name="connsiteX34" fmla="*/ 811125 w 2027922"/>
                <a:gd name="connsiteY34" fmla="*/ 3260961 h 3726131"/>
                <a:gd name="connsiteX35" fmla="*/ 794129 w 2027922"/>
                <a:gd name="connsiteY35" fmla="*/ 2798662 h 3726131"/>
                <a:gd name="connsiteX36" fmla="*/ 685352 w 2027922"/>
                <a:gd name="connsiteY36" fmla="*/ 2302371 h 3726131"/>
                <a:gd name="connsiteX37" fmla="*/ 617367 w 2027922"/>
                <a:gd name="connsiteY37" fmla="*/ 2805460 h 3726131"/>
                <a:gd name="connsiteX38" fmla="*/ 603771 w 2027922"/>
                <a:gd name="connsiteY38" fmla="*/ 3288155 h 3726131"/>
                <a:gd name="connsiteX39" fmla="*/ 607169 w 2027922"/>
                <a:gd name="connsiteY39" fmla="*/ 3512506 h 3726131"/>
                <a:gd name="connsiteX40" fmla="*/ 613968 w 2027922"/>
                <a:gd name="connsiteY40" fmla="*/ 3600886 h 3726131"/>
                <a:gd name="connsiteX41" fmla="*/ 545983 w 2027922"/>
                <a:gd name="connsiteY41" fmla="*/ 3638278 h 3726131"/>
                <a:gd name="connsiteX42" fmla="*/ 253852 w 2027922"/>
                <a:gd name="connsiteY42" fmla="*/ 3710912 h 3726131"/>
                <a:gd name="connsiteX43" fmla="*/ 376020 w 2027922"/>
                <a:gd name="connsiteY43" fmla="*/ 3512506 h 3726131"/>
                <a:gd name="connsiteX44" fmla="*/ 379419 w 2027922"/>
                <a:gd name="connsiteY44" fmla="*/ 3383335 h 3726131"/>
                <a:gd name="connsiteX45" fmla="*/ 384980 w 2027922"/>
                <a:gd name="connsiteY45" fmla="*/ 1920902 h 3726131"/>
                <a:gd name="connsiteX46" fmla="*/ 301981 w 2027922"/>
                <a:gd name="connsiteY46" fmla="*/ 1861716 h 3726131"/>
                <a:gd name="connsiteX47" fmla="*/ 351987 w 2027922"/>
                <a:gd name="connsiteY47" fmla="*/ 1523579 h 3726131"/>
                <a:gd name="connsiteX48" fmla="*/ 297218 w 2027922"/>
                <a:gd name="connsiteY48" fmla="*/ 1337841 h 3726131"/>
                <a:gd name="connsiteX49" fmla="*/ 409137 w 2027922"/>
                <a:gd name="connsiteY49" fmla="*/ 997323 h 3726131"/>
                <a:gd name="connsiteX50" fmla="*/ 128150 w 2027922"/>
                <a:gd name="connsiteY50" fmla="*/ 652041 h 3726131"/>
                <a:gd name="connsiteX51" fmla="*/ 9087 w 2027922"/>
                <a:gd name="connsiteY51" fmla="*/ 352004 h 3726131"/>
                <a:gd name="connsiteX52" fmla="*/ 59094 w 2027922"/>
                <a:gd name="connsiteY52" fmla="*/ 292473 h 3726131"/>
                <a:gd name="connsiteX53" fmla="*/ 11160 w 2027922"/>
                <a:gd name="connsiteY53" fmla="*/ 171030 h 3726131"/>
                <a:gd name="connsiteX0" fmla="*/ 11160 w 2027922"/>
                <a:gd name="connsiteY0" fmla="*/ 171030 h 3726131"/>
                <a:gd name="connsiteX1" fmla="*/ 30519 w 2027922"/>
                <a:gd name="connsiteY1" fmla="*/ 59110 h 3726131"/>
                <a:gd name="connsiteX2" fmla="*/ 75763 w 2027922"/>
                <a:gd name="connsiteY2" fmla="*/ 25773 h 3726131"/>
                <a:gd name="connsiteX3" fmla="*/ 113863 w 2027922"/>
                <a:gd name="connsiteY3" fmla="*/ 4342 h 3726131"/>
                <a:gd name="connsiteX4" fmla="*/ 197207 w 2027922"/>
                <a:gd name="connsiteY4" fmla="*/ 85306 h 3726131"/>
                <a:gd name="connsiteX5" fmla="*/ 161488 w 2027922"/>
                <a:gd name="connsiteY5" fmla="*/ 249612 h 3726131"/>
                <a:gd name="connsiteX6" fmla="*/ 425807 w 2027922"/>
                <a:gd name="connsiteY6" fmla="*/ 668712 h 3726131"/>
                <a:gd name="connsiteX7" fmla="*/ 525820 w 2027922"/>
                <a:gd name="connsiteY7" fmla="*/ 687762 h 3726131"/>
                <a:gd name="connsiteX8" fmla="*/ 752038 w 2027922"/>
                <a:gd name="connsiteY8" fmla="*/ 790156 h 3726131"/>
                <a:gd name="connsiteX9" fmla="*/ 473432 w 2027922"/>
                <a:gd name="connsiteY9" fmla="*/ 1178299 h 3726131"/>
                <a:gd name="connsiteX10" fmla="*/ 421045 w 2027922"/>
                <a:gd name="connsiteY10" fmla="*/ 1656931 h 3726131"/>
                <a:gd name="connsiteX11" fmla="*/ 1047313 w 2027922"/>
                <a:gd name="connsiteY11" fmla="*/ 1718843 h 3726131"/>
                <a:gd name="connsiteX12" fmla="*/ 1116370 w 2027922"/>
                <a:gd name="connsiteY12" fmla="*/ 1461668 h 3726131"/>
                <a:gd name="connsiteX13" fmla="*/ 923488 w 2027922"/>
                <a:gd name="connsiteY13" fmla="*/ 954461 h 3726131"/>
                <a:gd name="connsiteX14" fmla="*/ 1033026 w 2027922"/>
                <a:gd name="connsiteY14" fmla="*/ 840160 h 3726131"/>
                <a:gd name="connsiteX15" fmla="*/ 1206857 w 2027922"/>
                <a:gd name="connsiteY15" fmla="*/ 756817 h 3726131"/>
                <a:gd name="connsiteX16" fmla="*/ 1335444 w 2027922"/>
                <a:gd name="connsiteY16" fmla="*/ 785392 h 3726131"/>
                <a:gd name="connsiteX17" fmla="*/ 1852176 w 2027922"/>
                <a:gd name="connsiteY17" fmla="*/ 313906 h 3726131"/>
                <a:gd name="connsiteX18" fmla="*/ 1850139 w 2027922"/>
                <a:gd name="connsiteY18" fmla="*/ 175792 h 3726131"/>
                <a:gd name="connsiteX19" fmla="*/ 1925993 w 2027922"/>
                <a:gd name="connsiteY19" fmla="*/ 125785 h 3726131"/>
                <a:gd name="connsiteX20" fmla="*/ 1971238 w 2027922"/>
                <a:gd name="connsiteY20" fmla="*/ 168649 h 3726131"/>
                <a:gd name="connsiteX21" fmla="*/ 2006957 w 2027922"/>
                <a:gd name="connsiteY21" fmla="*/ 218653 h 3726131"/>
                <a:gd name="connsiteX22" fmla="*/ 2021244 w 2027922"/>
                <a:gd name="connsiteY22" fmla="*/ 299616 h 3726131"/>
                <a:gd name="connsiteX23" fmla="*/ 1906944 w 2027922"/>
                <a:gd name="connsiteY23" fmla="*/ 440112 h 3726131"/>
                <a:gd name="connsiteX24" fmla="*/ 1933137 w 2027922"/>
                <a:gd name="connsiteY24" fmla="*/ 502023 h 3726131"/>
                <a:gd name="connsiteX25" fmla="*/ 1544994 w 2027922"/>
                <a:gd name="connsiteY25" fmla="*/ 949698 h 3726131"/>
                <a:gd name="connsiteX26" fmla="*/ 1318775 w 2027922"/>
                <a:gd name="connsiteY26" fmla="*/ 1094954 h 3726131"/>
                <a:gd name="connsiteX27" fmla="*/ 1544994 w 2027922"/>
                <a:gd name="connsiteY27" fmla="*/ 2021260 h 3726131"/>
                <a:gd name="connsiteX28" fmla="*/ 1085412 w 2027922"/>
                <a:gd name="connsiteY28" fmla="*/ 2018879 h 3726131"/>
                <a:gd name="connsiteX29" fmla="*/ 1059270 w 2027922"/>
                <a:gd name="connsiteY29" fmla="*/ 3311949 h 3726131"/>
                <a:gd name="connsiteX30" fmla="*/ 1008282 w 2027922"/>
                <a:gd name="connsiteY30" fmla="*/ 3481912 h 3726131"/>
                <a:gd name="connsiteX31" fmla="*/ 1129222 w 2027922"/>
                <a:gd name="connsiteY31" fmla="*/ 3690516 h 3726131"/>
                <a:gd name="connsiteX32" fmla="*/ 899506 w 2027922"/>
                <a:gd name="connsiteY32" fmla="*/ 3600887 h 3726131"/>
                <a:gd name="connsiteX33" fmla="*/ 817923 w 2027922"/>
                <a:gd name="connsiteY33" fmla="*/ 3560097 h 3726131"/>
                <a:gd name="connsiteX34" fmla="*/ 811125 w 2027922"/>
                <a:gd name="connsiteY34" fmla="*/ 3260961 h 3726131"/>
                <a:gd name="connsiteX35" fmla="*/ 794129 w 2027922"/>
                <a:gd name="connsiteY35" fmla="*/ 2798662 h 3726131"/>
                <a:gd name="connsiteX36" fmla="*/ 685352 w 2027922"/>
                <a:gd name="connsiteY36" fmla="*/ 2302371 h 3726131"/>
                <a:gd name="connsiteX37" fmla="*/ 617367 w 2027922"/>
                <a:gd name="connsiteY37" fmla="*/ 2805460 h 3726131"/>
                <a:gd name="connsiteX38" fmla="*/ 603771 w 2027922"/>
                <a:gd name="connsiteY38" fmla="*/ 3288155 h 3726131"/>
                <a:gd name="connsiteX39" fmla="*/ 607169 w 2027922"/>
                <a:gd name="connsiteY39" fmla="*/ 3512506 h 3726131"/>
                <a:gd name="connsiteX40" fmla="*/ 613968 w 2027922"/>
                <a:gd name="connsiteY40" fmla="*/ 3600886 h 3726131"/>
                <a:gd name="connsiteX41" fmla="*/ 545983 w 2027922"/>
                <a:gd name="connsiteY41" fmla="*/ 3638278 h 3726131"/>
                <a:gd name="connsiteX42" fmla="*/ 253852 w 2027922"/>
                <a:gd name="connsiteY42" fmla="*/ 3710912 h 3726131"/>
                <a:gd name="connsiteX43" fmla="*/ 376020 w 2027922"/>
                <a:gd name="connsiteY43" fmla="*/ 3512506 h 3726131"/>
                <a:gd name="connsiteX44" fmla="*/ 379419 w 2027922"/>
                <a:gd name="connsiteY44" fmla="*/ 3383335 h 3726131"/>
                <a:gd name="connsiteX45" fmla="*/ 384980 w 2027922"/>
                <a:gd name="connsiteY45" fmla="*/ 1920902 h 3726131"/>
                <a:gd name="connsiteX46" fmla="*/ 301981 w 2027922"/>
                <a:gd name="connsiteY46" fmla="*/ 1861716 h 3726131"/>
                <a:gd name="connsiteX47" fmla="*/ 351987 w 2027922"/>
                <a:gd name="connsiteY47" fmla="*/ 1523579 h 3726131"/>
                <a:gd name="connsiteX48" fmla="*/ 297218 w 2027922"/>
                <a:gd name="connsiteY48" fmla="*/ 1337841 h 3726131"/>
                <a:gd name="connsiteX49" fmla="*/ 409137 w 2027922"/>
                <a:gd name="connsiteY49" fmla="*/ 997323 h 3726131"/>
                <a:gd name="connsiteX50" fmla="*/ 128150 w 2027922"/>
                <a:gd name="connsiteY50" fmla="*/ 652041 h 3726131"/>
                <a:gd name="connsiteX51" fmla="*/ 9087 w 2027922"/>
                <a:gd name="connsiteY51" fmla="*/ 352004 h 3726131"/>
                <a:gd name="connsiteX52" fmla="*/ 59094 w 2027922"/>
                <a:gd name="connsiteY52" fmla="*/ 292473 h 3726131"/>
                <a:gd name="connsiteX53" fmla="*/ 11160 w 2027922"/>
                <a:gd name="connsiteY53" fmla="*/ 171030 h 3726131"/>
                <a:gd name="connsiteX0" fmla="*/ 11160 w 2027922"/>
                <a:gd name="connsiteY0" fmla="*/ 171030 h 3726131"/>
                <a:gd name="connsiteX1" fmla="*/ 30519 w 2027922"/>
                <a:gd name="connsiteY1" fmla="*/ 59110 h 3726131"/>
                <a:gd name="connsiteX2" fmla="*/ 75763 w 2027922"/>
                <a:gd name="connsiteY2" fmla="*/ 25773 h 3726131"/>
                <a:gd name="connsiteX3" fmla="*/ 113863 w 2027922"/>
                <a:gd name="connsiteY3" fmla="*/ 4342 h 3726131"/>
                <a:gd name="connsiteX4" fmla="*/ 197207 w 2027922"/>
                <a:gd name="connsiteY4" fmla="*/ 85306 h 3726131"/>
                <a:gd name="connsiteX5" fmla="*/ 161488 w 2027922"/>
                <a:gd name="connsiteY5" fmla="*/ 249612 h 3726131"/>
                <a:gd name="connsiteX6" fmla="*/ 425807 w 2027922"/>
                <a:gd name="connsiteY6" fmla="*/ 668712 h 3726131"/>
                <a:gd name="connsiteX7" fmla="*/ 525820 w 2027922"/>
                <a:gd name="connsiteY7" fmla="*/ 687762 h 3726131"/>
                <a:gd name="connsiteX8" fmla="*/ 752038 w 2027922"/>
                <a:gd name="connsiteY8" fmla="*/ 790156 h 3726131"/>
                <a:gd name="connsiteX9" fmla="*/ 473432 w 2027922"/>
                <a:gd name="connsiteY9" fmla="*/ 1178299 h 3726131"/>
                <a:gd name="connsiteX10" fmla="*/ 421045 w 2027922"/>
                <a:gd name="connsiteY10" fmla="*/ 1656931 h 3726131"/>
                <a:gd name="connsiteX11" fmla="*/ 1047313 w 2027922"/>
                <a:gd name="connsiteY11" fmla="*/ 1718843 h 3726131"/>
                <a:gd name="connsiteX12" fmla="*/ 1116370 w 2027922"/>
                <a:gd name="connsiteY12" fmla="*/ 1461668 h 3726131"/>
                <a:gd name="connsiteX13" fmla="*/ 923488 w 2027922"/>
                <a:gd name="connsiteY13" fmla="*/ 954461 h 3726131"/>
                <a:gd name="connsiteX14" fmla="*/ 1033026 w 2027922"/>
                <a:gd name="connsiteY14" fmla="*/ 840160 h 3726131"/>
                <a:gd name="connsiteX15" fmla="*/ 1206857 w 2027922"/>
                <a:gd name="connsiteY15" fmla="*/ 756817 h 3726131"/>
                <a:gd name="connsiteX16" fmla="*/ 1335444 w 2027922"/>
                <a:gd name="connsiteY16" fmla="*/ 785392 h 3726131"/>
                <a:gd name="connsiteX17" fmla="*/ 1852176 w 2027922"/>
                <a:gd name="connsiteY17" fmla="*/ 313906 h 3726131"/>
                <a:gd name="connsiteX18" fmla="*/ 1850139 w 2027922"/>
                <a:gd name="connsiteY18" fmla="*/ 175792 h 3726131"/>
                <a:gd name="connsiteX19" fmla="*/ 1925993 w 2027922"/>
                <a:gd name="connsiteY19" fmla="*/ 125785 h 3726131"/>
                <a:gd name="connsiteX20" fmla="*/ 1971238 w 2027922"/>
                <a:gd name="connsiteY20" fmla="*/ 168649 h 3726131"/>
                <a:gd name="connsiteX21" fmla="*/ 2006957 w 2027922"/>
                <a:gd name="connsiteY21" fmla="*/ 218653 h 3726131"/>
                <a:gd name="connsiteX22" fmla="*/ 2021244 w 2027922"/>
                <a:gd name="connsiteY22" fmla="*/ 299616 h 3726131"/>
                <a:gd name="connsiteX23" fmla="*/ 1906944 w 2027922"/>
                <a:gd name="connsiteY23" fmla="*/ 440112 h 3726131"/>
                <a:gd name="connsiteX24" fmla="*/ 1933137 w 2027922"/>
                <a:gd name="connsiteY24" fmla="*/ 502023 h 3726131"/>
                <a:gd name="connsiteX25" fmla="*/ 1544994 w 2027922"/>
                <a:gd name="connsiteY25" fmla="*/ 949698 h 3726131"/>
                <a:gd name="connsiteX26" fmla="*/ 1318775 w 2027922"/>
                <a:gd name="connsiteY26" fmla="*/ 1094954 h 3726131"/>
                <a:gd name="connsiteX27" fmla="*/ 1544994 w 2027922"/>
                <a:gd name="connsiteY27" fmla="*/ 2021260 h 3726131"/>
                <a:gd name="connsiteX28" fmla="*/ 1085412 w 2027922"/>
                <a:gd name="connsiteY28" fmla="*/ 2018879 h 3726131"/>
                <a:gd name="connsiteX29" fmla="*/ 1021879 w 2027922"/>
                <a:gd name="connsiteY29" fmla="*/ 2805460 h 3726131"/>
                <a:gd name="connsiteX30" fmla="*/ 1059270 w 2027922"/>
                <a:gd name="connsiteY30" fmla="*/ 3311949 h 3726131"/>
                <a:gd name="connsiteX31" fmla="*/ 1008282 w 2027922"/>
                <a:gd name="connsiteY31" fmla="*/ 3481912 h 3726131"/>
                <a:gd name="connsiteX32" fmla="*/ 1129222 w 2027922"/>
                <a:gd name="connsiteY32" fmla="*/ 3690516 h 3726131"/>
                <a:gd name="connsiteX33" fmla="*/ 899506 w 2027922"/>
                <a:gd name="connsiteY33" fmla="*/ 3600887 h 3726131"/>
                <a:gd name="connsiteX34" fmla="*/ 817923 w 2027922"/>
                <a:gd name="connsiteY34" fmla="*/ 3560097 h 3726131"/>
                <a:gd name="connsiteX35" fmla="*/ 811125 w 2027922"/>
                <a:gd name="connsiteY35" fmla="*/ 3260961 h 3726131"/>
                <a:gd name="connsiteX36" fmla="*/ 794129 w 2027922"/>
                <a:gd name="connsiteY36" fmla="*/ 2798662 h 3726131"/>
                <a:gd name="connsiteX37" fmla="*/ 685352 w 2027922"/>
                <a:gd name="connsiteY37" fmla="*/ 2302371 h 3726131"/>
                <a:gd name="connsiteX38" fmla="*/ 617367 w 2027922"/>
                <a:gd name="connsiteY38" fmla="*/ 2805460 h 3726131"/>
                <a:gd name="connsiteX39" fmla="*/ 603771 w 2027922"/>
                <a:gd name="connsiteY39" fmla="*/ 3288155 h 3726131"/>
                <a:gd name="connsiteX40" fmla="*/ 607169 w 2027922"/>
                <a:gd name="connsiteY40" fmla="*/ 3512506 h 3726131"/>
                <a:gd name="connsiteX41" fmla="*/ 613968 w 2027922"/>
                <a:gd name="connsiteY41" fmla="*/ 3600886 h 3726131"/>
                <a:gd name="connsiteX42" fmla="*/ 545983 w 2027922"/>
                <a:gd name="connsiteY42" fmla="*/ 3638278 h 3726131"/>
                <a:gd name="connsiteX43" fmla="*/ 253852 w 2027922"/>
                <a:gd name="connsiteY43" fmla="*/ 3710912 h 3726131"/>
                <a:gd name="connsiteX44" fmla="*/ 376020 w 2027922"/>
                <a:gd name="connsiteY44" fmla="*/ 3512506 h 3726131"/>
                <a:gd name="connsiteX45" fmla="*/ 379419 w 2027922"/>
                <a:gd name="connsiteY45" fmla="*/ 3383335 h 3726131"/>
                <a:gd name="connsiteX46" fmla="*/ 384980 w 2027922"/>
                <a:gd name="connsiteY46" fmla="*/ 1920902 h 3726131"/>
                <a:gd name="connsiteX47" fmla="*/ 301981 w 2027922"/>
                <a:gd name="connsiteY47" fmla="*/ 1861716 h 3726131"/>
                <a:gd name="connsiteX48" fmla="*/ 351987 w 2027922"/>
                <a:gd name="connsiteY48" fmla="*/ 1523579 h 3726131"/>
                <a:gd name="connsiteX49" fmla="*/ 297218 w 2027922"/>
                <a:gd name="connsiteY49" fmla="*/ 1337841 h 3726131"/>
                <a:gd name="connsiteX50" fmla="*/ 409137 w 2027922"/>
                <a:gd name="connsiteY50" fmla="*/ 997323 h 3726131"/>
                <a:gd name="connsiteX51" fmla="*/ 128150 w 2027922"/>
                <a:gd name="connsiteY51" fmla="*/ 652041 h 3726131"/>
                <a:gd name="connsiteX52" fmla="*/ 9087 w 2027922"/>
                <a:gd name="connsiteY52" fmla="*/ 352004 h 3726131"/>
                <a:gd name="connsiteX53" fmla="*/ 59094 w 2027922"/>
                <a:gd name="connsiteY53" fmla="*/ 292473 h 3726131"/>
                <a:gd name="connsiteX54" fmla="*/ 11160 w 2027922"/>
                <a:gd name="connsiteY54" fmla="*/ 171030 h 3726131"/>
                <a:gd name="connsiteX0" fmla="*/ 11160 w 2027922"/>
                <a:gd name="connsiteY0" fmla="*/ 171030 h 3726131"/>
                <a:gd name="connsiteX1" fmla="*/ 30519 w 2027922"/>
                <a:gd name="connsiteY1" fmla="*/ 59110 h 3726131"/>
                <a:gd name="connsiteX2" fmla="*/ 75763 w 2027922"/>
                <a:gd name="connsiteY2" fmla="*/ 25773 h 3726131"/>
                <a:gd name="connsiteX3" fmla="*/ 113863 w 2027922"/>
                <a:gd name="connsiteY3" fmla="*/ 4342 h 3726131"/>
                <a:gd name="connsiteX4" fmla="*/ 197207 w 2027922"/>
                <a:gd name="connsiteY4" fmla="*/ 85306 h 3726131"/>
                <a:gd name="connsiteX5" fmla="*/ 161488 w 2027922"/>
                <a:gd name="connsiteY5" fmla="*/ 249612 h 3726131"/>
                <a:gd name="connsiteX6" fmla="*/ 425807 w 2027922"/>
                <a:gd name="connsiteY6" fmla="*/ 668712 h 3726131"/>
                <a:gd name="connsiteX7" fmla="*/ 525820 w 2027922"/>
                <a:gd name="connsiteY7" fmla="*/ 687762 h 3726131"/>
                <a:gd name="connsiteX8" fmla="*/ 752038 w 2027922"/>
                <a:gd name="connsiteY8" fmla="*/ 790156 h 3726131"/>
                <a:gd name="connsiteX9" fmla="*/ 473432 w 2027922"/>
                <a:gd name="connsiteY9" fmla="*/ 1178299 h 3726131"/>
                <a:gd name="connsiteX10" fmla="*/ 421045 w 2027922"/>
                <a:gd name="connsiteY10" fmla="*/ 1656931 h 3726131"/>
                <a:gd name="connsiteX11" fmla="*/ 1047313 w 2027922"/>
                <a:gd name="connsiteY11" fmla="*/ 1718843 h 3726131"/>
                <a:gd name="connsiteX12" fmla="*/ 1116370 w 2027922"/>
                <a:gd name="connsiteY12" fmla="*/ 1461668 h 3726131"/>
                <a:gd name="connsiteX13" fmla="*/ 923488 w 2027922"/>
                <a:gd name="connsiteY13" fmla="*/ 954461 h 3726131"/>
                <a:gd name="connsiteX14" fmla="*/ 1033026 w 2027922"/>
                <a:gd name="connsiteY14" fmla="*/ 840160 h 3726131"/>
                <a:gd name="connsiteX15" fmla="*/ 1206857 w 2027922"/>
                <a:gd name="connsiteY15" fmla="*/ 756817 h 3726131"/>
                <a:gd name="connsiteX16" fmla="*/ 1335444 w 2027922"/>
                <a:gd name="connsiteY16" fmla="*/ 785392 h 3726131"/>
                <a:gd name="connsiteX17" fmla="*/ 1852176 w 2027922"/>
                <a:gd name="connsiteY17" fmla="*/ 313906 h 3726131"/>
                <a:gd name="connsiteX18" fmla="*/ 1850139 w 2027922"/>
                <a:gd name="connsiteY18" fmla="*/ 175792 h 3726131"/>
                <a:gd name="connsiteX19" fmla="*/ 1925993 w 2027922"/>
                <a:gd name="connsiteY19" fmla="*/ 125785 h 3726131"/>
                <a:gd name="connsiteX20" fmla="*/ 1971238 w 2027922"/>
                <a:gd name="connsiteY20" fmla="*/ 168649 h 3726131"/>
                <a:gd name="connsiteX21" fmla="*/ 2006957 w 2027922"/>
                <a:gd name="connsiteY21" fmla="*/ 218653 h 3726131"/>
                <a:gd name="connsiteX22" fmla="*/ 2021244 w 2027922"/>
                <a:gd name="connsiteY22" fmla="*/ 299616 h 3726131"/>
                <a:gd name="connsiteX23" fmla="*/ 1906944 w 2027922"/>
                <a:gd name="connsiteY23" fmla="*/ 440112 h 3726131"/>
                <a:gd name="connsiteX24" fmla="*/ 1933137 w 2027922"/>
                <a:gd name="connsiteY24" fmla="*/ 502023 h 3726131"/>
                <a:gd name="connsiteX25" fmla="*/ 1544994 w 2027922"/>
                <a:gd name="connsiteY25" fmla="*/ 949698 h 3726131"/>
                <a:gd name="connsiteX26" fmla="*/ 1318775 w 2027922"/>
                <a:gd name="connsiteY26" fmla="*/ 1094954 h 3726131"/>
                <a:gd name="connsiteX27" fmla="*/ 1544994 w 2027922"/>
                <a:gd name="connsiteY27" fmla="*/ 2021260 h 3726131"/>
                <a:gd name="connsiteX28" fmla="*/ 1085412 w 2027922"/>
                <a:gd name="connsiteY28" fmla="*/ 2018879 h 3726131"/>
                <a:gd name="connsiteX29" fmla="*/ 1021879 w 2027922"/>
                <a:gd name="connsiteY29" fmla="*/ 2805460 h 3726131"/>
                <a:gd name="connsiteX30" fmla="*/ 1059270 w 2027922"/>
                <a:gd name="connsiteY30" fmla="*/ 3311949 h 3726131"/>
                <a:gd name="connsiteX31" fmla="*/ 1008282 w 2027922"/>
                <a:gd name="connsiteY31" fmla="*/ 3481912 h 3726131"/>
                <a:gd name="connsiteX32" fmla="*/ 1129222 w 2027922"/>
                <a:gd name="connsiteY32" fmla="*/ 3690516 h 3726131"/>
                <a:gd name="connsiteX33" fmla="*/ 899506 w 2027922"/>
                <a:gd name="connsiteY33" fmla="*/ 3600887 h 3726131"/>
                <a:gd name="connsiteX34" fmla="*/ 817923 w 2027922"/>
                <a:gd name="connsiteY34" fmla="*/ 3560097 h 3726131"/>
                <a:gd name="connsiteX35" fmla="*/ 811125 w 2027922"/>
                <a:gd name="connsiteY35" fmla="*/ 3260961 h 3726131"/>
                <a:gd name="connsiteX36" fmla="*/ 794129 w 2027922"/>
                <a:gd name="connsiteY36" fmla="*/ 2798662 h 3726131"/>
                <a:gd name="connsiteX37" fmla="*/ 685352 w 2027922"/>
                <a:gd name="connsiteY37" fmla="*/ 2302371 h 3726131"/>
                <a:gd name="connsiteX38" fmla="*/ 617367 w 2027922"/>
                <a:gd name="connsiteY38" fmla="*/ 2805460 h 3726131"/>
                <a:gd name="connsiteX39" fmla="*/ 603771 w 2027922"/>
                <a:gd name="connsiteY39" fmla="*/ 3288155 h 3726131"/>
                <a:gd name="connsiteX40" fmla="*/ 607169 w 2027922"/>
                <a:gd name="connsiteY40" fmla="*/ 3512506 h 3726131"/>
                <a:gd name="connsiteX41" fmla="*/ 613968 w 2027922"/>
                <a:gd name="connsiteY41" fmla="*/ 3600886 h 3726131"/>
                <a:gd name="connsiteX42" fmla="*/ 545983 w 2027922"/>
                <a:gd name="connsiteY42" fmla="*/ 3638278 h 3726131"/>
                <a:gd name="connsiteX43" fmla="*/ 253852 w 2027922"/>
                <a:gd name="connsiteY43" fmla="*/ 3710912 h 3726131"/>
                <a:gd name="connsiteX44" fmla="*/ 376020 w 2027922"/>
                <a:gd name="connsiteY44" fmla="*/ 3512506 h 3726131"/>
                <a:gd name="connsiteX45" fmla="*/ 379419 w 2027922"/>
                <a:gd name="connsiteY45" fmla="*/ 3383335 h 3726131"/>
                <a:gd name="connsiteX46" fmla="*/ 384980 w 2027922"/>
                <a:gd name="connsiteY46" fmla="*/ 1920902 h 3726131"/>
                <a:gd name="connsiteX47" fmla="*/ 301981 w 2027922"/>
                <a:gd name="connsiteY47" fmla="*/ 1861716 h 3726131"/>
                <a:gd name="connsiteX48" fmla="*/ 351987 w 2027922"/>
                <a:gd name="connsiteY48" fmla="*/ 1523579 h 3726131"/>
                <a:gd name="connsiteX49" fmla="*/ 297218 w 2027922"/>
                <a:gd name="connsiteY49" fmla="*/ 1337841 h 3726131"/>
                <a:gd name="connsiteX50" fmla="*/ 409137 w 2027922"/>
                <a:gd name="connsiteY50" fmla="*/ 997323 h 3726131"/>
                <a:gd name="connsiteX51" fmla="*/ 128150 w 2027922"/>
                <a:gd name="connsiteY51" fmla="*/ 652041 h 3726131"/>
                <a:gd name="connsiteX52" fmla="*/ 9087 w 2027922"/>
                <a:gd name="connsiteY52" fmla="*/ 352004 h 3726131"/>
                <a:gd name="connsiteX53" fmla="*/ 59094 w 2027922"/>
                <a:gd name="connsiteY53" fmla="*/ 292473 h 3726131"/>
                <a:gd name="connsiteX54" fmla="*/ 11160 w 2027922"/>
                <a:gd name="connsiteY54" fmla="*/ 171030 h 3726131"/>
                <a:gd name="connsiteX0" fmla="*/ 11160 w 2027922"/>
                <a:gd name="connsiteY0" fmla="*/ 171030 h 3726131"/>
                <a:gd name="connsiteX1" fmla="*/ 30519 w 2027922"/>
                <a:gd name="connsiteY1" fmla="*/ 59110 h 3726131"/>
                <a:gd name="connsiteX2" fmla="*/ 75763 w 2027922"/>
                <a:gd name="connsiteY2" fmla="*/ 25773 h 3726131"/>
                <a:gd name="connsiteX3" fmla="*/ 113863 w 2027922"/>
                <a:gd name="connsiteY3" fmla="*/ 4342 h 3726131"/>
                <a:gd name="connsiteX4" fmla="*/ 197207 w 2027922"/>
                <a:gd name="connsiteY4" fmla="*/ 85306 h 3726131"/>
                <a:gd name="connsiteX5" fmla="*/ 161488 w 2027922"/>
                <a:gd name="connsiteY5" fmla="*/ 249612 h 3726131"/>
                <a:gd name="connsiteX6" fmla="*/ 425807 w 2027922"/>
                <a:gd name="connsiteY6" fmla="*/ 668712 h 3726131"/>
                <a:gd name="connsiteX7" fmla="*/ 525820 w 2027922"/>
                <a:gd name="connsiteY7" fmla="*/ 687762 h 3726131"/>
                <a:gd name="connsiteX8" fmla="*/ 752038 w 2027922"/>
                <a:gd name="connsiteY8" fmla="*/ 790156 h 3726131"/>
                <a:gd name="connsiteX9" fmla="*/ 473432 w 2027922"/>
                <a:gd name="connsiteY9" fmla="*/ 1178299 h 3726131"/>
                <a:gd name="connsiteX10" fmla="*/ 421045 w 2027922"/>
                <a:gd name="connsiteY10" fmla="*/ 1656931 h 3726131"/>
                <a:gd name="connsiteX11" fmla="*/ 1047313 w 2027922"/>
                <a:gd name="connsiteY11" fmla="*/ 1718843 h 3726131"/>
                <a:gd name="connsiteX12" fmla="*/ 1116370 w 2027922"/>
                <a:gd name="connsiteY12" fmla="*/ 1461668 h 3726131"/>
                <a:gd name="connsiteX13" fmla="*/ 923488 w 2027922"/>
                <a:gd name="connsiteY13" fmla="*/ 954461 h 3726131"/>
                <a:gd name="connsiteX14" fmla="*/ 1033026 w 2027922"/>
                <a:gd name="connsiteY14" fmla="*/ 840160 h 3726131"/>
                <a:gd name="connsiteX15" fmla="*/ 1206857 w 2027922"/>
                <a:gd name="connsiteY15" fmla="*/ 756817 h 3726131"/>
                <a:gd name="connsiteX16" fmla="*/ 1335444 w 2027922"/>
                <a:gd name="connsiteY16" fmla="*/ 785392 h 3726131"/>
                <a:gd name="connsiteX17" fmla="*/ 1852176 w 2027922"/>
                <a:gd name="connsiteY17" fmla="*/ 313906 h 3726131"/>
                <a:gd name="connsiteX18" fmla="*/ 1850139 w 2027922"/>
                <a:gd name="connsiteY18" fmla="*/ 175792 h 3726131"/>
                <a:gd name="connsiteX19" fmla="*/ 1925993 w 2027922"/>
                <a:gd name="connsiteY19" fmla="*/ 125785 h 3726131"/>
                <a:gd name="connsiteX20" fmla="*/ 1971238 w 2027922"/>
                <a:gd name="connsiteY20" fmla="*/ 168649 h 3726131"/>
                <a:gd name="connsiteX21" fmla="*/ 2006957 w 2027922"/>
                <a:gd name="connsiteY21" fmla="*/ 218653 h 3726131"/>
                <a:gd name="connsiteX22" fmla="*/ 2021244 w 2027922"/>
                <a:gd name="connsiteY22" fmla="*/ 299616 h 3726131"/>
                <a:gd name="connsiteX23" fmla="*/ 1906944 w 2027922"/>
                <a:gd name="connsiteY23" fmla="*/ 440112 h 3726131"/>
                <a:gd name="connsiteX24" fmla="*/ 1933137 w 2027922"/>
                <a:gd name="connsiteY24" fmla="*/ 502023 h 3726131"/>
                <a:gd name="connsiteX25" fmla="*/ 1544994 w 2027922"/>
                <a:gd name="connsiteY25" fmla="*/ 949698 h 3726131"/>
                <a:gd name="connsiteX26" fmla="*/ 1318775 w 2027922"/>
                <a:gd name="connsiteY26" fmla="*/ 1094954 h 3726131"/>
                <a:gd name="connsiteX27" fmla="*/ 1544994 w 2027922"/>
                <a:gd name="connsiteY27" fmla="*/ 2021260 h 3726131"/>
                <a:gd name="connsiteX28" fmla="*/ 1085412 w 2027922"/>
                <a:gd name="connsiteY28" fmla="*/ 2018879 h 3726131"/>
                <a:gd name="connsiteX29" fmla="*/ 1028678 w 2027922"/>
                <a:gd name="connsiteY29" fmla="*/ 2795263 h 3726131"/>
                <a:gd name="connsiteX30" fmla="*/ 1059270 w 2027922"/>
                <a:gd name="connsiteY30" fmla="*/ 3311949 h 3726131"/>
                <a:gd name="connsiteX31" fmla="*/ 1008282 w 2027922"/>
                <a:gd name="connsiteY31" fmla="*/ 3481912 h 3726131"/>
                <a:gd name="connsiteX32" fmla="*/ 1129222 w 2027922"/>
                <a:gd name="connsiteY32" fmla="*/ 3690516 h 3726131"/>
                <a:gd name="connsiteX33" fmla="*/ 899506 w 2027922"/>
                <a:gd name="connsiteY33" fmla="*/ 3600887 h 3726131"/>
                <a:gd name="connsiteX34" fmla="*/ 817923 w 2027922"/>
                <a:gd name="connsiteY34" fmla="*/ 3560097 h 3726131"/>
                <a:gd name="connsiteX35" fmla="*/ 811125 w 2027922"/>
                <a:gd name="connsiteY35" fmla="*/ 3260961 h 3726131"/>
                <a:gd name="connsiteX36" fmla="*/ 794129 w 2027922"/>
                <a:gd name="connsiteY36" fmla="*/ 2798662 h 3726131"/>
                <a:gd name="connsiteX37" fmla="*/ 685352 w 2027922"/>
                <a:gd name="connsiteY37" fmla="*/ 2302371 h 3726131"/>
                <a:gd name="connsiteX38" fmla="*/ 617367 w 2027922"/>
                <a:gd name="connsiteY38" fmla="*/ 2805460 h 3726131"/>
                <a:gd name="connsiteX39" fmla="*/ 603771 w 2027922"/>
                <a:gd name="connsiteY39" fmla="*/ 3288155 h 3726131"/>
                <a:gd name="connsiteX40" fmla="*/ 607169 w 2027922"/>
                <a:gd name="connsiteY40" fmla="*/ 3512506 h 3726131"/>
                <a:gd name="connsiteX41" fmla="*/ 613968 w 2027922"/>
                <a:gd name="connsiteY41" fmla="*/ 3600886 h 3726131"/>
                <a:gd name="connsiteX42" fmla="*/ 545983 w 2027922"/>
                <a:gd name="connsiteY42" fmla="*/ 3638278 h 3726131"/>
                <a:gd name="connsiteX43" fmla="*/ 253852 w 2027922"/>
                <a:gd name="connsiteY43" fmla="*/ 3710912 h 3726131"/>
                <a:gd name="connsiteX44" fmla="*/ 376020 w 2027922"/>
                <a:gd name="connsiteY44" fmla="*/ 3512506 h 3726131"/>
                <a:gd name="connsiteX45" fmla="*/ 379419 w 2027922"/>
                <a:gd name="connsiteY45" fmla="*/ 3383335 h 3726131"/>
                <a:gd name="connsiteX46" fmla="*/ 384980 w 2027922"/>
                <a:gd name="connsiteY46" fmla="*/ 1920902 h 3726131"/>
                <a:gd name="connsiteX47" fmla="*/ 301981 w 2027922"/>
                <a:gd name="connsiteY47" fmla="*/ 1861716 h 3726131"/>
                <a:gd name="connsiteX48" fmla="*/ 351987 w 2027922"/>
                <a:gd name="connsiteY48" fmla="*/ 1523579 h 3726131"/>
                <a:gd name="connsiteX49" fmla="*/ 297218 w 2027922"/>
                <a:gd name="connsiteY49" fmla="*/ 1337841 h 3726131"/>
                <a:gd name="connsiteX50" fmla="*/ 409137 w 2027922"/>
                <a:gd name="connsiteY50" fmla="*/ 997323 h 3726131"/>
                <a:gd name="connsiteX51" fmla="*/ 128150 w 2027922"/>
                <a:gd name="connsiteY51" fmla="*/ 652041 h 3726131"/>
                <a:gd name="connsiteX52" fmla="*/ 9087 w 2027922"/>
                <a:gd name="connsiteY52" fmla="*/ 352004 h 3726131"/>
                <a:gd name="connsiteX53" fmla="*/ 59094 w 2027922"/>
                <a:gd name="connsiteY53" fmla="*/ 292473 h 3726131"/>
                <a:gd name="connsiteX54" fmla="*/ 11160 w 2027922"/>
                <a:gd name="connsiteY54" fmla="*/ 171030 h 3726131"/>
                <a:gd name="connsiteX0" fmla="*/ 11160 w 2027922"/>
                <a:gd name="connsiteY0" fmla="*/ 171030 h 3726131"/>
                <a:gd name="connsiteX1" fmla="*/ 30519 w 2027922"/>
                <a:gd name="connsiteY1" fmla="*/ 59110 h 3726131"/>
                <a:gd name="connsiteX2" fmla="*/ 75763 w 2027922"/>
                <a:gd name="connsiteY2" fmla="*/ 25773 h 3726131"/>
                <a:gd name="connsiteX3" fmla="*/ 113863 w 2027922"/>
                <a:gd name="connsiteY3" fmla="*/ 4342 h 3726131"/>
                <a:gd name="connsiteX4" fmla="*/ 197207 w 2027922"/>
                <a:gd name="connsiteY4" fmla="*/ 85306 h 3726131"/>
                <a:gd name="connsiteX5" fmla="*/ 161488 w 2027922"/>
                <a:gd name="connsiteY5" fmla="*/ 249612 h 3726131"/>
                <a:gd name="connsiteX6" fmla="*/ 425807 w 2027922"/>
                <a:gd name="connsiteY6" fmla="*/ 668712 h 3726131"/>
                <a:gd name="connsiteX7" fmla="*/ 525820 w 2027922"/>
                <a:gd name="connsiteY7" fmla="*/ 687762 h 3726131"/>
                <a:gd name="connsiteX8" fmla="*/ 752038 w 2027922"/>
                <a:gd name="connsiteY8" fmla="*/ 790156 h 3726131"/>
                <a:gd name="connsiteX9" fmla="*/ 473432 w 2027922"/>
                <a:gd name="connsiteY9" fmla="*/ 1178299 h 3726131"/>
                <a:gd name="connsiteX10" fmla="*/ 421045 w 2027922"/>
                <a:gd name="connsiteY10" fmla="*/ 1656931 h 3726131"/>
                <a:gd name="connsiteX11" fmla="*/ 1047313 w 2027922"/>
                <a:gd name="connsiteY11" fmla="*/ 1718843 h 3726131"/>
                <a:gd name="connsiteX12" fmla="*/ 1116370 w 2027922"/>
                <a:gd name="connsiteY12" fmla="*/ 1461668 h 3726131"/>
                <a:gd name="connsiteX13" fmla="*/ 923488 w 2027922"/>
                <a:gd name="connsiteY13" fmla="*/ 954461 h 3726131"/>
                <a:gd name="connsiteX14" fmla="*/ 1033026 w 2027922"/>
                <a:gd name="connsiteY14" fmla="*/ 840160 h 3726131"/>
                <a:gd name="connsiteX15" fmla="*/ 1206857 w 2027922"/>
                <a:gd name="connsiteY15" fmla="*/ 756817 h 3726131"/>
                <a:gd name="connsiteX16" fmla="*/ 1335444 w 2027922"/>
                <a:gd name="connsiteY16" fmla="*/ 785392 h 3726131"/>
                <a:gd name="connsiteX17" fmla="*/ 1852176 w 2027922"/>
                <a:gd name="connsiteY17" fmla="*/ 313906 h 3726131"/>
                <a:gd name="connsiteX18" fmla="*/ 1850139 w 2027922"/>
                <a:gd name="connsiteY18" fmla="*/ 175792 h 3726131"/>
                <a:gd name="connsiteX19" fmla="*/ 1925993 w 2027922"/>
                <a:gd name="connsiteY19" fmla="*/ 125785 h 3726131"/>
                <a:gd name="connsiteX20" fmla="*/ 1971238 w 2027922"/>
                <a:gd name="connsiteY20" fmla="*/ 168649 h 3726131"/>
                <a:gd name="connsiteX21" fmla="*/ 2006957 w 2027922"/>
                <a:gd name="connsiteY21" fmla="*/ 218653 h 3726131"/>
                <a:gd name="connsiteX22" fmla="*/ 2021244 w 2027922"/>
                <a:gd name="connsiteY22" fmla="*/ 299616 h 3726131"/>
                <a:gd name="connsiteX23" fmla="*/ 1906944 w 2027922"/>
                <a:gd name="connsiteY23" fmla="*/ 440112 h 3726131"/>
                <a:gd name="connsiteX24" fmla="*/ 1933137 w 2027922"/>
                <a:gd name="connsiteY24" fmla="*/ 502023 h 3726131"/>
                <a:gd name="connsiteX25" fmla="*/ 1544994 w 2027922"/>
                <a:gd name="connsiteY25" fmla="*/ 949698 h 3726131"/>
                <a:gd name="connsiteX26" fmla="*/ 1318775 w 2027922"/>
                <a:gd name="connsiteY26" fmla="*/ 1094954 h 3726131"/>
                <a:gd name="connsiteX27" fmla="*/ 1544994 w 2027922"/>
                <a:gd name="connsiteY27" fmla="*/ 2021260 h 3726131"/>
                <a:gd name="connsiteX28" fmla="*/ 1085412 w 2027922"/>
                <a:gd name="connsiteY28" fmla="*/ 2018879 h 3726131"/>
                <a:gd name="connsiteX29" fmla="*/ 1028678 w 2027922"/>
                <a:gd name="connsiteY29" fmla="*/ 2795263 h 3726131"/>
                <a:gd name="connsiteX30" fmla="*/ 1059270 w 2027922"/>
                <a:gd name="connsiteY30" fmla="*/ 3311949 h 3726131"/>
                <a:gd name="connsiteX31" fmla="*/ 1008282 w 2027922"/>
                <a:gd name="connsiteY31" fmla="*/ 3481912 h 3726131"/>
                <a:gd name="connsiteX32" fmla="*/ 1129222 w 2027922"/>
                <a:gd name="connsiteY32" fmla="*/ 3690516 h 3726131"/>
                <a:gd name="connsiteX33" fmla="*/ 899506 w 2027922"/>
                <a:gd name="connsiteY33" fmla="*/ 3600887 h 3726131"/>
                <a:gd name="connsiteX34" fmla="*/ 817923 w 2027922"/>
                <a:gd name="connsiteY34" fmla="*/ 3560097 h 3726131"/>
                <a:gd name="connsiteX35" fmla="*/ 811125 w 2027922"/>
                <a:gd name="connsiteY35" fmla="*/ 3260961 h 3726131"/>
                <a:gd name="connsiteX36" fmla="*/ 794129 w 2027922"/>
                <a:gd name="connsiteY36" fmla="*/ 2798662 h 3726131"/>
                <a:gd name="connsiteX37" fmla="*/ 685352 w 2027922"/>
                <a:gd name="connsiteY37" fmla="*/ 2302371 h 3726131"/>
                <a:gd name="connsiteX38" fmla="*/ 617367 w 2027922"/>
                <a:gd name="connsiteY38" fmla="*/ 2805460 h 3726131"/>
                <a:gd name="connsiteX39" fmla="*/ 603771 w 2027922"/>
                <a:gd name="connsiteY39" fmla="*/ 3288155 h 3726131"/>
                <a:gd name="connsiteX40" fmla="*/ 607169 w 2027922"/>
                <a:gd name="connsiteY40" fmla="*/ 3512506 h 3726131"/>
                <a:gd name="connsiteX41" fmla="*/ 613968 w 2027922"/>
                <a:gd name="connsiteY41" fmla="*/ 3600886 h 3726131"/>
                <a:gd name="connsiteX42" fmla="*/ 545983 w 2027922"/>
                <a:gd name="connsiteY42" fmla="*/ 3638278 h 3726131"/>
                <a:gd name="connsiteX43" fmla="*/ 253852 w 2027922"/>
                <a:gd name="connsiteY43" fmla="*/ 3710912 h 3726131"/>
                <a:gd name="connsiteX44" fmla="*/ 376020 w 2027922"/>
                <a:gd name="connsiteY44" fmla="*/ 3512506 h 3726131"/>
                <a:gd name="connsiteX45" fmla="*/ 379419 w 2027922"/>
                <a:gd name="connsiteY45" fmla="*/ 3383335 h 3726131"/>
                <a:gd name="connsiteX46" fmla="*/ 384980 w 2027922"/>
                <a:gd name="connsiteY46" fmla="*/ 1920902 h 3726131"/>
                <a:gd name="connsiteX47" fmla="*/ 301981 w 2027922"/>
                <a:gd name="connsiteY47" fmla="*/ 1861716 h 3726131"/>
                <a:gd name="connsiteX48" fmla="*/ 351987 w 2027922"/>
                <a:gd name="connsiteY48" fmla="*/ 1523579 h 3726131"/>
                <a:gd name="connsiteX49" fmla="*/ 297218 w 2027922"/>
                <a:gd name="connsiteY49" fmla="*/ 1337841 h 3726131"/>
                <a:gd name="connsiteX50" fmla="*/ 409137 w 2027922"/>
                <a:gd name="connsiteY50" fmla="*/ 997323 h 3726131"/>
                <a:gd name="connsiteX51" fmla="*/ 128150 w 2027922"/>
                <a:gd name="connsiteY51" fmla="*/ 652041 h 3726131"/>
                <a:gd name="connsiteX52" fmla="*/ 9087 w 2027922"/>
                <a:gd name="connsiteY52" fmla="*/ 352004 h 3726131"/>
                <a:gd name="connsiteX53" fmla="*/ 59094 w 2027922"/>
                <a:gd name="connsiteY53" fmla="*/ 292473 h 3726131"/>
                <a:gd name="connsiteX54" fmla="*/ 11160 w 2027922"/>
                <a:gd name="connsiteY54" fmla="*/ 171030 h 3726131"/>
                <a:gd name="connsiteX0" fmla="*/ 11160 w 2027922"/>
                <a:gd name="connsiteY0" fmla="*/ 171030 h 3726131"/>
                <a:gd name="connsiteX1" fmla="*/ 30519 w 2027922"/>
                <a:gd name="connsiteY1" fmla="*/ 59110 h 3726131"/>
                <a:gd name="connsiteX2" fmla="*/ 75763 w 2027922"/>
                <a:gd name="connsiteY2" fmla="*/ 25773 h 3726131"/>
                <a:gd name="connsiteX3" fmla="*/ 113863 w 2027922"/>
                <a:gd name="connsiteY3" fmla="*/ 4342 h 3726131"/>
                <a:gd name="connsiteX4" fmla="*/ 197207 w 2027922"/>
                <a:gd name="connsiteY4" fmla="*/ 85306 h 3726131"/>
                <a:gd name="connsiteX5" fmla="*/ 161488 w 2027922"/>
                <a:gd name="connsiteY5" fmla="*/ 249612 h 3726131"/>
                <a:gd name="connsiteX6" fmla="*/ 425807 w 2027922"/>
                <a:gd name="connsiteY6" fmla="*/ 668712 h 3726131"/>
                <a:gd name="connsiteX7" fmla="*/ 525820 w 2027922"/>
                <a:gd name="connsiteY7" fmla="*/ 687762 h 3726131"/>
                <a:gd name="connsiteX8" fmla="*/ 752038 w 2027922"/>
                <a:gd name="connsiteY8" fmla="*/ 790156 h 3726131"/>
                <a:gd name="connsiteX9" fmla="*/ 473432 w 2027922"/>
                <a:gd name="connsiteY9" fmla="*/ 1178299 h 3726131"/>
                <a:gd name="connsiteX10" fmla="*/ 421045 w 2027922"/>
                <a:gd name="connsiteY10" fmla="*/ 1656931 h 3726131"/>
                <a:gd name="connsiteX11" fmla="*/ 1047313 w 2027922"/>
                <a:gd name="connsiteY11" fmla="*/ 1718843 h 3726131"/>
                <a:gd name="connsiteX12" fmla="*/ 1116370 w 2027922"/>
                <a:gd name="connsiteY12" fmla="*/ 1461668 h 3726131"/>
                <a:gd name="connsiteX13" fmla="*/ 923488 w 2027922"/>
                <a:gd name="connsiteY13" fmla="*/ 954461 h 3726131"/>
                <a:gd name="connsiteX14" fmla="*/ 1033026 w 2027922"/>
                <a:gd name="connsiteY14" fmla="*/ 840160 h 3726131"/>
                <a:gd name="connsiteX15" fmla="*/ 1206857 w 2027922"/>
                <a:gd name="connsiteY15" fmla="*/ 756817 h 3726131"/>
                <a:gd name="connsiteX16" fmla="*/ 1335444 w 2027922"/>
                <a:gd name="connsiteY16" fmla="*/ 785392 h 3726131"/>
                <a:gd name="connsiteX17" fmla="*/ 1852176 w 2027922"/>
                <a:gd name="connsiteY17" fmla="*/ 313906 h 3726131"/>
                <a:gd name="connsiteX18" fmla="*/ 1850139 w 2027922"/>
                <a:gd name="connsiteY18" fmla="*/ 175792 h 3726131"/>
                <a:gd name="connsiteX19" fmla="*/ 1925993 w 2027922"/>
                <a:gd name="connsiteY19" fmla="*/ 125785 h 3726131"/>
                <a:gd name="connsiteX20" fmla="*/ 1971238 w 2027922"/>
                <a:gd name="connsiteY20" fmla="*/ 168649 h 3726131"/>
                <a:gd name="connsiteX21" fmla="*/ 2006957 w 2027922"/>
                <a:gd name="connsiteY21" fmla="*/ 218653 h 3726131"/>
                <a:gd name="connsiteX22" fmla="*/ 2021244 w 2027922"/>
                <a:gd name="connsiteY22" fmla="*/ 299616 h 3726131"/>
                <a:gd name="connsiteX23" fmla="*/ 1906944 w 2027922"/>
                <a:gd name="connsiteY23" fmla="*/ 440112 h 3726131"/>
                <a:gd name="connsiteX24" fmla="*/ 1933137 w 2027922"/>
                <a:gd name="connsiteY24" fmla="*/ 502023 h 3726131"/>
                <a:gd name="connsiteX25" fmla="*/ 1544994 w 2027922"/>
                <a:gd name="connsiteY25" fmla="*/ 949698 h 3726131"/>
                <a:gd name="connsiteX26" fmla="*/ 1318775 w 2027922"/>
                <a:gd name="connsiteY26" fmla="*/ 1094954 h 3726131"/>
                <a:gd name="connsiteX27" fmla="*/ 1544994 w 2027922"/>
                <a:gd name="connsiteY27" fmla="*/ 2021260 h 3726131"/>
                <a:gd name="connsiteX28" fmla="*/ 1085412 w 2027922"/>
                <a:gd name="connsiteY28" fmla="*/ 2018879 h 3726131"/>
                <a:gd name="connsiteX29" fmla="*/ 1028678 w 2027922"/>
                <a:gd name="connsiteY29" fmla="*/ 2795263 h 3726131"/>
                <a:gd name="connsiteX30" fmla="*/ 1059270 w 2027922"/>
                <a:gd name="connsiteY30" fmla="*/ 3311949 h 3726131"/>
                <a:gd name="connsiteX31" fmla="*/ 1008282 w 2027922"/>
                <a:gd name="connsiteY31" fmla="*/ 3481912 h 3726131"/>
                <a:gd name="connsiteX32" fmla="*/ 1129222 w 2027922"/>
                <a:gd name="connsiteY32" fmla="*/ 3690516 h 3726131"/>
                <a:gd name="connsiteX33" fmla="*/ 899506 w 2027922"/>
                <a:gd name="connsiteY33" fmla="*/ 3600887 h 3726131"/>
                <a:gd name="connsiteX34" fmla="*/ 817923 w 2027922"/>
                <a:gd name="connsiteY34" fmla="*/ 3560097 h 3726131"/>
                <a:gd name="connsiteX35" fmla="*/ 811125 w 2027922"/>
                <a:gd name="connsiteY35" fmla="*/ 3260961 h 3726131"/>
                <a:gd name="connsiteX36" fmla="*/ 794129 w 2027922"/>
                <a:gd name="connsiteY36" fmla="*/ 2798662 h 3726131"/>
                <a:gd name="connsiteX37" fmla="*/ 685352 w 2027922"/>
                <a:gd name="connsiteY37" fmla="*/ 2302371 h 3726131"/>
                <a:gd name="connsiteX38" fmla="*/ 617367 w 2027922"/>
                <a:gd name="connsiteY38" fmla="*/ 2805460 h 3726131"/>
                <a:gd name="connsiteX39" fmla="*/ 603771 w 2027922"/>
                <a:gd name="connsiteY39" fmla="*/ 3288155 h 3726131"/>
                <a:gd name="connsiteX40" fmla="*/ 607169 w 2027922"/>
                <a:gd name="connsiteY40" fmla="*/ 3512506 h 3726131"/>
                <a:gd name="connsiteX41" fmla="*/ 613968 w 2027922"/>
                <a:gd name="connsiteY41" fmla="*/ 3600886 h 3726131"/>
                <a:gd name="connsiteX42" fmla="*/ 545983 w 2027922"/>
                <a:gd name="connsiteY42" fmla="*/ 3638278 h 3726131"/>
                <a:gd name="connsiteX43" fmla="*/ 253852 w 2027922"/>
                <a:gd name="connsiteY43" fmla="*/ 3710912 h 3726131"/>
                <a:gd name="connsiteX44" fmla="*/ 376020 w 2027922"/>
                <a:gd name="connsiteY44" fmla="*/ 3512506 h 3726131"/>
                <a:gd name="connsiteX45" fmla="*/ 379419 w 2027922"/>
                <a:gd name="connsiteY45" fmla="*/ 3383335 h 3726131"/>
                <a:gd name="connsiteX46" fmla="*/ 384980 w 2027922"/>
                <a:gd name="connsiteY46" fmla="*/ 1920902 h 3726131"/>
                <a:gd name="connsiteX47" fmla="*/ 301981 w 2027922"/>
                <a:gd name="connsiteY47" fmla="*/ 1861716 h 3726131"/>
                <a:gd name="connsiteX48" fmla="*/ 351987 w 2027922"/>
                <a:gd name="connsiteY48" fmla="*/ 1523579 h 3726131"/>
                <a:gd name="connsiteX49" fmla="*/ 297218 w 2027922"/>
                <a:gd name="connsiteY49" fmla="*/ 1337841 h 3726131"/>
                <a:gd name="connsiteX50" fmla="*/ 409137 w 2027922"/>
                <a:gd name="connsiteY50" fmla="*/ 997323 h 3726131"/>
                <a:gd name="connsiteX51" fmla="*/ 128150 w 2027922"/>
                <a:gd name="connsiteY51" fmla="*/ 652041 h 3726131"/>
                <a:gd name="connsiteX52" fmla="*/ 9087 w 2027922"/>
                <a:gd name="connsiteY52" fmla="*/ 352004 h 3726131"/>
                <a:gd name="connsiteX53" fmla="*/ 59094 w 2027922"/>
                <a:gd name="connsiteY53" fmla="*/ 292473 h 3726131"/>
                <a:gd name="connsiteX54" fmla="*/ 11160 w 2027922"/>
                <a:gd name="connsiteY54" fmla="*/ 171030 h 3726131"/>
                <a:gd name="connsiteX0" fmla="*/ 11160 w 2027922"/>
                <a:gd name="connsiteY0" fmla="*/ 171030 h 3726131"/>
                <a:gd name="connsiteX1" fmla="*/ 30519 w 2027922"/>
                <a:gd name="connsiteY1" fmla="*/ 59110 h 3726131"/>
                <a:gd name="connsiteX2" fmla="*/ 75763 w 2027922"/>
                <a:gd name="connsiteY2" fmla="*/ 25773 h 3726131"/>
                <a:gd name="connsiteX3" fmla="*/ 113863 w 2027922"/>
                <a:gd name="connsiteY3" fmla="*/ 4342 h 3726131"/>
                <a:gd name="connsiteX4" fmla="*/ 197207 w 2027922"/>
                <a:gd name="connsiteY4" fmla="*/ 85306 h 3726131"/>
                <a:gd name="connsiteX5" fmla="*/ 161488 w 2027922"/>
                <a:gd name="connsiteY5" fmla="*/ 249612 h 3726131"/>
                <a:gd name="connsiteX6" fmla="*/ 425807 w 2027922"/>
                <a:gd name="connsiteY6" fmla="*/ 668712 h 3726131"/>
                <a:gd name="connsiteX7" fmla="*/ 525820 w 2027922"/>
                <a:gd name="connsiteY7" fmla="*/ 687762 h 3726131"/>
                <a:gd name="connsiteX8" fmla="*/ 752038 w 2027922"/>
                <a:gd name="connsiteY8" fmla="*/ 790156 h 3726131"/>
                <a:gd name="connsiteX9" fmla="*/ 473432 w 2027922"/>
                <a:gd name="connsiteY9" fmla="*/ 1178299 h 3726131"/>
                <a:gd name="connsiteX10" fmla="*/ 421045 w 2027922"/>
                <a:gd name="connsiteY10" fmla="*/ 1656931 h 3726131"/>
                <a:gd name="connsiteX11" fmla="*/ 1047313 w 2027922"/>
                <a:gd name="connsiteY11" fmla="*/ 1718843 h 3726131"/>
                <a:gd name="connsiteX12" fmla="*/ 1116370 w 2027922"/>
                <a:gd name="connsiteY12" fmla="*/ 1461668 h 3726131"/>
                <a:gd name="connsiteX13" fmla="*/ 923488 w 2027922"/>
                <a:gd name="connsiteY13" fmla="*/ 954461 h 3726131"/>
                <a:gd name="connsiteX14" fmla="*/ 1033026 w 2027922"/>
                <a:gd name="connsiteY14" fmla="*/ 840160 h 3726131"/>
                <a:gd name="connsiteX15" fmla="*/ 1206857 w 2027922"/>
                <a:gd name="connsiteY15" fmla="*/ 756817 h 3726131"/>
                <a:gd name="connsiteX16" fmla="*/ 1335444 w 2027922"/>
                <a:gd name="connsiteY16" fmla="*/ 785392 h 3726131"/>
                <a:gd name="connsiteX17" fmla="*/ 1852176 w 2027922"/>
                <a:gd name="connsiteY17" fmla="*/ 313906 h 3726131"/>
                <a:gd name="connsiteX18" fmla="*/ 1850139 w 2027922"/>
                <a:gd name="connsiteY18" fmla="*/ 175792 h 3726131"/>
                <a:gd name="connsiteX19" fmla="*/ 1925993 w 2027922"/>
                <a:gd name="connsiteY19" fmla="*/ 125785 h 3726131"/>
                <a:gd name="connsiteX20" fmla="*/ 1971238 w 2027922"/>
                <a:gd name="connsiteY20" fmla="*/ 168649 h 3726131"/>
                <a:gd name="connsiteX21" fmla="*/ 2006957 w 2027922"/>
                <a:gd name="connsiteY21" fmla="*/ 218653 h 3726131"/>
                <a:gd name="connsiteX22" fmla="*/ 2021244 w 2027922"/>
                <a:gd name="connsiteY22" fmla="*/ 299616 h 3726131"/>
                <a:gd name="connsiteX23" fmla="*/ 1906944 w 2027922"/>
                <a:gd name="connsiteY23" fmla="*/ 440112 h 3726131"/>
                <a:gd name="connsiteX24" fmla="*/ 1933137 w 2027922"/>
                <a:gd name="connsiteY24" fmla="*/ 502023 h 3726131"/>
                <a:gd name="connsiteX25" fmla="*/ 1544994 w 2027922"/>
                <a:gd name="connsiteY25" fmla="*/ 949698 h 3726131"/>
                <a:gd name="connsiteX26" fmla="*/ 1318775 w 2027922"/>
                <a:gd name="connsiteY26" fmla="*/ 1094954 h 3726131"/>
                <a:gd name="connsiteX27" fmla="*/ 1544994 w 2027922"/>
                <a:gd name="connsiteY27" fmla="*/ 2021260 h 3726131"/>
                <a:gd name="connsiteX28" fmla="*/ 1085412 w 2027922"/>
                <a:gd name="connsiteY28" fmla="*/ 2018879 h 3726131"/>
                <a:gd name="connsiteX29" fmla="*/ 1028678 w 2027922"/>
                <a:gd name="connsiteY29" fmla="*/ 2795263 h 3726131"/>
                <a:gd name="connsiteX30" fmla="*/ 1042273 w 2027922"/>
                <a:gd name="connsiteY30" fmla="*/ 3308550 h 3726131"/>
                <a:gd name="connsiteX31" fmla="*/ 1008282 w 2027922"/>
                <a:gd name="connsiteY31" fmla="*/ 3481912 h 3726131"/>
                <a:gd name="connsiteX32" fmla="*/ 1129222 w 2027922"/>
                <a:gd name="connsiteY32" fmla="*/ 3690516 h 3726131"/>
                <a:gd name="connsiteX33" fmla="*/ 899506 w 2027922"/>
                <a:gd name="connsiteY33" fmla="*/ 3600887 h 3726131"/>
                <a:gd name="connsiteX34" fmla="*/ 817923 w 2027922"/>
                <a:gd name="connsiteY34" fmla="*/ 3560097 h 3726131"/>
                <a:gd name="connsiteX35" fmla="*/ 811125 w 2027922"/>
                <a:gd name="connsiteY35" fmla="*/ 3260961 h 3726131"/>
                <a:gd name="connsiteX36" fmla="*/ 794129 w 2027922"/>
                <a:gd name="connsiteY36" fmla="*/ 2798662 h 3726131"/>
                <a:gd name="connsiteX37" fmla="*/ 685352 w 2027922"/>
                <a:gd name="connsiteY37" fmla="*/ 2302371 h 3726131"/>
                <a:gd name="connsiteX38" fmla="*/ 617367 w 2027922"/>
                <a:gd name="connsiteY38" fmla="*/ 2805460 h 3726131"/>
                <a:gd name="connsiteX39" fmla="*/ 603771 w 2027922"/>
                <a:gd name="connsiteY39" fmla="*/ 3288155 h 3726131"/>
                <a:gd name="connsiteX40" fmla="*/ 607169 w 2027922"/>
                <a:gd name="connsiteY40" fmla="*/ 3512506 h 3726131"/>
                <a:gd name="connsiteX41" fmla="*/ 613968 w 2027922"/>
                <a:gd name="connsiteY41" fmla="*/ 3600886 h 3726131"/>
                <a:gd name="connsiteX42" fmla="*/ 545983 w 2027922"/>
                <a:gd name="connsiteY42" fmla="*/ 3638278 h 3726131"/>
                <a:gd name="connsiteX43" fmla="*/ 253852 w 2027922"/>
                <a:gd name="connsiteY43" fmla="*/ 3710912 h 3726131"/>
                <a:gd name="connsiteX44" fmla="*/ 376020 w 2027922"/>
                <a:gd name="connsiteY44" fmla="*/ 3512506 h 3726131"/>
                <a:gd name="connsiteX45" fmla="*/ 379419 w 2027922"/>
                <a:gd name="connsiteY45" fmla="*/ 3383335 h 3726131"/>
                <a:gd name="connsiteX46" fmla="*/ 384980 w 2027922"/>
                <a:gd name="connsiteY46" fmla="*/ 1920902 h 3726131"/>
                <a:gd name="connsiteX47" fmla="*/ 301981 w 2027922"/>
                <a:gd name="connsiteY47" fmla="*/ 1861716 h 3726131"/>
                <a:gd name="connsiteX48" fmla="*/ 351987 w 2027922"/>
                <a:gd name="connsiteY48" fmla="*/ 1523579 h 3726131"/>
                <a:gd name="connsiteX49" fmla="*/ 297218 w 2027922"/>
                <a:gd name="connsiteY49" fmla="*/ 1337841 h 3726131"/>
                <a:gd name="connsiteX50" fmla="*/ 409137 w 2027922"/>
                <a:gd name="connsiteY50" fmla="*/ 997323 h 3726131"/>
                <a:gd name="connsiteX51" fmla="*/ 128150 w 2027922"/>
                <a:gd name="connsiteY51" fmla="*/ 652041 h 3726131"/>
                <a:gd name="connsiteX52" fmla="*/ 9087 w 2027922"/>
                <a:gd name="connsiteY52" fmla="*/ 352004 h 3726131"/>
                <a:gd name="connsiteX53" fmla="*/ 59094 w 2027922"/>
                <a:gd name="connsiteY53" fmla="*/ 292473 h 3726131"/>
                <a:gd name="connsiteX54" fmla="*/ 11160 w 2027922"/>
                <a:gd name="connsiteY54" fmla="*/ 171030 h 3726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027922" h="3726131">
                  <a:moveTo>
                    <a:pt x="11160" y="171030"/>
                  </a:moveTo>
                  <a:cubicBezTo>
                    <a:pt x="2083" y="132349"/>
                    <a:pt x="-15967" y="73001"/>
                    <a:pt x="30519" y="59110"/>
                  </a:cubicBezTo>
                  <a:cubicBezTo>
                    <a:pt x="34143" y="30931"/>
                    <a:pt x="55919" y="24980"/>
                    <a:pt x="75763" y="25773"/>
                  </a:cubicBezTo>
                  <a:cubicBezTo>
                    <a:pt x="86082" y="14661"/>
                    <a:pt x="84891" y="-9946"/>
                    <a:pt x="113863" y="4342"/>
                  </a:cubicBezTo>
                  <a:cubicBezTo>
                    <a:pt x="140453" y="6724"/>
                    <a:pt x="179349" y="20615"/>
                    <a:pt x="197207" y="85306"/>
                  </a:cubicBezTo>
                  <a:cubicBezTo>
                    <a:pt x="207922" y="133328"/>
                    <a:pt x="107910" y="163093"/>
                    <a:pt x="161488" y="249612"/>
                  </a:cubicBezTo>
                  <a:cubicBezTo>
                    <a:pt x="215066" y="336131"/>
                    <a:pt x="285313" y="574652"/>
                    <a:pt x="425807" y="668712"/>
                  </a:cubicBezTo>
                  <a:cubicBezTo>
                    <a:pt x="521903" y="844131"/>
                    <a:pt x="472242" y="645296"/>
                    <a:pt x="525820" y="687762"/>
                  </a:cubicBezTo>
                  <a:lnTo>
                    <a:pt x="752038" y="790156"/>
                  </a:lnTo>
                  <a:cubicBezTo>
                    <a:pt x="743756" y="927872"/>
                    <a:pt x="536139" y="1071540"/>
                    <a:pt x="473432" y="1178299"/>
                  </a:cubicBezTo>
                  <a:cubicBezTo>
                    <a:pt x="485390" y="1248546"/>
                    <a:pt x="406360" y="1459685"/>
                    <a:pt x="421045" y="1656931"/>
                  </a:cubicBezTo>
                  <a:cubicBezTo>
                    <a:pt x="535397" y="1718843"/>
                    <a:pt x="939761" y="1745433"/>
                    <a:pt x="1047313" y="1718843"/>
                  </a:cubicBezTo>
                  <a:cubicBezTo>
                    <a:pt x="1073904" y="1649787"/>
                    <a:pt x="1110813" y="1567634"/>
                    <a:pt x="1116370" y="1461668"/>
                  </a:cubicBezTo>
                  <a:cubicBezTo>
                    <a:pt x="1095733" y="1334271"/>
                    <a:pt x="919520" y="1269182"/>
                    <a:pt x="923488" y="954461"/>
                  </a:cubicBezTo>
                  <a:cubicBezTo>
                    <a:pt x="975530" y="914773"/>
                    <a:pt x="994528" y="858415"/>
                    <a:pt x="1033026" y="840160"/>
                  </a:cubicBezTo>
                  <a:cubicBezTo>
                    <a:pt x="1131106" y="794122"/>
                    <a:pt x="1158835" y="763167"/>
                    <a:pt x="1206857" y="756817"/>
                  </a:cubicBezTo>
                  <a:cubicBezTo>
                    <a:pt x="1254879" y="750467"/>
                    <a:pt x="1241782" y="862385"/>
                    <a:pt x="1335444" y="785392"/>
                  </a:cubicBezTo>
                  <a:cubicBezTo>
                    <a:pt x="1498957" y="590923"/>
                    <a:pt x="1595795" y="584574"/>
                    <a:pt x="1852176" y="313906"/>
                  </a:cubicBezTo>
                  <a:cubicBezTo>
                    <a:pt x="1877690" y="267074"/>
                    <a:pt x="1819862" y="227386"/>
                    <a:pt x="1850139" y="175792"/>
                  </a:cubicBezTo>
                  <a:cubicBezTo>
                    <a:pt x="1861251" y="152376"/>
                    <a:pt x="1878425" y="87684"/>
                    <a:pt x="1925993" y="125785"/>
                  </a:cubicBezTo>
                  <a:cubicBezTo>
                    <a:pt x="1941810" y="117847"/>
                    <a:pt x="1955363" y="109117"/>
                    <a:pt x="1971238" y="168649"/>
                  </a:cubicBezTo>
                  <a:cubicBezTo>
                    <a:pt x="1981954" y="190477"/>
                    <a:pt x="2019657" y="174600"/>
                    <a:pt x="2006957" y="218653"/>
                  </a:cubicBezTo>
                  <a:cubicBezTo>
                    <a:pt x="2019657" y="245641"/>
                    <a:pt x="2037913" y="262706"/>
                    <a:pt x="2021244" y="299616"/>
                  </a:cubicBezTo>
                  <a:cubicBezTo>
                    <a:pt x="2004575" y="367482"/>
                    <a:pt x="1922762" y="351821"/>
                    <a:pt x="1906944" y="440112"/>
                  </a:cubicBezTo>
                  <a:cubicBezTo>
                    <a:pt x="1895038" y="482180"/>
                    <a:pt x="1945043" y="459955"/>
                    <a:pt x="1933137" y="502023"/>
                  </a:cubicBezTo>
                  <a:cubicBezTo>
                    <a:pt x="1874797" y="588144"/>
                    <a:pt x="1640641" y="806426"/>
                    <a:pt x="1544994" y="949698"/>
                  </a:cubicBezTo>
                  <a:cubicBezTo>
                    <a:pt x="1442204" y="1047726"/>
                    <a:pt x="1395712" y="1070561"/>
                    <a:pt x="1318775" y="1094954"/>
                  </a:cubicBezTo>
                  <a:cubicBezTo>
                    <a:pt x="1369575" y="1241797"/>
                    <a:pt x="1479907" y="1681535"/>
                    <a:pt x="1544994" y="2021260"/>
                  </a:cubicBezTo>
                  <a:cubicBezTo>
                    <a:pt x="1475937" y="2070472"/>
                    <a:pt x="1118750" y="1964904"/>
                    <a:pt x="1085412" y="2018879"/>
                  </a:cubicBezTo>
                  <a:cubicBezTo>
                    <a:pt x="1091139" y="2257222"/>
                    <a:pt x="1053430" y="2583151"/>
                    <a:pt x="1028678" y="2795263"/>
                  </a:cubicBezTo>
                  <a:cubicBezTo>
                    <a:pt x="1024321" y="3010775"/>
                    <a:pt x="1052471" y="3123290"/>
                    <a:pt x="1042273" y="3308550"/>
                  </a:cubicBezTo>
                  <a:cubicBezTo>
                    <a:pt x="1043581" y="3378460"/>
                    <a:pt x="1020985" y="3375761"/>
                    <a:pt x="1008282" y="3481912"/>
                  </a:cubicBezTo>
                  <a:cubicBezTo>
                    <a:pt x="1029571" y="3550671"/>
                    <a:pt x="1164914" y="3625929"/>
                    <a:pt x="1129222" y="3690516"/>
                  </a:cubicBezTo>
                  <a:cubicBezTo>
                    <a:pt x="1062848" y="3728625"/>
                    <a:pt x="938686" y="3705546"/>
                    <a:pt x="899506" y="3600887"/>
                  </a:cubicBezTo>
                  <a:cubicBezTo>
                    <a:pt x="844224" y="3602378"/>
                    <a:pt x="850215" y="3608819"/>
                    <a:pt x="817923" y="3560097"/>
                  </a:cubicBezTo>
                  <a:cubicBezTo>
                    <a:pt x="749937" y="3342545"/>
                    <a:pt x="782231" y="3351042"/>
                    <a:pt x="811125" y="3260961"/>
                  </a:cubicBezTo>
                  <a:cubicBezTo>
                    <a:pt x="804893" y="3129523"/>
                    <a:pt x="815091" y="2958427"/>
                    <a:pt x="794129" y="2798662"/>
                  </a:cubicBezTo>
                  <a:cubicBezTo>
                    <a:pt x="694984" y="2506326"/>
                    <a:pt x="749338" y="2301597"/>
                    <a:pt x="685352" y="2302371"/>
                  </a:cubicBezTo>
                  <a:cubicBezTo>
                    <a:pt x="659858" y="2312569"/>
                    <a:pt x="673455" y="2606037"/>
                    <a:pt x="617367" y="2805460"/>
                  </a:cubicBezTo>
                  <a:cubicBezTo>
                    <a:pt x="645694" y="2944829"/>
                    <a:pt x="590740" y="3203173"/>
                    <a:pt x="603771" y="3288155"/>
                  </a:cubicBezTo>
                  <a:cubicBezTo>
                    <a:pt x="640597" y="3391832"/>
                    <a:pt x="656459" y="3450187"/>
                    <a:pt x="607169" y="3512506"/>
                  </a:cubicBezTo>
                  <a:cubicBezTo>
                    <a:pt x="608868" y="3564628"/>
                    <a:pt x="615101" y="3562361"/>
                    <a:pt x="613968" y="3600886"/>
                  </a:cubicBezTo>
                  <a:cubicBezTo>
                    <a:pt x="595839" y="3641677"/>
                    <a:pt x="560713" y="3614483"/>
                    <a:pt x="545983" y="3638278"/>
                  </a:cubicBezTo>
                  <a:cubicBezTo>
                    <a:pt x="489397" y="3672687"/>
                    <a:pt x="453206" y="3761485"/>
                    <a:pt x="253852" y="3710912"/>
                  </a:cubicBezTo>
                  <a:cubicBezTo>
                    <a:pt x="221558" y="3658790"/>
                    <a:pt x="368895" y="3597821"/>
                    <a:pt x="376020" y="3512506"/>
                  </a:cubicBezTo>
                  <a:cubicBezTo>
                    <a:pt x="396948" y="3465275"/>
                    <a:pt x="307673" y="3466176"/>
                    <a:pt x="379419" y="3383335"/>
                  </a:cubicBezTo>
                  <a:cubicBezTo>
                    <a:pt x="400175" y="2729420"/>
                    <a:pt x="289109" y="2219262"/>
                    <a:pt x="384980" y="1920902"/>
                  </a:cubicBezTo>
                  <a:cubicBezTo>
                    <a:pt x="395299" y="1842033"/>
                    <a:pt x="305950" y="1926803"/>
                    <a:pt x="301981" y="1861716"/>
                  </a:cubicBezTo>
                  <a:cubicBezTo>
                    <a:pt x="298012" y="1796629"/>
                    <a:pt x="342066" y="1602557"/>
                    <a:pt x="351987" y="1523579"/>
                  </a:cubicBezTo>
                  <a:cubicBezTo>
                    <a:pt x="353230" y="1402347"/>
                    <a:pt x="287693" y="1425550"/>
                    <a:pt x="297218" y="1337841"/>
                  </a:cubicBezTo>
                  <a:cubicBezTo>
                    <a:pt x="306743" y="1250132"/>
                    <a:pt x="401993" y="1101304"/>
                    <a:pt x="409137" y="997323"/>
                  </a:cubicBezTo>
                  <a:cubicBezTo>
                    <a:pt x="421094" y="898316"/>
                    <a:pt x="223400" y="878657"/>
                    <a:pt x="128150" y="652041"/>
                  </a:cubicBezTo>
                  <a:cubicBezTo>
                    <a:pt x="92431" y="523057"/>
                    <a:pt x="38456" y="471464"/>
                    <a:pt x="9087" y="352004"/>
                  </a:cubicBezTo>
                  <a:cubicBezTo>
                    <a:pt x="22633" y="295464"/>
                    <a:pt x="66289" y="344463"/>
                    <a:pt x="59094" y="292473"/>
                  </a:cubicBezTo>
                  <a:cubicBezTo>
                    <a:pt x="62269" y="201404"/>
                    <a:pt x="7985" y="213099"/>
                    <a:pt x="11160" y="171030"/>
                  </a:cubicBezTo>
                  <a:close/>
                </a:path>
              </a:pathLst>
            </a:cu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a:solidFill>
                  <a:prstClr val="white"/>
                </a:solidFill>
                <a:latin typeface="Arial" panose="020B0604020202020204" pitchFamily="34" charset="0"/>
                <a:cs typeface="Arial" panose="020B0604020202020204" pitchFamily="34" charset="0"/>
              </a:endParaRPr>
            </a:p>
          </p:txBody>
        </p:sp>
      </p:grpSp>
      <p:grpSp>
        <p:nvGrpSpPr>
          <p:cNvPr id="144" name="Group 143">
            <a:extLst>
              <a:ext uri="{FF2B5EF4-FFF2-40B4-BE49-F238E27FC236}">
                <a16:creationId xmlns:a16="http://schemas.microsoft.com/office/drawing/2014/main" id="{4FAA2185-338C-3CCA-722D-3FE33DDFB061}"/>
              </a:ext>
            </a:extLst>
          </p:cNvPr>
          <p:cNvGrpSpPr/>
          <p:nvPr/>
        </p:nvGrpSpPr>
        <p:grpSpPr>
          <a:xfrm>
            <a:off x="6171225" y="3470509"/>
            <a:ext cx="332709" cy="1049001"/>
            <a:chOff x="5443685" y="1042014"/>
            <a:chExt cx="1738722" cy="5637877"/>
          </a:xfrm>
          <a:solidFill>
            <a:schemeClr val="tx1">
              <a:lumMod val="85000"/>
              <a:lumOff val="15000"/>
            </a:schemeClr>
          </a:solidFill>
          <a:effectLst/>
        </p:grpSpPr>
        <p:sp>
          <p:nvSpPr>
            <p:cNvPr id="145" name="Freeform 267">
              <a:extLst>
                <a:ext uri="{FF2B5EF4-FFF2-40B4-BE49-F238E27FC236}">
                  <a16:creationId xmlns:a16="http://schemas.microsoft.com/office/drawing/2014/main" id="{6A942798-ED6D-DB86-1E44-ED028470E086}"/>
                </a:ext>
              </a:extLst>
            </p:cNvPr>
            <p:cNvSpPr>
              <a:spLocks/>
            </p:cNvSpPr>
            <p:nvPr/>
          </p:nvSpPr>
          <p:spPr bwMode="auto">
            <a:xfrm>
              <a:off x="5443685" y="1042014"/>
              <a:ext cx="1738722" cy="5637877"/>
            </a:xfrm>
            <a:custGeom>
              <a:avLst/>
              <a:gdLst>
                <a:gd name="T0" fmla="*/ 135 w 268"/>
                <a:gd name="T1" fmla="*/ 6 h 869"/>
                <a:gd name="T2" fmla="*/ 154 w 268"/>
                <a:gd name="T3" fmla="*/ 13 h 869"/>
                <a:gd name="T4" fmla="*/ 169 w 268"/>
                <a:gd name="T5" fmla="*/ 55 h 869"/>
                <a:gd name="T6" fmla="*/ 161 w 268"/>
                <a:gd name="T7" fmla="*/ 84 h 869"/>
                <a:gd name="T8" fmla="*/ 156 w 268"/>
                <a:gd name="T9" fmla="*/ 104 h 869"/>
                <a:gd name="T10" fmla="*/ 192 w 268"/>
                <a:gd name="T11" fmla="*/ 144 h 869"/>
                <a:gd name="T12" fmla="*/ 239 w 268"/>
                <a:gd name="T13" fmla="*/ 159 h 869"/>
                <a:gd name="T14" fmla="*/ 246 w 268"/>
                <a:gd name="T15" fmla="*/ 173 h 869"/>
                <a:gd name="T16" fmla="*/ 259 w 268"/>
                <a:gd name="T17" fmla="*/ 227 h 869"/>
                <a:gd name="T18" fmla="*/ 266 w 268"/>
                <a:gd name="T19" fmla="*/ 355 h 869"/>
                <a:gd name="T20" fmla="*/ 254 w 268"/>
                <a:gd name="T21" fmla="*/ 439 h 869"/>
                <a:gd name="T22" fmla="*/ 236 w 268"/>
                <a:gd name="T23" fmla="*/ 455 h 869"/>
                <a:gd name="T24" fmla="*/ 222 w 268"/>
                <a:gd name="T25" fmla="*/ 486 h 869"/>
                <a:gd name="T26" fmla="*/ 226 w 268"/>
                <a:gd name="T27" fmla="*/ 582 h 869"/>
                <a:gd name="T28" fmla="*/ 239 w 268"/>
                <a:gd name="T29" fmla="*/ 685 h 869"/>
                <a:gd name="T30" fmla="*/ 243 w 268"/>
                <a:gd name="T31" fmla="*/ 765 h 869"/>
                <a:gd name="T32" fmla="*/ 238 w 268"/>
                <a:gd name="T33" fmla="*/ 785 h 869"/>
                <a:gd name="T34" fmla="*/ 243 w 268"/>
                <a:gd name="T35" fmla="*/ 823 h 869"/>
                <a:gd name="T36" fmla="*/ 229 w 268"/>
                <a:gd name="T37" fmla="*/ 863 h 869"/>
                <a:gd name="T38" fmla="*/ 200 w 268"/>
                <a:gd name="T39" fmla="*/ 869 h 869"/>
                <a:gd name="T40" fmla="*/ 190 w 268"/>
                <a:gd name="T41" fmla="*/ 865 h 869"/>
                <a:gd name="T42" fmla="*/ 186 w 268"/>
                <a:gd name="T43" fmla="*/ 841 h 869"/>
                <a:gd name="T44" fmla="*/ 182 w 268"/>
                <a:gd name="T45" fmla="*/ 800 h 869"/>
                <a:gd name="T46" fmla="*/ 186 w 268"/>
                <a:gd name="T47" fmla="*/ 781 h 869"/>
                <a:gd name="T48" fmla="*/ 187 w 268"/>
                <a:gd name="T49" fmla="*/ 747 h 869"/>
                <a:gd name="T50" fmla="*/ 177 w 268"/>
                <a:gd name="T51" fmla="*/ 660 h 869"/>
                <a:gd name="T52" fmla="*/ 160 w 268"/>
                <a:gd name="T53" fmla="*/ 571 h 869"/>
                <a:gd name="T54" fmla="*/ 153 w 268"/>
                <a:gd name="T55" fmla="*/ 540 h 869"/>
                <a:gd name="T56" fmla="*/ 139 w 268"/>
                <a:gd name="T57" fmla="*/ 493 h 869"/>
                <a:gd name="T58" fmla="*/ 128 w 268"/>
                <a:gd name="T59" fmla="*/ 518 h 869"/>
                <a:gd name="T60" fmla="*/ 118 w 268"/>
                <a:gd name="T61" fmla="*/ 604 h 869"/>
                <a:gd name="T62" fmla="*/ 115 w 268"/>
                <a:gd name="T63" fmla="*/ 638 h 869"/>
                <a:gd name="T64" fmla="*/ 118 w 268"/>
                <a:gd name="T65" fmla="*/ 698 h 869"/>
                <a:gd name="T66" fmla="*/ 112 w 268"/>
                <a:gd name="T67" fmla="*/ 768 h 869"/>
                <a:gd name="T68" fmla="*/ 110 w 268"/>
                <a:gd name="T69" fmla="*/ 803 h 869"/>
                <a:gd name="T70" fmla="*/ 110 w 268"/>
                <a:gd name="T71" fmla="*/ 837 h 869"/>
                <a:gd name="T72" fmla="*/ 110 w 268"/>
                <a:gd name="T73" fmla="*/ 862 h 869"/>
                <a:gd name="T74" fmla="*/ 73 w 268"/>
                <a:gd name="T75" fmla="*/ 862 h 869"/>
                <a:gd name="T76" fmla="*/ 31 w 268"/>
                <a:gd name="T77" fmla="*/ 867 h 869"/>
                <a:gd name="T78" fmla="*/ 17 w 268"/>
                <a:gd name="T79" fmla="*/ 865 h 869"/>
                <a:gd name="T80" fmla="*/ 5 w 268"/>
                <a:gd name="T81" fmla="*/ 862 h 869"/>
                <a:gd name="T82" fmla="*/ 0 w 268"/>
                <a:gd name="T83" fmla="*/ 855 h 869"/>
                <a:gd name="T84" fmla="*/ 27 w 268"/>
                <a:gd name="T85" fmla="*/ 848 h 869"/>
                <a:gd name="T86" fmla="*/ 52 w 268"/>
                <a:gd name="T87" fmla="*/ 815 h 869"/>
                <a:gd name="T88" fmla="*/ 47 w 268"/>
                <a:gd name="T89" fmla="*/ 777 h 869"/>
                <a:gd name="T90" fmla="*/ 55 w 268"/>
                <a:gd name="T91" fmla="*/ 742 h 869"/>
                <a:gd name="T92" fmla="*/ 55 w 268"/>
                <a:gd name="T93" fmla="*/ 689 h 869"/>
                <a:gd name="T94" fmla="*/ 59 w 268"/>
                <a:gd name="T95" fmla="*/ 650 h 869"/>
                <a:gd name="T96" fmla="*/ 56 w 268"/>
                <a:gd name="T97" fmla="*/ 605 h 869"/>
                <a:gd name="T98" fmla="*/ 31 w 268"/>
                <a:gd name="T99" fmla="*/ 461 h 869"/>
                <a:gd name="T100" fmla="*/ 21 w 268"/>
                <a:gd name="T101" fmla="*/ 457 h 869"/>
                <a:gd name="T102" fmla="*/ 10 w 268"/>
                <a:gd name="T103" fmla="*/ 391 h 869"/>
                <a:gd name="T104" fmla="*/ 17 w 268"/>
                <a:gd name="T105" fmla="*/ 282 h 869"/>
                <a:gd name="T106" fmla="*/ 25 w 268"/>
                <a:gd name="T107" fmla="*/ 209 h 869"/>
                <a:gd name="T108" fmla="*/ 31 w 268"/>
                <a:gd name="T109" fmla="*/ 182 h 869"/>
                <a:gd name="T110" fmla="*/ 55 w 268"/>
                <a:gd name="T111" fmla="*/ 160 h 869"/>
                <a:gd name="T112" fmla="*/ 97 w 268"/>
                <a:gd name="T113" fmla="*/ 142 h 869"/>
                <a:gd name="T114" fmla="*/ 105 w 268"/>
                <a:gd name="T115" fmla="*/ 125 h 869"/>
                <a:gd name="T116" fmla="*/ 98 w 268"/>
                <a:gd name="T117" fmla="*/ 108 h 869"/>
                <a:gd name="T118" fmla="*/ 90 w 268"/>
                <a:gd name="T119" fmla="*/ 72 h 869"/>
                <a:gd name="T120" fmla="*/ 88 w 268"/>
                <a:gd name="T121" fmla="*/ 58 h 869"/>
                <a:gd name="T122" fmla="*/ 91 w 268"/>
                <a:gd name="T123" fmla="*/ 17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8" h="869">
                  <a:moveTo>
                    <a:pt x="122" y="0"/>
                  </a:moveTo>
                  <a:lnTo>
                    <a:pt x="128" y="2"/>
                  </a:lnTo>
                  <a:lnTo>
                    <a:pt x="133" y="4"/>
                  </a:lnTo>
                  <a:lnTo>
                    <a:pt x="135" y="6"/>
                  </a:lnTo>
                  <a:lnTo>
                    <a:pt x="136" y="6"/>
                  </a:lnTo>
                  <a:lnTo>
                    <a:pt x="141" y="7"/>
                  </a:lnTo>
                  <a:lnTo>
                    <a:pt x="148" y="8"/>
                  </a:lnTo>
                  <a:lnTo>
                    <a:pt x="154" y="13"/>
                  </a:lnTo>
                  <a:lnTo>
                    <a:pt x="161" y="19"/>
                  </a:lnTo>
                  <a:lnTo>
                    <a:pt x="166" y="28"/>
                  </a:lnTo>
                  <a:lnTo>
                    <a:pt x="170" y="40"/>
                  </a:lnTo>
                  <a:lnTo>
                    <a:pt x="169" y="55"/>
                  </a:lnTo>
                  <a:lnTo>
                    <a:pt x="171" y="66"/>
                  </a:lnTo>
                  <a:lnTo>
                    <a:pt x="169" y="75"/>
                  </a:lnTo>
                  <a:lnTo>
                    <a:pt x="165" y="80"/>
                  </a:lnTo>
                  <a:lnTo>
                    <a:pt x="161" y="84"/>
                  </a:lnTo>
                  <a:lnTo>
                    <a:pt x="158" y="85"/>
                  </a:lnTo>
                  <a:lnTo>
                    <a:pt x="158" y="88"/>
                  </a:lnTo>
                  <a:lnTo>
                    <a:pt x="157" y="95"/>
                  </a:lnTo>
                  <a:lnTo>
                    <a:pt x="156" y="104"/>
                  </a:lnTo>
                  <a:lnTo>
                    <a:pt x="158" y="114"/>
                  </a:lnTo>
                  <a:lnTo>
                    <a:pt x="167" y="127"/>
                  </a:lnTo>
                  <a:lnTo>
                    <a:pt x="179" y="138"/>
                  </a:lnTo>
                  <a:lnTo>
                    <a:pt x="192" y="144"/>
                  </a:lnTo>
                  <a:lnTo>
                    <a:pt x="205" y="148"/>
                  </a:lnTo>
                  <a:lnTo>
                    <a:pt x="220" y="151"/>
                  </a:lnTo>
                  <a:lnTo>
                    <a:pt x="232" y="154"/>
                  </a:lnTo>
                  <a:lnTo>
                    <a:pt x="239" y="159"/>
                  </a:lnTo>
                  <a:lnTo>
                    <a:pt x="243" y="165"/>
                  </a:lnTo>
                  <a:lnTo>
                    <a:pt x="245" y="169"/>
                  </a:lnTo>
                  <a:lnTo>
                    <a:pt x="246" y="172"/>
                  </a:lnTo>
                  <a:lnTo>
                    <a:pt x="246" y="173"/>
                  </a:lnTo>
                  <a:lnTo>
                    <a:pt x="249" y="180"/>
                  </a:lnTo>
                  <a:lnTo>
                    <a:pt x="251" y="189"/>
                  </a:lnTo>
                  <a:lnTo>
                    <a:pt x="255" y="205"/>
                  </a:lnTo>
                  <a:lnTo>
                    <a:pt x="259" y="227"/>
                  </a:lnTo>
                  <a:lnTo>
                    <a:pt x="264" y="257"/>
                  </a:lnTo>
                  <a:lnTo>
                    <a:pt x="267" y="290"/>
                  </a:lnTo>
                  <a:lnTo>
                    <a:pt x="268" y="324"/>
                  </a:lnTo>
                  <a:lnTo>
                    <a:pt x="266" y="355"/>
                  </a:lnTo>
                  <a:lnTo>
                    <a:pt x="263" y="384"/>
                  </a:lnTo>
                  <a:lnTo>
                    <a:pt x="259" y="409"/>
                  </a:lnTo>
                  <a:lnTo>
                    <a:pt x="256" y="427"/>
                  </a:lnTo>
                  <a:lnTo>
                    <a:pt x="254" y="439"/>
                  </a:lnTo>
                  <a:lnTo>
                    <a:pt x="249" y="447"/>
                  </a:lnTo>
                  <a:lnTo>
                    <a:pt x="243" y="452"/>
                  </a:lnTo>
                  <a:lnTo>
                    <a:pt x="238" y="455"/>
                  </a:lnTo>
                  <a:lnTo>
                    <a:pt x="236" y="455"/>
                  </a:lnTo>
                  <a:lnTo>
                    <a:pt x="233" y="455"/>
                  </a:lnTo>
                  <a:lnTo>
                    <a:pt x="222" y="470"/>
                  </a:lnTo>
                  <a:lnTo>
                    <a:pt x="222" y="474"/>
                  </a:lnTo>
                  <a:lnTo>
                    <a:pt x="222" y="486"/>
                  </a:lnTo>
                  <a:lnTo>
                    <a:pt x="222" y="505"/>
                  </a:lnTo>
                  <a:lnTo>
                    <a:pt x="224" y="527"/>
                  </a:lnTo>
                  <a:lnTo>
                    <a:pt x="225" y="553"/>
                  </a:lnTo>
                  <a:lnTo>
                    <a:pt x="226" y="582"/>
                  </a:lnTo>
                  <a:lnTo>
                    <a:pt x="229" y="611"/>
                  </a:lnTo>
                  <a:lnTo>
                    <a:pt x="232" y="638"/>
                  </a:lnTo>
                  <a:lnTo>
                    <a:pt x="236" y="664"/>
                  </a:lnTo>
                  <a:lnTo>
                    <a:pt x="239" y="685"/>
                  </a:lnTo>
                  <a:lnTo>
                    <a:pt x="245" y="711"/>
                  </a:lnTo>
                  <a:lnTo>
                    <a:pt x="246" y="734"/>
                  </a:lnTo>
                  <a:lnTo>
                    <a:pt x="246" y="751"/>
                  </a:lnTo>
                  <a:lnTo>
                    <a:pt x="243" y="765"/>
                  </a:lnTo>
                  <a:lnTo>
                    <a:pt x="239" y="774"/>
                  </a:lnTo>
                  <a:lnTo>
                    <a:pt x="237" y="781"/>
                  </a:lnTo>
                  <a:lnTo>
                    <a:pt x="237" y="782"/>
                  </a:lnTo>
                  <a:lnTo>
                    <a:pt x="238" y="785"/>
                  </a:lnTo>
                  <a:lnTo>
                    <a:pt x="242" y="790"/>
                  </a:lnTo>
                  <a:lnTo>
                    <a:pt x="245" y="798"/>
                  </a:lnTo>
                  <a:lnTo>
                    <a:pt x="246" y="810"/>
                  </a:lnTo>
                  <a:lnTo>
                    <a:pt x="243" y="823"/>
                  </a:lnTo>
                  <a:lnTo>
                    <a:pt x="234" y="838"/>
                  </a:lnTo>
                  <a:lnTo>
                    <a:pt x="237" y="850"/>
                  </a:lnTo>
                  <a:lnTo>
                    <a:pt x="234" y="858"/>
                  </a:lnTo>
                  <a:lnTo>
                    <a:pt x="229" y="863"/>
                  </a:lnTo>
                  <a:lnTo>
                    <a:pt x="222" y="867"/>
                  </a:lnTo>
                  <a:lnTo>
                    <a:pt x="215" y="869"/>
                  </a:lnTo>
                  <a:lnTo>
                    <a:pt x="207" y="869"/>
                  </a:lnTo>
                  <a:lnTo>
                    <a:pt x="200" y="869"/>
                  </a:lnTo>
                  <a:lnTo>
                    <a:pt x="195" y="867"/>
                  </a:lnTo>
                  <a:lnTo>
                    <a:pt x="194" y="867"/>
                  </a:lnTo>
                  <a:lnTo>
                    <a:pt x="192" y="867"/>
                  </a:lnTo>
                  <a:lnTo>
                    <a:pt x="190" y="865"/>
                  </a:lnTo>
                  <a:lnTo>
                    <a:pt x="186" y="862"/>
                  </a:lnTo>
                  <a:lnTo>
                    <a:pt x="183" y="857"/>
                  </a:lnTo>
                  <a:lnTo>
                    <a:pt x="183" y="850"/>
                  </a:lnTo>
                  <a:lnTo>
                    <a:pt x="186" y="841"/>
                  </a:lnTo>
                  <a:lnTo>
                    <a:pt x="194" y="831"/>
                  </a:lnTo>
                  <a:lnTo>
                    <a:pt x="186" y="820"/>
                  </a:lnTo>
                  <a:lnTo>
                    <a:pt x="182" y="810"/>
                  </a:lnTo>
                  <a:lnTo>
                    <a:pt x="182" y="800"/>
                  </a:lnTo>
                  <a:lnTo>
                    <a:pt x="184" y="791"/>
                  </a:lnTo>
                  <a:lnTo>
                    <a:pt x="186" y="786"/>
                  </a:lnTo>
                  <a:lnTo>
                    <a:pt x="187" y="783"/>
                  </a:lnTo>
                  <a:lnTo>
                    <a:pt x="186" y="781"/>
                  </a:lnTo>
                  <a:lnTo>
                    <a:pt x="186" y="774"/>
                  </a:lnTo>
                  <a:lnTo>
                    <a:pt x="184" y="765"/>
                  </a:lnTo>
                  <a:lnTo>
                    <a:pt x="184" y="755"/>
                  </a:lnTo>
                  <a:lnTo>
                    <a:pt x="187" y="747"/>
                  </a:lnTo>
                  <a:lnTo>
                    <a:pt x="186" y="730"/>
                  </a:lnTo>
                  <a:lnTo>
                    <a:pt x="183" y="709"/>
                  </a:lnTo>
                  <a:lnTo>
                    <a:pt x="181" y="685"/>
                  </a:lnTo>
                  <a:lnTo>
                    <a:pt x="177" y="660"/>
                  </a:lnTo>
                  <a:lnTo>
                    <a:pt x="173" y="635"/>
                  </a:lnTo>
                  <a:lnTo>
                    <a:pt x="167" y="612"/>
                  </a:lnTo>
                  <a:lnTo>
                    <a:pt x="163" y="591"/>
                  </a:lnTo>
                  <a:lnTo>
                    <a:pt x="160" y="571"/>
                  </a:lnTo>
                  <a:lnTo>
                    <a:pt x="157" y="557"/>
                  </a:lnTo>
                  <a:lnTo>
                    <a:pt x="154" y="546"/>
                  </a:lnTo>
                  <a:lnTo>
                    <a:pt x="154" y="544"/>
                  </a:lnTo>
                  <a:lnTo>
                    <a:pt x="153" y="540"/>
                  </a:lnTo>
                  <a:lnTo>
                    <a:pt x="150" y="532"/>
                  </a:lnTo>
                  <a:lnTo>
                    <a:pt x="148" y="519"/>
                  </a:lnTo>
                  <a:lnTo>
                    <a:pt x="144" y="506"/>
                  </a:lnTo>
                  <a:lnTo>
                    <a:pt x="139" y="493"/>
                  </a:lnTo>
                  <a:lnTo>
                    <a:pt x="135" y="481"/>
                  </a:lnTo>
                  <a:lnTo>
                    <a:pt x="133" y="488"/>
                  </a:lnTo>
                  <a:lnTo>
                    <a:pt x="131" y="501"/>
                  </a:lnTo>
                  <a:lnTo>
                    <a:pt x="128" y="518"/>
                  </a:lnTo>
                  <a:lnTo>
                    <a:pt x="126" y="539"/>
                  </a:lnTo>
                  <a:lnTo>
                    <a:pt x="123" y="561"/>
                  </a:lnTo>
                  <a:lnTo>
                    <a:pt x="120" y="583"/>
                  </a:lnTo>
                  <a:lnTo>
                    <a:pt x="118" y="604"/>
                  </a:lnTo>
                  <a:lnTo>
                    <a:pt x="116" y="620"/>
                  </a:lnTo>
                  <a:lnTo>
                    <a:pt x="115" y="632"/>
                  </a:lnTo>
                  <a:lnTo>
                    <a:pt x="115" y="635"/>
                  </a:lnTo>
                  <a:lnTo>
                    <a:pt x="115" y="638"/>
                  </a:lnTo>
                  <a:lnTo>
                    <a:pt x="116" y="647"/>
                  </a:lnTo>
                  <a:lnTo>
                    <a:pt x="118" y="660"/>
                  </a:lnTo>
                  <a:lnTo>
                    <a:pt x="119" y="679"/>
                  </a:lnTo>
                  <a:lnTo>
                    <a:pt x="118" y="698"/>
                  </a:lnTo>
                  <a:lnTo>
                    <a:pt x="115" y="721"/>
                  </a:lnTo>
                  <a:lnTo>
                    <a:pt x="110" y="744"/>
                  </a:lnTo>
                  <a:lnTo>
                    <a:pt x="112" y="755"/>
                  </a:lnTo>
                  <a:lnTo>
                    <a:pt x="112" y="768"/>
                  </a:lnTo>
                  <a:lnTo>
                    <a:pt x="112" y="781"/>
                  </a:lnTo>
                  <a:lnTo>
                    <a:pt x="111" y="793"/>
                  </a:lnTo>
                  <a:lnTo>
                    <a:pt x="110" y="800"/>
                  </a:lnTo>
                  <a:lnTo>
                    <a:pt x="110" y="803"/>
                  </a:lnTo>
                  <a:lnTo>
                    <a:pt x="110" y="807"/>
                  </a:lnTo>
                  <a:lnTo>
                    <a:pt x="111" y="815"/>
                  </a:lnTo>
                  <a:lnTo>
                    <a:pt x="111" y="825"/>
                  </a:lnTo>
                  <a:lnTo>
                    <a:pt x="110" y="837"/>
                  </a:lnTo>
                  <a:lnTo>
                    <a:pt x="111" y="845"/>
                  </a:lnTo>
                  <a:lnTo>
                    <a:pt x="111" y="853"/>
                  </a:lnTo>
                  <a:lnTo>
                    <a:pt x="110" y="859"/>
                  </a:lnTo>
                  <a:lnTo>
                    <a:pt x="110" y="862"/>
                  </a:lnTo>
                  <a:lnTo>
                    <a:pt x="106" y="862"/>
                  </a:lnTo>
                  <a:lnTo>
                    <a:pt x="97" y="863"/>
                  </a:lnTo>
                  <a:lnTo>
                    <a:pt x="85" y="863"/>
                  </a:lnTo>
                  <a:lnTo>
                    <a:pt x="73" y="862"/>
                  </a:lnTo>
                  <a:lnTo>
                    <a:pt x="67" y="858"/>
                  </a:lnTo>
                  <a:lnTo>
                    <a:pt x="55" y="865"/>
                  </a:lnTo>
                  <a:lnTo>
                    <a:pt x="42" y="867"/>
                  </a:lnTo>
                  <a:lnTo>
                    <a:pt x="31" y="867"/>
                  </a:lnTo>
                  <a:lnTo>
                    <a:pt x="22" y="866"/>
                  </a:lnTo>
                  <a:lnTo>
                    <a:pt x="19" y="866"/>
                  </a:lnTo>
                  <a:lnTo>
                    <a:pt x="18" y="866"/>
                  </a:lnTo>
                  <a:lnTo>
                    <a:pt x="17" y="865"/>
                  </a:lnTo>
                  <a:lnTo>
                    <a:pt x="14" y="865"/>
                  </a:lnTo>
                  <a:lnTo>
                    <a:pt x="12" y="863"/>
                  </a:lnTo>
                  <a:lnTo>
                    <a:pt x="9" y="863"/>
                  </a:lnTo>
                  <a:lnTo>
                    <a:pt x="5" y="862"/>
                  </a:lnTo>
                  <a:lnTo>
                    <a:pt x="2" y="861"/>
                  </a:lnTo>
                  <a:lnTo>
                    <a:pt x="1" y="859"/>
                  </a:lnTo>
                  <a:lnTo>
                    <a:pt x="0" y="858"/>
                  </a:lnTo>
                  <a:lnTo>
                    <a:pt x="0" y="855"/>
                  </a:lnTo>
                  <a:lnTo>
                    <a:pt x="1" y="854"/>
                  </a:lnTo>
                  <a:lnTo>
                    <a:pt x="5" y="853"/>
                  </a:lnTo>
                  <a:lnTo>
                    <a:pt x="10" y="852"/>
                  </a:lnTo>
                  <a:lnTo>
                    <a:pt x="27" y="848"/>
                  </a:lnTo>
                  <a:lnTo>
                    <a:pt x="39" y="841"/>
                  </a:lnTo>
                  <a:lnTo>
                    <a:pt x="47" y="832"/>
                  </a:lnTo>
                  <a:lnTo>
                    <a:pt x="52" y="823"/>
                  </a:lnTo>
                  <a:lnTo>
                    <a:pt x="52" y="815"/>
                  </a:lnTo>
                  <a:lnTo>
                    <a:pt x="51" y="807"/>
                  </a:lnTo>
                  <a:lnTo>
                    <a:pt x="47" y="797"/>
                  </a:lnTo>
                  <a:lnTo>
                    <a:pt x="47" y="786"/>
                  </a:lnTo>
                  <a:lnTo>
                    <a:pt x="47" y="777"/>
                  </a:lnTo>
                  <a:lnTo>
                    <a:pt x="50" y="772"/>
                  </a:lnTo>
                  <a:lnTo>
                    <a:pt x="52" y="766"/>
                  </a:lnTo>
                  <a:lnTo>
                    <a:pt x="54" y="756"/>
                  </a:lnTo>
                  <a:lnTo>
                    <a:pt x="55" y="742"/>
                  </a:lnTo>
                  <a:lnTo>
                    <a:pt x="56" y="728"/>
                  </a:lnTo>
                  <a:lnTo>
                    <a:pt x="56" y="717"/>
                  </a:lnTo>
                  <a:lnTo>
                    <a:pt x="55" y="704"/>
                  </a:lnTo>
                  <a:lnTo>
                    <a:pt x="55" y="689"/>
                  </a:lnTo>
                  <a:lnTo>
                    <a:pt x="55" y="673"/>
                  </a:lnTo>
                  <a:lnTo>
                    <a:pt x="56" y="662"/>
                  </a:lnTo>
                  <a:lnTo>
                    <a:pt x="59" y="655"/>
                  </a:lnTo>
                  <a:lnTo>
                    <a:pt x="59" y="650"/>
                  </a:lnTo>
                  <a:lnTo>
                    <a:pt x="59" y="641"/>
                  </a:lnTo>
                  <a:lnTo>
                    <a:pt x="59" y="629"/>
                  </a:lnTo>
                  <a:lnTo>
                    <a:pt x="57" y="616"/>
                  </a:lnTo>
                  <a:lnTo>
                    <a:pt x="56" y="605"/>
                  </a:lnTo>
                  <a:lnTo>
                    <a:pt x="55" y="596"/>
                  </a:lnTo>
                  <a:lnTo>
                    <a:pt x="55" y="594"/>
                  </a:lnTo>
                  <a:lnTo>
                    <a:pt x="33" y="461"/>
                  </a:lnTo>
                  <a:lnTo>
                    <a:pt x="31" y="461"/>
                  </a:lnTo>
                  <a:lnTo>
                    <a:pt x="30" y="461"/>
                  </a:lnTo>
                  <a:lnTo>
                    <a:pt x="27" y="461"/>
                  </a:lnTo>
                  <a:lnTo>
                    <a:pt x="23" y="460"/>
                  </a:lnTo>
                  <a:lnTo>
                    <a:pt x="21" y="457"/>
                  </a:lnTo>
                  <a:lnTo>
                    <a:pt x="16" y="448"/>
                  </a:lnTo>
                  <a:lnTo>
                    <a:pt x="12" y="434"/>
                  </a:lnTo>
                  <a:lnTo>
                    <a:pt x="10" y="414"/>
                  </a:lnTo>
                  <a:lnTo>
                    <a:pt x="10" y="391"/>
                  </a:lnTo>
                  <a:lnTo>
                    <a:pt x="10" y="364"/>
                  </a:lnTo>
                  <a:lnTo>
                    <a:pt x="12" y="337"/>
                  </a:lnTo>
                  <a:lnTo>
                    <a:pt x="14" y="308"/>
                  </a:lnTo>
                  <a:lnTo>
                    <a:pt x="17" y="282"/>
                  </a:lnTo>
                  <a:lnTo>
                    <a:pt x="19" y="257"/>
                  </a:lnTo>
                  <a:lnTo>
                    <a:pt x="21" y="236"/>
                  </a:lnTo>
                  <a:lnTo>
                    <a:pt x="23" y="219"/>
                  </a:lnTo>
                  <a:lnTo>
                    <a:pt x="25" y="209"/>
                  </a:lnTo>
                  <a:lnTo>
                    <a:pt x="25" y="205"/>
                  </a:lnTo>
                  <a:lnTo>
                    <a:pt x="26" y="201"/>
                  </a:lnTo>
                  <a:lnTo>
                    <a:pt x="27" y="193"/>
                  </a:lnTo>
                  <a:lnTo>
                    <a:pt x="31" y="182"/>
                  </a:lnTo>
                  <a:lnTo>
                    <a:pt x="35" y="172"/>
                  </a:lnTo>
                  <a:lnTo>
                    <a:pt x="40" y="164"/>
                  </a:lnTo>
                  <a:lnTo>
                    <a:pt x="46" y="161"/>
                  </a:lnTo>
                  <a:lnTo>
                    <a:pt x="55" y="160"/>
                  </a:lnTo>
                  <a:lnTo>
                    <a:pt x="65" y="156"/>
                  </a:lnTo>
                  <a:lnTo>
                    <a:pt x="77" y="151"/>
                  </a:lnTo>
                  <a:lnTo>
                    <a:pt x="89" y="146"/>
                  </a:lnTo>
                  <a:lnTo>
                    <a:pt x="97" y="142"/>
                  </a:lnTo>
                  <a:lnTo>
                    <a:pt x="99" y="140"/>
                  </a:lnTo>
                  <a:lnTo>
                    <a:pt x="101" y="138"/>
                  </a:lnTo>
                  <a:lnTo>
                    <a:pt x="102" y="133"/>
                  </a:lnTo>
                  <a:lnTo>
                    <a:pt x="105" y="125"/>
                  </a:lnTo>
                  <a:lnTo>
                    <a:pt x="106" y="118"/>
                  </a:lnTo>
                  <a:lnTo>
                    <a:pt x="103" y="114"/>
                  </a:lnTo>
                  <a:lnTo>
                    <a:pt x="101" y="112"/>
                  </a:lnTo>
                  <a:lnTo>
                    <a:pt x="98" y="108"/>
                  </a:lnTo>
                  <a:lnTo>
                    <a:pt x="97" y="101"/>
                  </a:lnTo>
                  <a:lnTo>
                    <a:pt x="93" y="91"/>
                  </a:lnTo>
                  <a:lnTo>
                    <a:pt x="90" y="82"/>
                  </a:lnTo>
                  <a:lnTo>
                    <a:pt x="90" y="72"/>
                  </a:lnTo>
                  <a:lnTo>
                    <a:pt x="91" y="66"/>
                  </a:lnTo>
                  <a:lnTo>
                    <a:pt x="91" y="63"/>
                  </a:lnTo>
                  <a:lnTo>
                    <a:pt x="90" y="62"/>
                  </a:lnTo>
                  <a:lnTo>
                    <a:pt x="88" y="58"/>
                  </a:lnTo>
                  <a:lnTo>
                    <a:pt x="85" y="50"/>
                  </a:lnTo>
                  <a:lnTo>
                    <a:pt x="84" y="42"/>
                  </a:lnTo>
                  <a:lnTo>
                    <a:pt x="85" y="30"/>
                  </a:lnTo>
                  <a:lnTo>
                    <a:pt x="91" y="17"/>
                  </a:lnTo>
                  <a:lnTo>
                    <a:pt x="102" y="7"/>
                  </a:lnTo>
                  <a:lnTo>
                    <a:pt x="112" y="2"/>
                  </a:lnTo>
                  <a:lnTo>
                    <a:pt x="122" y="0"/>
                  </a:lnTo>
                  <a:close/>
                </a:path>
              </a:pathLst>
            </a:custGeom>
            <a:solidFill>
              <a:schemeClr val="tx1"/>
            </a:solidFill>
            <a:ln w="0">
              <a:noFill/>
              <a:prstDash val="solid"/>
              <a:round/>
              <a:headEnd/>
              <a:tailEnd/>
            </a:ln>
          </p:spPr>
          <p:txBody>
            <a:bodyPr lIns="68580" tIns="34290" rIns="68580" bIns="34290"/>
            <a:lstStyle/>
            <a:p>
              <a:pPr>
                <a:defRPr/>
              </a:pPr>
              <a:endParaRPr lang="en-US" sz="1350">
                <a:solidFill>
                  <a:prstClr val="black"/>
                </a:solidFill>
                <a:cs typeface="Arial" panose="020B0604020202020204" pitchFamily="34" charset="0"/>
              </a:endParaRPr>
            </a:p>
          </p:txBody>
        </p:sp>
        <p:sp>
          <p:nvSpPr>
            <p:cNvPr id="146" name="Freeform 268">
              <a:extLst>
                <a:ext uri="{FF2B5EF4-FFF2-40B4-BE49-F238E27FC236}">
                  <a16:creationId xmlns:a16="http://schemas.microsoft.com/office/drawing/2014/main" id="{A1A6F77A-61C8-6FCA-60AE-59024D5DD64C}"/>
                </a:ext>
              </a:extLst>
            </p:cNvPr>
            <p:cNvSpPr>
              <a:spLocks/>
            </p:cNvSpPr>
            <p:nvPr/>
          </p:nvSpPr>
          <p:spPr bwMode="auto">
            <a:xfrm>
              <a:off x="6031713" y="1882089"/>
              <a:ext cx="454180" cy="1458722"/>
            </a:xfrm>
            <a:custGeom>
              <a:avLst/>
              <a:gdLst>
                <a:gd name="T0" fmla="*/ 74 w 85"/>
                <a:gd name="T1" fmla="*/ 0 h 273"/>
                <a:gd name="T2" fmla="*/ 74 w 85"/>
                <a:gd name="T3" fmla="*/ 0 h 273"/>
                <a:gd name="T4" fmla="*/ 76 w 85"/>
                <a:gd name="T5" fmla="*/ 2 h 273"/>
                <a:gd name="T6" fmla="*/ 77 w 85"/>
                <a:gd name="T7" fmla="*/ 4 h 273"/>
                <a:gd name="T8" fmla="*/ 79 w 85"/>
                <a:gd name="T9" fmla="*/ 7 h 273"/>
                <a:gd name="T10" fmla="*/ 82 w 85"/>
                <a:gd name="T11" fmla="*/ 11 h 273"/>
                <a:gd name="T12" fmla="*/ 85 w 85"/>
                <a:gd name="T13" fmla="*/ 13 h 273"/>
                <a:gd name="T14" fmla="*/ 68 w 85"/>
                <a:gd name="T15" fmla="*/ 53 h 273"/>
                <a:gd name="T16" fmla="*/ 57 w 85"/>
                <a:gd name="T17" fmla="*/ 91 h 273"/>
                <a:gd name="T18" fmla="*/ 51 w 85"/>
                <a:gd name="T19" fmla="*/ 126 h 273"/>
                <a:gd name="T20" fmla="*/ 49 w 85"/>
                <a:gd name="T21" fmla="*/ 160 h 273"/>
                <a:gd name="T22" fmla="*/ 49 w 85"/>
                <a:gd name="T23" fmla="*/ 190 h 273"/>
                <a:gd name="T24" fmla="*/ 52 w 85"/>
                <a:gd name="T25" fmla="*/ 215 h 273"/>
                <a:gd name="T26" fmla="*/ 56 w 85"/>
                <a:gd name="T27" fmla="*/ 237 h 273"/>
                <a:gd name="T28" fmla="*/ 60 w 85"/>
                <a:gd name="T29" fmla="*/ 253 h 273"/>
                <a:gd name="T30" fmla="*/ 62 w 85"/>
                <a:gd name="T31" fmla="*/ 262 h 273"/>
                <a:gd name="T32" fmla="*/ 64 w 85"/>
                <a:gd name="T33" fmla="*/ 266 h 273"/>
                <a:gd name="T34" fmla="*/ 61 w 85"/>
                <a:gd name="T35" fmla="*/ 267 h 273"/>
                <a:gd name="T36" fmla="*/ 53 w 85"/>
                <a:gd name="T37" fmla="*/ 270 h 273"/>
                <a:gd name="T38" fmla="*/ 43 w 85"/>
                <a:gd name="T39" fmla="*/ 271 h 273"/>
                <a:gd name="T40" fmla="*/ 30 w 85"/>
                <a:gd name="T41" fmla="*/ 273 h 273"/>
                <a:gd name="T42" fmla="*/ 15 w 85"/>
                <a:gd name="T43" fmla="*/ 271 h 273"/>
                <a:gd name="T44" fmla="*/ 0 w 85"/>
                <a:gd name="T45" fmla="*/ 266 h 273"/>
                <a:gd name="T46" fmla="*/ 6 w 85"/>
                <a:gd name="T47" fmla="*/ 248 h 273"/>
                <a:gd name="T48" fmla="*/ 11 w 85"/>
                <a:gd name="T49" fmla="*/ 224 h 273"/>
                <a:gd name="T50" fmla="*/ 14 w 85"/>
                <a:gd name="T51" fmla="*/ 195 h 273"/>
                <a:gd name="T52" fmla="*/ 17 w 85"/>
                <a:gd name="T53" fmla="*/ 165 h 273"/>
                <a:gd name="T54" fmla="*/ 18 w 85"/>
                <a:gd name="T55" fmla="*/ 134 h 273"/>
                <a:gd name="T56" fmla="*/ 18 w 85"/>
                <a:gd name="T57" fmla="*/ 106 h 273"/>
                <a:gd name="T58" fmla="*/ 18 w 85"/>
                <a:gd name="T59" fmla="*/ 81 h 273"/>
                <a:gd name="T60" fmla="*/ 17 w 85"/>
                <a:gd name="T61" fmla="*/ 63 h 273"/>
                <a:gd name="T62" fmla="*/ 17 w 85"/>
                <a:gd name="T63" fmla="*/ 54 h 273"/>
                <a:gd name="T64" fmla="*/ 15 w 85"/>
                <a:gd name="T65" fmla="*/ 44 h 273"/>
                <a:gd name="T66" fmla="*/ 15 w 85"/>
                <a:gd name="T67" fmla="*/ 30 h 273"/>
                <a:gd name="T68" fmla="*/ 15 w 85"/>
                <a:gd name="T69" fmla="*/ 19 h 273"/>
                <a:gd name="T70" fmla="*/ 15 w 85"/>
                <a:gd name="T71" fmla="*/ 9 h 273"/>
                <a:gd name="T72" fmla="*/ 17 w 85"/>
                <a:gd name="T73" fmla="*/ 7 h 273"/>
                <a:gd name="T74" fmla="*/ 39 w 85"/>
                <a:gd name="T75" fmla="*/ 37 h 273"/>
                <a:gd name="T76" fmla="*/ 45 w 85"/>
                <a:gd name="T77" fmla="*/ 32 h 273"/>
                <a:gd name="T78" fmla="*/ 52 w 85"/>
                <a:gd name="T79" fmla="*/ 25 h 273"/>
                <a:gd name="T80" fmla="*/ 60 w 85"/>
                <a:gd name="T81" fmla="*/ 16 h 273"/>
                <a:gd name="T82" fmla="*/ 68 w 85"/>
                <a:gd name="T83" fmla="*/ 8 h 273"/>
                <a:gd name="T84" fmla="*/ 72 w 85"/>
                <a:gd name="T85" fmla="*/ 2 h 273"/>
                <a:gd name="T86" fmla="*/ 74 w 85"/>
                <a:gd name="T87"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5" h="273">
                  <a:moveTo>
                    <a:pt x="74" y="0"/>
                  </a:moveTo>
                  <a:lnTo>
                    <a:pt x="74" y="0"/>
                  </a:lnTo>
                  <a:lnTo>
                    <a:pt x="76" y="2"/>
                  </a:lnTo>
                  <a:lnTo>
                    <a:pt x="77" y="4"/>
                  </a:lnTo>
                  <a:lnTo>
                    <a:pt x="79" y="7"/>
                  </a:lnTo>
                  <a:lnTo>
                    <a:pt x="82" y="11"/>
                  </a:lnTo>
                  <a:lnTo>
                    <a:pt x="85" y="13"/>
                  </a:lnTo>
                  <a:lnTo>
                    <a:pt x="68" y="53"/>
                  </a:lnTo>
                  <a:lnTo>
                    <a:pt x="57" y="91"/>
                  </a:lnTo>
                  <a:lnTo>
                    <a:pt x="51" y="126"/>
                  </a:lnTo>
                  <a:lnTo>
                    <a:pt x="49" y="160"/>
                  </a:lnTo>
                  <a:lnTo>
                    <a:pt x="49" y="190"/>
                  </a:lnTo>
                  <a:lnTo>
                    <a:pt x="52" y="215"/>
                  </a:lnTo>
                  <a:lnTo>
                    <a:pt x="56" y="237"/>
                  </a:lnTo>
                  <a:lnTo>
                    <a:pt x="60" y="253"/>
                  </a:lnTo>
                  <a:lnTo>
                    <a:pt x="62" y="262"/>
                  </a:lnTo>
                  <a:lnTo>
                    <a:pt x="64" y="266"/>
                  </a:lnTo>
                  <a:lnTo>
                    <a:pt x="61" y="267"/>
                  </a:lnTo>
                  <a:lnTo>
                    <a:pt x="53" y="270"/>
                  </a:lnTo>
                  <a:lnTo>
                    <a:pt x="43" y="271"/>
                  </a:lnTo>
                  <a:lnTo>
                    <a:pt x="30" y="273"/>
                  </a:lnTo>
                  <a:lnTo>
                    <a:pt x="15" y="271"/>
                  </a:lnTo>
                  <a:lnTo>
                    <a:pt x="0" y="266"/>
                  </a:lnTo>
                  <a:lnTo>
                    <a:pt x="6" y="248"/>
                  </a:lnTo>
                  <a:lnTo>
                    <a:pt x="11" y="224"/>
                  </a:lnTo>
                  <a:lnTo>
                    <a:pt x="14" y="195"/>
                  </a:lnTo>
                  <a:lnTo>
                    <a:pt x="17" y="165"/>
                  </a:lnTo>
                  <a:lnTo>
                    <a:pt x="18" y="134"/>
                  </a:lnTo>
                  <a:lnTo>
                    <a:pt x="18" y="106"/>
                  </a:lnTo>
                  <a:lnTo>
                    <a:pt x="18" y="81"/>
                  </a:lnTo>
                  <a:lnTo>
                    <a:pt x="17" y="63"/>
                  </a:lnTo>
                  <a:lnTo>
                    <a:pt x="17" y="54"/>
                  </a:lnTo>
                  <a:lnTo>
                    <a:pt x="15" y="44"/>
                  </a:lnTo>
                  <a:lnTo>
                    <a:pt x="15" y="30"/>
                  </a:lnTo>
                  <a:lnTo>
                    <a:pt x="15" y="19"/>
                  </a:lnTo>
                  <a:lnTo>
                    <a:pt x="15" y="9"/>
                  </a:lnTo>
                  <a:lnTo>
                    <a:pt x="17" y="7"/>
                  </a:lnTo>
                  <a:lnTo>
                    <a:pt x="39" y="37"/>
                  </a:lnTo>
                  <a:lnTo>
                    <a:pt x="45" y="32"/>
                  </a:lnTo>
                  <a:lnTo>
                    <a:pt x="52" y="25"/>
                  </a:lnTo>
                  <a:lnTo>
                    <a:pt x="60" y="16"/>
                  </a:lnTo>
                  <a:lnTo>
                    <a:pt x="68" y="8"/>
                  </a:lnTo>
                  <a:lnTo>
                    <a:pt x="72" y="2"/>
                  </a:lnTo>
                  <a:lnTo>
                    <a:pt x="74" y="0"/>
                  </a:lnTo>
                  <a:close/>
                </a:path>
              </a:pathLst>
            </a:custGeom>
            <a:solidFill>
              <a:schemeClr val="bg1"/>
            </a:solidFill>
            <a:ln w="0">
              <a:noFill/>
              <a:prstDash val="solid"/>
              <a:round/>
              <a:headEnd/>
              <a:tailEnd/>
            </a:ln>
          </p:spPr>
          <p:txBody>
            <a:bodyPr lIns="68580" tIns="34290" rIns="68580" bIns="34290"/>
            <a:lstStyle/>
            <a:p>
              <a:pPr>
                <a:defRPr/>
              </a:pPr>
              <a:endParaRPr lang="en-US" sz="1350">
                <a:solidFill>
                  <a:prstClr val="black"/>
                </a:solidFill>
                <a:cs typeface="Arial" panose="020B0604020202020204" pitchFamily="34" charset="0"/>
              </a:endParaRPr>
            </a:p>
          </p:txBody>
        </p:sp>
        <p:sp>
          <p:nvSpPr>
            <p:cNvPr id="147" name="Freeform 269">
              <a:extLst>
                <a:ext uri="{FF2B5EF4-FFF2-40B4-BE49-F238E27FC236}">
                  <a16:creationId xmlns:a16="http://schemas.microsoft.com/office/drawing/2014/main" id="{010A5F34-F3F3-C642-4EB6-FDA921370BBF}"/>
                </a:ext>
              </a:extLst>
            </p:cNvPr>
            <p:cNvSpPr>
              <a:spLocks/>
            </p:cNvSpPr>
            <p:nvPr/>
          </p:nvSpPr>
          <p:spPr bwMode="auto">
            <a:xfrm>
              <a:off x="6170635" y="2079788"/>
              <a:ext cx="154957" cy="1218269"/>
            </a:xfrm>
            <a:custGeom>
              <a:avLst/>
              <a:gdLst>
                <a:gd name="T0" fmla="*/ 14 w 29"/>
                <a:gd name="T1" fmla="*/ 0 h 228"/>
                <a:gd name="T2" fmla="*/ 16 w 29"/>
                <a:gd name="T3" fmla="*/ 0 h 228"/>
                <a:gd name="T4" fmla="*/ 18 w 29"/>
                <a:gd name="T5" fmla="*/ 0 h 228"/>
                <a:gd name="T6" fmla="*/ 19 w 29"/>
                <a:gd name="T7" fmla="*/ 0 h 228"/>
                <a:gd name="T8" fmla="*/ 22 w 29"/>
                <a:gd name="T9" fmla="*/ 1 h 228"/>
                <a:gd name="T10" fmla="*/ 23 w 29"/>
                <a:gd name="T11" fmla="*/ 4 h 228"/>
                <a:gd name="T12" fmla="*/ 25 w 29"/>
                <a:gd name="T13" fmla="*/ 5 h 228"/>
                <a:gd name="T14" fmla="*/ 25 w 29"/>
                <a:gd name="T15" fmla="*/ 9 h 228"/>
                <a:gd name="T16" fmla="*/ 25 w 29"/>
                <a:gd name="T17" fmla="*/ 13 h 228"/>
                <a:gd name="T18" fmla="*/ 23 w 29"/>
                <a:gd name="T19" fmla="*/ 18 h 228"/>
                <a:gd name="T20" fmla="*/ 26 w 29"/>
                <a:gd name="T21" fmla="*/ 27 h 228"/>
                <a:gd name="T22" fmla="*/ 27 w 29"/>
                <a:gd name="T23" fmla="*/ 42 h 228"/>
                <a:gd name="T24" fmla="*/ 29 w 29"/>
                <a:gd name="T25" fmla="*/ 62 h 228"/>
                <a:gd name="T26" fmla="*/ 29 w 29"/>
                <a:gd name="T27" fmla="*/ 84 h 228"/>
                <a:gd name="T28" fmla="*/ 27 w 29"/>
                <a:gd name="T29" fmla="*/ 107 h 228"/>
                <a:gd name="T30" fmla="*/ 27 w 29"/>
                <a:gd name="T31" fmla="*/ 132 h 228"/>
                <a:gd name="T32" fmla="*/ 26 w 29"/>
                <a:gd name="T33" fmla="*/ 154 h 228"/>
                <a:gd name="T34" fmla="*/ 25 w 29"/>
                <a:gd name="T35" fmla="*/ 175 h 228"/>
                <a:gd name="T36" fmla="*/ 23 w 29"/>
                <a:gd name="T37" fmla="*/ 191 h 228"/>
                <a:gd name="T38" fmla="*/ 23 w 29"/>
                <a:gd name="T39" fmla="*/ 203 h 228"/>
                <a:gd name="T40" fmla="*/ 23 w 29"/>
                <a:gd name="T41" fmla="*/ 207 h 228"/>
                <a:gd name="T42" fmla="*/ 13 w 29"/>
                <a:gd name="T43" fmla="*/ 228 h 228"/>
                <a:gd name="T44" fmla="*/ 0 w 29"/>
                <a:gd name="T45" fmla="*/ 209 h 228"/>
                <a:gd name="T46" fmla="*/ 0 w 29"/>
                <a:gd name="T47" fmla="*/ 54 h 228"/>
                <a:gd name="T48" fmla="*/ 0 w 29"/>
                <a:gd name="T49" fmla="*/ 50 h 228"/>
                <a:gd name="T50" fmla="*/ 1 w 29"/>
                <a:gd name="T51" fmla="*/ 39 h 228"/>
                <a:gd name="T52" fmla="*/ 4 w 29"/>
                <a:gd name="T53" fmla="*/ 27 h 228"/>
                <a:gd name="T54" fmla="*/ 8 w 29"/>
                <a:gd name="T55" fmla="*/ 17 h 228"/>
                <a:gd name="T56" fmla="*/ 5 w 29"/>
                <a:gd name="T57" fmla="*/ 14 h 228"/>
                <a:gd name="T58" fmla="*/ 2 w 29"/>
                <a:gd name="T59" fmla="*/ 10 h 228"/>
                <a:gd name="T60" fmla="*/ 2 w 29"/>
                <a:gd name="T61" fmla="*/ 8 h 228"/>
                <a:gd name="T62" fmla="*/ 4 w 29"/>
                <a:gd name="T63" fmla="*/ 7 h 228"/>
                <a:gd name="T64" fmla="*/ 5 w 29"/>
                <a:gd name="T65" fmla="*/ 4 h 228"/>
                <a:gd name="T66" fmla="*/ 8 w 29"/>
                <a:gd name="T67" fmla="*/ 3 h 228"/>
                <a:gd name="T68" fmla="*/ 9 w 29"/>
                <a:gd name="T69" fmla="*/ 1 h 228"/>
                <a:gd name="T70" fmla="*/ 12 w 29"/>
                <a:gd name="T71" fmla="*/ 0 h 228"/>
                <a:gd name="T72" fmla="*/ 13 w 29"/>
                <a:gd name="T73" fmla="*/ 0 h 228"/>
                <a:gd name="T74" fmla="*/ 13 w 29"/>
                <a:gd name="T75" fmla="*/ 0 h 228"/>
                <a:gd name="T76" fmla="*/ 13 w 29"/>
                <a:gd name="T77" fmla="*/ 0 h 228"/>
                <a:gd name="T78" fmla="*/ 14 w 29"/>
                <a:gd name="T79" fmla="*/ 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 h="228">
                  <a:moveTo>
                    <a:pt x="14" y="0"/>
                  </a:moveTo>
                  <a:lnTo>
                    <a:pt x="16" y="0"/>
                  </a:lnTo>
                  <a:lnTo>
                    <a:pt x="18" y="0"/>
                  </a:lnTo>
                  <a:lnTo>
                    <a:pt x="19" y="0"/>
                  </a:lnTo>
                  <a:lnTo>
                    <a:pt x="22" y="1"/>
                  </a:lnTo>
                  <a:lnTo>
                    <a:pt x="23" y="4"/>
                  </a:lnTo>
                  <a:lnTo>
                    <a:pt x="25" y="5"/>
                  </a:lnTo>
                  <a:lnTo>
                    <a:pt x="25" y="9"/>
                  </a:lnTo>
                  <a:lnTo>
                    <a:pt x="25" y="13"/>
                  </a:lnTo>
                  <a:lnTo>
                    <a:pt x="23" y="18"/>
                  </a:lnTo>
                  <a:lnTo>
                    <a:pt x="26" y="27"/>
                  </a:lnTo>
                  <a:lnTo>
                    <a:pt x="27" y="42"/>
                  </a:lnTo>
                  <a:lnTo>
                    <a:pt x="29" y="62"/>
                  </a:lnTo>
                  <a:lnTo>
                    <a:pt x="29" y="84"/>
                  </a:lnTo>
                  <a:lnTo>
                    <a:pt x="27" y="107"/>
                  </a:lnTo>
                  <a:lnTo>
                    <a:pt x="27" y="132"/>
                  </a:lnTo>
                  <a:lnTo>
                    <a:pt x="26" y="154"/>
                  </a:lnTo>
                  <a:lnTo>
                    <a:pt x="25" y="175"/>
                  </a:lnTo>
                  <a:lnTo>
                    <a:pt x="23" y="191"/>
                  </a:lnTo>
                  <a:lnTo>
                    <a:pt x="23" y="203"/>
                  </a:lnTo>
                  <a:lnTo>
                    <a:pt x="23" y="207"/>
                  </a:lnTo>
                  <a:lnTo>
                    <a:pt x="13" y="228"/>
                  </a:lnTo>
                  <a:lnTo>
                    <a:pt x="0" y="209"/>
                  </a:lnTo>
                  <a:lnTo>
                    <a:pt x="0" y="54"/>
                  </a:lnTo>
                  <a:lnTo>
                    <a:pt x="0" y="50"/>
                  </a:lnTo>
                  <a:lnTo>
                    <a:pt x="1" y="39"/>
                  </a:lnTo>
                  <a:lnTo>
                    <a:pt x="4" y="27"/>
                  </a:lnTo>
                  <a:lnTo>
                    <a:pt x="8" y="17"/>
                  </a:lnTo>
                  <a:lnTo>
                    <a:pt x="5" y="14"/>
                  </a:lnTo>
                  <a:lnTo>
                    <a:pt x="2" y="10"/>
                  </a:lnTo>
                  <a:lnTo>
                    <a:pt x="2" y="8"/>
                  </a:lnTo>
                  <a:lnTo>
                    <a:pt x="4" y="7"/>
                  </a:lnTo>
                  <a:lnTo>
                    <a:pt x="5" y="4"/>
                  </a:lnTo>
                  <a:lnTo>
                    <a:pt x="8" y="3"/>
                  </a:lnTo>
                  <a:lnTo>
                    <a:pt x="9" y="1"/>
                  </a:lnTo>
                  <a:lnTo>
                    <a:pt x="12" y="0"/>
                  </a:lnTo>
                  <a:lnTo>
                    <a:pt x="13" y="0"/>
                  </a:lnTo>
                  <a:lnTo>
                    <a:pt x="13" y="0"/>
                  </a:lnTo>
                  <a:lnTo>
                    <a:pt x="13" y="0"/>
                  </a:lnTo>
                  <a:lnTo>
                    <a:pt x="14" y="0"/>
                  </a:lnTo>
                  <a:close/>
                </a:path>
              </a:pathLst>
            </a:custGeom>
            <a:solidFill>
              <a:srgbClr val="000000"/>
            </a:solidFill>
            <a:ln w="0">
              <a:noFill/>
              <a:prstDash val="solid"/>
              <a:round/>
              <a:headEnd/>
              <a:tailEnd/>
            </a:ln>
          </p:spPr>
          <p:txBody>
            <a:bodyPr lIns="68580" tIns="34290" rIns="68580" bIns="34290"/>
            <a:lstStyle/>
            <a:p>
              <a:pPr>
                <a:defRPr/>
              </a:pPr>
              <a:endParaRPr lang="en-US" sz="1350">
                <a:solidFill>
                  <a:prstClr val="black"/>
                </a:solidFill>
                <a:cs typeface="Arial" panose="020B0604020202020204" pitchFamily="34" charset="0"/>
              </a:endParaRPr>
            </a:p>
          </p:txBody>
        </p:sp>
        <p:sp>
          <p:nvSpPr>
            <p:cNvPr id="148" name="Freeform 270">
              <a:extLst>
                <a:ext uri="{FF2B5EF4-FFF2-40B4-BE49-F238E27FC236}">
                  <a16:creationId xmlns:a16="http://schemas.microsoft.com/office/drawing/2014/main" id="{379F3937-5E87-7E0A-E374-9826045F4D51}"/>
                </a:ext>
              </a:extLst>
            </p:cNvPr>
            <p:cNvSpPr>
              <a:spLocks/>
            </p:cNvSpPr>
            <p:nvPr/>
          </p:nvSpPr>
          <p:spPr bwMode="auto">
            <a:xfrm>
              <a:off x="5652334" y="3511796"/>
              <a:ext cx="85492" cy="197703"/>
            </a:xfrm>
            <a:custGeom>
              <a:avLst/>
              <a:gdLst>
                <a:gd name="T0" fmla="*/ 13 w 16"/>
                <a:gd name="T1" fmla="*/ 0 h 37"/>
                <a:gd name="T2" fmla="*/ 16 w 16"/>
                <a:gd name="T3" fmla="*/ 7 h 37"/>
                <a:gd name="T4" fmla="*/ 14 w 16"/>
                <a:gd name="T5" fmla="*/ 8 h 37"/>
                <a:gd name="T6" fmla="*/ 12 w 16"/>
                <a:gd name="T7" fmla="*/ 14 h 37"/>
                <a:gd name="T8" fmla="*/ 8 w 16"/>
                <a:gd name="T9" fmla="*/ 20 h 37"/>
                <a:gd name="T10" fmla="*/ 6 w 16"/>
                <a:gd name="T11" fmla="*/ 29 h 37"/>
                <a:gd name="T12" fmla="*/ 5 w 16"/>
                <a:gd name="T13" fmla="*/ 37 h 37"/>
                <a:gd name="T14" fmla="*/ 3 w 16"/>
                <a:gd name="T15" fmla="*/ 31 h 37"/>
                <a:gd name="T16" fmla="*/ 1 w 16"/>
                <a:gd name="T17" fmla="*/ 25 h 37"/>
                <a:gd name="T18" fmla="*/ 0 w 16"/>
                <a:gd name="T19" fmla="*/ 21 h 37"/>
                <a:gd name="T20" fmla="*/ 0 w 16"/>
                <a:gd name="T21" fmla="*/ 19 h 37"/>
                <a:gd name="T22" fmla="*/ 0 w 16"/>
                <a:gd name="T23" fmla="*/ 19 h 37"/>
                <a:gd name="T24" fmla="*/ 0 w 16"/>
                <a:gd name="T25" fmla="*/ 17 h 37"/>
                <a:gd name="T26" fmla="*/ 1 w 16"/>
                <a:gd name="T27" fmla="*/ 16 h 37"/>
                <a:gd name="T28" fmla="*/ 3 w 16"/>
                <a:gd name="T29" fmla="*/ 12 h 37"/>
                <a:gd name="T30" fmla="*/ 4 w 16"/>
                <a:gd name="T31" fmla="*/ 10 h 37"/>
                <a:gd name="T32" fmla="*/ 6 w 16"/>
                <a:gd name="T33" fmla="*/ 6 h 37"/>
                <a:gd name="T34" fmla="*/ 9 w 16"/>
                <a:gd name="T35" fmla="*/ 3 h 37"/>
                <a:gd name="T36" fmla="*/ 13 w 16"/>
                <a:gd name="T37"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37">
                  <a:moveTo>
                    <a:pt x="13" y="0"/>
                  </a:moveTo>
                  <a:lnTo>
                    <a:pt x="16" y="7"/>
                  </a:lnTo>
                  <a:lnTo>
                    <a:pt x="14" y="8"/>
                  </a:lnTo>
                  <a:lnTo>
                    <a:pt x="12" y="14"/>
                  </a:lnTo>
                  <a:lnTo>
                    <a:pt x="8" y="20"/>
                  </a:lnTo>
                  <a:lnTo>
                    <a:pt x="6" y="29"/>
                  </a:lnTo>
                  <a:lnTo>
                    <a:pt x="5" y="37"/>
                  </a:lnTo>
                  <a:lnTo>
                    <a:pt x="3" y="31"/>
                  </a:lnTo>
                  <a:lnTo>
                    <a:pt x="1" y="25"/>
                  </a:lnTo>
                  <a:lnTo>
                    <a:pt x="0" y="21"/>
                  </a:lnTo>
                  <a:lnTo>
                    <a:pt x="0" y="19"/>
                  </a:lnTo>
                  <a:lnTo>
                    <a:pt x="0" y="19"/>
                  </a:lnTo>
                  <a:lnTo>
                    <a:pt x="0" y="17"/>
                  </a:lnTo>
                  <a:lnTo>
                    <a:pt x="1" y="16"/>
                  </a:lnTo>
                  <a:lnTo>
                    <a:pt x="3" y="12"/>
                  </a:lnTo>
                  <a:lnTo>
                    <a:pt x="4" y="10"/>
                  </a:lnTo>
                  <a:lnTo>
                    <a:pt x="6" y="6"/>
                  </a:lnTo>
                  <a:lnTo>
                    <a:pt x="9" y="3"/>
                  </a:lnTo>
                  <a:lnTo>
                    <a:pt x="13" y="0"/>
                  </a:lnTo>
                  <a:close/>
                </a:path>
              </a:pathLst>
            </a:custGeom>
            <a:solidFill>
              <a:schemeClr val="tx1">
                <a:lumMod val="85000"/>
                <a:lumOff val="15000"/>
              </a:schemeClr>
            </a:solidFill>
            <a:ln w="0">
              <a:noFill/>
              <a:prstDash val="solid"/>
              <a:round/>
              <a:headEnd/>
              <a:tailEnd/>
            </a:ln>
          </p:spPr>
          <p:txBody>
            <a:bodyPr lIns="68580" tIns="34290" rIns="68580" bIns="34290"/>
            <a:lstStyle/>
            <a:p>
              <a:pPr>
                <a:defRPr/>
              </a:pPr>
              <a:endParaRPr lang="en-US" sz="1350">
                <a:solidFill>
                  <a:prstClr val="black"/>
                </a:solidFill>
                <a:cs typeface="Arial" panose="020B0604020202020204" pitchFamily="34" charset="0"/>
              </a:endParaRPr>
            </a:p>
          </p:txBody>
        </p:sp>
        <p:sp>
          <p:nvSpPr>
            <p:cNvPr id="149" name="Freeform 271">
              <a:extLst>
                <a:ext uri="{FF2B5EF4-FFF2-40B4-BE49-F238E27FC236}">
                  <a16:creationId xmlns:a16="http://schemas.microsoft.com/office/drawing/2014/main" id="{85DFA57E-8570-1CFD-CC04-198B21FC4AE0}"/>
                </a:ext>
              </a:extLst>
            </p:cNvPr>
            <p:cNvSpPr>
              <a:spLocks/>
            </p:cNvSpPr>
            <p:nvPr/>
          </p:nvSpPr>
          <p:spPr bwMode="auto">
            <a:xfrm>
              <a:off x="6747718" y="3543852"/>
              <a:ext cx="149613" cy="160298"/>
            </a:xfrm>
            <a:custGeom>
              <a:avLst/>
              <a:gdLst>
                <a:gd name="T0" fmla="*/ 7 w 28"/>
                <a:gd name="T1" fmla="*/ 0 h 30"/>
                <a:gd name="T2" fmla="*/ 15 w 28"/>
                <a:gd name="T3" fmla="*/ 8 h 30"/>
                <a:gd name="T4" fmla="*/ 21 w 28"/>
                <a:gd name="T5" fmla="*/ 15 h 30"/>
                <a:gd name="T6" fmla="*/ 27 w 28"/>
                <a:gd name="T7" fmla="*/ 22 h 30"/>
                <a:gd name="T8" fmla="*/ 28 w 28"/>
                <a:gd name="T9" fmla="*/ 26 h 30"/>
                <a:gd name="T10" fmla="*/ 27 w 28"/>
                <a:gd name="T11" fmla="*/ 26 h 30"/>
                <a:gd name="T12" fmla="*/ 25 w 28"/>
                <a:gd name="T13" fmla="*/ 27 h 30"/>
                <a:gd name="T14" fmla="*/ 24 w 28"/>
                <a:gd name="T15" fmla="*/ 28 h 30"/>
                <a:gd name="T16" fmla="*/ 21 w 28"/>
                <a:gd name="T17" fmla="*/ 30 h 30"/>
                <a:gd name="T18" fmla="*/ 19 w 28"/>
                <a:gd name="T19" fmla="*/ 30 h 30"/>
                <a:gd name="T20" fmla="*/ 15 w 28"/>
                <a:gd name="T21" fmla="*/ 30 h 30"/>
                <a:gd name="T22" fmla="*/ 14 w 28"/>
                <a:gd name="T23" fmla="*/ 25 h 30"/>
                <a:gd name="T24" fmla="*/ 10 w 28"/>
                <a:gd name="T25" fmla="*/ 18 h 30"/>
                <a:gd name="T26" fmla="*/ 4 w 28"/>
                <a:gd name="T27" fmla="*/ 13 h 30"/>
                <a:gd name="T28" fmla="*/ 2 w 28"/>
                <a:gd name="T29" fmla="*/ 9 h 30"/>
                <a:gd name="T30" fmla="*/ 0 w 28"/>
                <a:gd name="T31" fmla="*/ 8 h 30"/>
                <a:gd name="T32" fmla="*/ 7 w 28"/>
                <a:gd name="T3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30">
                  <a:moveTo>
                    <a:pt x="7" y="0"/>
                  </a:moveTo>
                  <a:lnTo>
                    <a:pt x="15" y="8"/>
                  </a:lnTo>
                  <a:lnTo>
                    <a:pt x="21" y="15"/>
                  </a:lnTo>
                  <a:lnTo>
                    <a:pt x="27" y="22"/>
                  </a:lnTo>
                  <a:lnTo>
                    <a:pt x="28" y="26"/>
                  </a:lnTo>
                  <a:lnTo>
                    <a:pt x="27" y="26"/>
                  </a:lnTo>
                  <a:lnTo>
                    <a:pt x="25" y="27"/>
                  </a:lnTo>
                  <a:lnTo>
                    <a:pt x="24" y="28"/>
                  </a:lnTo>
                  <a:lnTo>
                    <a:pt x="21" y="30"/>
                  </a:lnTo>
                  <a:lnTo>
                    <a:pt x="19" y="30"/>
                  </a:lnTo>
                  <a:lnTo>
                    <a:pt x="15" y="30"/>
                  </a:lnTo>
                  <a:lnTo>
                    <a:pt x="14" y="25"/>
                  </a:lnTo>
                  <a:lnTo>
                    <a:pt x="10" y="18"/>
                  </a:lnTo>
                  <a:lnTo>
                    <a:pt x="4" y="13"/>
                  </a:lnTo>
                  <a:lnTo>
                    <a:pt x="2" y="9"/>
                  </a:lnTo>
                  <a:lnTo>
                    <a:pt x="0" y="8"/>
                  </a:lnTo>
                  <a:lnTo>
                    <a:pt x="7" y="0"/>
                  </a:lnTo>
                  <a:close/>
                </a:path>
              </a:pathLst>
            </a:custGeom>
            <a:solidFill>
              <a:schemeClr val="tx1">
                <a:lumMod val="85000"/>
                <a:lumOff val="15000"/>
              </a:schemeClr>
            </a:solidFill>
            <a:ln w="0">
              <a:noFill/>
              <a:prstDash val="solid"/>
              <a:round/>
              <a:headEnd/>
              <a:tailEnd/>
            </a:ln>
          </p:spPr>
          <p:txBody>
            <a:bodyPr lIns="68580" tIns="34290" rIns="68580" bIns="34290"/>
            <a:lstStyle/>
            <a:p>
              <a:pPr>
                <a:defRPr/>
              </a:pPr>
              <a:endParaRPr lang="en-US" sz="1350">
                <a:solidFill>
                  <a:prstClr val="black"/>
                </a:solidFill>
                <a:cs typeface="Arial" panose="020B0604020202020204" pitchFamily="34" charset="0"/>
              </a:endParaRPr>
            </a:p>
          </p:txBody>
        </p:sp>
      </p:gr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E71078-CDFC-16BA-49A1-42FA0EB07ADC}"/>
              </a:ext>
            </a:extLst>
          </p:cNvPr>
          <p:cNvSpPr>
            <a:spLocks noGrp="1"/>
          </p:cNvSpPr>
          <p:nvPr>
            <p:ph type="title"/>
          </p:nvPr>
        </p:nvSpPr>
        <p:spPr/>
        <p:txBody>
          <a:bodyPr>
            <a:normAutofit fontScale="90000"/>
          </a:bodyPr>
          <a:lstStyle/>
          <a:p>
            <a:pPr defTabSz="914400"/>
            <a:r>
              <a:rPr lang="en-US">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Key Updates and Changes: MER v2.6.1 to MER v2.7</a:t>
            </a:r>
            <a:endParaRPr lang="en-GB">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endParaRPr>
          </a:p>
        </p:txBody>
      </p:sp>
      <p:sp>
        <p:nvSpPr>
          <p:cNvPr id="3" name="Content Placeholder 2">
            <a:extLst>
              <a:ext uri="{FF2B5EF4-FFF2-40B4-BE49-F238E27FC236}">
                <a16:creationId xmlns:a16="http://schemas.microsoft.com/office/drawing/2014/main" id="{E9CF0B20-0A0D-40B6-434D-24F5BF1FE116}"/>
              </a:ext>
            </a:extLst>
          </p:cNvPr>
          <p:cNvSpPr>
            <a:spLocks noGrp="1"/>
          </p:cNvSpPr>
          <p:nvPr>
            <p:ph idx="1"/>
          </p:nvPr>
        </p:nvSpPr>
        <p:spPr>
          <a:xfrm>
            <a:off x="125361" y="1290484"/>
            <a:ext cx="11946193" cy="5397910"/>
          </a:xfrm>
        </p:spPr>
        <p:txBody>
          <a:bodyPr>
            <a:normAutofit/>
          </a:bodyPr>
          <a:lstStyle/>
          <a:p>
            <a:r>
              <a:rPr lang="en-US" sz="1800" dirty="0"/>
              <a:t>NEW DISAGGREGATIONS: </a:t>
            </a:r>
          </a:p>
          <a:p>
            <a:r>
              <a:rPr lang="en-US" sz="1800" dirty="0"/>
              <a:t>HTS_SELF: Added optional disaggregate under disaggregate group “Unassisted self-testing” to report “Caretaker for </a:t>
            </a:r>
          </a:p>
          <a:p>
            <a:r>
              <a:rPr lang="en-US" sz="1800" dirty="0"/>
              <a:t>Child.” </a:t>
            </a:r>
          </a:p>
          <a:p>
            <a:r>
              <a:rPr lang="en-US" sz="1800" dirty="0" err="1"/>
              <a:t>PrEP_NEW</a:t>
            </a:r>
            <a:r>
              <a:rPr lang="en-US" sz="1800" dirty="0"/>
              <a:t>: Added required disaggregate group for “</a:t>
            </a:r>
            <a:r>
              <a:rPr lang="en-US" sz="1800" dirty="0" err="1"/>
              <a:t>PrEP</a:t>
            </a:r>
            <a:r>
              <a:rPr lang="en-US" sz="1800" dirty="0"/>
              <a:t> Type.” Added optional disaggregate group for </a:t>
            </a:r>
            <a:r>
              <a:rPr lang="en-US" sz="1800" dirty="0" err="1"/>
              <a:t>PrEP</a:t>
            </a:r>
            <a:r>
              <a:rPr lang="en-US" sz="1800" dirty="0"/>
              <a:t> distribution. </a:t>
            </a:r>
          </a:p>
          <a:p>
            <a:r>
              <a:rPr lang="en-US" sz="1800" dirty="0"/>
              <a:t>Add optional disaggregate group for “Pregnancy/breastfeeding status.” </a:t>
            </a:r>
          </a:p>
          <a:p>
            <a:r>
              <a:rPr lang="en-US" sz="1800" dirty="0" err="1"/>
              <a:t>PrEP_CT</a:t>
            </a:r>
            <a:r>
              <a:rPr lang="en-US" sz="1800" dirty="0"/>
              <a:t>: Added required disaggregate group for “</a:t>
            </a:r>
            <a:r>
              <a:rPr lang="en-US" sz="1800" dirty="0" err="1"/>
              <a:t>PrEP</a:t>
            </a:r>
            <a:r>
              <a:rPr lang="en-US" sz="1800" dirty="0"/>
              <a:t> Type.” Added optional disaggregate group for </a:t>
            </a:r>
            <a:r>
              <a:rPr lang="en-US" sz="1800" dirty="0" err="1"/>
              <a:t>PrEP</a:t>
            </a:r>
            <a:r>
              <a:rPr lang="en-US" sz="1800" dirty="0"/>
              <a:t> distribution. </a:t>
            </a:r>
          </a:p>
          <a:p>
            <a:r>
              <a:rPr lang="en-US" sz="1800" dirty="0"/>
              <a:t>HTS_TST: Split </a:t>
            </a:r>
            <a:r>
              <a:rPr lang="en-US" sz="1800" dirty="0" err="1"/>
              <a:t>PostANC</a:t>
            </a:r>
            <a:r>
              <a:rPr lang="en-US" sz="1800" dirty="0"/>
              <a:t> 1 modality into two modalities with fine age bands to include Post ANC1 Pregnant and L&amp;D Post </a:t>
            </a:r>
          </a:p>
          <a:p>
            <a:r>
              <a:rPr lang="en-US" sz="1800" dirty="0"/>
              <a:t>ANC1 Breastfeeding.  </a:t>
            </a:r>
          </a:p>
          <a:p>
            <a:r>
              <a:rPr lang="en-US" sz="1800" dirty="0"/>
              <a:t>TB_STAT: Added disaggregate on “recent negatives.” </a:t>
            </a:r>
          </a:p>
          <a:p>
            <a:r>
              <a:rPr lang="en-US" sz="1800" dirty="0"/>
              <a:t>OVC_HIVSTAT: Added 18-20 age band to OVC_HIVSTAT. </a:t>
            </a:r>
          </a:p>
          <a:p>
            <a:r>
              <a:rPr lang="en-US" sz="1800" dirty="0"/>
              <a:t>TX_NEW: Added new CD4 disaggregate group. </a:t>
            </a:r>
          </a:p>
          <a:p>
            <a:r>
              <a:rPr lang="en-US" sz="1800" dirty="0"/>
              <a:t>TX_RTT: Added new CD4 disaggregate group. </a:t>
            </a:r>
          </a:p>
          <a:p>
            <a:r>
              <a:rPr lang="en-US" sz="1800" dirty="0"/>
              <a:t>PMTCT_EID: Added new disaggregate for multiple virological HIV tests of HEI. </a:t>
            </a:r>
          </a:p>
          <a:p>
            <a:r>
              <a:rPr lang="en-US" sz="1800" dirty="0"/>
              <a:t>PMTCT_HEI: Add virological HIV test result retuned disaggregates.  </a:t>
            </a:r>
          </a:p>
          <a:p>
            <a:r>
              <a:rPr lang="en-US" sz="1800" dirty="0"/>
              <a:t>TX_TB: Moving from coarse to fine age bands up to 65+. Added screening type disaggregate. </a:t>
            </a:r>
          </a:p>
          <a:p>
            <a:r>
              <a:rPr lang="en-US" sz="1800" dirty="0"/>
              <a:t>LAB_PTCQI: Added test type category for “TB LF-LAM.”</a:t>
            </a:r>
            <a:endParaRPr lang="en-GB" sz="1800" dirty="0"/>
          </a:p>
        </p:txBody>
      </p:sp>
    </p:spTree>
    <p:extLst>
      <p:ext uri="{BB962C8B-B14F-4D97-AF65-F5344CB8AC3E}">
        <p14:creationId xmlns:p14="http://schemas.microsoft.com/office/powerpoint/2010/main" val="103272391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6E7D80-E1F2-ECCB-813A-F3DAB668548F}"/>
              </a:ext>
            </a:extLst>
          </p:cNvPr>
          <p:cNvSpPr>
            <a:spLocks noGrp="1"/>
          </p:cNvSpPr>
          <p:nvPr>
            <p:ph type="title"/>
          </p:nvPr>
        </p:nvSpPr>
        <p:spPr/>
        <p:txBody>
          <a:bodyPr/>
          <a:lstStyle/>
          <a:p>
            <a:pPr defTabSz="914400"/>
            <a:r>
              <a:rPr lang="en-GB" sz="400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Indicator Definition Clarifications</a:t>
            </a:r>
          </a:p>
        </p:txBody>
      </p:sp>
      <p:sp>
        <p:nvSpPr>
          <p:cNvPr id="3" name="Content Placeholder 2">
            <a:extLst>
              <a:ext uri="{FF2B5EF4-FFF2-40B4-BE49-F238E27FC236}">
                <a16:creationId xmlns:a16="http://schemas.microsoft.com/office/drawing/2014/main" id="{BD57DA0A-E18C-BFC4-E4FB-2819D02D0A3F}"/>
              </a:ext>
            </a:extLst>
          </p:cNvPr>
          <p:cNvSpPr>
            <a:spLocks noGrp="1"/>
          </p:cNvSpPr>
          <p:nvPr>
            <p:ph idx="1"/>
          </p:nvPr>
        </p:nvSpPr>
        <p:spPr>
          <a:xfrm>
            <a:off x="244136" y="1145219"/>
            <a:ext cx="11703728" cy="5264458"/>
          </a:xfrm>
        </p:spPr>
        <p:txBody>
          <a:bodyPr>
            <a:noAutofit/>
          </a:bodyPr>
          <a:lstStyle/>
          <a:p>
            <a:r>
              <a:rPr lang="en-US" sz="1800"/>
              <a:t>CXCA_SCRN: Added minor clarifying guidance disaggregate definitions for CXCA_SCRN_POS. </a:t>
            </a:r>
          </a:p>
          <a:p>
            <a:r>
              <a:rPr lang="en-US" sz="1800"/>
              <a:t>HTS_TST: Clarified that HTS provided to individuals with presumptive TB should be reported under </a:t>
            </a:r>
            <a:r>
              <a:rPr lang="en-US" sz="1800" err="1"/>
              <a:t>OtherPITC</a:t>
            </a:r>
            <a:r>
              <a:rPr lang="en-US" sz="1800"/>
              <a:t> and not under TB_STAT; </a:t>
            </a:r>
          </a:p>
          <a:p>
            <a:r>
              <a:rPr lang="en-US" sz="1800"/>
              <a:t>Clarified guidance for how to report HTS if an implementing partner does not report on all testing modalities </a:t>
            </a:r>
          </a:p>
          <a:p>
            <a:r>
              <a:rPr lang="en-US" sz="1800"/>
              <a:t>KP_PREV: Updated definition to require distribution of condoms, lubricant, and offer or referral to PrEP to count an individual under KP_PREV; </a:t>
            </a:r>
          </a:p>
          <a:p>
            <a:r>
              <a:rPr lang="en-US" sz="1800"/>
              <a:t>Updated definition to include giving the option of distributing an HIV self-test as an alternative to traditional HTS; </a:t>
            </a:r>
          </a:p>
          <a:p>
            <a:r>
              <a:rPr lang="en-US" sz="1800"/>
              <a:t>Updated numerator and denominator to include primary or secondary interventions designed for intended key population; </a:t>
            </a:r>
          </a:p>
          <a:p>
            <a:r>
              <a:rPr lang="en-US" sz="1800"/>
              <a:t>Updated definition to include reaching number of KPs at least once during reporting period. </a:t>
            </a:r>
          </a:p>
          <a:p>
            <a:r>
              <a:rPr lang="en-US" sz="1800"/>
              <a:t>OVC_SERV: Clarified guidance around Peace Corps Volunteer OVC Preventive activities in indicator reference sheet and </a:t>
            </a:r>
          </a:p>
          <a:p>
            <a:r>
              <a:rPr lang="en-US" sz="1800"/>
              <a:t>Appendix F. </a:t>
            </a:r>
          </a:p>
          <a:p>
            <a:r>
              <a:rPr lang="en-US" sz="1800"/>
              <a:t>PP_PREV:  Updated definition to include giving the option of distributing an HIV self-test as an alternative to traditional </a:t>
            </a:r>
          </a:p>
          <a:p>
            <a:r>
              <a:rPr lang="en-US" sz="1800"/>
              <a:t>HTS. </a:t>
            </a:r>
          </a:p>
          <a:p>
            <a:r>
              <a:rPr lang="en-US" sz="1800"/>
              <a:t>TX_TB: Clarified definitions of TB screen result by screening type. </a:t>
            </a:r>
            <a:endParaRPr lang="en-GB" sz="1800"/>
          </a:p>
        </p:txBody>
      </p:sp>
    </p:spTree>
    <p:extLst>
      <p:ext uri="{BB962C8B-B14F-4D97-AF65-F5344CB8AC3E}">
        <p14:creationId xmlns:p14="http://schemas.microsoft.com/office/powerpoint/2010/main" val="330527348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2F018E-22F1-12FF-C54F-3ED0F28EAC09}"/>
              </a:ext>
            </a:extLst>
          </p:cNvPr>
          <p:cNvSpPr>
            <a:spLocks noGrp="1"/>
          </p:cNvSpPr>
          <p:nvPr>
            <p:ph type="title"/>
          </p:nvPr>
        </p:nvSpPr>
        <p:spPr/>
        <p:txBody>
          <a:bodyPr>
            <a:normAutofit/>
          </a:bodyPr>
          <a:lstStyle/>
          <a:p>
            <a:pPr defTabSz="914400"/>
            <a:r>
              <a:rPr lang="en-GB" sz="400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Retired </a:t>
            </a:r>
            <a:r>
              <a:rPr lang="en-GB" sz="4000" err="1">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Disaggregations</a:t>
            </a:r>
            <a:r>
              <a:rPr lang="en-GB" sz="400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Indicators</a:t>
            </a:r>
          </a:p>
        </p:txBody>
      </p:sp>
      <p:sp>
        <p:nvSpPr>
          <p:cNvPr id="3" name="Content Placeholder 2">
            <a:extLst>
              <a:ext uri="{FF2B5EF4-FFF2-40B4-BE49-F238E27FC236}">
                <a16:creationId xmlns:a16="http://schemas.microsoft.com/office/drawing/2014/main" id="{E25827A8-6639-0375-64E5-CA6277E84AB7}"/>
              </a:ext>
            </a:extLst>
          </p:cNvPr>
          <p:cNvSpPr>
            <a:spLocks noGrp="1"/>
          </p:cNvSpPr>
          <p:nvPr>
            <p:ph idx="1"/>
          </p:nvPr>
        </p:nvSpPr>
        <p:spPr/>
        <p:txBody>
          <a:bodyPr>
            <a:normAutofit lnSpcReduction="10000"/>
          </a:bodyPr>
          <a:lstStyle/>
          <a:p>
            <a:r>
              <a:rPr lang="en-US"/>
              <a:t>LAB_PTCQI: Reduce the number of disaggregates by condensing Lab/CQI and Lab/PT into one disaggregate with 4 categories; Condense POCT/CQI and POCT/PT into one disaggregate with 4 categories  </a:t>
            </a:r>
          </a:p>
          <a:p>
            <a:r>
              <a:rPr lang="en-US"/>
              <a:t>TX_PVLS: Remove disaggregate from TX_PVLS for targeted and routine viral load testing.</a:t>
            </a:r>
          </a:p>
          <a:p>
            <a:r>
              <a:rPr lang="en-US"/>
              <a:t>EMR_SITE: Retired; information on EMRs will move to site attributes. </a:t>
            </a:r>
          </a:p>
          <a:p>
            <a:r>
              <a:rPr lang="en-US"/>
              <a:t>FPINT_SITE Retired.</a:t>
            </a:r>
            <a:endParaRPr lang="en-GB"/>
          </a:p>
        </p:txBody>
      </p:sp>
    </p:spTree>
    <p:extLst>
      <p:ext uri="{BB962C8B-B14F-4D97-AF65-F5344CB8AC3E}">
        <p14:creationId xmlns:p14="http://schemas.microsoft.com/office/powerpoint/2010/main" val="388163614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EA5A020-9289-BC3F-6AE9-4B69C67492FE}"/>
              </a:ext>
            </a:extLst>
          </p:cNvPr>
          <p:cNvSpPr txBox="1"/>
          <p:nvPr/>
        </p:nvSpPr>
        <p:spPr>
          <a:xfrm>
            <a:off x="999572" y="2767280"/>
            <a:ext cx="9406398" cy="1323439"/>
          </a:xfrm>
          <a:prstGeom prst="rect">
            <a:avLst/>
          </a:prstGeom>
          <a:noFill/>
        </p:spPr>
        <p:txBody>
          <a:bodyPr wrap="square">
            <a:spAutoFit/>
          </a:bodyPr>
          <a:lstStyle/>
          <a:p>
            <a:r>
              <a:rPr lang="en-US" sz="4000" b="1" dirty="0">
                <a:solidFill>
                  <a:srgbClr val="002060"/>
                </a:solidFill>
                <a:latin typeface="Poppins" panose="00000500000000000000" pitchFamily="2" charset="0"/>
                <a:cs typeface="Poppins" panose="00000500000000000000" pitchFamily="2" charset="0"/>
              </a:rPr>
              <a:t>Indicator Measurement, Frequence and Reporting Cycle</a:t>
            </a:r>
          </a:p>
        </p:txBody>
      </p:sp>
    </p:spTree>
    <p:extLst>
      <p:ext uri="{BB962C8B-B14F-4D97-AF65-F5344CB8AC3E}">
        <p14:creationId xmlns:p14="http://schemas.microsoft.com/office/powerpoint/2010/main" val="121109091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5836C4-D373-6D74-71C7-3D30A572F211}"/>
              </a:ext>
            </a:extLst>
          </p:cNvPr>
          <p:cNvSpPr>
            <a:spLocks noGrp="1"/>
          </p:cNvSpPr>
          <p:nvPr>
            <p:ph type="title"/>
          </p:nvPr>
        </p:nvSpPr>
        <p:spPr>
          <a:xfrm>
            <a:off x="609599" y="-16164"/>
            <a:ext cx="10972800" cy="1143000"/>
          </a:xfrm>
        </p:spPr>
        <p:txBody>
          <a:bodyPr/>
          <a:lstStyle/>
          <a:p>
            <a:endParaRPr lang="en-GB"/>
          </a:p>
        </p:txBody>
      </p:sp>
      <p:pic>
        <p:nvPicPr>
          <p:cNvPr id="5" name="Picture 4">
            <a:extLst>
              <a:ext uri="{FF2B5EF4-FFF2-40B4-BE49-F238E27FC236}">
                <a16:creationId xmlns:a16="http://schemas.microsoft.com/office/drawing/2014/main" id="{42D97F13-1433-610F-4E21-A5B7261EC298}"/>
              </a:ext>
            </a:extLst>
          </p:cNvPr>
          <p:cNvPicPr>
            <a:picLocks noChangeAspect="1"/>
          </p:cNvPicPr>
          <p:nvPr/>
        </p:nvPicPr>
        <p:blipFill>
          <a:blip r:embed="rId2"/>
          <a:stretch>
            <a:fillRect/>
          </a:stretch>
        </p:blipFill>
        <p:spPr>
          <a:xfrm>
            <a:off x="323273" y="92364"/>
            <a:ext cx="11767127" cy="6765636"/>
          </a:xfrm>
          <a:prstGeom prst="rect">
            <a:avLst/>
          </a:prstGeom>
        </p:spPr>
      </p:pic>
    </p:spTree>
    <p:extLst>
      <p:ext uri="{BB962C8B-B14F-4D97-AF65-F5344CB8AC3E}">
        <p14:creationId xmlns:p14="http://schemas.microsoft.com/office/powerpoint/2010/main" val="90470414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DF9E3C9-759C-98C3-38CA-DCF406A4B004}"/>
              </a:ext>
            </a:extLst>
          </p:cNvPr>
          <p:cNvPicPr>
            <a:picLocks noChangeAspect="1"/>
          </p:cNvPicPr>
          <p:nvPr/>
        </p:nvPicPr>
        <p:blipFill>
          <a:blip r:embed="rId2"/>
          <a:stretch>
            <a:fillRect/>
          </a:stretch>
        </p:blipFill>
        <p:spPr>
          <a:xfrm>
            <a:off x="267855" y="287594"/>
            <a:ext cx="11813309" cy="6251751"/>
          </a:xfrm>
          <a:prstGeom prst="rect">
            <a:avLst/>
          </a:prstGeom>
        </p:spPr>
      </p:pic>
    </p:spTree>
    <p:extLst>
      <p:ext uri="{BB962C8B-B14F-4D97-AF65-F5344CB8AC3E}">
        <p14:creationId xmlns:p14="http://schemas.microsoft.com/office/powerpoint/2010/main" val="191402854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D1CF659-492E-3CBB-1196-C31939139E01}"/>
              </a:ext>
            </a:extLst>
          </p:cNvPr>
          <p:cNvPicPr>
            <a:picLocks noChangeAspect="1"/>
          </p:cNvPicPr>
          <p:nvPr/>
        </p:nvPicPr>
        <p:blipFill>
          <a:blip r:embed="rId2"/>
          <a:stretch>
            <a:fillRect/>
          </a:stretch>
        </p:blipFill>
        <p:spPr>
          <a:xfrm>
            <a:off x="203200" y="64655"/>
            <a:ext cx="11517745" cy="6363854"/>
          </a:xfrm>
          <a:prstGeom prst="rect">
            <a:avLst/>
          </a:prstGeom>
        </p:spPr>
      </p:pic>
    </p:spTree>
    <p:extLst>
      <p:ext uri="{BB962C8B-B14F-4D97-AF65-F5344CB8AC3E}">
        <p14:creationId xmlns:p14="http://schemas.microsoft.com/office/powerpoint/2010/main" val="379675325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D1B050D-B565-5B36-DD42-FD41CF1D249C}"/>
              </a:ext>
            </a:extLst>
          </p:cNvPr>
          <p:cNvPicPr>
            <a:picLocks noChangeAspect="1"/>
          </p:cNvPicPr>
          <p:nvPr/>
        </p:nvPicPr>
        <p:blipFill>
          <a:blip r:embed="rId3"/>
          <a:stretch>
            <a:fillRect/>
          </a:stretch>
        </p:blipFill>
        <p:spPr>
          <a:xfrm>
            <a:off x="230908" y="51619"/>
            <a:ext cx="11884891" cy="6423071"/>
          </a:xfrm>
          <a:prstGeom prst="rect">
            <a:avLst/>
          </a:prstGeom>
        </p:spPr>
      </p:pic>
    </p:spTree>
    <p:extLst>
      <p:ext uri="{BB962C8B-B14F-4D97-AF65-F5344CB8AC3E}">
        <p14:creationId xmlns:p14="http://schemas.microsoft.com/office/powerpoint/2010/main" val="29445345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EA5A020-9289-BC3F-6AE9-4B69C67492FE}"/>
              </a:ext>
            </a:extLst>
          </p:cNvPr>
          <p:cNvSpPr txBox="1"/>
          <p:nvPr/>
        </p:nvSpPr>
        <p:spPr>
          <a:xfrm>
            <a:off x="1654892" y="3273831"/>
            <a:ext cx="9406398" cy="707886"/>
          </a:xfrm>
          <a:prstGeom prst="rect">
            <a:avLst/>
          </a:prstGeom>
          <a:noFill/>
        </p:spPr>
        <p:txBody>
          <a:bodyPr wrap="square">
            <a:spAutoFit/>
          </a:bodyPr>
          <a:lstStyle/>
          <a:p>
            <a:r>
              <a:rPr lang="en-US" sz="4000" b="1" dirty="0">
                <a:solidFill>
                  <a:srgbClr val="002060"/>
                </a:solidFill>
                <a:latin typeface="Poppins" panose="00000500000000000000" pitchFamily="2" charset="0"/>
                <a:cs typeface="Poppins" panose="00000500000000000000" pitchFamily="2" charset="0"/>
              </a:rPr>
              <a:t>Cascades (ART, PMTCT, HTS, TB)</a:t>
            </a:r>
          </a:p>
        </p:txBody>
      </p:sp>
    </p:spTree>
    <p:extLst>
      <p:ext uri="{BB962C8B-B14F-4D97-AF65-F5344CB8AC3E}">
        <p14:creationId xmlns:p14="http://schemas.microsoft.com/office/powerpoint/2010/main" val="249482696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EE7C22-AACD-64F8-0C9B-514A33D3F2A7}"/>
              </a:ext>
            </a:extLst>
          </p:cNvPr>
          <p:cNvSpPr>
            <a:spLocks noGrp="1"/>
          </p:cNvSpPr>
          <p:nvPr>
            <p:ph type="ctrTitle"/>
          </p:nvPr>
        </p:nvSpPr>
        <p:spPr>
          <a:xfrm>
            <a:off x="1094095" y="851517"/>
            <a:ext cx="5238466" cy="2991416"/>
          </a:xfrm>
        </p:spPr>
        <p:txBody>
          <a:bodyPr anchor="b">
            <a:normAutofit/>
          </a:bodyPr>
          <a:lstStyle/>
          <a:p>
            <a:pPr algn="l"/>
            <a:r>
              <a:rPr lang="en-US"/>
              <a:t>HTS Cascade &amp; Key Indicators</a:t>
            </a:r>
          </a:p>
        </p:txBody>
      </p:sp>
      <p:pic>
        <p:nvPicPr>
          <p:cNvPr id="14" name="Video 13">
            <a:extLst>
              <a:ext uri="{FF2B5EF4-FFF2-40B4-BE49-F238E27FC236}">
                <a16:creationId xmlns:a16="http://schemas.microsoft.com/office/drawing/2014/main" id="{E2F1A057-AC9A-9A26-F0B9-41D696B52932}"/>
              </a:ext>
            </a:extLst>
          </p:cNvPr>
          <p:cNvPicPr>
            <a:picLocks noChangeAspect="1"/>
          </p:cNvPicPr>
          <p:nvPr>
            <a:videoFile r:link="rId2"/>
            <p:extLst>
              <p:ext uri="{DAA4B4D4-6D71-4841-9C94-3DE7FCFB9230}">
                <p14:media xmlns:p14="http://schemas.microsoft.com/office/powerpoint/2010/main" r:embed="rId1"/>
              </p:ext>
            </p:extLst>
          </p:nvPr>
        </p:nvPicPr>
        <p:blipFill rotWithShape="1">
          <a:blip r:embed="rId4"/>
          <a:srcRect r="1" b="285"/>
          <a:stretch/>
        </p:blipFill>
        <p:spPr>
          <a:xfrm>
            <a:off x="7531503" y="2835668"/>
            <a:ext cx="3217333" cy="1804610"/>
          </a:xfrm>
          <a:prstGeom prst="rect">
            <a:avLst/>
          </a:prstGeom>
        </p:spPr>
      </p:pic>
      <p:sp>
        <p:nvSpPr>
          <p:cNvPr id="6" name="Slide Number Placeholder 5">
            <a:extLst>
              <a:ext uri="{FF2B5EF4-FFF2-40B4-BE49-F238E27FC236}">
                <a16:creationId xmlns:a16="http://schemas.microsoft.com/office/drawing/2014/main" id="{5718A1F3-8E67-8AD3-48B1-3100C99AECC0}"/>
              </a:ext>
            </a:extLst>
          </p:cNvPr>
          <p:cNvSpPr>
            <a:spLocks noGrp="1"/>
          </p:cNvSpPr>
          <p:nvPr>
            <p:ph type="sldNum" sz="quarter" idx="12"/>
          </p:nvPr>
        </p:nvSpPr>
        <p:spPr>
          <a:xfrm>
            <a:off x="11146536" y="6035040"/>
            <a:ext cx="548640" cy="548640"/>
          </a:xfrm>
          <a:prstGeom prst="ellipse">
            <a:avLst/>
          </a:prstGeom>
          <a:solidFill>
            <a:schemeClr val="tx1">
              <a:alpha val="80000"/>
            </a:schemeClr>
          </a:solidFill>
        </p:spPr>
        <p:txBody>
          <a:bodyPr anchor="ctr">
            <a:normAutofit/>
          </a:bodyPr>
          <a:lstStyle/>
          <a:p>
            <a:pPr algn="ctr">
              <a:spcAft>
                <a:spcPts val="600"/>
              </a:spcAft>
            </a:pPr>
            <a:fld id="{09D8572F-5E2A-4C2B-8D06-D2E642EBF18E}" type="slidenum">
              <a:rPr lang="en-US">
                <a:solidFill>
                  <a:schemeClr val="bg1"/>
                </a:solidFill>
              </a:rPr>
              <a:pPr algn="ctr">
                <a:spcAft>
                  <a:spcPts val="600"/>
                </a:spcAft>
              </a:pPr>
              <a:t>49</a:t>
            </a:fld>
            <a:endParaRPr lang="en-US">
              <a:solidFill>
                <a:schemeClr val="bg1"/>
              </a:solidFill>
            </a:endParaRPr>
          </a:p>
        </p:txBody>
      </p:sp>
    </p:spTree>
    <p:extLst>
      <p:ext uri="{BB962C8B-B14F-4D97-AF65-F5344CB8AC3E}">
        <p14:creationId xmlns:p14="http://schemas.microsoft.com/office/powerpoint/2010/main" val="23895396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9962" fill="hold"/>
                                        <p:tgtEl>
                                          <p:spTgt spid="14"/>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4"/>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4"/>
                                        </p:tgtEl>
                                      </p:cBhvr>
                                    </p:cmd>
                                  </p:childTnLst>
                                </p:cTn>
                              </p:par>
                            </p:childTnLst>
                          </p:cTn>
                        </p:par>
                      </p:childTnLst>
                    </p:cTn>
                  </p:par>
                </p:childTnLst>
              </p:cTn>
              <p:nextCondLst>
                <p:cond evt="onClick" delay="0">
                  <p:tgtEl>
                    <p:spTgt spid="14"/>
                  </p:tgtEl>
                </p:cond>
              </p:nextCondLst>
            </p:seq>
            <p:video>
              <p:cMediaNode mute="1">
                <p:cTn id="12" repeatCount="indefinite" fill="hold" display="0">
                  <p:stCondLst>
                    <p:cond delay="indefinite"/>
                  </p:stCondLst>
                </p:cTn>
                <p:tgtEl>
                  <p:spTgt spid="14"/>
                </p:tgtEl>
              </p:cMediaNode>
            </p:vide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1">
            <a:extLst>
              <a:ext uri="{FF2B5EF4-FFF2-40B4-BE49-F238E27FC236}">
                <a16:creationId xmlns:a16="http://schemas.microsoft.com/office/drawing/2014/main" id="{44139FFF-1A31-14FB-A694-90B380D167B7}"/>
              </a:ext>
            </a:extLst>
          </p:cNvPr>
          <p:cNvSpPr>
            <a:spLocks noGrp="1"/>
          </p:cNvSpPr>
          <p:nvPr>
            <p:ph type="title"/>
          </p:nvPr>
        </p:nvSpPr>
        <p:spPr>
          <a:xfrm>
            <a:off x="1641987" y="124278"/>
            <a:ext cx="8229600" cy="1143000"/>
          </a:xfrm>
        </p:spPr>
        <p:txBody>
          <a:bodyPr/>
          <a:lstStyle/>
          <a:p>
            <a:pPr algn="ctr" eaLnBrk="1" hangingPunct="1"/>
            <a:r>
              <a:rPr lang="en-US" altLang="en-US" sz="3600" b="1" dirty="0">
                <a:solidFill>
                  <a:srgbClr val="002060"/>
                </a:solidFill>
                <a:latin typeface="Poppins" panose="00000500000000000000" pitchFamily="2" charset="0"/>
                <a:cs typeface="Poppins" panose="00000500000000000000" pitchFamily="2" charset="0"/>
              </a:rPr>
              <a:t>Input</a:t>
            </a:r>
          </a:p>
        </p:txBody>
      </p:sp>
      <p:grpSp>
        <p:nvGrpSpPr>
          <p:cNvPr id="11267" name="Group 31">
            <a:extLst>
              <a:ext uri="{FF2B5EF4-FFF2-40B4-BE49-F238E27FC236}">
                <a16:creationId xmlns:a16="http://schemas.microsoft.com/office/drawing/2014/main" id="{A62DE5E8-4D14-987A-A9F6-0FC319503112}"/>
              </a:ext>
            </a:extLst>
          </p:cNvPr>
          <p:cNvGrpSpPr>
            <a:grpSpLocks/>
          </p:cNvGrpSpPr>
          <p:nvPr/>
        </p:nvGrpSpPr>
        <p:grpSpPr bwMode="auto">
          <a:xfrm>
            <a:off x="6292850" y="2637554"/>
            <a:ext cx="4019550" cy="434975"/>
            <a:chOff x="4932040" y="1576059"/>
            <a:chExt cx="3888110" cy="556797"/>
          </a:xfrm>
        </p:grpSpPr>
        <p:sp>
          <p:nvSpPr>
            <p:cNvPr id="33" name="Rounded Rectangle 32">
              <a:extLst>
                <a:ext uri="{FF2B5EF4-FFF2-40B4-BE49-F238E27FC236}">
                  <a16:creationId xmlns:a16="http://schemas.microsoft.com/office/drawing/2014/main" id="{2B5FFBF8-A160-0512-41A4-B3368FC98A13}"/>
                </a:ext>
              </a:extLst>
            </p:cNvPr>
            <p:cNvSpPr/>
            <p:nvPr/>
          </p:nvSpPr>
          <p:spPr>
            <a:xfrm>
              <a:off x="4932040" y="1576059"/>
              <a:ext cx="3888110" cy="556797"/>
            </a:xfrm>
            <a:prstGeom prst="roundRect">
              <a:avLst>
                <a:gd name="adj" fmla="val 13209"/>
              </a:avLst>
            </a:prstGeom>
            <a:solidFill>
              <a:srgbClr val="023A5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48640" anchor="ctr"/>
            <a:lstStyle/>
            <a:p>
              <a:pPr eaLnBrk="1" hangingPunct="1">
                <a:defRPr/>
              </a:pPr>
              <a:r>
                <a:rPr lang="en-US" altLang="en-US" sz="2000" dirty="0"/>
                <a:t>Trained personnel</a:t>
              </a:r>
            </a:p>
          </p:txBody>
        </p:sp>
        <p:sp>
          <p:nvSpPr>
            <p:cNvPr id="34" name="Oval 33">
              <a:extLst>
                <a:ext uri="{FF2B5EF4-FFF2-40B4-BE49-F238E27FC236}">
                  <a16:creationId xmlns:a16="http://schemas.microsoft.com/office/drawing/2014/main" id="{9CF3C5FB-C74A-4E7F-A612-68AF136697A0}"/>
                </a:ext>
              </a:extLst>
            </p:cNvPr>
            <p:cNvSpPr/>
            <p:nvPr/>
          </p:nvSpPr>
          <p:spPr>
            <a:xfrm>
              <a:off x="5067172" y="1706114"/>
              <a:ext cx="296369" cy="296687"/>
            </a:xfrm>
            <a:prstGeom prst="ellipse">
              <a:avLst/>
            </a:prstGeom>
            <a:noFill/>
            <a:ln w="28575">
              <a:solidFill>
                <a:schemeClr val="bg1"/>
              </a:solidFill>
            </a:ln>
            <a:effectLst>
              <a:outerShdw blurRad="508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b="1" dirty="0">
                  <a:latin typeface="Arial Black" panose="020B0A04020102020204" pitchFamily="34" charset="0"/>
                </a:rPr>
                <a:t>1</a:t>
              </a:r>
            </a:p>
          </p:txBody>
        </p:sp>
      </p:grpSp>
      <p:grpSp>
        <p:nvGrpSpPr>
          <p:cNvPr id="11268" name="Group 34">
            <a:extLst>
              <a:ext uri="{FF2B5EF4-FFF2-40B4-BE49-F238E27FC236}">
                <a16:creationId xmlns:a16="http://schemas.microsoft.com/office/drawing/2014/main" id="{7CB491B9-B554-087C-8C9A-B32807E278AD}"/>
              </a:ext>
            </a:extLst>
          </p:cNvPr>
          <p:cNvGrpSpPr>
            <a:grpSpLocks/>
          </p:cNvGrpSpPr>
          <p:nvPr/>
        </p:nvGrpSpPr>
        <p:grpSpPr bwMode="auto">
          <a:xfrm>
            <a:off x="1864851" y="2665414"/>
            <a:ext cx="3505200" cy="3919537"/>
            <a:chOff x="2699792" y="2204864"/>
            <a:chExt cx="3744416" cy="4434587"/>
          </a:xfrm>
        </p:grpSpPr>
        <p:sp>
          <p:nvSpPr>
            <p:cNvPr id="11282" name="Freeform 5">
              <a:extLst>
                <a:ext uri="{FF2B5EF4-FFF2-40B4-BE49-F238E27FC236}">
                  <a16:creationId xmlns:a16="http://schemas.microsoft.com/office/drawing/2014/main" id="{A849C5C8-3EFC-3B48-755F-20A4C2013FBD}"/>
                </a:ext>
              </a:extLst>
            </p:cNvPr>
            <p:cNvSpPr>
              <a:spLocks/>
            </p:cNvSpPr>
            <p:nvPr/>
          </p:nvSpPr>
          <p:spPr bwMode="auto">
            <a:xfrm>
              <a:off x="5352726" y="2834893"/>
              <a:ext cx="1091482" cy="2327702"/>
            </a:xfrm>
            <a:custGeom>
              <a:avLst/>
              <a:gdLst>
                <a:gd name="T0" fmla="*/ 2147483646 w 6408"/>
                <a:gd name="T1" fmla="*/ 2147483646 h 13673"/>
                <a:gd name="T2" fmla="*/ 2147483646 w 6408"/>
                <a:gd name="T3" fmla="*/ 2147483646 h 13673"/>
                <a:gd name="T4" fmla="*/ 2147483646 w 6408"/>
                <a:gd name="T5" fmla="*/ 2147483646 h 13673"/>
                <a:gd name="T6" fmla="*/ 2147483646 w 6408"/>
                <a:gd name="T7" fmla="*/ 2147483646 h 13673"/>
                <a:gd name="T8" fmla="*/ 2147483646 w 6408"/>
                <a:gd name="T9" fmla="*/ 2147483646 h 13673"/>
                <a:gd name="T10" fmla="*/ 2147483646 w 6408"/>
                <a:gd name="T11" fmla="*/ 2147483646 h 13673"/>
                <a:gd name="T12" fmla="*/ 2147483646 w 6408"/>
                <a:gd name="T13" fmla="*/ 2147483646 h 13673"/>
                <a:gd name="T14" fmla="*/ 2147483646 w 6408"/>
                <a:gd name="T15" fmla="*/ 2147483646 h 13673"/>
                <a:gd name="T16" fmla="*/ 2147483646 w 6408"/>
                <a:gd name="T17" fmla="*/ 2147483646 h 13673"/>
                <a:gd name="T18" fmla="*/ 2147483646 w 6408"/>
                <a:gd name="T19" fmla="*/ 2147483646 h 13673"/>
                <a:gd name="T20" fmla="*/ 2147483646 w 6408"/>
                <a:gd name="T21" fmla="*/ 2147483646 h 13673"/>
                <a:gd name="T22" fmla="*/ 2147483646 w 6408"/>
                <a:gd name="T23" fmla="*/ 2147483646 h 13673"/>
                <a:gd name="T24" fmla="*/ 2147483646 w 6408"/>
                <a:gd name="T25" fmla="*/ 2147483646 h 13673"/>
                <a:gd name="T26" fmla="*/ 2147483646 w 6408"/>
                <a:gd name="T27" fmla="*/ 2147483646 h 13673"/>
                <a:gd name="T28" fmla="*/ 2147483646 w 6408"/>
                <a:gd name="T29" fmla="*/ 2147483646 h 13673"/>
                <a:gd name="T30" fmla="*/ 2147483646 w 6408"/>
                <a:gd name="T31" fmla="*/ 2147483646 h 13673"/>
                <a:gd name="T32" fmla="*/ 2147483646 w 6408"/>
                <a:gd name="T33" fmla="*/ 2147483646 h 13673"/>
                <a:gd name="T34" fmla="*/ 2147483646 w 6408"/>
                <a:gd name="T35" fmla="*/ 2147483646 h 13673"/>
                <a:gd name="T36" fmla="*/ 2147483646 w 6408"/>
                <a:gd name="T37" fmla="*/ 2147483646 h 13673"/>
                <a:gd name="T38" fmla="*/ 2147483646 w 6408"/>
                <a:gd name="T39" fmla="*/ 2147483646 h 13673"/>
                <a:gd name="T40" fmla="*/ 2147483646 w 6408"/>
                <a:gd name="T41" fmla="*/ 2147483646 h 13673"/>
                <a:gd name="T42" fmla="*/ 2147483646 w 6408"/>
                <a:gd name="T43" fmla="*/ 2147483646 h 13673"/>
                <a:gd name="T44" fmla="*/ 2147483646 w 6408"/>
                <a:gd name="T45" fmla="*/ 2147483646 h 13673"/>
                <a:gd name="T46" fmla="*/ 2147483646 w 6408"/>
                <a:gd name="T47" fmla="*/ 2147483646 h 13673"/>
                <a:gd name="T48" fmla="*/ 2147483646 w 6408"/>
                <a:gd name="T49" fmla="*/ 2147483646 h 13673"/>
                <a:gd name="T50" fmla="*/ 2147483646 w 6408"/>
                <a:gd name="T51" fmla="*/ 2147483646 h 13673"/>
                <a:gd name="T52" fmla="*/ 2147483646 w 6408"/>
                <a:gd name="T53" fmla="*/ 2147483646 h 13673"/>
                <a:gd name="T54" fmla="*/ 2147483646 w 6408"/>
                <a:gd name="T55" fmla="*/ 2147483646 h 13673"/>
                <a:gd name="T56" fmla="*/ 2147483646 w 6408"/>
                <a:gd name="T57" fmla="*/ 2147483646 h 13673"/>
                <a:gd name="T58" fmla="*/ 2147483646 w 6408"/>
                <a:gd name="T59" fmla="*/ 2147483646 h 13673"/>
                <a:gd name="T60" fmla="*/ 2147483646 w 6408"/>
                <a:gd name="T61" fmla="*/ 2147483646 h 13673"/>
                <a:gd name="T62" fmla="*/ 2147483646 w 6408"/>
                <a:gd name="T63" fmla="*/ 2147483646 h 13673"/>
                <a:gd name="T64" fmla="*/ 2147483646 w 6408"/>
                <a:gd name="T65" fmla="*/ 2147483646 h 13673"/>
                <a:gd name="T66" fmla="*/ 2147483646 w 6408"/>
                <a:gd name="T67" fmla="*/ 2147483646 h 13673"/>
                <a:gd name="T68" fmla="*/ 2147483646 w 6408"/>
                <a:gd name="T69" fmla="*/ 2147483646 h 13673"/>
                <a:gd name="T70" fmla="*/ 2147483646 w 6408"/>
                <a:gd name="T71" fmla="*/ 2147483646 h 13673"/>
                <a:gd name="T72" fmla="*/ 2147483646 w 6408"/>
                <a:gd name="T73" fmla="*/ 2147483646 h 13673"/>
                <a:gd name="T74" fmla="*/ 2147483646 w 6408"/>
                <a:gd name="T75" fmla="*/ 2147483646 h 13673"/>
                <a:gd name="T76" fmla="*/ 2147483646 w 6408"/>
                <a:gd name="T77" fmla="*/ 2147483646 h 13673"/>
                <a:gd name="T78" fmla="*/ 2147483646 w 6408"/>
                <a:gd name="T79" fmla="*/ 2147483646 h 13673"/>
                <a:gd name="T80" fmla="*/ 2147483646 w 6408"/>
                <a:gd name="T81" fmla="*/ 2147483646 h 13673"/>
                <a:gd name="T82" fmla="*/ 2147483646 w 6408"/>
                <a:gd name="T83" fmla="*/ 2147483646 h 13673"/>
                <a:gd name="T84" fmla="*/ 2147483646 w 6408"/>
                <a:gd name="T85" fmla="*/ 2147483646 h 13673"/>
                <a:gd name="T86" fmla="*/ 2147483646 w 6408"/>
                <a:gd name="T87" fmla="*/ 2147483646 h 13673"/>
                <a:gd name="T88" fmla="*/ 2147483646 w 6408"/>
                <a:gd name="T89" fmla="*/ 2147483646 h 13673"/>
                <a:gd name="T90" fmla="*/ 2147483646 w 6408"/>
                <a:gd name="T91" fmla="*/ 2147483646 h 13673"/>
                <a:gd name="T92" fmla="*/ 2147483646 w 6408"/>
                <a:gd name="T93" fmla="*/ 2147483646 h 13673"/>
                <a:gd name="T94" fmla="*/ 2147483646 w 6408"/>
                <a:gd name="T95" fmla="*/ 2147483646 h 13673"/>
                <a:gd name="T96" fmla="*/ 2147483646 w 6408"/>
                <a:gd name="T97" fmla="*/ 2147483646 h 13673"/>
                <a:gd name="T98" fmla="*/ 2147483646 w 6408"/>
                <a:gd name="T99" fmla="*/ 2147483646 h 13673"/>
                <a:gd name="T100" fmla="*/ 2147483646 w 6408"/>
                <a:gd name="T101" fmla="*/ 2147483646 h 13673"/>
                <a:gd name="T102" fmla="*/ 2147483646 w 6408"/>
                <a:gd name="T103" fmla="*/ 2147483646 h 13673"/>
                <a:gd name="T104" fmla="*/ 2147483646 w 6408"/>
                <a:gd name="T105" fmla="*/ 2147483646 h 13673"/>
                <a:gd name="T106" fmla="*/ 2147483646 w 6408"/>
                <a:gd name="T107" fmla="*/ 2147483646 h 13673"/>
                <a:gd name="T108" fmla="*/ 2147483646 w 6408"/>
                <a:gd name="T109" fmla="*/ 2147483646 h 13673"/>
                <a:gd name="T110" fmla="*/ 2147483646 w 6408"/>
                <a:gd name="T111" fmla="*/ 2147483646 h 13673"/>
                <a:gd name="T112" fmla="*/ 2147483646 w 6408"/>
                <a:gd name="T113" fmla="*/ 2147483646 h 13673"/>
                <a:gd name="T114" fmla="*/ 2147483646 w 6408"/>
                <a:gd name="T115" fmla="*/ 2147483646 h 13673"/>
                <a:gd name="T116" fmla="*/ 2147483646 w 6408"/>
                <a:gd name="T117" fmla="*/ 2147483646 h 13673"/>
                <a:gd name="T118" fmla="*/ 2147483646 w 6408"/>
                <a:gd name="T119" fmla="*/ 2147483646 h 1367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6408" h="13673">
                  <a:moveTo>
                    <a:pt x="32" y="13558"/>
                  </a:moveTo>
                  <a:lnTo>
                    <a:pt x="32" y="13558"/>
                  </a:lnTo>
                  <a:lnTo>
                    <a:pt x="41" y="13559"/>
                  </a:lnTo>
                  <a:lnTo>
                    <a:pt x="51" y="13559"/>
                  </a:lnTo>
                  <a:lnTo>
                    <a:pt x="60" y="13559"/>
                  </a:lnTo>
                  <a:lnTo>
                    <a:pt x="70" y="13559"/>
                  </a:lnTo>
                  <a:lnTo>
                    <a:pt x="89" y="13555"/>
                  </a:lnTo>
                  <a:lnTo>
                    <a:pt x="108" y="13550"/>
                  </a:lnTo>
                  <a:lnTo>
                    <a:pt x="127" y="13543"/>
                  </a:lnTo>
                  <a:lnTo>
                    <a:pt x="147" y="13533"/>
                  </a:lnTo>
                  <a:lnTo>
                    <a:pt x="167" y="13522"/>
                  </a:lnTo>
                  <a:lnTo>
                    <a:pt x="186" y="13509"/>
                  </a:lnTo>
                  <a:lnTo>
                    <a:pt x="206" y="13494"/>
                  </a:lnTo>
                  <a:lnTo>
                    <a:pt x="225" y="13477"/>
                  </a:lnTo>
                  <a:lnTo>
                    <a:pt x="243" y="13460"/>
                  </a:lnTo>
                  <a:lnTo>
                    <a:pt x="262" y="13442"/>
                  </a:lnTo>
                  <a:lnTo>
                    <a:pt x="280" y="13422"/>
                  </a:lnTo>
                  <a:lnTo>
                    <a:pt x="298" y="13402"/>
                  </a:lnTo>
                  <a:lnTo>
                    <a:pt x="316" y="13381"/>
                  </a:lnTo>
                  <a:lnTo>
                    <a:pt x="333" y="13359"/>
                  </a:lnTo>
                  <a:lnTo>
                    <a:pt x="351" y="13337"/>
                  </a:lnTo>
                  <a:lnTo>
                    <a:pt x="367" y="13314"/>
                  </a:lnTo>
                  <a:lnTo>
                    <a:pt x="398" y="13268"/>
                  </a:lnTo>
                  <a:lnTo>
                    <a:pt x="426" y="13222"/>
                  </a:lnTo>
                  <a:lnTo>
                    <a:pt x="451" y="13178"/>
                  </a:lnTo>
                  <a:lnTo>
                    <a:pt x="473" y="13136"/>
                  </a:lnTo>
                  <a:lnTo>
                    <a:pt x="492" y="13096"/>
                  </a:lnTo>
                  <a:lnTo>
                    <a:pt x="506" y="13062"/>
                  </a:lnTo>
                  <a:lnTo>
                    <a:pt x="517" y="13033"/>
                  </a:lnTo>
                  <a:lnTo>
                    <a:pt x="524" y="13010"/>
                  </a:lnTo>
                  <a:lnTo>
                    <a:pt x="531" y="12986"/>
                  </a:lnTo>
                  <a:lnTo>
                    <a:pt x="536" y="12962"/>
                  </a:lnTo>
                  <a:lnTo>
                    <a:pt x="541" y="12937"/>
                  </a:lnTo>
                  <a:lnTo>
                    <a:pt x="546" y="12913"/>
                  </a:lnTo>
                  <a:lnTo>
                    <a:pt x="550" y="12890"/>
                  </a:lnTo>
                  <a:lnTo>
                    <a:pt x="555" y="12842"/>
                  </a:lnTo>
                  <a:lnTo>
                    <a:pt x="559" y="12794"/>
                  </a:lnTo>
                  <a:lnTo>
                    <a:pt x="560" y="12745"/>
                  </a:lnTo>
                  <a:lnTo>
                    <a:pt x="560" y="12697"/>
                  </a:lnTo>
                  <a:lnTo>
                    <a:pt x="557" y="12649"/>
                  </a:lnTo>
                  <a:lnTo>
                    <a:pt x="552" y="12601"/>
                  </a:lnTo>
                  <a:lnTo>
                    <a:pt x="546" y="12552"/>
                  </a:lnTo>
                  <a:lnTo>
                    <a:pt x="538" y="12503"/>
                  </a:lnTo>
                  <a:lnTo>
                    <a:pt x="529" y="12455"/>
                  </a:lnTo>
                  <a:lnTo>
                    <a:pt x="518" y="12407"/>
                  </a:lnTo>
                  <a:lnTo>
                    <a:pt x="505" y="12359"/>
                  </a:lnTo>
                  <a:lnTo>
                    <a:pt x="492" y="12311"/>
                  </a:lnTo>
                  <a:lnTo>
                    <a:pt x="478" y="12263"/>
                  </a:lnTo>
                  <a:lnTo>
                    <a:pt x="462" y="12215"/>
                  </a:lnTo>
                  <a:lnTo>
                    <a:pt x="446" y="12167"/>
                  </a:lnTo>
                  <a:lnTo>
                    <a:pt x="430" y="12120"/>
                  </a:lnTo>
                  <a:lnTo>
                    <a:pt x="412" y="12073"/>
                  </a:lnTo>
                  <a:lnTo>
                    <a:pt x="377" y="11978"/>
                  </a:lnTo>
                  <a:lnTo>
                    <a:pt x="340" y="11886"/>
                  </a:lnTo>
                  <a:lnTo>
                    <a:pt x="265" y="11703"/>
                  </a:lnTo>
                  <a:lnTo>
                    <a:pt x="230" y="11613"/>
                  </a:lnTo>
                  <a:lnTo>
                    <a:pt x="214" y="11570"/>
                  </a:lnTo>
                  <a:lnTo>
                    <a:pt x="198" y="11526"/>
                  </a:lnTo>
                  <a:lnTo>
                    <a:pt x="183" y="11481"/>
                  </a:lnTo>
                  <a:lnTo>
                    <a:pt x="168" y="11436"/>
                  </a:lnTo>
                  <a:lnTo>
                    <a:pt x="153" y="11391"/>
                  </a:lnTo>
                  <a:lnTo>
                    <a:pt x="140" y="11345"/>
                  </a:lnTo>
                  <a:lnTo>
                    <a:pt x="128" y="11298"/>
                  </a:lnTo>
                  <a:lnTo>
                    <a:pt x="116" y="11252"/>
                  </a:lnTo>
                  <a:lnTo>
                    <a:pt x="105" y="11206"/>
                  </a:lnTo>
                  <a:lnTo>
                    <a:pt x="94" y="11159"/>
                  </a:lnTo>
                  <a:lnTo>
                    <a:pt x="84" y="11111"/>
                  </a:lnTo>
                  <a:lnTo>
                    <a:pt x="75" y="11064"/>
                  </a:lnTo>
                  <a:lnTo>
                    <a:pt x="66" y="11017"/>
                  </a:lnTo>
                  <a:lnTo>
                    <a:pt x="58" y="10969"/>
                  </a:lnTo>
                  <a:lnTo>
                    <a:pt x="44" y="10874"/>
                  </a:lnTo>
                  <a:lnTo>
                    <a:pt x="32" y="10777"/>
                  </a:lnTo>
                  <a:lnTo>
                    <a:pt x="22" y="10681"/>
                  </a:lnTo>
                  <a:lnTo>
                    <a:pt x="14" y="10584"/>
                  </a:lnTo>
                  <a:lnTo>
                    <a:pt x="8" y="10488"/>
                  </a:lnTo>
                  <a:lnTo>
                    <a:pt x="3" y="10391"/>
                  </a:lnTo>
                  <a:lnTo>
                    <a:pt x="1" y="10295"/>
                  </a:lnTo>
                  <a:lnTo>
                    <a:pt x="0" y="10199"/>
                  </a:lnTo>
                  <a:lnTo>
                    <a:pt x="1" y="10104"/>
                  </a:lnTo>
                  <a:lnTo>
                    <a:pt x="3" y="10009"/>
                  </a:lnTo>
                  <a:lnTo>
                    <a:pt x="7" y="9911"/>
                  </a:lnTo>
                  <a:lnTo>
                    <a:pt x="14" y="9811"/>
                  </a:lnTo>
                  <a:lnTo>
                    <a:pt x="22" y="9713"/>
                  </a:lnTo>
                  <a:lnTo>
                    <a:pt x="33" y="9614"/>
                  </a:lnTo>
                  <a:lnTo>
                    <a:pt x="45" y="9516"/>
                  </a:lnTo>
                  <a:lnTo>
                    <a:pt x="60" y="9418"/>
                  </a:lnTo>
                  <a:lnTo>
                    <a:pt x="77" y="9321"/>
                  </a:lnTo>
                  <a:lnTo>
                    <a:pt x="96" y="9224"/>
                  </a:lnTo>
                  <a:lnTo>
                    <a:pt x="117" y="9127"/>
                  </a:lnTo>
                  <a:lnTo>
                    <a:pt x="140" y="9032"/>
                  </a:lnTo>
                  <a:lnTo>
                    <a:pt x="167" y="8936"/>
                  </a:lnTo>
                  <a:lnTo>
                    <a:pt x="194" y="8842"/>
                  </a:lnTo>
                  <a:lnTo>
                    <a:pt x="224" y="8748"/>
                  </a:lnTo>
                  <a:lnTo>
                    <a:pt x="255" y="8656"/>
                  </a:lnTo>
                  <a:lnTo>
                    <a:pt x="289" y="8563"/>
                  </a:lnTo>
                  <a:lnTo>
                    <a:pt x="325" y="8472"/>
                  </a:lnTo>
                  <a:lnTo>
                    <a:pt x="364" y="8381"/>
                  </a:lnTo>
                  <a:lnTo>
                    <a:pt x="404" y="8292"/>
                  </a:lnTo>
                  <a:lnTo>
                    <a:pt x="446" y="8203"/>
                  </a:lnTo>
                  <a:lnTo>
                    <a:pt x="490" y="8116"/>
                  </a:lnTo>
                  <a:lnTo>
                    <a:pt x="538" y="8029"/>
                  </a:lnTo>
                  <a:lnTo>
                    <a:pt x="562" y="7986"/>
                  </a:lnTo>
                  <a:lnTo>
                    <a:pt x="586" y="7944"/>
                  </a:lnTo>
                  <a:lnTo>
                    <a:pt x="612" y="7901"/>
                  </a:lnTo>
                  <a:lnTo>
                    <a:pt x="637" y="7860"/>
                  </a:lnTo>
                  <a:lnTo>
                    <a:pt x="663" y="7818"/>
                  </a:lnTo>
                  <a:lnTo>
                    <a:pt x="690" y="7777"/>
                  </a:lnTo>
                  <a:lnTo>
                    <a:pt x="718" y="7737"/>
                  </a:lnTo>
                  <a:lnTo>
                    <a:pt x="746" y="7695"/>
                  </a:lnTo>
                  <a:lnTo>
                    <a:pt x="774" y="7655"/>
                  </a:lnTo>
                  <a:lnTo>
                    <a:pt x="803" y="7615"/>
                  </a:lnTo>
                  <a:lnTo>
                    <a:pt x="832" y="7576"/>
                  </a:lnTo>
                  <a:lnTo>
                    <a:pt x="862" y="7536"/>
                  </a:lnTo>
                  <a:lnTo>
                    <a:pt x="893" y="7497"/>
                  </a:lnTo>
                  <a:lnTo>
                    <a:pt x="924" y="7459"/>
                  </a:lnTo>
                  <a:lnTo>
                    <a:pt x="956" y="7421"/>
                  </a:lnTo>
                  <a:lnTo>
                    <a:pt x="988" y="7384"/>
                  </a:lnTo>
                  <a:lnTo>
                    <a:pt x="1020" y="7346"/>
                  </a:lnTo>
                  <a:lnTo>
                    <a:pt x="1054" y="7309"/>
                  </a:lnTo>
                  <a:lnTo>
                    <a:pt x="1088" y="7272"/>
                  </a:lnTo>
                  <a:lnTo>
                    <a:pt x="1122" y="7237"/>
                  </a:lnTo>
                  <a:lnTo>
                    <a:pt x="1156" y="7201"/>
                  </a:lnTo>
                  <a:lnTo>
                    <a:pt x="1192" y="7165"/>
                  </a:lnTo>
                  <a:lnTo>
                    <a:pt x="1354" y="7005"/>
                  </a:lnTo>
                  <a:lnTo>
                    <a:pt x="1517" y="6847"/>
                  </a:lnTo>
                  <a:lnTo>
                    <a:pt x="1680" y="6688"/>
                  </a:lnTo>
                  <a:lnTo>
                    <a:pt x="1842" y="6529"/>
                  </a:lnTo>
                  <a:lnTo>
                    <a:pt x="2003" y="6369"/>
                  </a:lnTo>
                  <a:lnTo>
                    <a:pt x="2082" y="6288"/>
                  </a:lnTo>
                  <a:lnTo>
                    <a:pt x="2162" y="6208"/>
                  </a:lnTo>
                  <a:lnTo>
                    <a:pt x="2240" y="6127"/>
                  </a:lnTo>
                  <a:lnTo>
                    <a:pt x="2318" y="6044"/>
                  </a:lnTo>
                  <a:lnTo>
                    <a:pt x="2394" y="5962"/>
                  </a:lnTo>
                  <a:lnTo>
                    <a:pt x="2471" y="5879"/>
                  </a:lnTo>
                  <a:lnTo>
                    <a:pt x="2546" y="5796"/>
                  </a:lnTo>
                  <a:lnTo>
                    <a:pt x="2619" y="5711"/>
                  </a:lnTo>
                  <a:lnTo>
                    <a:pt x="2693" y="5626"/>
                  </a:lnTo>
                  <a:lnTo>
                    <a:pt x="2764" y="5540"/>
                  </a:lnTo>
                  <a:lnTo>
                    <a:pt x="2835" y="5453"/>
                  </a:lnTo>
                  <a:lnTo>
                    <a:pt x="2904" y="5365"/>
                  </a:lnTo>
                  <a:lnTo>
                    <a:pt x="2971" y="5276"/>
                  </a:lnTo>
                  <a:lnTo>
                    <a:pt x="3038" y="5185"/>
                  </a:lnTo>
                  <a:lnTo>
                    <a:pt x="3102" y="5095"/>
                  </a:lnTo>
                  <a:lnTo>
                    <a:pt x="3166" y="5002"/>
                  </a:lnTo>
                  <a:lnTo>
                    <a:pt x="3226" y="4908"/>
                  </a:lnTo>
                  <a:lnTo>
                    <a:pt x="3286" y="4813"/>
                  </a:lnTo>
                  <a:lnTo>
                    <a:pt x="3344" y="4717"/>
                  </a:lnTo>
                  <a:lnTo>
                    <a:pt x="3372" y="4667"/>
                  </a:lnTo>
                  <a:lnTo>
                    <a:pt x="3399" y="4619"/>
                  </a:lnTo>
                  <a:lnTo>
                    <a:pt x="3426" y="4569"/>
                  </a:lnTo>
                  <a:lnTo>
                    <a:pt x="3452" y="4520"/>
                  </a:lnTo>
                  <a:lnTo>
                    <a:pt x="3478" y="4469"/>
                  </a:lnTo>
                  <a:lnTo>
                    <a:pt x="3504" y="4418"/>
                  </a:lnTo>
                  <a:lnTo>
                    <a:pt x="3529" y="4367"/>
                  </a:lnTo>
                  <a:lnTo>
                    <a:pt x="3554" y="4316"/>
                  </a:lnTo>
                  <a:lnTo>
                    <a:pt x="3577" y="4263"/>
                  </a:lnTo>
                  <a:lnTo>
                    <a:pt x="3600" y="4211"/>
                  </a:lnTo>
                  <a:lnTo>
                    <a:pt x="3623" y="4159"/>
                  </a:lnTo>
                  <a:lnTo>
                    <a:pt x="3645" y="4105"/>
                  </a:lnTo>
                  <a:lnTo>
                    <a:pt x="3666" y="4051"/>
                  </a:lnTo>
                  <a:lnTo>
                    <a:pt x="3688" y="3997"/>
                  </a:lnTo>
                  <a:lnTo>
                    <a:pt x="3708" y="3942"/>
                  </a:lnTo>
                  <a:lnTo>
                    <a:pt x="3727" y="3887"/>
                  </a:lnTo>
                  <a:lnTo>
                    <a:pt x="3746" y="3832"/>
                  </a:lnTo>
                  <a:lnTo>
                    <a:pt x="3764" y="3776"/>
                  </a:lnTo>
                  <a:lnTo>
                    <a:pt x="3782" y="3719"/>
                  </a:lnTo>
                  <a:lnTo>
                    <a:pt x="3799" y="3662"/>
                  </a:lnTo>
                  <a:lnTo>
                    <a:pt x="3815" y="3605"/>
                  </a:lnTo>
                  <a:lnTo>
                    <a:pt x="3830" y="3546"/>
                  </a:lnTo>
                  <a:lnTo>
                    <a:pt x="3845" y="3488"/>
                  </a:lnTo>
                  <a:lnTo>
                    <a:pt x="3860" y="3429"/>
                  </a:lnTo>
                  <a:lnTo>
                    <a:pt x="3874" y="3368"/>
                  </a:lnTo>
                  <a:lnTo>
                    <a:pt x="3886" y="3308"/>
                  </a:lnTo>
                  <a:lnTo>
                    <a:pt x="3898" y="3248"/>
                  </a:lnTo>
                  <a:lnTo>
                    <a:pt x="3909" y="3186"/>
                  </a:lnTo>
                  <a:lnTo>
                    <a:pt x="3920" y="3124"/>
                  </a:lnTo>
                  <a:lnTo>
                    <a:pt x="3930" y="3062"/>
                  </a:lnTo>
                  <a:lnTo>
                    <a:pt x="3938" y="2998"/>
                  </a:lnTo>
                  <a:lnTo>
                    <a:pt x="3947" y="2935"/>
                  </a:lnTo>
                  <a:lnTo>
                    <a:pt x="3954" y="2870"/>
                  </a:lnTo>
                  <a:lnTo>
                    <a:pt x="3960" y="2805"/>
                  </a:lnTo>
                  <a:lnTo>
                    <a:pt x="3966" y="2740"/>
                  </a:lnTo>
                  <a:lnTo>
                    <a:pt x="3971" y="2673"/>
                  </a:lnTo>
                  <a:lnTo>
                    <a:pt x="3975" y="2607"/>
                  </a:lnTo>
                  <a:lnTo>
                    <a:pt x="3978" y="2540"/>
                  </a:lnTo>
                  <a:lnTo>
                    <a:pt x="3981" y="2471"/>
                  </a:lnTo>
                  <a:lnTo>
                    <a:pt x="3982" y="2403"/>
                  </a:lnTo>
                  <a:lnTo>
                    <a:pt x="3983" y="2334"/>
                  </a:lnTo>
                  <a:lnTo>
                    <a:pt x="3983" y="2263"/>
                  </a:lnTo>
                  <a:lnTo>
                    <a:pt x="3982" y="2193"/>
                  </a:lnTo>
                  <a:lnTo>
                    <a:pt x="3980" y="2121"/>
                  </a:lnTo>
                  <a:lnTo>
                    <a:pt x="3977" y="2049"/>
                  </a:lnTo>
                  <a:lnTo>
                    <a:pt x="3973" y="1976"/>
                  </a:lnTo>
                  <a:lnTo>
                    <a:pt x="3968" y="1902"/>
                  </a:lnTo>
                  <a:lnTo>
                    <a:pt x="3963" y="1828"/>
                  </a:lnTo>
                  <a:lnTo>
                    <a:pt x="3956" y="1753"/>
                  </a:lnTo>
                  <a:lnTo>
                    <a:pt x="3948" y="1678"/>
                  </a:lnTo>
                  <a:lnTo>
                    <a:pt x="3940" y="1601"/>
                  </a:lnTo>
                  <a:lnTo>
                    <a:pt x="3930" y="1524"/>
                  </a:lnTo>
                  <a:lnTo>
                    <a:pt x="3920" y="1446"/>
                  </a:lnTo>
                  <a:lnTo>
                    <a:pt x="3909" y="1367"/>
                  </a:lnTo>
                  <a:lnTo>
                    <a:pt x="3896" y="1288"/>
                  </a:lnTo>
                  <a:lnTo>
                    <a:pt x="3883" y="1207"/>
                  </a:lnTo>
                  <a:lnTo>
                    <a:pt x="3868" y="1127"/>
                  </a:lnTo>
                  <a:lnTo>
                    <a:pt x="3852" y="1044"/>
                  </a:lnTo>
                  <a:lnTo>
                    <a:pt x="3835" y="962"/>
                  </a:lnTo>
                  <a:lnTo>
                    <a:pt x="3817" y="878"/>
                  </a:lnTo>
                  <a:lnTo>
                    <a:pt x="3799" y="795"/>
                  </a:lnTo>
                  <a:lnTo>
                    <a:pt x="3779" y="709"/>
                  </a:lnTo>
                  <a:lnTo>
                    <a:pt x="3758" y="624"/>
                  </a:lnTo>
                  <a:lnTo>
                    <a:pt x="3736" y="538"/>
                  </a:lnTo>
                  <a:lnTo>
                    <a:pt x="3713" y="450"/>
                  </a:lnTo>
                  <a:lnTo>
                    <a:pt x="3689" y="362"/>
                  </a:lnTo>
                  <a:lnTo>
                    <a:pt x="3663" y="272"/>
                  </a:lnTo>
                  <a:lnTo>
                    <a:pt x="3637" y="183"/>
                  </a:lnTo>
                  <a:lnTo>
                    <a:pt x="3609" y="91"/>
                  </a:lnTo>
                  <a:lnTo>
                    <a:pt x="3581" y="0"/>
                  </a:lnTo>
                  <a:lnTo>
                    <a:pt x="3586" y="13"/>
                  </a:lnTo>
                  <a:lnTo>
                    <a:pt x="3591" y="26"/>
                  </a:lnTo>
                  <a:lnTo>
                    <a:pt x="3599" y="39"/>
                  </a:lnTo>
                  <a:lnTo>
                    <a:pt x="3607" y="53"/>
                  </a:lnTo>
                  <a:lnTo>
                    <a:pt x="3616" y="67"/>
                  </a:lnTo>
                  <a:lnTo>
                    <a:pt x="3626" y="81"/>
                  </a:lnTo>
                  <a:lnTo>
                    <a:pt x="3649" y="110"/>
                  </a:lnTo>
                  <a:lnTo>
                    <a:pt x="3674" y="140"/>
                  </a:lnTo>
                  <a:lnTo>
                    <a:pt x="3703" y="169"/>
                  </a:lnTo>
                  <a:lnTo>
                    <a:pt x="3733" y="200"/>
                  </a:lnTo>
                  <a:lnTo>
                    <a:pt x="3764" y="230"/>
                  </a:lnTo>
                  <a:lnTo>
                    <a:pt x="3827" y="288"/>
                  </a:lnTo>
                  <a:lnTo>
                    <a:pt x="3888" y="344"/>
                  </a:lnTo>
                  <a:lnTo>
                    <a:pt x="3916" y="371"/>
                  </a:lnTo>
                  <a:lnTo>
                    <a:pt x="3941" y="395"/>
                  </a:lnTo>
                  <a:lnTo>
                    <a:pt x="3964" y="419"/>
                  </a:lnTo>
                  <a:lnTo>
                    <a:pt x="3983" y="440"/>
                  </a:lnTo>
                  <a:lnTo>
                    <a:pt x="4050" y="520"/>
                  </a:lnTo>
                  <a:lnTo>
                    <a:pt x="4114" y="601"/>
                  </a:lnTo>
                  <a:lnTo>
                    <a:pt x="4178" y="682"/>
                  </a:lnTo>
                  <a:lnTo>
                    <a:pt x="4242" y="765"/>
                  </a:lnTo>
                  <a:lnTo>
                    <a:pt x="4304" y="847"/>
                  </a:lnTo>
                  <a:lnTo>
                    <a:pt x="4365" y="931"/>
                  </a:lnTo>
                  <a:lnTo>
                    <a:pt x="4426" y="1015"/>
                  </a:lnTo>
                  <a:lnTo>
                    <a:pt x="4485" y="1101"/>
                  </a:lnTo>
                  <a:lnTo>
                    <a:pt x="4544" y="1186"/>
                  </a:lnTo>
                  <a:lnTo>
                    <a:pt x="4602" y="1273"/>
                  </a:lnTo>
                  <a:lnTo>
                    <a:pt x="4659" y="1359"/>
                  </a:lnTo>
                  <a:lnTo>
                    <a:pt x="4714" y="1447"/>
                  </a:lnTo>
                  <a:lnTo>
                    <a:pt x="4770" y="1534"/>
                  </a:lnTo>
                  <a:lnTo>
                    <a:pt x="4824" y="1623"/>
                  </a:lnTo>
                  <a:lnTo>
                    <a:pt x="4877" y="1711"/>
                  </a:lnTo>
                  <a:lnTo>
                    <a:pt x="4930" y="1801"/>
                  </a:lnTo>
                  <a:lnTo>
                    <a:pt x="4996" y="1917"/>
                  </a:lnTo>
                  <a:lnTo>
                    <a:pt x="5061" y="2034"/>
                  </a:lnTo>
                  <a:lnTo>
                    <a:pt x="5125" y="2152"/>
                  </a:lnTo>
                  <a:lnTo>
                    <a:pt x="5187" y="2271"/>
                  </a:lnTo>
                  <a:lnTo>
                    <a:pt x="5248" y="2391"/>
                  </a:lnTo>
                  <a:lnTo>
                    <a:pt x="5308" y="2512"/>
                  </a:lnTo>
                  <a:lnTo>
                    <a:pt x="5365" y="2634"/>
                  </a:lnTo>
                  <a:lnTo>
                    <a:pt x="5422" y="2757"/>
                  </a:lnTo>
                  <a:lnTo>
                    <a:pt x="5478" y="2881"/>
                  </a:lnTo>
                  <a:lnTo>
                    <a:pt x="5531" y="3005"/>
                  </a:lnTo>
                  <a:lnTo>
                    <a:pt x="5583" y="3131"/>
                  </a:lnTo>
                  <a:lnTo>
                    <a:pt x="5635" y="3257"/>
                  </a:lnTo>
                  <a:lnTo>
                    <a:pt x="5684" y="3384"/>
                  </a:lnTo>
                  <a:lnTo>
                    <a:pt x="5731" y="3512"/>
                  </a:lnTo>
                  <a:lnTo>
                    <a:pt x="5777" y="3641"/>
                  </a:lnTo>
                  <a:lnTo>
                    <a:pt x="5823" y="3769"/>
                  </a:lnTo>
                  <a:lnTo>
                    <a:pt x="5866" y="3899"/>
                  </a:lnTo>
                  <a:lnTo>
                    <a:pt x="5907" y="4030"/>
                  </a:lnTo>
                  <a:lnTo>
                    <a:pt x="5947" y="4161"/>
                  </a:lnTo>
                  <a:lnTo>
                    <a:pt x="5986" y="4292"/>
                  </a:lnTo>
                  <a:lnTo>
                    <a:pt x="6023" y="4425"/>
                  </a:lnTo>
                  <a:lnTo>
                    <a:pt x="6058" y="4558"/>
                  </a:lnTo>
                  <a:lnTo>
                    <a:pt x="6092" y="4691"/>
                  </a:lnTo>
                  <a:lnTo>
                    <a:pt x="6124" y="4824"/>
                  </a:lnTo>
                  <a:lnTo>
                    <a:pt x="6155" y="4959"/>
                  </a:lnTo>
                  <a:lnTo>
                    <a:pt x="6184" y="5093"/>
                  </a:lnTo>
                  <a:lnTo>
                    <a:pt x="6211" y="5228"/>
                  </a:lnTo>
                  <a:lnTo>
                    <a:pt x="6236" y="5363"/>
                  </a:lnTo>
                  <a:lnTo>
                    <a:pt x="6260" y="5499"/>
                  </a:lnTo>
                  <a:lnTo>
                    <a:pt x="6281" y="5635"/>
                  </a:lnTo>
                  <a:lnTo>
                    <a:pt x="6302" y="5771"/>
                  </a:lnTo>
                  <a:lnTo>
                    <a:pt x="6321" y="5906"/>
                  </a:lnTo>
                  <a:lnTo>
                    <a:pt x="6338" y="6043"/>
                  </a:lnTo>
                  <a:lnTo>
                    <a:pt x="6353" y="6180"/>
                  </a:lnTo>
                  <a:lnTo>
                    <a:pt x="6366" y="6317"/>
                  </a:lnTo>
                  <a:lnTo>
                    <a:pt x="6378" y="6453"/>
                  </a:lnTo>
                  <a:lnTo>
                    <a:pt x="6387" y="6590"/>
                  </a:lnTo>
                  <a:lnTo>
                    <a:pt x="6395" y="6728"/>
                  </a:lnTo>
                  <a:lnTo>
                    <a:pt x="6401" y="6865"/>
                  </a:lnTo>
                  <a:lnTo>
                    <a:pt x="6405" y="7001"/>
                  </a:lnTo>
                  <a:lnTo>
                    <a:pt x="6408" y="7138"/>
                  </a:lnTo>
                  <a:lnTo>
                    <a:pt x="6408" y="7276"/>
                  </a:lnTo>
                  <a:lnTo>
                    <a:pt x="6407" y="7413"/>
                  </a:lnTo>
                  <a:lnTo>
                    <a:pt x="6404" y="7549"/>
                  </a:lnTo>
                  <a:lnTo>
                    <a:pt x="6399" y="7685"/>
                  </a:lnTo>
                  <a:lnTo>
                    <a:pt x="6392" y="7822"/>
                  </a:lnTo>
                  <a:lnTo>
                    <a:pt x="6383" y="7958"/>
                  </a:lnTo>
                  <a:lnTo>
                    <a:pt x="6372" y="8095"/>
                  </a:lnTo>
                  <a:lnTo>
                    <a:pt x="6359" y="8229"/>
                  </a:lnTo>
                  <a:lnTo>
                    <a:pt x="6344" y="8365"/>
                  </a:lnTo>
                  <a:lnTo>
                    <a:pt x="6328" y="8500"/>
                  </a:lnTo>
                  <a:lnTo>
                    <a:pt x="6308" y="8635"/>
                  </a:lnTo>
                  <a:lnTo>
                    <a:pt x="6287" y="8769"/>
                  </a:lnTo>
                  <a:lnTo>
                    <a:pt x="6264" y="8903"/>
                  </a:lnTo>
                  <a:lnTo>
                    <a:pt x="6240" y="9037"/>
                  </a:lnTo>
                  <a:lnTo>
                    <a:pt x="6213" y="9169"/>
                  </a:lnTo>
                  <a:lnTo>
                    <a:pt x="6184" y="9302"/>
                  </a:lnTo>
                  <a:lnTo>
                    <a:pt x="6153" y="9434"/>
                  </a:lnTo>
                  <a:lnTo>
                    <a:pt x="6119" y="9566"/>
                  </a:lnTo>
                  <a:lnTo>
                    <a:pt x="6084" y="9696"/>
                  </a:lnTo>
                  <a:lnTo>
                    <a:pt x="6047" y="9826"/>
                  </a:lnTo>
                  <a:lnTo>
                    <a:pt x="6008" y="9956"/>
                  </a:lnTo>
                  <a:lnTo>
                    <a:pt x="5966" y="10085"/>
                  </a:lnTo>
                  <a:lnTo>
                    <a:pt x="5922" y="10213"/>
                  </a:lnTo>
                  <a:lnTo>
                    <a:pt x="5899" y="10277"/>
                  </a:lnTo>
                  <a:lnTo>
                    <a:pt x="5876" y="10340"/>
                  </a:lnTo>
                  <a:lnTo>
                    <a:pt x="5852" y="10403"/>
                  </a:lnTo>
                  <a:lnTo>
                    <a:pt x="5828" y="10467"/>
                  </a:lnTo>
                  <a:lnTo>
                    <a:pt x="5802" y="10530"/>
                  </a:lnTo>
                  <a:lnTo>
                    <a:pt x="5775" y="10592"/>
                  </a:lnTo>
                  <a:lnTo>
                    <a:pt x="5749" y="10654"/>
                  </a:lnTo>
                  <a:lnTo>
                    <a:pt x="5722" y="10716"/>
                  </a:lnTo>
                  <a:lnTo>
                    <a:pt x="5694" y="10777"/>
                  </a:lnTo>
                  <a:lnTo>
                    <a:pt x="5665" y="10839"/>
                  </a:lnTo>
                  <a:lnTo>
                    <a:pt x="5636" y="10899"/>
                  </a:lnTo>
                  <a:lnTo>
                    <a:pt x="5605" y="10959"/>
                  </a:lnTo>
                  <a:lnTo>
                    <a:pt x="5575" y="11019"/>
                  </a:lnTo>
                  <a:lnTo>
                    <a:pt x="5543" y="11078"/>
                  </a:lnTo>
                  <a:lnTo>
                    <a:pt x="5512" y="11137"/>
                  </a:lnTo>
                  <a:lnTo>
                    <a:pt x="5479" y="11196"/>
                  </a:lnTo>
                  <a:lnTo>
                    <a:pt x="5446" y="11254"/>
                  </a:lnTo>
                  <a:lnTo>
                    <a:pt x="5411" y="11312"/>
                  </a:lnTo>
                  <a:lnTo>
                    <a:pt x="5377" y="11370"/>
                  </a:lnTo>
                  <a:lnTo>
                    <a:pt x="5342" y="11426"/>
                  </a:lnTo>
                  <a:lnTo>
                    <a:pt x="5306" y="11482"/>
                  </a:lnTo>
                  <a:lnTo>
                    <a:pt x="5270" y="11539"/>
                  </a:lnTo>
                  <a:lnTo>
                    <a:pt x="5232" y="11594"/>
                  </a:lnTo>
                  <a:lnTo>
                    <a:pt x="5195" y="11649"/>
                  </a:lnTo>
                  <a:lnTo>
                    <a:pt x="5156" y="11704"/>
                  </a:lnTo>
                  <a:lnTo>
                    <a:pt x="5117" y="11758"/>
                  </a:lnTo>
                  <a:lnTo>
                    <a:pt x="5077" y="11811"/>
                  </a:lnTo>
                  <a:lnTo>
                    <a:pt x="5037" y="11863"/>
                  </a:lnTo>
                  <a:lnTo>
                    <a:pt x="4996" y="11916"/>
                  </a:lnTo>
                  <a:lnTo>
                    <a:pt x="4955" y="11968"/>
                  </a:lnTo>
                  <a:lnTo>
                    <a:pt x="4911" y="12019"/>
                  </a:lnTo>
                  <a:lnTo>
                    <a:pt x="4869" y="12070"/>
                  </a:lnTo>
                  <a:lnTo>
                    <a:pt x="4825" y="12120"/>
                  </a:lnTo>
                  <a:lnTo>
                    <a:pt x="4781" y="12169"/>
                  </a:lnTo>
                  <a:lnTo>
                    <a:pt x="4736" y="12217"/>
                  </a:lnTo>
                  <a:lnTo>
                    <a:pt x="4690" y="12266"/>
                  </a:lnTo>
                  <a:lnTo>
                    <a:pt x="4645" y="12314"/>
                  </a:lnTo>
                  <a:lnTo>
                    <a:pt x="4598" y="12360"/>
                  </a:lnTo>
                  <a:lnTo>
                    <a:pt x="4550" y="12407"/>
                  </a:lnTo>
                  <a:lnTo>
                    <a:pt x="4502" y="12453"/>
                  </a:lnTo>
                  <a:lnTo>
                    <a:pt x="4454" y="12498"/>
                  </a:lnTo>
                  <a:lnTo>
                    <a:pt x="4404" y="12542"/>
                  </a:lnTo>
                  <a:lnTo>
                    <a:pt x="4354" y="12585"/>
                  </a:lnTo>
                  <a:lnTo>
                    <a:pt x="4303" y="12629"/>
                  </a:lnTo>
                  <a:lnTo>
                    <a:pt x="4252" y="12671"/>
                  </a:lnTo>
                  <a:lnTo>
                    <a:pt x="4200" y="12713"/>
                  </a:lnTo>
                  <a:lnTo>
                    <a:pt x="4148" y="12753"/>
                  </a:lnTo>
                  <a:lnTo>
                    <a:pt x="4095" y="12794"/>
                  </a:lnTo>
                  <a:lnTo>
                    <a:pt x="4041" y="12834"/>
                  </a:lnTo>
                  <a:lnTo>
                    <a:pt x="3986" y="12872"/>
                  </a:lnTo>
                  <a:lnTo>
                    <a:pt x="3931" y="12910"/>
                  </a:lnTo>
                  <a:lnTo>
                    <a:pt x="3876" y="12947"/>
                  </a:lnTo>
                  <a:lnTo>
                    <a:pt x="3819" y="12984"/>
                  </a:lnTo>
                  <a:lnTo>
                    <a:pt x="3762" y="13019"/>
                  </a:lnTo>
                  <a:lnTo>
                    <a:pt x="3705" y="13054"/>
                  </a:lnTo>
                  <a:lnTo>
                    <a:pt x="3646" y="13088"/>
                  </a:lnTo>
                  <a:lnTo>
                    <a:pt x="3588" y="13121"/>
                  </a:lnTo>
                  <a:lnTo>
                    <a:pt x="3528" y="13154"/>
                  </a:lnTo>
                  <a:lnTo>
                    <a:pt x="3468" y="13186"/>
                  </a:lnTo>
                  <a:lnTo>
                    <a:pt x="3407" y="13216"/>
                  </a:lnTo>
                  <a:lnTo>
                    <a:pt x="3346" y="13246"/>
                  </a:lnTo>
                  <a:lnTo>
                    <a:pt x="3284" y="13275"/>
                  </a:lnTo>
                  <a:lnTo>
                    <a:pt x="3221" y="13303"/>
                  </a:lnTo>
                  <a:lnTo>
                    <a:pt x="3158" y="13331"/>
                  </a:lnTo>
                  <a:lnTo>
                    <a:pt x="3111" y="13350"/>
                  </a:lnTo>
                  <a:lnTo>
                    <a:pt x="3064" y="13369"/>
                  </a:lnTo>
                  <a:lnTo>
                    <a:pt x="3018" y="13387"/>
                  </a:lnTo>
                  <a:lnTo>
                    <a:pt x="2970" y="13404"/>
                  </a:lnTo>
                  <a:lnTo>
                    <a:pt x="2923" y="13421"/>
                  </a:lnTo>
                  <a:lnTo>
                    <a:pt x="2876" y="13437"/>
                  </a:lnTo>
                  <a:lnTo>
                    <a:pt x="2829" y="13453"/>
                  </a:lnTo>
                  <a:lnTo>
                    <a:pt x="2781" y="13468"/>
                  </a:lnTo>
                  <a:lnTo>
                    <a:pt x="2686" y="13497"/>
                  </a:lnTo>
                  <a:lnTo>
                    <a:pt x="2590" y="13523"/>
                  </a:lnTo>
                  <a:lnTo>
                    <a:pt x="2494" y="13546"/>
                  </a:lnTo>
                  <a:lnTo>
                    <a:pt x="2397" y="13567"/>
                  </a:lnTo>
                  <a:lnTo>
                    <a:pt x="2301" y="13587"/>
                  </a:lnTo>
                  <a:lnTo>
                    <a:pt x="2203" y="13604"/>
                  </a:lnTo>
                  <a:lnTo>
                    <a:pt x="2107" y="13619"/>
                  </a:lnTo>
                  <a:lnTo>
                    <a:pt x="2008" y="13632"/>
                  </a:lnTo>
                  <a:lnTo>
                    <a:pt x="1910" y="13643"/>
                  </a:lnTo>
                  <a:lnTo>
                    <a:pt x="1812" y="13652"/>
                  </a:lnTo>
                  <a:lnTo>
                    <a:pt x="1714" y="13659"/>
                  </a:lnTo>
                  <a:lnTo>
                    <a:pt x="1616" y="13665"/>
                  </a:lnTo>
                  <a:lnTo>
                    <a:pt x="1516" y="13669"/>
                  </a:lnTo>
                  <a:lnTo>
                    <a:pt x="1418" y="13672"/>
                  </a:lnTo>
                  <a:lnTo>
                    <a:pt x="1319" y="13673"/>
                  </a:lnTo>
                  <a:lnTo>
                    <a:pt x="1220" y="13672"/>
                  </a:lnTo>
                  <a:lnTo>
                    <a:pt x="1121" y="13668"/>
                  </a:lnTo>
                  <a:lnTo>
                    <a:pt x="1021" y="13664"/>
                  </a:lnTo>
                  <a:lnTo>
                    <a:pt x="922" y="13659"/>
                  </a:lnTo>
                  <a:lnTo>
                    <a:pt x="823" y="13652"/>
                  </a:lnTo>
                  <a:lnTo>
                    <a:pt x="724" y="13644"/>
                  </a:lnTo>
                  <a:lnTo>
                    <a:pt x="625" y="13635"/>
                  </a:lnTo>
                  <a:lnTo>
                    <a:pt x="526" y="13625"/>
                  </a:lnTo>
                  <a:lnTo>
                    <a:pt x="427" y="13614"/>
                  </a:lnTo>
                  <a:lnTo>
                    <a:pt x="327" y="13601"/>
                  </a:lnTo>
                  <a:lnTo>
                    <a:pt x="229" y="13588"/>
                  </a:lnTo>
                  <a:lnTo>
                    <a:pt x="130" y="13573"/>
                  </a:lnTo>
                  <a:lnTo>
                    <a:pt x="32" y="13558"/>
                  </a:lnTo>
                  <a:close/>
                </a:path>
              </a:pathLst>
            </a:custGeom>
            <a:solidFill>
              <a:srgbClr val="F7B61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1283" name="Freeform 6">
              <a:extLst>
                <a:ext uri="{FF2B5EF4-FFF2-40B4-BE49-F238E27FC236}">
                  <a16:creationId xmlns:a16="http://schemas.microsoft.com/office/drawing/2014/main" id="{46BFBB1B-203E-C849-7BB3-CA77DBED6AAD}"/>
                </a:ext>
              </a:extLst>
            </p:cNvPr>
            <p:cNvSpPr>
              <a:spLocks/>
            </p:cNvSpPr>
            <p:nvPr/>
          </p:nvSpPr>
          <p:spPr bwMode="auto">
            <a:xfrm>
              <a:off x="3783613" y="4879082"/>
              <a:ext cx="2385596" cy="1003790"/>
            </a:xfrm>
            <a:custGeom>
              <a:avLst/>
              <a:gdLst>
                <a:gd name="T0" fmla="*/ 2147483646 w 14013"/>
                <a:gd name="T1" fmla="*/ 2147483646 h 5897"/>
                <a:gd name="T2" fmla="*/ 2147483646 w 14013"/>
                <a:gd name="T3" fmla="*/ 2147483646 h 5897"/>
                <a:gd name="T4" fmla="*/ 2147483646 w 14013"/>
                <a:gd name="T5" fmla="*/ 2147483646 h 5897"/>
                <a:gd name="T6" fmla="*/ 2147483646 w 14013"/>
                <a:gd name="T7" fmla="*/ 2147483646 h 5897"/>
                <a:gd name="T8" fmla="*/ 2147483646 w 14013"/>
                <a:gd name="T9" fmla="*/ 2147483646 h 5897"/>
                <a:gd name="T10" fmla="*/ 2147483646 w 14013"/>
                <a:gd name="T11" fmla="*/ 2147483646 h 5897"/>
                <a:gd name="T12" fmla="*/ 2147483646 w 14013"/>
                <a:gd name="T13" fmla="*/ 2147483646 h 5897"/>
                <a:gd name="T14" fmla="*/ 2147483646 w 14013"/>
                <a:gd name="T15" fmla="*/ 2147483646 h 5897"/>
                <a:gd name="T16" fmla="*/ 2147483646 w 14013"/>
                <a:gd name="T17" fmla="*/ 2147483646 h 5897"/>
                <a:gd name="T18" fmla="*/ 2147483646 w 14013"/>
                <a:gd name="T19" fmla="*/ 2147483646 h 5897"/>
                <a:gd name="T20" fmla="*/ 2147483646 w 14013"/>
                <a:gd name="T21" fmla="*/ 2147483646 h 5897"/>
                <a:gd name="T22" fmla="*/ 2147483646 w 14013"/>
                <a:gd name="T23" fmla="*/ 2147483646 h 5897"/>
                <a:gd name="T24" fmla="*/ 2147483646 w 14013"/>
                <a:gd name="T25" fmla="*/ 2147483646 h 5897"/>
                <a:gd name="T26" fmla="*/ 2147483646 w 14013"/>
                <a:gd name="T27" fmla="*/ 2147483646 h 5897"/>
                <a:gd name="T28" fmla="*/ 2147483646 w 14013"/>
                <a:gd name="T29" fmla="*/ 2147483646 h 5897"/>
                <a:gd name="T30" fmla="*/ 2147483646 w 14013"/>
                <a:gd name="T31" fmla="*/ 2147483646 h 5897"/>
                <a:gd name="T32" fmla="*/ 2147483646 w 14013"/>
                <a:gd name="T33" fmla="*/ 2147483646 h 5897"/>
                <a:gd name="T34" fmla="*/ 2147483646 w 14013"/>
                <a:gd name="T35" fmla="*/ 2147483646 h 5897"/>
                <a:gd name="T36" fmla="*/ 2147483646 w 14013"/>
                <a:gd name="T37" fmla="*/ 2147483646 h 5897"/>
                <a:gd name="T38" fmla="*/ 2147483646 w 14013"/>
                <a:gd name="T39" fmla="*/ 2147483646 h 5897"/>
                <a:gd name="T40" fmla="*/ 2147483646 w 14013"/>
                <a:gd name="T41" fmla="*/ 2147483646 h 5897"/>
                <a:gd name="T42" fmla="*/ 2147483646 w 14013"/>
                <a:gd name="T43" fmla="*/ 2147483646 h 5897"/>
                <a:gd name="T44" fmla="*/ 2147483646 w 14013"/>
                <a:gd name="T45" fmla="*/ 2147483646 h 5897"/>
                <a:gd name="T46" fmla="*/ 2147483646 w 14013"/>
                <a:gd name="T47" fmla="*/ 2147483646 h 5897"/>
                <a:gd name="T48" fmla="*/ 2147483646 w 14013"/>
                <a:gd name="T49" fmla="*/ 2147483646 h 5897"/>
                <a:gd name="T50" fmla="*/ 2147483646 w 14013"/>
                <a:gd name="T51" fmla="*/ 2147483646 h 5897"/>
                <a:gd name="T52" fmla="*/ 2147483646 w 14013"/>
                <a:gd name="T53" fmla="*/ 2147483646 h 5897"/>
                <a:gd name="T54" fmla="*/ 2147483646 w 14013"/>
                <a:gd name="T55" fmla="*/ 2147483646 h 5897"/>
                <a:gd name="T56" fmla="*/ 2147483646 w 14013"/>
                <a:gd name="T57" fmla="*/ 2147483646 h 5897"/>
                <a:gd name="T58" fmla="*/ 2147483646 w 14013"/>
                <a:gd name="T59" fmla="*/ 2147483646 h 5897"/>
                <a:gd name="T60" fmla="*/ 2147483646 w 14013"/>
                <a:gd name="T61" fmla="*/ 2147483646 h 5897"/>
                <a:gd name="T62" fmla="*/ 2147483646 w 14013"/>
                <a:gd name="T63" fmla="*/ 2147483646 h 5897"/>
                <a:gd name="T64" fmla="*/ 2147483646 w 14013"/>
                <a:gd name="T65" fmla="*/ 2147483646 h 5897"/>
                <a:gd name="T66" fmla="*/ 2147483646 w 14013"/>
                <a:gd name="T67" fmla="*/ 2147483646 h 5897"/>
                <a:gd name="T68" fmla="*/ 2147483646 w 14013"/>
                <a:gd name="T69" fmla="*/ 2147483646 h 5897"/>
                <a:gd name="T70" fmla="*/ 2147483646 w 14013"/>
                <a:gd name="T71" fmla="*/ 2147483646 h 5897"/>
                <a:gd name="T72" fmla="*/ 2147483646 w 14013"/>
                <a:gd name="T73" fmla="*/ 2147483646 h 5897"/>
                <a:gd name="T74" fmla="*/ 2147483646 w 14013"/>
                <a:gd name="T75" fmla="*/ 2147483646 h 5897"/>
                <a:gd name="T76" fmla="*/ 2147483646 w 14013"/>
                <a:gd name="T77" fmla="*/ 2147483646 h 5897"/>
                <a:gd name="T78" fmla="*/ 2147483646 w 14013"/>
                <a:gd name="T79" fmla="*/ 2147483646 h 5897"/>
                <a:gd name="T80" fmla="*/ 2147483646 w 14013"/>
                <a:gd name="T81" fmla="*/ 2147483646 h 5897"/>
                <a:gd name="T82" fmla="*/ 2147483646 w 14013"/>
                <a:gd name="T83" fmla="*/ 2147483646 h 5897"/>
                <a:gd name="T84" fmla="*/ 2147483646 w 14013"/>
                <a:gd name="T85" fmla="*/ 2147483646 h 5897"/>
                <a:gd name="T86" fmla="*/ 2147483646 w 14013"/>
                <a:gd name="T87" fmla="*/ 2147483646 h 5897"/>
                <a:gd name="T88" fmla="*/ 2147483646 w 14013"/>
                <a:gd name="T89" fmla="*/ 2147483646 h 5897"/>
                <a:gd name="T90" fmla="*/ 2147483646 w 14013"/>
                <a:gd name="T91" fmla="*/ 2147483646 h 5897"/>
                <a:gd name="T92" fmla="*/ 2147483646 w 14013"/>
                <a:gd name="T93" fmla="*/ 2147483646 h 5897"/>
                <a:gd name="T94" fmla="*/ 2147483646 w 14013"/>
                <a:gd name="T95" fmla="*/ 2147483646 h 5897"/>
                <a:gd name="T96" fmla="*/ 2147483646 w 14013"/>
                <a:gd name="T97" fmla="*/ 2147483646 h 5897"/>
                <a:gd name="T98" fmla="*/ 2147483646 w 14013"/>
                <a:gd name="T99" fmla="*/ 2147483646 h 5897"/>
                <a:gd name="T100" fmla="*/ 2147483646 w 14013"/>
                <a:gd name="T101" fmla="*/ 2147483646 h 5897"/>
                <a:gd name="T102" fmla="*/ 2147483646 w 14013"/>
                <a:gd name="T103" fmla="*/ 2147483646 h 5897"/>
                <a:gd name="T104" fmla="*/ 2147483646 w 14013"/>
                <a:gd name="T105" fmla="*/ 2147483646 h 5897"/>
                <a:gd name="T106" fmla="*/ 2147483646 w 14013"/>
                <a:gd name="T107" fmla="*/ 2147483646 h 5897"/>
                <a:gd name="T108" fmla="*/ 2147483646 w 14013"/>
                <a:gd name="T109" fmla="*/ 2147483646 h 5897"/>
                <a:gd name="T110" fmla="*/ 2147483646 w 14013"/>
                <a:gd name="T111" fmla="*/ 2147483646 h 5897"/>
                <a:gd name="T112" fmla="*/ 2147483646 w 14013"/>
                <a:gd name="T113" fmla="*/ 2147483646 h 5897"/>
                <a:gd name="T114" fmla="*/ 2147483646 w 14013"/>
                <a:gd name="T115" fmla="*/ 2147483646 h 5897"/>
                <a:gd name="T116" fmla="*/ 2147483646 w 14013"/>
                <a:gd name="T117" fmla="*/ 2147483646 h 5897"/>
                <a:gd name="T118" fmla="*/ 2147483646 w 14013"/>
                <a:gd name="T119" fmla="*/ 2147483646 h 589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4013" h="5897">
                  <a:moveTo>
                    <a:pt x="0" y="1148"/>
                  </a:moveTo>
                  <a:lnTo>
                    <a:pt x="0" y="1148"/>
                  </a:lnTo>
                  <a:lnTo>
                    <a:pt x="2" y="1157"/>
                  </a:lnTo>
                  <a:lnTo>
                    <a:pt x="4" y="1166"/>
                  </a:lnTo>
                  <a:lnTo>
                    <a:pt x="7" y="1175"/>
                  </a:lnTo>
                  <a:lnTo>
                    <a:pt x="10" y="1184"/>
                  </a:lnTo>
                  <a:lnTo>
                    <a:pt x="18" y="1202"/>
                  </a:lnTo>
                  <a:lnTo>
                    <a:pt x="29" y="1219"/>
                  </a:lnTo>
                  <a:lnTo>
                    <a:pt x="41" y="1235"/>
                  </a:lnTo>
                  <a:lnTo>
                    <a:pt x="56" y="1251"/>
                  </a:lnTo>
                  <a:lnTo>
                    <a:pt x="73" y="1267"/>
                  </a:lnTo>
                  <a:lnTo>
                    <a:pt x="91" y="1282"/>
                  </a:lnTo>
                  <a:lnTo>
                    <a:pt x="110" y="1296"/>
                  </a:lnTo>
                  <a:lnTo>
                    <a:pt x="131" y="1311"/>
                  </a:lnTo>
                  <a:lnTo>
                    <a:pt x="152" y="1324"/>
                  </a:lnTo>
                  <a:lnTo>
                    <a:pt x="175" y="1337"/>
                  </a:lnTo>
                  <a:lnTo>
                    <a:pt x="199" y="1349"/>
                  </a:lnTo>
                  <a:lnTo>
                    <a:pt x="223" y="1361"/>
                  </a:lnTo>
                  <a:lnTo>
                    <a:pt x="250" y="1372"/>
                  </a:lnTo>
                  <a:lnTo>
                    <a:pt x="275" y="1382"/>
                  </a:lnTo>
                  <a:lnTo>
                    <a:pt x="301" y="1392"/>
                  </a:lnTo>
                  <a:lnTo>
                    <a:pt x="327" y="1402"/>
                  </a:lnTo>
                  <a:lnTo>
                    <a:pt x="380" y="1419"/>
                  </a:lnTo>
                  <a:lnTo>
                    <a:pt x="432" y="1433"/>
                  </a:lnTo>
                  <a:lnTo>
                    <a:pt x="482" y="1445"/>
                  </a:lnTo>
                  <a:lnTo>
                    <a:pt x="528" y="1455"/>
                  </a:lnTo>
                  <a:lnTo>
                    <a:pt x="571" y="1462"/>
                  </a:lnTo>
                  <a:lnTo>
                    <a:pt x="608" y="1466"/>
                  </a:lnTo>
                  <a:lnTo>
                    <a:pt x="639" y="1468"/>
                  </a:lnTo>
                  <a:lnTo>
                    <a:pt x="664" y="1468"/>
                  </a:lnTo>
                  <a:lnTo>
                    <a:pt x="688" y="1468"/>
                  </a:lnTo>
                  <a:lnTo>
                    <a:pt x="713" y="1467"/>
                  </a:lnTo>
                  <a:lnTo>
                    <a:pt x="737" y="1465"/>
                  </a:lnTo>
                  <a:lnTo>
                    <a:pt x="761" y="1463"/>
                  </a:lnTo>
                  <a:lnTo>
                    <a:pt x="786" y="1460"/>
                  </a:lnTo>
                  <a:lnTo>
                    <a:pt x="834" y="1452"/>
                  </a:lnTo>
                  <a:lnTo>
                    <a:pt x="881" y="1442"/>
                  </a:lnTo>
                  <a:lnTo>
                    <a:pt x="927" y="1430"/>
                  </a:lnTo>
                  <a:lnTo>
                    <a:pt x="974" y="1416"/>
                  </a:lnTo>
                  <a:lnTo>
                    <a:pt x="1019" y="1400"/>
                  </a:lnTo>
                  <a:lnTo>
                    <a:pt x="1064" y="1383"/>
                  </a:lnTo>
                  <a:lnTo>
                    <a:pt x="1109" y="1364"/>
                  </a:lnTo>
                  <a:lnTo>
                    <a:pt x="1154" y="1343"/>
                  </a:lnTo>
                  <a:lnTo>
                    <a:pt x="1197" y="1320"/>
                  </a:lnTo>
                  <a:lnTo>
                    <a:pt x="1241" y="1296"/>
                  </a:lnTo>
                  <a:lnTo>
                    <a:pt x="1283" y="1271"/>
                  </a:lnTo>
                  <a:lnTo>
                    <a:pt x="1327" y="1245"/>
                  </a:lnTo>
                  <a:lnTo>
                    <a:pt x="1368" y="1218"/>
                  </a:lnTo>
                  <a:lnTo>
                    <a:pt x="1410" y="1191"/>
                  </a:lnTo>
                  <a:lnTo>
                    <a:pt x="1451" y="1162"/>
                  </a:lnTo>
                  <a:lnTo>
                    <a:pt x="1493" y="1133"/>
                  </a:lnTo>
                  <a:lnTo>
                    <a:pt x="1533" y="1102"/>
                  </a:lnTo>
                  <a:lnTo>
                    <a:pt x="1613" y="1042"/>
                  </a:lnTo>
                  <a:lnTo>
                    <a:pt x="1693" y="981"/>
                  </a:lnTo>
                  <a:lnTo>
                    <a:pt x="1848" y="859"/>
                  </a:lnTo>
                  <a:lnTo>
                    <a:pt x="1924" y="801"/>
                  </a:lnTo>
                  <a:lnTo>
                    <a:pt x="1962" y="773"/>
                  </a:lnTo>
                  <a:lnTo>
                    <a:pt x="2000" y="745"/>
                  </a:lnTo>
                  <a:lnTo>
                    <a:pt x="2039" y="718"/>
                  </a:lnTo>
                  <a:lnTo>
                    <a:pt x="2078" y="692"/>
                  </a:lnTo>
                  <a:lnTo>
                    <a:pt x="2117" y="666"/>
                  </a:lnTo>
                  <a:lnTo>
                    <a:pt x="2157" y="641"/>
                  </a:lnTo>
                  <a:lnTo>
                    <a:pt x="2199" y="616"/>
                  </a:lnTo>
                  <a:lnTo>
                    <a:pt x="2240" y="592"/>
                  </a:lnTo>
                  <a:lnTo>
                    <a:pt x="2281" y="567"/>
                  </a:lnTo>
                  <a:lnTo>
                    <a:pt x="2323" y="544"/>
                  </a:lnTo>
                  <a:lnTo>
                    <a:pt x="2367" y="522"/>
                  </a:lnTo>
                  <a:lnTo>
                    <a:pt x="2409" y="500"/>
                  </a:lnTo>
                  <a:lnTo>
                    <a:pt x="2452" y="479"/>
                  </a:lnTo>
                  <a:lnTo>
                    <a:pt x="2495" y="458"/>
                  </a:lnTo>
                  <a:lnTo>
                    <a:pt x="2584" y="418"/>
                  </a:lnTo>
                  <a:lnTo>
                    <a:pt x="2672" y="379"/>
                  </a:lnTo>
                  <a:lnTo>
                    <a:pt x="2763" y="342"/>
                  </a:lnTo>
                  <a:lnTo>
                    <a:pt x="2853" y="308"/>
                  </a:lnTo>
                  <a:lnTo>
                    <a:pt x="2945" y="276"/>
                  </a:lnTo>
                  <a:lnTo>
                    <a:pt x="3036" y="245"/>
                  </a:lnTo>
                  <a:lnTo>
                    <a:pt x="3128" y="215"/>
                  </a:lnTo>
                  <a:lnTo>
                    <a:pt x="3219" y="188"/>
                  </a:lnTo>
                  <a:lnTo>
                    <a:pt x="3312" y="163"/>
                  </a:lnTo>
                  <a:lnTo>
                    <a:pt x="3404" y="139"/>
                  </a:lnTo>
                  <a:lnTo>
                    <a:pt x="3500" y="116"/>
                  </a:lnTo>
                  <a:lnTo>
                    <a:pt x="3597" y="95"/>
                  </a:lnTo>
                  <a:lnTo>
                    <a:pt x="3694" y="76"/>
                  </a:lnTo>
                  <a:lnTo>
                    <a:pt x="3792" y="59"/>
                  </a:lnTo>
                  <a:lnTo>
                    <a:pt x="3889" y="43"/>
                  </a:lnTo>
                  <a:lnTo>
                    <a:pt x="3987" y="31"/>
                  </a:lnTo>
                  <a:lnTo>
                    <a:pt x="4085" y="20"/>
                  </a:lnTo>
                  <a:lnTo>
                    <a:pt x="4184" y="12"/>
                  </a:lnTo>
                  <a:lnTo>
                    <a:pt x="4283" y="5"/>
                  </a:lnTo>
                  <a:lnTo>
                    <a:pt x="4381" y="1"/>
                  </a:lnTo>
                  <a:lnTo>
                    <a:pt x="4480" y="0"/>
                  </a:lnTo>
                  <a:lnTo>
                    <a:pt x="4578" y="0"/>
                  </a:lnTo>
                  <a:lnTo>
                    <a:pt x="4677" y="3"/>
                  </a:lnTo>
                  <a:lnTo>
                    <a:pt x="4774" y="7"/>
                  </a:lnTo>
                  <a:lnTo>
                    <a:pt x="4873" y="15"/>
                  </a:lnTo>
                  <a:lnTo>
                    <a:pt x="4970" y="24"/>
                  </a:lnTo>
                  <a:lnTo>
                    <a:pt x="5068" y="36"/>
                  </a:lnTo>
                  <a:lnTo>
                    <a:pt x="5166" y="50"/>
                  </a:lnTo>
                  <a:lnTo>
                    <a:pt x="5262" y="67"/>
                  </a:lnTo>
                  <a:lnTo>
                    <a:pt x="5359" y="85"/>
                  </a:lnTo>
                  <a:lnTo>
                    <a:pt x="5454" y="106"/>
                  </a:lnTo>
                  <a:lnTo>
                    <a:pt x="5502" y="118"/>
                  </a:lnTo>
                  <a:lnTo>
                    <a:pt x="5550" y="129"/>
                  </a:lnTo>
                  <a:lnTo>
                    <a:pt x="5597" y="142"/>
                  </a:lnTo>
                  <a:lnTo>
                    <a:pt x="5644" y="155"/>
                  </a:lnTo>
                  <a:lnTo>
                    <a:pt x="5692" y="169"/>
                  </a:lnTo>
                  <a:lnTo>
                    <a:pt x="5739" y="183"/>
                  </a:lnTo>
                  <a:lnTo>
                    <a:pt x="5786" y="198"/>
                  </a:lnTo>
                  <a:lnTo>
                    <a:pt x="5832" y="213"/>
                  </a:lnTo>
                  <a:lnTo>
                    <a:pt x="5879" y="231"/>
                  </a:lnTo>
                  <a:lnTo>
                    <a:pt x="5926" y="247"/>
                  </a:lnTo>
                  <a:lnTo>
                    <a:pt x="5971" y="265"/>
                  </a:lnTo>
                  <a:lnTo>
                    <a:pt x="6017" y="282"/>
                  </a:lnTo>
                  <a:lnTo>
                    <a:pt x="6064" y="301"/>
                  </a:lnTo>
                  <a:lnTo>
                    <a:pt x="6109" y="320"/>
                  </a:lnTo>
                  <a:lnTo>
                    <a:pt x="6154" y="340"/>
                  </a:lnTo>
                  <a:lnTo>
                    <a:pt x="6199" y="360"/>
                  </a:lnTo>
                  <a:lnTo>
                    <a:pt x="6245" y="381"/>
                  </a:lnTo>
                  <a:lnTo>
                    <a:pt x="6289" y="403"/>
                  </a:lnTo>
                  <a:lnTo>
                    <a:pt x="6333" y="426"/>
                  </a:lnTo>
                  <a:lnTo>
                    <a:pt x="6377" y="449"/>
                  </a:lnTo>
                  <a:lnTo>
                    <a:pt x="6422" y="472"/>
                  </a:lnTo>
                  <a:lnTo>
                    <a:pt x="6466" y="496"/>
                  </a:lnTo>
                  <a:lnTo>
                    <a:pt x="6664" y="609"/>
                  </a:lnTo>
                  <a:lnTo>
                    <a:pt x="6861" y="721"/>
                  </a:lnTo>
                  <a:lnTo>
                    <a:pt x="7059" y="834"/>
                  </a:lnTo>
                  <a:lnTo>
                    <a:pt x="7256" y="945"/>
                  </a:lnTo>
                  <a:lnTo>
                    <a:pt x="7455" y="1056"/>
                  </a:lnTo>
                  <a:lnTo>
                    <a:pt x="7554" y="1110"/>
                  </a:lnTo>
                  <a:lnTo>
                    <a:pt x="7654" y="1164"/>
                  </a:lnTo>
                  <a:lnTo>
                    <a:pt x="7753" y="1216"/>
                  </a:lnTo>
                  <a:lnTo>
                    <a:pt x="7854" y="1268"/>
                  </a:lnTo>
                  <a:lnTo>
                    <a:pt x="7954" y="1320"/>
                  </a:lnTo>
                  <a:lnTo>
                    <a:pt x="8055" y="1370"/>
                  </a:lnTo>
                  <a:lnTo>
                    <a:pt x="8157" y="1419"/>
                  </a:lnTo>
                  <a:lnTo>
                    <a:pt x="8258" y="1466"/>
                  </a:lnTo>
                  <a:lnTo>
                    <a:pt x="8360" y="1513"/>
                  </a:lnTo>
                  <a:lnTo>
                    <a:pt x="8462" y="1558"/>
                  </a:lnTo>
                  <a:lnTo>
                    <a:pt x="8565" y="1602"/>
                  </a:lnTo>
                  <a:lnTo>
                    <a:pt x="8668" y="1644"/>
                  </a:lnTo>
                  <a:lnTo>
                    <a:pt x="8773" y="1685"/>
                  </a:lnTo>
                  <a:lnTo>
                    <a:pt x="8878" y="1723"/>
                  </a:lnTo>
                  <a:lnTo>
                    <a:pt x="8983" y="1760"/>
                  </a:lnTo>
                  <a:lnTo>
                    <a:pt x="9090" y="1795"/>
                  </a:lnTo>
                  <a:lnTo>
                    <a:pt x="9196" y="1827"/>
                  </a:lnTo>
                  <a:lnTo>
                    <a:pt x="9305" y="1859"/>
                  </a:lnTo>
                  <a:lnTo>
                    <a:pt x="9414" y="1888"/>
                  </a:lnTo>
                  <a:lnTo>
                    <a:pt x="9468" y="1901"/>
                  </a:lnTo>
                  <a:lnTo>
                    <a:pt x="9523" y="1914"/>
                  </a:lnTo>
                  <a:lnTo>
                    <a:pt x="9578" y="1926"/>
                  </a:lnTo>
                  <a:lnTo>
                    <a:pt x="9633" y="1938"/>
                  </a:lnTo>
                  <a:lnTo>
                    <a:pt x="9689" y="1949"/>
                  </a:lnTo>
                  <a:lnTo>
                    <a:pt x="9745" y="1959"/>
                  </a:lnTo>
                  <a:lnTo>
                    <a:pt x="9801" y="1969"/>
                  </a:lnTo>
                  <a:lnTo>
                    <a:pt x="9857" y="1978"/>
                  </a:lnTo>
                  <a:lnTo>
                    <a:pt x="9914" y="1987"/>
                  </a:lnTo>
                  <a:lnTo>
                    <a:pt x="9970" y="1994"/>
                  </a:lnTo>
                  <a:lnTo>
                    <a:pt x="10027" y="2001"/>
                  </a:lnTo>
                  <a:lnTo>
                    <a:pt x="10084" y="2008"/>
                  </a:lnTo>
                  <a:lnTo>
                    <a:pt x="10142" y="2014"/>
                  </a:lnTo>
                  <a:lnTo>
                    <a:pt x="10200" y="2019"/>
                  </a:lnTo>
                  <a:lnTo>
                    <a:pt x="10258" y="2023"/>
                  </a:lnTo>
                  <a:lnTo>
                    <a:pt x="10317" y="2026"/>
                  </a:lnTo>
                  <a:lnTo>
                    <a:pt x="10375" y="2030"/>
                  </a:lnTo>
                  <a:lnTo>
                    <a:pt x="10434" y="2032"/>
                  </a:lnTo>
                  <a:lnTo>
                    <a:pt x="10494" y="2034"/>
                  </a:lnTo>
                  <a:lnTo>
                    <a:pt x="10553" y="2034"/>
                  </a:lnTo>
                  <a:lnTo>
                    <a:pt x="10612" y="2034"/>
                  </a:lnTo>
                  <a:lnTo>
                    <a:pt x="10673" y="2033"/>
                  </a:lnTo>
                  <a:lnTo>
                    <a:pt x="10733" y="2031"/>
                  </a:lnTo>
                  <a:lnTo>
                    <a:pt x="10795" y="2028"/>
                  </a:lnTo>
                  <a:lnTo>
                    <a:pt x="10856" y="2024"/>
                  </a:lnTo>
                  <a:lnTo>
                    <a:pt x="10917" y="2019"/>
                  </a:lnTo>
                  <a:lnTo>
                    <a:pt x="10979" y="2014"/>
                  </a:lnTo>
                  <a:lnTo>
                    <a:pt x="11041" y="2008"/>
                  </a:lnTo>
                  <a:lnTo>
                    <a:pt x="11103" y="2001"/>
                  </a:lnTo>
                  <a:lnTo>
                    <a:pt x="11167" y="1993"/>
                  </a:lnTo>
                  <a:lnTo>
                    <a:pt x="11229" y="1984"/>
                  </a:lnTo>
                  <a:lnTo>
                    <a:pt x="11293" y="1975"/>
                  </a:lnTo>
                  <a:lnTo>
                    <a:pt x="11357" y="1964"/>
                  </a:lnTo>
                  <a:lnTo>
                    <a:pt x="11421" y="1952"/>
                  </a:lnTo>
                  <a:lnTo>
                    <a:pt x="11485" y="1940"/>
                  </a:lnTo>
                  <a:lnTo>
                    <a:pt x="11551" y="1926"/>
                  </a:lnTo>
                  <a:lnTo>
                    <a:pt x="11616" y="1912"/>
                  </a:lnTo>
                  <a:lnTo>
                    <a:pt x="11682" y="1897"/>
                  </a:lnTo>
                  <a:lnTo>
                    <a:pt x="11748" y="1880"/>
                  </a:lnTo>
                  <a:lnTo>
                    <a:pt x="11814" y="1863"/>
                  </a:lnTo>
                  <a:lnTo>
                    <a:pt x="11882" y="1843"/>
                  </a:lnTo>
                  <a:lnTo>
                    <a:pt x="11948" y="1824"/>
                  </a:lnTo>
                  <a:lnTo>
                    <a:pt x="12016" y="1803"/>
                  </a:lnTo>
                  <a:lnTo>
                    <a:pt x="12085" y="1782"/>
                  </a:lnTo>
                  <a:lnTo>
                    <a:pt x="12153" y="1759"/>
                  </a:lnTo>
                  <a:lnTo>
                    <a:pt x="12222" y="1736"/>
                  </a:lnTo>
                  <a:lnTo>
                    <a:pt x="12291" y="1711"/>
                  </a:lnTo>
                  <a:lnTo>
                    <a:pt x="12361" y="1685"/>
                  </a:lnTo>
                  <a:lnTo>
                    <a:pt x="12431" y="1657"/>
                  </a:lnTo>
                  <a:lnTo>
                    <a:pt x="12502" y="1629"/>
                  </a:lnTo>
                  <a:lnTo>
                    <a:pt x="12573" y="1600"/>
                  </a:lnTo>
                  <a:lnTo>
                    <a:pt x="12645" y="1569"/>
                  </a:lnTo>
                  <a:lnTo>
                    <a:pt x="12716" y="1538"/>
                  </a:lnTo>
                  <a:lnTo>
                    <a:pt x="12789" y="1505"/>
                  </a:lnTo>
                  <a:lnTo>
                    <a:pt x="12862" y="1471"/>
                  </a:lnTo>
                  <a:lnTo>
                    <a:pt x="12936" y="1436"/>
                  </a:lnTo>
                  <a:lnTo>
                    <a:pt x="13009" y="1399"/>
                  </a:lnTo>
                  <a:lnTo>
                    <a:pt x="13084" y="1362"/>
                  </a:lnTo>
                  <a:lnTo>
                    <a:pt x="13158" y="1323"/>
                  </a:lnTo>
                  <a:lnTo>
                    <a:pt x="13233" y="1283"/>
                  </a:lnTo>
                  <a:lnTo>
                    <a:pt x="13309" y="1242"/>
                  </a:lnTo>
                  <a:lnTo>
                    <a:pt x="13385" y="1199"/>
                  </a:lnTo>
                  <a:lnTo>
                    <a:pt x="13462" y="1156"/>
                  </a:lnTo>
                  <a:lnTo>
                    <a:pt x="13539" y="1110"/>
                  </a:lnTo>
                  <a:lnTo>
                    <a:pt x="13617" y="1064"/>
                  </a:lnTo>
                  <a:lnTo>
                    <a:pt x="13695" y="1016"/>
                  </a:lnTo>
                  <a:lnTo>
                    <a:pt x="13774" y="968"/>
                  </a:lnTo>
                  <a:lnTo>
                    <a:pt x="13853" y="917"/>
                  </a:lnTo>
                  <a:lnTo>
                    <a:pt x="13933" y="865"/>
                  </a:lnTo>
                  <a:lnTo>
                    <a:pt x="14013" y="813"/>
                  </a:lnTo>
                  <a:lnTo>
                    <a:pt x="14002" y="821"/>
                  </a:lnTo>
                  <a:lnTo>
                    <a:pt x="13991" y="830"/>
                  </a:lnTo>
                  <a:lnTo>
                    <a:pt x="13980" y="841"/>
                  </a:lnTo>
                  <a:lnTo>
                    <a:pt x="13969" y="852"/>
                  </a:lnTo>
                  <a:lnTo>
                    <a:pt x="13959" y="865"/>
                  </a:lnTo>
                  <a:lnTo>
                    <a:pt x="13947" y="878"/>
                  </a:lnTo>
                  <a:lnTo>
                    <a:pt x="13925" y="908"/>
                  </a:lnTo>
                  <a:lnTo>
                    <a:pt x="13904" y="941"/>
                  </a:lnTo>
                  <a:lnTo>
                    <a:pt x="13883" y="977"/>
                  </a:lnTo>
                  <a:lnTo>
                    <a:pt x="13863" y="1014"/>
                  </a:lnTo>
                  <a:lnTo>
                    <a:pt x="13843" y="1052"/>
                  </a:lnTo>
                  <a:lnTo>
                    <a:pt x="13804" y="1129"/>
                  </a:lnTo>
                  <a:lnTo>
                    <a:pt x="13766" y="1202"/>
                  </a:lnTo>
                  <a:lnTo>
                    <a:pt x="13749" y="1236"/>
                  </a:lnTo>
                  <a:lnTo>
                    <a:pt x="13732" y="1268"/>
                  </a:lnTo>
                  <a:lnTo>
                    <a:pt x="13716" y="1296"/>
                  </a:lnTo>
                  <a:lnTo>
                    <a:pt x="13701" y="1321"/>
                  </a:lnTo>
                  <a:lnTo>
                    <a:pt x="13643" y="1406"/>
                  </a:lnTo>
                  <a:lnTo>
                    <a:pt x="13582" y="1492"/>
                  </a:lnTo>
                  <a:lnTo>
                    <a:pt x="13522" y="1575"/>
                  </a:lnTo>
                  <a:lnTo>
                    <a:pt x="13461" y="1658"/>
                  </a:lnTo>
                  <a:lnTo>
                    <a:pt x="13398" y="1742"/>
                  </a:lnTo>
                  <a:lnTo>
                    <a:pt x="13335" y="1823"/>
                  </a:lnTo>
                  <a:lnTo>
                    <a:pt x="13271" y="1905"/>
                  </a:lnTo>
                  <a:lnTo>
                    <a:pt x="13205" y="1985"/>
                  </a:lnTo>
                  <a:lnTo>
                    <a:pt x="13139" y="2066"/>
                  </a:lnTo>
                  <a:lnTo>
                    <a:pt x="13071" y="2145"/>
                  </a:lnTo>
                  <a:lnTo>
                    <a:pt x="13004" y="2224"/>
                  </a:lnTo>
                  <a:lnTo>
                    <a:pt x="12936" y="2302"/>
                  </a:lnTo>
                  <a:lnTo>
                    <a:pt x="12866" y="2378"/>
                  </a:lnTo>
                  <a:lnTo>
                    <a:pt x="12797" y="2455"/>
                  </a:lnTo>
                  <a:lnTo>
                    <a:pt x="12726" y="2531"/>
                  </a:lnTo>
                  <a:lnTo>
                    <a:pt x="12654" y="2607"/>
                  </a:lnTo>
                  <a:lnTo>
                    <a:pt x="12562" y="2702"/>
                  </a:lnTo>
                  <a:lnTo>
                    <a:pt x="12467" y="2797"/>
                  </a:lnTo>
                  <a:lnTo>
                    <a:pt x="12370" y="2890"/>
                  </a:lnTo>
                  <a:lnTo>
                    <a:pt x="12274" y="2984"/>
                  </a:lnTo>
                  <a:lnTo>
                    <a:pt x="12175" y="3075"/>
                  </a:lnTo>
                  <a:lnTo>
                    <a:pt x="12075" y="3166"/>
                  </a:lnTo>
                  <a:lnTo>
                    <a:pt x="11974" y="3255"/>
                  </a:lnTo>
                  <a:lnTo>
                    <a:pt x="11872" y="3344"/>
                  </a:lnTo>
                  <a:lnTo>
                    <a:pt x="11768" y="3430"/>
                  </a:lnTo>
                  <a:lnTo>
                    <a:pt x="11662" y="3517"/>
                  </a:lnTo>
                  <a:lnTo>
                    <a:pt x="11557" y="3602"/>
                  </a:lnTo>
                  <a:lnTo>
                    <a:pt x="11449" y="3686"/>
                  </a:lnTo>
                  <a:lnTo>
                    <a:pt x="11341" y="3768"/>
                  </a:lnTo>
                  <a:lnTo>
                    <a:pt x="11231" y="3850"/>
                  </a:lnTo>
                  <a:lnTo>
                    <a:pt x="11120" y="3929"/>
                  </a:lnTo>
                  <a:lnTo>
                    <a:pt x="11009" y="4009"/>
                  </a:lnTo>
                  <a:lnTo>
                    <a:pt x="10896" y="4086"/>
                  </a:lnTo>
                  <a:lnTo>
                    <a:pt x="10781" y="4161"/>
                  </a:lnTo>
                  <a:lnTo>
                    <a:pt x="10667" y="4237"/>
                  </a:lnTo>
                  <a:lnTo>
                    <a:pt x="10551" y="4310"/>
                  </a:lnTo>
                  <a:lnTo>
                    <a:pt x="10433" y="4382"/>
                  </a:lnTo>
                  <a:lnTo>
                    <a:pt x="10316" y="4452"/>
                  </a:lnTo>
                  <a:lnTo>
                    <a:pt x="10197" y="4521"/>
                  </a:lnTo>
                  <a:lnTo>
                    <a:pt x="10077" y="4590"/>
                  </a:lnTo>
                  <a:lnTo>
                    <a:pt x="9958" y="4656"/>
                  </a:lnTo>
                  <a:lnTo>
                    <a:pt x="9836" y="4720"/>
                  </a:lnTo>
                  <a:lnTo>
                    <a:pt x="9714" y="4784"/>
                  </a:lnTo>
                  <a:lnTo>
                    <a:pt x="9591" y="4845"/>
                  </a:lnTo>
                  <a:lnTo>
                    <a:pt x="9467" y="4905"/>
                  </a:lnTo>
                  <a:lnTo>
                    <a:pt x="9343" y="4965"/>
                  </a:lnTo>
                  <a:lnTo>
                    <a:pt x="9218" y="5022"/>
                  </a:lnTo>
                  <a:lnTo>
                    <a:pt x="9092" y="5077"/>
                  </a:lnTo>
                  <a:lnTo>
                    <a:pt x="8965" y="5131"/>
                  </a:lnTo>
                  <a:lnTo>
                    <a:pt x="8838" y="5183"/>
                  </a:lnTo>
                  <a:lnTo>
                    <a:pt x="8711" y="5234"/>
                  </a:lnTo>
                  <a:lnTo>
                    <a:pt x="8582" y="5283"/>
                  </a:lnTo>
                  <a:lnTo>
                    <a:pt x="8453" y="5330"/>
                  </a:lnTo>
                  <a:lnTo>
                    <a:pt x="8323" y="5375"/>
                  </a:lnTo>
                  <a:lnTo>
                    <a:pt x="8194" y="5419"/>
                  </a:lnTo>
                  <a:lnTo>
                    <a:pt x="8063" y="5461"/>
                  </a:lnTo>
                  <a:lnTo>
                    <a:pt x="7932" y="5501"/>
                  </a:lnTo>
                  <a:lnTo>
                    <a:pt x="7801" y="5539"/>
                  </a:lnTo>
                  <a:lnTo>
                    <a:pt x="7669" y="5576"/>
                  </a:lnTo>
                  <a:lnTo>
                    <a:pt x="7536" y="5610"/>
                  </a:lnTo>
                  <a:lnTo>
                    <a:pt x="7403" y="5644"/>
                  </a:lnTo>
                  <a:lnTo>
                    <a:pt x="7270" y="5674"/>
                  </a:lnTo>
                  <a:lnTo>
                    <a:pt x="7137" y="5703"/>
                  </a:lnTo>
                  <a:lnTo>
                    <a:pt x="7004" y="5730"/>
                  </a:lnTo>
                  <a:lnTo>
                    <a:pt x="6869" y="5755"/>
                  </a:lnTo>
                  <a:lnTo>
                    <a:pt x="6735" y="5778"/>
                  </a:lnTo>
                  <a:lnTo>
                    <a:pt x="6601" y="5799"/>
                  </a:lnTo>
                  <a:lnTo>
                    <a:pt x="6466" y="5819"/>
                  </a:lnTo>
                  <a:lnTo>
                    <a:pt x="6331" y="5836"/>
                  </a:lnTo>
                  <a:lnTo>
                    <a:pt x="6196" y="5851"/>
                  </a:lnTo>
                  <a:lnTo>
                    <a:pt x="6062" y="5864"/>
                  </a:lnTo>
                  <a:lnTo>
                    <a:pt x="5926" y="5875"/>
                  </a:lnTo>
                  <a:lnTo>
                    <a:pt x="5791" y="5884"/>
                  </a:lnTo>
                  <a:lnTo>
                    <a:pt x="5655" y="5890"/>
                  </a:lnTo>
                  <a:lnTo>
                    <a:pt x="5520" y="5895"/>
                  </a:lnTo>
                  <a:lnTo>
                    <a:pt x="5385" y="5897"/>
                  </a:lnTo>
                  <a:lnTo>
                    <a:pt x="5249" y="5897"/>
                  </a:lnTo>
                  <a:lnTo>
                    <a:pt x="5113" y="5895"/>
                  </a:lnTo>
                  <a:lnTo>
                    <a:pt x="4978" y="5891"/>
                  </a:lnTo>
                  <a:lnTo>
                    <a:pt x="4843" y="5884"/>
                  </a:lnTo>
                  <a:lnTo>
                    <a:pt x="4775" y="5880"/>
                  </a:lnTo>
                  <a:lnTo>
                    <a:pt x="4707" y="5875"/>
                  </a:lnTo>
                  <a:lnTo>
                    <a:pt x="4640" y="5869"/>
                  </a:lnTo>
                  <a:lnTo>
                    <a:pt x="4572" y="5863"/>
                  </a:lnTo>
                  <a:lnTo>
                    <a:pt x="4505" y="5856"/>
                  </a:lnTo>
                  <a:lnTo>
                    <a:pt x="4437" y="5848"/>
                  </a:lnTo>
                  <a:lnTo>
                    <a:pt x="4371" y="5840"/>
                  </a:lnTo>
                  <a:lnTo>
                    <a:pt x="4304" y="5830"/>
                  </a:lnTo>
                  <a:lnTo>
                    <a:pt x="4237" y="5820"/>
                  </a:lnTo>
                  <a:lnTo>
                    <a:pt x="4171" y="5810"/>
                  </a:lnTo>
                  <a:lnTo>
                    <a:pt x="4105" y="5797"/>
                  </a:lnTo>
                  <a:lnTo>
                    <a:pt x="4038" y="5785"/>
                  </a:lnTo>
                  <a:lnTo>
                    <a:pt x="3972" y="5772"/>
                  </a:lnTo>
                  <a:lnTo>
                    <a:pt x="3906" y="5759"/>
                  </a:lnTo>
                  <a:lnTo>
                    <a:pt x="3840" y="5744"/>
                  </a:lnTo>
                  <a:lnTo>
                    <a:pt x="3775" y="5729"/>
                  </a:lnTo>
                  <a:lnTo>
                    <a:pt x="3710" y="5714"/>
                  </a:lnTo>
                  <a:lnTo>
                    <a:pt x="3645" y="5697"/>
                  </a:lnTo>
                  <a:lnTo>
                    <a:pt x="3581" y="5680"/>
                  </a:lnTo>
                  <a:lnTo>
                    <a:pt x="3516" y="5662"/>
                  </a:lnTo>
                  <a:lnTo>
                    <a:pt x="3452" y="5643"/>
                  </a:lnTo>
                  <a:lnTo>
                    <a:pt x="3388" y="5622"/>
                  </a:lnTo>
                  <a:lnTo>
                    <a:pt x="3324" y="5602"/>
                  </a:lnTo>
                  <a:lnTo>
                    <a:pt x="3262" y="5581"/>
                  </a:lnTo>
                  <a:lnTo>
                    <a:pt x="3198" y="5559"/>
                  </a:lnTo>
                  <a:lnTo>
                    <a:pt x="3136" y="5537"/>
                  </a:lnTo>
                  <a:lnTo>
                    <a:pt x="3074" y="5513"/>
                  </a:lnTo>
                  <a:lnTo>
                    <a:pt x="3011" y="5489"/>
                  </a:lnTo>
                  <a:lnTo>
                    <a:pt x="2950" y="5465"/>
                  </a:lnTo>
                  <a:lnTo>
                    <a:pt x="2889" y="5438"/>
                  </a:lnTo>
                  <a:lnTo>
                    <a:pt x="2827" y="5412"/>
                  </a:lnTo>
                  <a:lnTo>
                    <a:pt x="2767" y="5384"/>
                  </a:lnTo>
                  <a:lnTo>
                    <a:pt x="2707" y="5356"/>
                  </a:lnTo>
                  <a:lnTo>
                    <a:pt x="2647" y="5328"/>
                  </a:lnTo>
                  <a:lnTo>
                    <a:pt x="2588" y="5298"/>
                  </a:lnTo>
                  <a:lnTo>
                    <a:pt x="2529" y="5268"/>
                  </a:lnTo>
                  <a:lnTo>
                    <a:pt x="2470" y="5236"/>
                  </a:lnTo>
                  <a:lnTo>
                    <a:pt x="2413" y="5204"/>
                  </a:lnTo>
                  <a:lnTo>
                    <a:pt x="2355" y="5172"/>
                  </a:lnTo>
                  <a:lnTo>
                    <a:pt x="2297" y="5138"/>
                  </a:lnTo>
                  <a:lnTo>
                    <a:pt x="2241" y="5104"/>
                  </a:lnTo>
                  <a:lnTo>
                    <a:pt x="2185" y="5068"/>
                  </a:lnTo>
                  <a:lnTo>
                    <a:pt x="2128" y="5032"/>
                  </a:lnTo>
                  <a:lnTo>
                    <a:pt x="2073" y="4996"/>
                  </a:lnTo>
                  <a:lnTo>
                    <a:pt x="2019" y="4958"/>
                  </a:lnTo>
                  <a:lnTo>
                    <a:pt x="1964" y="4920"/>
                  </a:lnTo>
                  <a:lnTo>
                    <a:pt x="1910" y="4880"/>
                  </a:lnTo>
                  <a:lnTo>
                    <a:pt x="1857" y="4840"/>
                  </a:lnTo>
                  <a:lnTo>
                    <a:pt x="1804" y="4800"/>
                  </a:lnTo>
                  <a:lnTo>
                    <a:pt x="1752" y="4758"/>
                  </a:lnTo>
                  <a:lnTo>
                    <a:pt x="1700" y="4715"/>
                  </a:lnTo>
                  <a:lnTo>
                    <a:pt x="1650" y="4672"/>
                  </a:lnTo>
                  <a:lnTo>
                    <a:pt x="1598" y="4628"/>
                  </a:lnTo>
                  <a:lnTo>
                    <a:pt x="1549" y="4584"/>
                  </a:lnTo>
                  <a:lnTo>
                    <a:pt x="1499" y="4537"/>
                  </a:lnTo>
                  <a:lnTo>
                    <a:pt x="1450" y="4491"/>
                  </a:lnTo>
                  <a:lnTo>
                    <a:pt x="1402" y="4444"/>
                  </a:lnTo>
                  <a:lnTo>
                    <a:pt x="1355" y="4396"/>
                  </a:lnTo>
                  <a:lnTo>
                    <a:pt x="1308" y="4346"/>
                  </a:lnTo>
                  <a:lnTo>
                    <a:pt x="1261" y="4296"/>
                  </a:lnTo>
                  <a:lnTo>
                    <a:pt x="1215" y="4246"/>
                  </a:lnTo>
                  <a:lnTo>
                    <a:pt x="1171" y="4195"/>
                  </a:lnTo>
                  <a:lnTo>
                    <a:pt x="1126" y="4142"/>
                  </a:lnTo>
                  <a:lnTo>
                    <a:pt x="1082" y="4089"/>
                  </a:lnTo>
                  <a:lnTo>
                    <a:pt x="1051" y="4049"/>
                  </a:lnTo>
                  <a:lnTo>
                    <a:pt x="1020" y="4010"/>
                  </a:lnTo>
                  <a:lnTo>
                    <a:pt x="990" y="3969"/>
                  </a:lnTo>
                  <a:lnTo>
                    <a:pt x="960" y="3929"/>
                  </a:lnTo>
                  <a:lnTo>
                    <a:pt x="930" y="3888"/>
                  </a:lnTo>
                  <a:lnTo>
                    <a:pt x="902" y="3848"/>
                  </a:lnTo>
                  <a:lnTo>
                    <a:pt x="874" y="3806"/>
                  </a:lnTo>
                  <a:lnTo>
                    <a:pt x="846" y="3764"/>
                  </a:lnTo>
                  <a:lnTo>
                    <a:pt x="793" y="3681"/>
                  </a:lnTo>
                  <a:lnTo>
                    <a:pt x="741" y="3596"/>
                  </a:lnTo>
                  <a:lnTo>
                    <a:pt x="692" y="3510"/>
                  </a:lnTo>
                  <a:lnTo>
                    <a:pt x="645" y="3423"/>
                  </a:lnTo>
                  <a:lnTo>
                    <a:pt x="600" y="3336"/>
                  </a:lnTo>
                  <a:lnTo>
                    <a:pt x="556" y="3247"/>
                  </a:lnTo>
                  <a:lnTo>
                    <a:pt x="515" y="3158"/>
                  </a:lnTo>
                  <a:lnTo>
                    <a:pt x="475" y="3067"/>
                  </a:lnTo>
                  <a:lnTo>
                    <a:pt x="438" y="2976"/>
                  </a:lnTo>
                  <a:lnTo>
                    <a:pt x="401" y="2884"/>
                  </a:lnTo>
                  <a:lnTo>
                    <a:pt x="367" y="2792"/>
                  </a:lnTo>
                  <a:lnTo>
                    <a:pt x="334" y="2699"/>
                  </a:lnTo>
                  <a:lnTo>
                    <a:pt x="304" y="2605"/>
                  </a:lnTo>
                  <a:lnTo>
                    <a:pt x="274" y="2510"/>
                  </a:lnTo>
                  <a:lnTo>
                    <a:pt x="247" y="2416"/>
                  </a:lnTo>
                  <a:lnTo>
                    <a:pt x="219" y="2320"/>
                  </a:lnTo>
                  <a:lnTo>
                    <a:pt x="194" y="2225"/>
                  </a:lnTo>
                  <a:lnTo>
                    <a:pt x="171" y="2128"/>
                  </a:lnTo>
                  <a:lnTo>
                    <a:pt x="149" y="2032"/>
                  </a:lnTo>
                  <a:lnTo>
                    <a:pt x="128" y="1934"/>
                  </a:lnTo>
                  <a:lnTo>
                    <a:pt x="108" y="1836"/>
                  </a:lnTo>
                  <a:lnTo>
                    <a:pt x="90" y="1739"/>
                  </a:lnTo>
                  <a:lnTo>
                    <a:pt x="72" y="1640"/>
                  </a:lnTo>
                  <a:lnTo>
                    <a:pt x="55" y="1542"/>
                  </a:lnTo>
                  <a:lnTo>
                    <a:pt x="40" y="1443"/>
                  </a:lnTo>
                  <a:lnTo>
                    <a:pt x="26" y="1345"/>
                  </a:lnTo>
                  <a:lnTo>
                    <a:pt x="13" y="1246"/>
                  </a:lnTo>
                  <a:lnTo>
                    <a:pt x="0" y="1148"/>
                  </a:lnTo>
                  <a:close/>
                </a:path>
              </a:pathLst>
            </a:custGeom>
            <a:solidFill>
              <a:srgbClr val="0D93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1284" name="Freeform 7">
              <a:extLst>
                <a:ext uri="{FF2B5EF4-FFF2-40B4-BE49-F238E27FC236}">
                  <a16:creationId xmlns:a16="http://schemas.microsoft.com/office/drawing/2014/main" id="{E548D3FC-5B22-3E98-6549-5145D7F12137}"/>
                </a:ext>
              </a:extLst>
            </p:cNvPr>
            <p:cNvSpPr>
              <a:spLocks/>
            </p:cNvSpPr>
            <p:nvPr/>
          </p:nvSpPr>
          <p:spPr bwMode="auto">
            <a:xfrm>
              <a:off x="2777269" y="3637755"/>
              <a:ext cx="1418416" cy="2205102"/>
            </a:xfrm>
            <a:custGeom>
              <a:avLst/>
              <a:gdLst>
                <a:gd name="T0" fmla="*/ 2147483646 w 8330"/>
                <a:gd name="T1" fmla="*/ 2147483646 h 12948"/>
                <a:gd name="T2" fmla="*/ 2147483646 w 8330"/>
                <a:gd name="T3" fmla="*/ 2147483646 h 12948"/>
                <a:gd name="T4" fmla="*/ 2147483646 w 8330"/>
                <a:gd name="T5" fmla="*/ 2147483646 h 12948"/>
                <a:gd name="T6" fmla="*/ 2147483646 w 8330"/>
                <a:gd name="T7" fmla="*/ 2147483646 h 12948"/>
                <a:gd name="T8" fmla="*/ 2147483646 w 8330"/>
                <a:gd name="T9" fmla="*/ 2147483646 h 12948"/>
                <a:gd name="T10" fmla="*/ 2147483646 w 8330"/>
                <a:gd name="T11" fmla="*/ 2147483646 h 12948"/>
                <a:gd name="T12" fmla="*/ 2147483646 w 8330"/>
                <a:gd name="T13" fmla="*/ 2147483646 h 12948"/>
                <a:gd name="T14" fmla="*/ 2147483646 w 8330"/>
                <a:gd name="T15" fmla="*/ 2147483646 h 12948"/>
                <a:gd name="T16" fmla="*/ 2147483646 w 8330"/>
                <a:gd name="T17" fmla="*/ 2147483646 h 12948"/>
                <a:gd name="T18" fmla="*/ 2147483646 w 8330"/>
                <a:gd name="T19" fmla="*/ 2147483646 h 12948"/>
                <a:gd name="T20" fmla="*/ 2147483646 w 8330"/>
                <a:gd name="T21" fmla="*/ 2147483646 h 12948"/>
                <a:gd name="T22" fmla="*/ 2147483646 w 8330"/>
                <a:gd name="T23" fmla="*/ 2147483646 h 12948"/>
                <a:gd name="T24" fmla="*/ 2147483646 w 8330"/>
                <a:gd name="T25" fmla="*/ 2147483646 h 12948"/>
                <a:gd name="T26" fmla="*/ 2147483646 w 8330"/>
                <a:gd name="T27" fmla="*/ 2147483646 h 12948"/>
                <a:gd name="T28" fmla="*/ 2147483646 w 8330"/>
                <a:gd name="T29" fmla="*/ 2147483646 h 12948"/>
                <a:gd name="T30" fmla="*/ 2147483646 w 8330"/>
                <a:gd name="T31" fmla="*/ 2147483646 h 12948"/>
                <a:gd name="T32" fmla="*/ 2147483646 w 8330"/>
                <a:gd name="T33" fmla="*/ 2147483646 h 12948"/>
                <a:gd name="T34" fmla="*/ 2147483646 w 8330"/>
                <a:gd name="T35" fmla="*/ 2147483646 h 12948"/>
                <a:gd name="T36" fmla="*/ 2147483646 w 8330"/>
                <a:gd name="T37" fmla="*/ 2147483646 h 12948"/>
                <a:gd name="T38" fmla="*/ 2147483646 w 8330"/>
                <a:gd name="T39" fmla="*/ 2147483646 h 12948"/>
                <a:gd name="T40" fmla="*/ 2147483646 w 8330"/>
                <a:gd name="T41" fmla="*/ 2147483646 h 12948"/>
                <a:gd name="T42" fmla="*/ 2147483646 w 8330"/>
                <a:gd name="T43" fmla="*/ 2147483646 h 12948"/>
                <a:gd name="T44" fmla="*/ 2147483646 w 8330"/>
                <a:gd name="T45" fmla="*/ 2147483646 h 12948"/>
                <a:gd name="T46" fmla="*/ 2147483646 w 8330"/>
                <a:gd name="T47" fmla="*/ 2147483646 h 12948"/>
                <a:gd name="T48" fmla="*/ 2147483646 w 8330"/>
                <a:gd name="T49" fmla="*/ 2147483646 h 12948"/>
                <a:gd name="T50" fmla="*/ 2147483646 w 8330"/>
                <a:gd name="T51" fmla="*/ 2147483646 h 12948"/>
                <a:gd name="T52" fmla="*/ 2147483646 w 8330"/>
                <a:gd name="T53" fmla="*/ 2147483646 h 12948"/>
                <a:gd name="T54" fmla="*/ 2147483646 w 8330"/>
                <a:gd name="T55" fmla="*/ 2147483646 h 12948"/>
                <a:gd name="T56" fmla="*/ 2147483646 w 8330"/>
                <a:gd name="T57" fmla="*/ 2147483646 h 12948"/>
                <a:gd name="T58" fmla="*/ 2147483646 w 8330"/>
                <a:gd name="T59" fmla="*/ 2147483646 h 12948"/>
                <a:gd name="T60" fmla="*/ 2147483646 w 8330"/>
                <a:gd name="T61" fmla="*/ 2147483646 h 12948"/>
                <a:gd name="T62" fmla="*/ 2147483646 w 8330"/>
                <a:gd name="T63" fmla="*/ 2147483646 h 12948"/>
                <a:gd name="T64" fmla="*/ 2147483646 w 8330"/>
                <a:gd name="T65" fmla="*/ 2147483646 h 12948"/>
                <a:gd name="T66" fmla="*/ 2147483646 w 8330"/>
                <a:gd name="T67" fmla="*/ 2147483646 h 12948"/>
                <a:gd name="T68" fmla="*/ 2147483646 w 8330"/>
                <a:gd name="T69" fmla="*/ 2147483646 h 12948"/>
                <a:gd name="T70" fmla="*/ 2147483646 w 8330"/>
                <a:gd name="T71" fmla="*/ 2147483646 h 12948"/>
                <a:gd name="T72" fmla="*/ 2147483646 w 8330"/>
                <a:gd name="T73" fmla="*/ 2147483646 h 12948"/>
                <a:gd name="T74" fmla="*/ 2147483646 w 8330"/>
                <a:gd name="T75" fmla="*/ 2147483646 h 12948"/>
                <a:gd name="T76" fmla="*/ 2147483646 w 8330"/>
                <a:gd name="T77" fmla="*/ 2147483646 h 12948"/>
                <a:gd name="T78" fmla="*/ 2147483646 w 8330"/>
                <a:gd name="T79" fmla="*/ 2147483646 h 12948"/>
                <a:gd name="T80" fmla="*/ 2147483646 w 8330"/>
                <a:gd name="T81" fmla="*/ 2147483646 h 12948"/>
                <a:gd name="T82" fmla="*/ 2147483646 w 8330"/>
                <a:gd name="T83" fmla="*/ 2147483646 h 12948"/>
                <a:gd name="T84" fmla="*/ 2147483646 w 8330"/>
                <a:gd name="T85" fmla="*/ 2147483646 h 12948"/>
                <a:gd name="T86" fmla="*/ 2147483646 w 8330"/>
                <a:gd name="T87" fmla="*/ 2147483646 h 12948"/>
                <a:gd name="T88" fmla="*/ 2147483646 w 8330"/>
                <a:gd name="T89" fmla="*/ 2147483646 h 12948"/>
                <a:gd name="T90" fmla="*/ 2147483646 w 8330"/>
                <a:gd name="T91" fmla="*/ 2147483646 h 12948"/>
                <a:gd name="T92" fmla="*/ 2147483646 w 8330"/>
                <a:gd name="T93" fmla="*/ 2147483646 h 12948"/>
                <a:gd name="T94" fmla="*/ 2147483646 w 8330"/>
                <a:gd name="T95" fmla="*/ 2147483646 h 12948"/>
                <a:gd name="T96" fmla="*/ 2147483646 w 8330"/>
                <a:gd name="T97" fmla="*/ 2147483646 h 12948"/>
                <a:gd name="T98" fmla="*/ 0 w 8330"/>
                <a:gd name="T99" fmla="*/ 2147483646 h 12948"/>
                <a:gd name="T100" fmla="*/ 2147483646 w 8330"/>
                <a:gd name="T101" fmla="*/ 2147483646 h 12948"/>
                <a:gd name="T102" fmla="*/ 2147483646 w 8330"/>
                <a:gd name="T103" fmla="*/ 2147483646 h 12948"/>
                <a:gd name="T104" fmla="*/ 2147483646 w 8330"/>
                <a:gd name="T105" fmla="*/ 2147483646 h 12948"/>
                <a:gd name="T106" fmla="*/ 2147483646 w 8330"/>
                <a:gd name="T107" fmla="*/ 2147483646 h 12948"/>
                <a:gd name="T108" fmla="*/ 2147483646 w 8330"/>
                <a:gd name="T109" fmla="*/ 2147483646 h 12948"/>
                <a:gd name="T110" fmla="*/ 2147483646 w 8330"/>
                <a:gd name="T111" fmla="*/ 2147483646 h 12948"/>
                <a:gd name="T112" fmla="*/ 2147483646 w 8330"/>
                <a:gd name="T113" fmla="*/ 2147483646 h 12948"/>
                <a:gd name="T114" fmla="*/ 2147483646 w 8330"/>
                <a:gd name="T115" fmla="*/ 2147483646 h 12948"/>
                <a:gd name="T116" fmla="*/ 2147483646 w 8330"/>
                <a:gd name="T117" fmla="*/ 2147483646 h 12948"/>
                <a:gd name="T118" fmla="*/ 2147483646 w 8330"/>
                <a:gd name="T119" fmla="*/ 2147483646 h 129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330" h="12948">
                  <a:moveTo>
                    <a:pt x="2964" y="0"/>
                  </a:moveTo>
                  <a:lnTo>
                    <a:pt x="2964" y="0"/>
                  </a:lnTo>
                  <a:lnTo>
                    <a:pt x="2956" y="5"/>
                  </a:lnTo>
                  <a:lnTo>
                    <a:pt x="2948" y="10"/>
                  </a:lnTo>
                  <a:lnTo>
                    <a:pt x="2940" y="16"/>
                  </a:lnTo>
                  <a:lnTo>
                    <a:pt x="2933" y="22"/>
                  </a:lnTo>
                  <a:lnTo>
                    <a:pt x="2920" y="36"/>
                  </a:lnTo>
                  <a:lnTo>
                    <a:pt x="2908" y="52"/>
                  </a:lnTo>
                  <a:lnTo>
                    <a:pt x="2897" y="70"/>
                  </a:lnTo>
                  <a:lnTo>
                    <a:pt x="2887" y="89"/>
                  </a:lnTo>
                  <a:lnTo>
                    <a:pt x="2879" y="110"/>
                  </a:lnTo>
                  <a:lnTo>
                    <a:pt x="2871" y="132"/>
                  </a:lnTo>
                  <a:lnTo>
                    <a:pt x="2865" y="156"/>
                  </a:lnTo>
                  <a:lnTo>
                    <a:pt x="2859" y="180"/>
                  </a:lnTo>
                  <a:lnTo>
                    <a:pt x="2855" y="205"/>
                  </a:lnTo>
                  <a:lnTo>
                    <a:pt x="2851" y="231"/>
                  </a:lnTo>
                  <a:lnTo>
                    <a:pt x="2848" y="258"/>
                  </a:lnTo>
                  <a:lnTo>
                    <a:pt x="2846" y="285"/>
                  </a:lnTo>
                  <a:lnTo>
                    <a:pt x="2845" y="312"/>
                  </a:lnTo>
                  <a:lnTo>
                    <a:pt x="2844" y="341"/>
                  </a:lnTo>
                  <a:lnTo>
                    <a:pt x="2844" y="369"/>
                  </a:lnTo>
                  <a:lnTo>
                    <a:pt x="2845" y="397"/>
                  </a:lnTo>
                  <a:lnTo>
                    <a:pt x="2848" y="452"/>
                  </a:lnTo>
                  <a:lnTo>
                    <a:pt x="2853" y="506"/>
                  </a:lnTo>
                  <a:lnTo>
                    <a:pt x="2860" y="557"/>
                  </a:lnTo>
                  <a:lnTo>
                    <a:pt x="2868" y="603"/>
                  </a:lnTo>
                  <a:lnTo>
                    <a:pt x="2876" y="645"/>
                  </a:lnTo>
                  <a:lnTo>
                    <a:pt x="2885" y="682"/>
                  </a:lnTo>
                  <a:lnTo>
                    <a:pt x="2895" y="711"/>
                  </a:lnTo>
                  <a:lnTo>
                    <a:pt x="2903" y="734"/>
                  </a:lnTo>
                  <a:lnTo>
                    <a:pt x="2913" y="757"/>
                  </a:lnTo>
                  <a:lnTo>
                    <a:pt x="2922" y="779"/>
                  </a:lnTo>
                  <a:lnTo>
                    <a:pt x="2933" y="801"/>
                  </a:lnTo>
                  <a:lnTo>
                    <a:pt x="2944" y="823"/>
                  </a:lnTo>
                  <a:lnTo>
                    <a:pt x="2955" y="844"/>
                  </a:lnTo>
                  <a:lnTo>
                    <a:pt x="2980" y="887"/>
                  </a:lnTo>
                  <a:lnTo>
                    <a:pt x="3007" y="927"/>
                  </a:lnTo>
                  <a:lnTo>
                    <a:pt x="3035" y="966"/>
                  </a:lnTo>
                  <a:lnTo>
                    <a:pt x="3064" y="1004"/>
                  </a:lnTo>
                  <a:lnTo>
                    <a:pt x="3095" y="1042"/>
                  </a:lnTo>
                  <a:lnTo>
                    <a:pt x="3128" y="1077"/>
                  </a:lnTo>
                  <a:lnTo>
                    <a:pt x="3163" y="1112"/>
                  </a:lnTo>
                  <a:lnTo>
                    <a:pt x="3198" y="1146"/>
                  </a:lnTo>
                  <a:lnTo>
                    <a:pt x="3235" y="1178"/>
                  </a:lnTo>
                  <a:lnTo>
                    <a:pt x="3272" y="1210"/>
                  </a:lnTo>
                  <a:lnTo>
                    <a:pt x="3311" y="1242"/>
                  </a:lnTo>
                  <a:lnTo>
                    <a:pt x="3351" y="1272"/>
                  </a:lnTo>
                  <a:lnTo>
                    <a:pt x="3391" y="1301"/>
                  </a:lnTo>
                  <a:lnTo>
                    <a:pt x="3432" y="1330"/>
                  </a:lnTo>
                  <a:lnTo>
                    <a:pt x="3474" y="1358"/>
                  </a:lnTo>
                  <a:lnTo>
                    <a:pt x="3516" y="1386"/>
                  </a:lnTo>
                  <a:lnTo>
                    <a:pt x="3559" y="1414"/>
                  </a:lnTo>
                  <a:lnTo>
                    <a:pt x="3644" y="1466"/>
                  </a:lnTo>
                  <a:lnTo>
                    <a:pt x="3730" y="1518"/>
                  </a:lnTo>
                  <a:lnTo>
                    <a:pt x="3900" y="1619"/>
                  </a:lnTo>
                  <a:lnTo>
                    <a:pt x="3981" y="1669"/>
                  </a:lnTo>
                  <a:lnTo>
                    <a:pt x="4021" y="1694"/>
                  </a:lnTo>
                  <a:lnTo>
                    <a:pt x="4060" y="1719"/>
                  </a:lnTo>
                  <a:lnTo>
                    <a:pt x="4099" y="1745"/>
                  </a:lnTo>
                  <a:lnTo>
                    <a:pt x="4138" y="1773"/>
                  </a:lnTo>
                  <a:lnTo>
                    <a:pt x="4176" y="1801"/>
                  </a:lnTo>
                  <a:lnTo>
                    <a:pt x="4215" y="1829"/>
                  </a:lnTo>
                  <a:lnTo>
                    <a:pt x="4253" y="1858"/>
                  </a:lnTo>
                  <a:lnTo>
                    <a:pt x="4290" y="1888"/>
                  </a:lnTo>
                  <a:lnTo>
                    <a:pt x="4327" y="1918"/>
                  </a:lnTo>
                  <a:lnTo>
                    <a:pt x="4364" y="1950"/>
                  </a:lnTo>
                  <a:lnTo>
                    <a:pt x="4401" y="1981"/>
                  </a:lnTo>
                  <a:lnTo>
                    <a:pt x="4437" y="2013"/>
                  </a:lnTo>
                  <a:lnTo>
                    <a:pt x="4472" y="2045"/>
                  </a:lnTo>
                  <a:lnTo>
                    <a:pt x="4507" y="2078"/>
                  </a:lnTo>
                  <a:lnTo>
                    <a:pt x="4577" y="2146"/>
                  </a:lnTo>
                  <a:lnTo>
                    <a:pt x="4645" y="2215"/>
                  </a:lnTo>
                  <a:lnTo>
                    <a:pt x="4711" y="2285"/>
                  </a:lnTo>
                  <a:lnTo>
                    <a:pt x="4776" y="2358"/>
                  </a:lnTo>
                  <a:lnTo>
                    <a:pt x="4839" y="2431"/>
                  </a:lnTo>
                  <a:lnTo>
                    <a:pt x="4900" y="2506"/>
                  </a:lnTo>
                  <a:lnTo>
                    <a:pt x="4961" y="2581"/>
                  </a:lnTo>
                  <a:lnTo>
                    <a:pt x="5019" y="2657"/>
                  </a:lnTo>
                  <a:lnTo>
                    <a:pt x="5076" y="2733"/>
                  </a:lnTo>
                  <a:lnTo>
                    <a:pt x="5132" y="2809"/>
                  </a:lnTo>
                  <a:lnTo>
                    <a:pt x="5188" y="2891"/>
                  </a:lnTo>
                  <a:lnTo>
                    <a:pt x="5243" y="2974"/>
                  </a:lnTo>
                  <a:lnTo>
                    <a:pt x="5296" y="3058"/>
                  </a:lnTo>
                  <a:lnTo>
                    <a:pt x="5347" y="3142"/>
                  </a:lnTo>
                  <a:lnTo>
                    <a:pt x="5396" y="3229"/>
                  </a:lnTo>
                  <a:lnTo>
                    <a:pt x="5444" y="3315"/>
                  </a:lnTo>
                  <a:lnTo>
                    <a:pt x="5489" y="3403"/>
                  </a:lnTo>
                  <a:lnTo>
                    <a:pt x="5532" y="3492"/>
                  </a:lnTo>
                  <a:lnTo>
                    <a:pt x="5573" y="3582"/>
                  </a:lnTo>
                  <a:lnTo>
                    <a:pt x="5612" y="3672"/>
                  </a:lnTo>
                  <a:lnTo>
                    <a:pt x="5650" y="3763"/>
                  </a:lnTo>
                  <a:lnTo>
                    <a:pt x="5685" y="3855"/>
                  </a:lnTo>
                  <a:lnTo>
                    <a:pt x="5718" y="3948"/>
                  </a:lnTo>
                  <a:lnTo>
                    <a:pt x="5749" y="4041"/>
                  </a:lnTo>
                  <a:lnTo>
                    <a:pt x="5777" y="4135"/>
                  </a:lnTo>
                  <a:lnTo>
                    <a:pt x="5805" y="4229"/>
                  </a:lnTo>
                  <a:lnTo>
                    <a:pt x="5829" y="4325"/>
                  </a:lnTo>
                  <a:lnTo>
                    <a:pt x="5851" y="4420"/>
                  </a:lnTo>
                  <a:lnTo>
                    <a:pt x="5870" y="4517"/>
                  </a:lnTo>
                  <a:lnTo>
                    <a:pt x="5887" y="4613"/>
                  </a:lnTo>
                  <a:lnTo>
                    <a:pt x="5902" y="4711"/>
                  </a:lnTo>
                  <a:lnTo>
                    <a:pt x="5909" y="4759"/>
                  </a:lnTo>
                  <a:lnTo>
                    <a:pt x="5915" y="4808"/>
                  </a:lnTo>
                  <a:lnTo>
                    <a:pt x="5920" y="4857"/>
                  </a:lnTo>
                  <a:lnTo>
                    <a:pt x="5925" y="4906"/>
                  </a:lnTo>
                  <a:lnTo>
                    <a:pt x="5929" y="4954"/>
                  </a:lnTo>
                  <a:lnTo>
                    <a:pt x="5933" y="5004"/>
                  </a:lnTo>
                  <a:lnTo>
                    <a:pt x="5936" y="5053"/>
                  </a:lnTo>
                  <a:lnTo>
                    <a:pt x="5938" y="5102"/>
                  </a:lnTo>
                  <a:lnTo>
                    <a:pt x="5940" y="5151"/>
                  </a:lnTo>
                  <a:lnTo>
                    <a:pt x="5941" y="5201"/>
                  </a:lnTo>
                  <a:lnTo>
                    <a:pt x="5941" y="5250"/>
                  </a:lnTo>
                  <a:lnTo>
                    <a:pt x="5941" y="5299"/>
                  </a:lnTo>
                  <a:lnTo>
                    <a:pt x="5940" y="5348"/>
                  </a:lnTo>
                  <a:lnTo>
                    <a:pt x="5938" y="5399"/>
                  </a:lnTo>
                  <a:lnTo>
                    <a:pt x="5936" y="5448"/>
                  </a:lnTo>
                  <a:lnTo>
                    <a:pt x="5934" y="5497"/>
                  </a:lnTo>
                  <a:lnTo>
                    <a:pt x="5930" y="5547"/>
                  </a:lnTo>
                  <a:lnTo>
                    <a:pt x="5926" y="5596"/>
                  </a:lnTo>
                  <a:lnTo>
                    <a:pt x="5921" y="5646"/>
                  </a:lnTo>
                  <a:lnTo>
                    <a:pt x="5916" y="5695"/>
                  </a:lnTo>
                  <a:lnTo>
                    <a:pt x="5910" y="5745"/>
                  </a:lnTo>
                  <a:lnTo>
                    <a:pt x="5903" y="5794"/>
                  </a:lnTo>
                  <a:lnTo>
                    <a:pt x="5870" y="6019"/>
                  </a:lnTo>
                  <a:lnTo>
                    <a:pt x="5836" y="6244"/>
                  </a:lnTo>
                  <a:lnTo>
                    <a:pt x="5803" y="6470"/>
                  </a:lnTo>
                  <a:lnTo>
                    <a:pt x="5769" y="6694"/>
                  </a:lnTo>
                  <a:lnTo>
                    <a:pt x="5738" y="6919"/>
                  </a:lnTo>
                  <a:lnTo>
                    <a:pt x="5723" y="7031"/>
                  </a:lnTo>
                  <a:lnTo>
                    <a:pt x="5709" y="7143"/>
                  </a:lnTo>
                  <a:lnTo>
                    <a:pt x="5696" y="7255"/>
                  </a:lnTo>
                  <a:lnTo>
                    <a:pt x="5683" y="7368"/>
                  </a:lnTo>
                  <a:lnTo>
                    <a:pt x="5672" y="7479"/>
                  </a:lnTo>
                  <a:lnTo>
                    <a:pt x="5662" y="7592"/>
                  </a:lnTo>
                  <a:lnTo>
                    <a:pt x="5652" y="7704"/>
                  </a:lnTo>
                  <a:lnTo>
                    <a:pt x="5645" y="7815"/>
                  </a:lnTo>
                  <a:lnTo>
                    <a:pt x="5638" y="7928"/>
                  </a:lnTo>
                  <a:lnTo>
                    <a:pt x="5633" y="8039"/>
                  </a:lnTo>
                  <a:lnTo>
                    <a:pt x="5629" y="8151"/>
                  </a:lnTo>
                  <a:lnTo>
                    <a:pt x="5628" y="8263"/>
                  </a:lnTo>
                  <a:lnTo>
                    <a:pt x="5627" y="8375"/>
                  </a:lnTo>
                  <a:lnTo>
                    <a:pt x="5629" y="8487"/>
                  </a:lnTo>
                  <a:lnTo>
                    <a:pt x="5633" y="8599"/>
                  </a:lnTo>
                  <a:lnTo>
                    <a:pt x="5638" y="8710"/>
                  </a:lnTo>
                  <a:lnTo>
                    <a:pt x="5646" y="8822"/>
                  </a:lnTo>
                  <a:lnTo>
                    <a:pt x="5656" y="8933"/>
                  </a:lnTo>
                  <a:lnTo>
                    <a:pt x="5669" y="9045"/>
                  </a:lnTo>
                  <a:lnTo>
                    <a:pt x="5676" y="9101"/>
                  </a:lnTo>
                  <a:lnTo>
                    <a:pt x="5684" y="9157"/>
                  </a:lnTo>
                  <a:lnTo>
                    <a:pt x="5692" y="9213"/>
                  </a:lnTo>
                  <a:lnTo>
                    <a:pt x="5701" y="9268"/>
                  </a:lnTo>
                  <a:lnTo>
                    <a:pt x="5710" y="9325"/>
                  </a:lnTo>
                  <a:lnTo>
                    <a:pt x="5721" y="9380"/>
                  </a:lnTo>
                  <a:lnTo>
                    <a:pt x="5732" y="9436"/>
                  </a:lnTo>
                  <a:lnTo>
                    <a:pt x="5743" y="9491"/>
                  </a:lnTo>
                  <a:lnTo>
                    <a:pt x="5756" y="9548"/>
                  </a:lnTo>
                  <a:lnTo>
                    <a:pt x="5769" y="9603"/>
                  </a:lnTo>
                  <a:lnTo>
                    <a:pt x="5783" y="9658"/>
                  </a:lnTo>
                  <a:lnTo>
                    <a:pt x="5798" y="9715"/>
                  </a:lnTo>
                  <a:lnTo>
                    <a:pt x="5814" y="9770"/>
                  </a:lnTo>
                  <a:lnTo>
                    <a:pt x="5830" y="9826"/>
                  </a:lnTo>
                  <a:lnTo>
                    <a:pt x="5846" y="9882"/>
                  </a:lnTo>
                  <a:lnTo>
                    <a:pt x="5864" y="9938"/>
                  </a:lnTo>
                  <a:lnTo>
                    <a:pt x="5882" y="9993"/>
                  </a:lnTo>
                  <a:lnTo>
                    <a:pt x="5902" y="10050"/>
                  </a:lnTo>
                  <a:lnTo>
                    <a:pt x="5922" y="10105"/>
                  </a:lnTo>
                  <a:lnTo>
                    <a:pt x="5943" y="10160"/>
                  </a:lnTo>
                  <a:lnTo>
                    <a:pt x="5964" y="10217"/>
                  </a:lnTo>
                  <a:lnTo>
                    <a:pt x="5988" y="10272"/>
                  </a:lnTo>
                  <a:lnTo>
                    <a:pt x="6011" y="10328"/>
                  </a:lnTo>
                  <a:lnTo>
                    <a:pt x="6036" y="10383"/>
                  </a:lnTo>
                  <a:lnTo>
                    <a:pt x="6061" y="10440"/>
                  </a:lnTo>
                  <a:lnTo>
                    <a:pt x="6087" y="10495"/>
                  </a:lnTo>
                  <a:lnTo>
                    <a:pt x="6114" y="10550"/>
                  </a:lnTo>
                  <a:lnTo>
                    <a:pt x="6142" y="10607"/>
                  </a:lnTo>
                  <a:lnTo>
                    <a:pt x="6172" y="10662"/>
                  </a:lnTo>
                  <a:lnTo>
                    <a:pt x="6202" y="10718"/>
                  </a:lnTo>
                  <a:lnTo>
                    <a:pt x="6233" y="10774"/>
                  </a:lnTo>
                  <a:lnTo>
                    <a:pt x="6265" y="10830"/>
                  </a:lnTo>
                  <a:lnTo>
                    <a:pt x="6297" y="10885"/>
                  </a:lnTo>
                  <a:lnTo>
                    <a:pt x="6332" y="10941"/>
                  </a:lnTo>
                  <a:lnTo>
                    <a:pt x="6367" y="10997"/>
                  </a:lnTo>
                  <a:lnTo>
                    <a:pt x="6403" y="11052"/>
                  </a:lnTo>
                  <a:lnTo>
                    <a:pt x="6440" y="11108"/>
                  </a:lnTo>
                  <a:lnTo>
                    <a:pt x="6478" y="11164"/>
                  </a:lnTo>
                  <a:lnTo>
                    <a:pt x="6518" y="11219"/>
                  </a:lnTo>
                  <a:lnTo>
                    <a:pt x="6558" y="11275"/>
                  </a:lnTo>
                  <a:lnTo>
                    <a:pt x="6599" y="11331"/>
                  </a:lnTo>
                  <a:lnTo>
                    <a:pt x="6641" y="11387"/>
                  </a:lnTo>
                  <a:lnTo>
                    <a:pt x="6686" y="11442"/>
                  </a:lnTo>
                  <a:lnTo>
                    <a:pt x="6730" y="11498"/>
                  </a:lnTo>
                  <a:lnTo>
                    <a:pt x="6776" y="11554"/>
                  </a:lnTo>
                  <a:lnTo>
                    <a:pt x="6823" y="11609"/>
                  </a:lnTo>
                  <a:lnTo>
                    <a:pt x="6872" y="11666"/>
                  </a:lnTo>
                  <a:lnTo>
                    <a:pt x="6921" y="11721"/>
                  </a:lnTo>
                  <a:lnTo>
                    <a:pt x="6971" y="11776"/>
                  </a:lnTo>
                  <a:lnTo>
                    <a:pt x="7024" y="11832"/>
                  </a:lnTo>
                  <a:lnTo>
                    <a:pt x="7076" y="11888"/>
                  </a:lnTo>
                  <a:lnTo>
                    <a:pt x="7130" y="11944"/>
                  </a:lnTo>
                  <a:lnTo>
                    <a:pt x="7185" y="11999"/>
                  </a:lnTo>
                  <a:lnTo>
                    <a:pt x="7243" y="12056"/>
                  </a:lnTo>
                  <a:lnTo>
                    <a:pt x="7300" y="12111"/>
                  </a:lnTo>
                  <a:lnTo>
                    <a:pt x="7359" y="12166"/>
                  </a:lnTo>
                  <a:lnTo>
                    <a:pt x="7421" y="12223"/>
                  </a:lnTo>
                  <a:lnTo>
                    <a:pt x="7482" y="12278"/>
                  </a:lnTo>
                  <a:lnTo>
                    <a:pt x="7545" y="12334"/>
                  </a:lnTo>
                  <a:lnTo>
                    <a:pt x="7610" y="12390"/>
                  </a:lnTo>
                  <a:lnTo>
                    <a:pt x="7675" y="12446"/>
                  </a:lnTo>
                  <a:lnTo>
                    <a:pt x="7743" y="12501"/>
                  </a:lnTo>
                  <a:lnTo>
                    <a:pt x="7811" y="12557"/>
                  </a:lnTo>
                  <a:lnTo>
                    <a:pt x="7881" y="12613"/>
                  </a:lnTo>
                  <a:lnTo>
                    <a:pt x="7953" y="12668"/>
                  </a:lnTo>
                  <a:lnTo>
                    <a:pt x="8025" y="12724"/>
                  </a:lnTo>
                  <a:lnTo>
                    <a:pt x="8100" y="12780"/>
                  </a:lnTo>
                  <a:lnTo>
                    <a:pt x="8175" y="12836"/>
                  </a:lnTo>
                  <a:lnTo>
                    <a:pt x="8251" y="12891"/>
                  </a:lnTo>
                  <a:lnTo>
                    <a:pt x="8330" y="12948"/>
                  </a:lnTo>
                  <a:lnTo>
                    <a:pt x="8319" y="12940"/>
                  </a:lnTo>
                  <a:lnTo>
                    <a:pt x="8306" y="12933"/>
                  </a:lnTo>
                  <a:lnTo>
                    <a:pt x="8292" y="12927"/>
                  </a:lnTo>
                  <a:lnTo>
                    <a:pt x="8278" y="12921"/>
                  </a:lnTo>
                  <a:lnTo>
                    <a:pt x="8262" y="12915"/>
                  </a:lnTo>
                  <a:lnTo>
                    <a:pt x="8244" y="12909"/>
                  </a:lnTo>
                  <a:lnTo>
                    <a:pt x="8209" y="12900"/>
                  </a:lnTo>
                  <a:lnTo>
                    <a:pt x="8170" y="12892"/>
                  </a:lnTo>
                  <a:lnTo>
                    <a:pt x="8130" y="12885"/>
                  </a:lnTo>
                  <a:lnTo>
                    <a:pt x="8088" y="12879"/>
                  </a:lnTo>
                  <a:lnTo>
                    <a:pt x="8045" y="12874"/>
                  </a:lnTo>
                  <a:lnTo>
                    <a:pt x="7960" y="12866"/>
                  </a:lnTo>
                  <a:lnTo>
                    <a:pt x="7877" y="12858"/>
                  </a:lnTo>
                  <a:lnTo>
                    <a:pt x="7839" y="12854"/>
                  </a:lnTo>
                  <a:lnTo>
                    <a:pt x="7804" y="12850"/>
                  </a:lnTo>
                  <a:lnTo>
                    <a:pt x="7772" y="12845"/>
                  </a:lnTo>
                  <a:lnTo>
                    <a:pt x="7744" y="12839"/>
                  </a:lnTo>
                  <a:lnTo>
                    <a:pt x="7642" y="12815"/>
                  </a:lnTo>
                  <a:lnTo>
                    <a:pt x="7541" y="12791"/>
                  </a:lnTo>
                  <a:lnTo>
                    <a:pt x="7441" y="12765"/>
                  </a:lnTo>
                  <a:lnTo>
                    <a:pt x="7341" y="12737"/>
                  </a:lnTo>
                  <a:lnTo>
                    <a:pt x="7242" y="12708"/>
                  </a:lnTo>
                  <a:lnTo>
                    <a:pt x="7142" y="12679"/>
                  </a:lnTo>
                  <a:lnTo>
                    <a:pt x="7043" y="12648"/>
                  </a:lnTo>
                  <a:lnTo>
                    <a:pt x="6944" y="12617"/>
                  </a:lnTo>
                  <a:lnTo>
                    <a:pt x="6845" y="12584"/>
                  </a:lnTo>
                  <a:lnTo>
                    <a:pt x="6748" y="12549"/>
                  </a:lnTo>
                  <a:lnTo>
                    <a:pt x="6649" y="12515"/>
                  </a:lnTo>
                  <a:lnTo>
                    <a:pt x="6553" y="12479"/>
                  </a:lnTo>
                  <a:lnTo>
                    <a:pt x="6455" y="12443"/>
                  </a:lnTo>
                  <a:lnTo>
                    <a:pt x="6359" y="12405"/>
                  </a:lnTo>
                  <a:lnTo>
                    <a:pt x="6262" y="12366"/>
                  </a:lnTo>
                  <a:lnTo>
                    <a:pt x="6167" y="12327"/>
                  </a:lnTo>
                  <a:lnTo>
                    <a:pt x="6044" y="12275"/>
                  </a:lnTo>
                  <a:lnTo>
                    <a:pt x="5921" y="12221"/>
                  </a:lnTo>
                  <a:lnTo>
                    <a:pt x="5800" y="12165"/>
                  </a:lnTo>
                  <a:lnTo>
                    <a:pt x="5678" y="12108"/>
                  </a:lnTo>
                  <a:lnTo>
                    <a:pt x="5556" y="12049"/>
                  </a:lnTo>
                  <a:lnTo>
                    <a:pt x="5436" y="11988"/>
                  </a:lnTo>
                  <a:lnTo>
                    <a:pt x="5316" y="11926"/>
                  </a:lnTo>
                  <a:lnTo>
                    <a:pt x="5196" y="11863"/>
                  </a:lnTo>
                  <a:lnTo>
                    <a:pt x="5077" y="11797"/>
                  </a:lnTo>
                  <a:lnTo>
                    <a:pt x="4960" y="11731"/>
                  </a:lnTo>
                  <a:lnTo>
                    <a:pt x="4842" y="11663"/>
                  </a:lnTo>
                  <a:lnTo>
                    <a:pt x="4725" y="11592"/>
                  </a:lnTo>
                  <a:lnTo>
                    <a:pt x="4609" y="11521"/>
                  </a:lnTo>
                  <a:lnTo>
                    <a:pt x="4494" y="11447"/>
                  </a:lnTo>
                  <a:lnTo>
                    <a:pt x="4379" y="11373"/>
                  </a:lnTo>
                  <a:lnTo>
                    <a:pt x="4266" y="11298"/>
                  </a:lnTo>
                  <a:lnTo>
                    <a:pt x="4152" y="11220"/>
                  </a:lnTo>
                  <a:lnTo>
                    <a:pt x="4041" y="11142"/>
                  </a:lnTo>
                  <a:lnTo>
                    <a:pt x="3929" y="11061"/>
                  </a:lnTo>
                  <a:lnTo>
                    <a:pt x="3819" y="10980"/>
                  </a:lnTo>
                  <a:lnTo>
                    <a:pt x="3710" y="10896"/>
                  </a:lnTo>
                  <a:lnTo>
                    <a:pt x="3601" y="10812"/>
                  </a:lnTo>
                  <a:lnTo>
                    <a:pt x="3494" y="10726"/>
                  </a:lnTo>
                  <a:lnTo>
                    <a:pt x="3388" y="10639"/>
                  </a:lnTo>
                  <a:lnTo>
                    <a:pt x="3282" y="10550"/>
                  </a:lnTo>
                  <a:lnTo>
                    <a:pt x="3178" y="10461"/>
                  </a:lnTo>
                  <a:lnTo>
                    <a:pt x="3075" y="10370"/>
                  </a:lnTo>
                  <a:lnTo>
                    <a:pt x="2973" y="10278"/>
                  </a:lnTo>
                  <a:lnTo>
                    <a:pt x="2872" y="10184"/>
                  </a:lnTo>
                  <a:lnTo>
                    <a:pt x="2772" y="10089"/>
                  </a:lnTo>
                  <a:lnTo>
                    <a:pt x="2674" y="9993"/>
                  </a:lnTo>
                  <a:lnTo>
                    <a:pt x="2577" y="9896"/>
                  </a:lnTo>
                  <a:lnTo>
                    <a:pt x="2481" y="9797"/>
                  </a:lnTo>
                  <a:lnTo>
                    <a:pt x="2386" y="9698"/>
                  </a:lnTo>
                  <a:lnTo>
                    <a:pt x="2294" y="9596"/>
                  </a:lnTo>
                  <a:lnTo>
                    <a:pt x="2201" y="9495"/>
                  </a:lnTo>
                  <a:lnTo>
                    <a:pt x="2111" y="9391"/>
                  </a:lnTo>
                  <a:lnTo>
                    <a:pt x="2022" y="9286"/>
                  </a:lnTo>
                  <a:lnTo>
                    <a:pt x="1935" y="9181"/>
                  </a:lnTo>
                  <a:lnTo>
                    <a:pt x="1848" y="9074"/>
                  </a:lnTo>
                  <a:lnTo>
                    <a:pt x="1764" y="8967"/>
                  </a:lnTo>
                  <a:lnTo>
                    <a:pt x="1680" y="8858"/>
                  </a:lnTo>
                  <a:lnTo>
                    <a:pt x="1599" y="8748"/>
                  </a:lnTo>
                  <a:lnTo>
                    <a:pt x="1518" y="8638"/>
                  </a:lnTo>
                  <a:lnTo>
                    <a:pt x="1440" y="8525"/>
                  </a:lnTo>
                  <a:lnTo>
                    <a:pt x="1363" y="8412"/>
                  </a:lnTo>
                  <a:lnTo>
                    <a:pt x="1288" y="8299"/>
                  </a:lnTo>
                  <a:lnTo>
                    <a:pt x="1214" y="8183"/>
                  </a:lnTo>
                  <a:lnTo>
                    <a:pt x="1143" y="8068"/>
                  </a:lnTo>
                  <a:lnTo>
                    <a:pt x="1073" y="7951"/>
                  </a:lnTo>
                  <a:lnTo>
                    <a:pt x="1004" y="7833"/>
                  </a:lnTo>
                  <a:lnTo>
                    <a:pt x="938" y="7715"/>
                  </a:lnTo>
                  <a:lnTo>
                    <a:pt x="874" y="7595"/>
                  </a:lnTo>
                  <a:lnTo>
                    <a:pt x="811" y="7474"/>
                  </a:lnTo>
                  <a:lnTo>
                    <a:pt x="750" y="7354"/>
                  </a:lnTo>
                  <a:lnTo>
                    <a:pt x="692" y="7231"/>
                  </a:lnTo>
                  <a:lnTo>
                    <a:pt x="634" y="7108"/>
                  </a:lnTo>
                  <a:lnTo>
                    <a:pt x="579" y="6984"/>
                  </a:lnTo>
                  <a:lnTo>
                    <a:pt x="527" y="6859"/>
                  </a:lnTo>
                  <a:lnTo>
                    <a:pt x="475" y="6734"/>
                  </a:lnTo>
                  <a:lnTo>
                    <a:pt x="426" y="6607"/>
                  </a:lnTo>
                  <a:lnTo>
                    <a:pt x="380" y="6481"/>
                  </a:lnTo>
                  <a:lnTo>
                    <a:pt x="334" y="6353"/>
                  </a:lnTo>
                  <a:lnTo>
                    <a:pt x="292" y="6224"/>
                  </a:lnTo>
                  <a:lnTo>
                    <a:pt x="271" y="6159"/>
                  </a:lnTo>
                  <a:lnTo>
                    <a:pt x="252" y="6095"/>
                  </a:lnTo>
                  <a:lnTo>
                    <a:pt x="233" y="6029"/>
                  </a:lnTo>
                  <a:lnTo>
                    <a:pt x="215" y="5964"/>
                  </a:lnTo>
                  <a:lnTo>
                    <a:pt x="197" y="5899"/>
                  </a:lnTo>
                  <a:lnTo>
                    <a:pt x="180" y="5833"/>
                  </a:lnTo>
                  <a:lnTo>
                    <a:pt x="164" y="5768"/>
                  </a:lnTo>
                  <a:lnTo>
                    <a:pt x="148" y="5701"/>
                  </a:lnTo>
                  <a:lnTo>
                    <a:pt x="133" y="5636"/>
                  </a:lnTo>
                  <a:lnTo>
                    <a:pt x="119" y="5570"/>
                  </a:lnTo>
                  <a:lnTo>
                    <a:pt x="106" y="5504"/>
                  </a:lnTo>
                  <a:lnTo>
                    <a:pt x="93" y="5438"/>
                  </a:lnTo>
                  <a:lnTo>
                    <a:pt x="82" y="5372"/>
                  </a:lnTo>
                  <a:lnTo>
                    <a:pt x="71" y="5305"/>
                  </a:lnTo>
                  <a:lnTo>
                    <a:pt x="61" y="5239"/>
                  </a:lnTo>
                  <a:lnTo>
                    <a:pt x="51" y="5172"/>
                  </a:lnTo>
                  <a:lnTo>
                    <a:pt x="43" y="5106"/>
                  </a:lnTo>
                  <a:lnTo>
                    <a:pt x="35" y="5040"/>
                  </a:lnTo>
                  <a:lnTo>
                    <a:pt x="28" y="4973"/>
                  </a:lnTo>
                  <a:lnTo>
                    <a:pt x="21" y="4906"/>
                  </a:lnTo>
                  <a:lnTo>
                    <a:pt x="16" y="4840"/>
                  </a:lnTo>
                  <a:lnTo>
                    <a:pt x="11" y="4773"/>
                  </a:lnTo>
                  <a:lnTo>
                    <a:pt x="7" y="4707"/>
                  </a:lnTo>
                  <a:lnTo>
                    <a:pt x="4" y="4640"/>
                  </a:lnTo>
                  <a:lnTo>
                    <a:pt x="2" y="4573"/>
                  </a:lnTo>
                  <a:lnTo>
                    <a:pt x="1" y="4507"/>
                  </a:lnTo>
                  <a:lnTo>
                    <a:pt x="0" y="4440"/>
                  </a:lnTo>
                  <a:lnTo>
                    <a:pt x="0" y="4374"/>
                  </a:lnTo>
                  <a:lnTo>
                    <a:pt x="1" y="4308"/>
                  </a:lnTo>
                  <a:lnTo>
                    <a:pt x="3" y="4241"/>
                  </a:lnTo>
                  <a:lnTo>
                    <a:pt x="6" y="4175"/>
                  </a:lnTo>
                  <a:lnTo>
                    <a:pt x="10" y="4109"/>
                  </a:lnTo>
                  <a:lnTo>
                    <a:pt x="14" y="4042"/>
                  </a:lnTo>
                  <a:lnTo>
                    <a:pt x="20" y="3976"/>
                  </a:lnTo>
                  <a:lnTo>
                    <a:pt x="26" y="3909"/>
                  </a:lnTo>
                  <a:lnTo>
                    <a:pt x="33" y="3844"/>
                  </a:lnTo>
                  <a:lnTo>
                    <a:pt x="41" y="3778"/>
                  </a:lnTo>
                  <a:lnTo>
                    <a:pt x="50" y="3712"/>
                  </a:lnTo>
                  <a:lnTo>
                    <a:pt x="59" y="3647"/>
                  </a:lnTo>
                  <a:lnTo>
                    <a:pt x="70" y="3582"/>
                  </a:lnTo>
                  <a:lnTo>
                    <a:pt x="82" y="3516"/>
                  </a:lnTo>
                  <a:lnTo>
                    <a:pt x="94" y="3451"/>
                  </a:lnTo>
                  <a:lnTo>
                    <a:pt x="107" y="3386"/>
                  </a:lnTo>
                  <a:lnTo>
                    <a:pt x="122" y="3321"/>
                  </a:lnTo>
                  <a:lnTo>
                    <a:pt x="137" y="3256"/>
                  </a:lnTo>
                  <a:lnTo>
                    <a:pt x="153" y="3191"/>
                  </a:lnTo>
                  <a:lnTo>
                    <a:pt x="171" y="3127"/>
                  </a:lnTo>
                  <a:lnTo>
                    <a:pt x="189" y="3063"/>
                  </a:lnTo>
                  <a:lnTo>
                    <a:pt x="208" y="2999"/>
                  </a:lnTo>
                  <a:lnTo>
                    <a:pt x="228" y="2935"/>
                  </a:lnTo>
                  <a:lnTo>
                    <a:pt x="249" y="2872"/>
                  </a:lnTo>
                  <a:lnTo>
                    <a:pt x="270" y="2808"/>
                  </a:lnTo>
                  <a:lnTo>
                    <a:pt x="293" y="2746"/>
                  </a:lnTo>
                  <a:lnTo>
                    <a:pt x="317" y="2683"/>
                  </a:lnTo>
                  <a:lnTo>
                    <a:pt x="343" y="2620"/>
                  </a:lnTo>
                  <a:lnTo>
                    <a:pt x="368" y="2558"/>
                  </a:lnTo>
                  <a:lnTo>
                    <a:pt x="395" y="2496"/>
                  </a:lnTo>
                  <a:lnTo>
                    <a:pt x="423" y="2434"/>
                  </a:lnTo>
                  <a:lnTo>
                    <a:pt x="451" y="2373"/>
                  </a:lnTo>
                  <a:lnTo>
                    <a:pt x="481" y="2312"/>
                  </a:lnTo>
                  <a:lnTo>
                    <a:pt x="512" y="2250"/>
                  </a:lnTo>
                  <a:lnTo>
                    <a:pt x="544" y="2190"/>
                  </a:lnTo>
                  <a:lnTo>
                    <a:pt x="577" y="2130"/>
                  </a:lnTo>
                  <a:lnTo>
                    <a:pt x="611" y="2069"/>
                  </a:lnTo>
                  <a:lnTo>
                    <a:pt x="636" y="2026"/>
                  </a:lnTo>
                  <a:lnTo>
                    <a:pt x="662" y="1983"/>
                  </a:lnTo>
                  <a:lnTo>
                    <a:pt x="688" y="1940"/>
                  </a:lnTo>
                  <a:lnTo>
                    <a:pt x="716" y="1897"/>
                  </a:lnTo>
                  <a:lnTo>
                    <a:pt x="743" y="1856"/>
                  </a:lnTo>
                  <a:lnTo>
                    <a:pt x="771" y="1814"/>
                  </a:lnTo>
                  <a:lnTo>
                    <a:pt x="799" y="1773"/>
                  </a:lnTo>
                  <a:lnTo>
                    <a:pt x="827" y="1732"/>
                  </a:lnTo>
                  <a:lnTo>
                    <a:pt x="887" y="1652"/>
                  </a:lnTo>
                  <a:lnTo>
                    <a:pt x="947" y="1574"/>
                  </a:lnTo>
                  <a:lnTo>
                    <a:pt x="1009" y="1497"/>
                  </a:lnTo>
                  <a:lnTo>
                    <a:pt x="1074" y="1422"/>
                  </a:lnTo>
                  <a:lnTo>
                    <a:pt x="1139" y="1347"/>
                  </a:lnTo>
                  <a:lnTo>
                    <a:pt x="1206" y="1276"/>
                  </a:lnTo>
                  <a:lnTo>
                    <a:pt x="1275" y="1204"/>
                  </a:lnTo>
                  <a:lnTo>
                    <a:pt x="1344" y="1135"/>
                  </a:lnTo>
                  <a:lnTo>
                    <a:pt x="1416" y="1067"/>
                  </a:lnTo>
                  <a:lnTo>
                    <a:pt x="1488" y="1000"/>
                  </a:lnTo>
                  <a:lnTo>
                    <a:pt x="1562" y="935"/>
                  </a:lnTo>
                  <a:lnTo>
                    <a:pt x="1637" y="871"/>
                  </a:lnTo>
                  <a:lnTo>
                    <a:pt x="1713" y="808"/>
                  </a:lnTo>
                  <a:lnTo>
                    <a:pt x="1791" y="747"/>
                  </a:lnTo>
                  <a:lnTo>
                    <a:pt x="1869" y="687"/>
                  </a:lnTo>
                  <a:lnTo>
                    <a:pt x="1949" y="627"/>
                  </a:lnTo>
                  <a:lnTo>
                    <a:pt x="2029" y="569"/>
                  </a:lnTo>
                  <a:lnTo>
                    <a:pt x="2111" y="513"/>
                  </a:lnTo>
                  <a:lnTo>
                    <a:pt x="2193" y="457"/>
                  </a:lnTo>
                  <a:lnTo>
                    <a:pt x="2277" y="402"/>
                  </a:lnTo>
                  <a:lnTo>
                    <a:pt x="2360" y="349"/>
                  </a:lnTo>
                  <a:lnTo>
                    <a:pt x="2444" y="296"/>
                  </a:lnTo>
                  <a:lnTo>
                    <a:pt x="2530" y="244"/>
                  </a:lnTo>
                  <a:lnTo>
                    <a:pt x="2615" y="194"/>
                  </a:lnTo>
                  <a:lnTo>
                    <a:pt x="2702" y="144"/>
                  </a:lnTo>
                  <a:lnTo>
                    <a:pt x="2789" y="95"/>
                  </a:lnTo>
                  <a:lnTo>
                    <a:pt x="2877" y="47"/>
                  </a:lnTo>
                  <a:lnTo>
                    <a:pt x="2964" y="0"/>
                  </a:lnTo>
                  <a:close/>
                </a:path>
              </a:pathLst>
            </a:custGeom>
            <a:solidFill>
              <a:srgbClr val="86888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1285" name="Freeform 8">
              <a:extLst>
                <a:ext uri="{FF2B5EF4-FFF2-40B4-BE49-F238E27FC236}">
                  <a16:creationId xmlns:a16="http://schemas.microsoft.com/office/drawing/2014/main" id="{3509644E-1C22-EE28-C865-331FE4C43163}"/>
                </a:ext>
              </a:extLst>
            </p:cNvPr>
            <p:cNvSpPr>
              <a:spLocks/>
            </p:cNvSpPr>
            <p:nvPr/>
          </p:nvSpPr>
          <p:spPr bwMode="auto">
            <a:xfrm>
              <a:off x="2699792" y="2431334"/>
              <a:ext cx="1879019" cy="1797286"/>
            </a:xfrm>
            <a:custGeom>
              <a:avLst/>
              <a:gdLst>
                <a:gd name="T0" fmla="*/ 2147483646 w 11035"/>
                <a:gd name="T1" fmla="*/ 2147483646 h 10555"/>
                <a:gd name="T2" fmla="*/ 2147483646 w 11035"/>
                <a:gd name="T3" fmla="*/ 2147483646 h 10555"/>
                <a:gd name="T4" fmla="*/ 2147483646 w 11035"/>
                <a:gd name="T5" fmla="*/ 2147483646 h 10555"/>
                <a:gd name="T6" fmla="*/ 2147483646 w 11035"/>
                <a:gd name="T7" fmla="*/ 2147483646 h 10555"/>
                <a:gd name="T8" fmla="*/ 2147483646 w 11035"/>
                <a:gd name="T9" fmla="*/ 2147483646 h 10555"/>
                <a:gd name="T10" fmla="*/ 2147483646 w 11035"/>
                <a:gd name="T11" fmla="*/ 2147483646 h 10555"/>
                <a:gd name="T12" fmla="*/ 2147483646 w 11035"/>
                <a:gd name="T13" fmla="*/ 2147483646 h 10555"/>
                <a:gd name="T14" fmla="*/ 2147483646 w 11035"/>
                <a:gd name="T15" fmla="*/ 2147483646 h 10555"/>
                <a:gd name="T16" fmla="*/ 2147483646 w 11035"/>
                <a:gd name="T17" fmla="*/ 2147483646 h 10555"/>
                <a:gd name="T18" fmla="*/ 2147483646 w 11035"/>
                <a:gd name="T19" fmla="*/ 2147483646 h 10555"/>
                <a:gd name="T20" fmla="*/ 2147483646 w 11035"/>
                <a:gd name="T21" fmla="*/ 2147483646 h 10555"/>
                <a:gd name="T22" fmla="*/ 2147483646 w 11035"/>
                <a:gd name="T23" fmla="*/ 2147483646 h 10555"/>
                <a:gd name="T24" fmla="*/ 2147483646 w 11035"/>
                <a:gd name="T25" fmla="*/ 2147483646 h 10555"/>
                <a:gd name="T26" fmla="*/ 2147483646 w 11035"/>
                <a:gd name="T27" fmla="*/ 2147483646 h 10555"/>
                <a:gd name="T28" fmla="*/ 2147483646 w 11035"/>
                <a:gd name="T29" fmla="*/ 2147483646 h 10555"/>
                <a:gd name="T30" fmla="*/ 2147483646 w 11035"/>
                <a:gd name="T31" fmla="*/ 2147483646 h 10555"/>
                <a:gd name="T32" fmla="*/ 2147483646 w 11035"/>
                <a:gd name="T33" fmla="*/ 2147483646 h 10555"/>
                <a:gd name="T34" fmla="*/ 2147483646 w 11035"/>
                <a:gd name="T35" fmla="*/ 2147483646 h 10555"/>
                <a:gd name="T36" fmla="*/ 2147483646 w 11035"/>
                <a:gd name="T37" fmla="*/ 2147483646 h 10555"/>
                <a:gd name="T38" fmla="*/ 2147483646 w 11035"/>
                <a:gd name="T39" fmla="*/ 2147483646 h 10555"/>
                <a:gd name="T40" fmla="*/ 2147483646 w 11035"/>
                <a:gd name="T41" fmla="*/ 2147483646 h 10555"/>
                <a:gd name="T42" fmla="*/ 2147483646 w 11035"/>
                <a:gd name="T43" fmla="*/ 2147483646 h 10555"/>
                <a:gd name="T44" fmla="*/ 2147483646 w 11035"/>
                <a:gd name="T45" fmla="*/ 2147483646 h 10555"/>
                <a:gd name="T46" fmla="*/ 2147483646 w 11035"/>
                <a:gd name="T47" fmla="*/ 2147483646 h 10555"/>
                <a:gd name="T48" fmla="*/ 2147483646 w 11035"/>
                <a:gd name="T49" fmla="*/ 2147483646 h 10555"/>
                <a:gd name="T50" fmla="*/ 2147483646 w 11035"/>
                <a:gd name="T51" fmla="*/ 2147483646 h 10555"/>
                <a:gd name="T52" fmla="*/ 2147483646 w 11035"/>
                <a:gd name="T53" fmla="*/ 2147483646 h 10555"/>
                <a:gd name="T54" fmla="*/ 2147483646 w 11035"/>
                <a:gd name="T55" fmla="*/ 2147483646 h 10555"/>
                <a:gd name="T56" fmla="*/ 2147483646 w 11035"/>
                <a:gd name="T57" fmla="*/ 2147483646 h 10555"/>
                <a:gd name="T58" fmla="*/ 2147483646 w 11035"/>
                <a:gd name="T59" fmla="*/ 2147483646 h 10555"/>
                <a:gd name="T60" fmla="*/ 2147483646 w 11035"/>
                <a:gd name="T61" fmla="*/ 2147483646 h 10555"/>
                <a:gd name="T62" fmla="*/ 2147483646 w 11035"/>
                <a:gd name="T63" fmla="*/ 2147483646 h 10555"/>
                <a:gd name="T64" fmla="*/ 2147483646 w 11035"/>
                <a:gd name="T65" fmla="*/ 2147483646 h 10555"/>
                <a:gd name="T66" fmla="*/ 2147483646 w 11035"/>
                <a:gd name="T67" fmla="*/ 2147483646 h 10555"/>
                <a:gd name="T68" fmla="*/ 0 w 11035"/>
                <a:gd name="T69" fmla="*/ 2147483646 h 10555"/>
                <a:gd name="T70" fmla="*/ 2147483646 w 11035"/>
                <a:gd name="T71" fmla="*/ 2147483646 h 10555"/>
                <a:gd name="T72" fmla="*/ 2147483646 w 11035"/>
                <a:gd name="T73" fmla="*/ 2147483646 h 10555"/>
                <a:gd name="T74" fmla="*/ 2147483646 w 11035"/>
                <a:gd name="T75" fmla="*/ 2147483646 h 10555"/>
                <a:gd name="T76" fmla="*/ 2147483646 w 11035"/>
                <a:gd name="T77" fmla="*/ 2147483646 h 10555"/>
                <a:gd name="T78" fmla="*/ 2147483646 w 11035"/>
                <a:gd name="T79" fmla="*/ 2147483646 h 10555"/>
                <a:gd name="T80" fmla="*/ 2147483646 w 11035"/>
                <a:gd name="T81" fmla="*/ 2147483646 h 10555"/>
                <a:gd name="T82" fmla="*/ 2147483646 w 11035"/>
                <a:gd name="T83" fmla="*/ 2147483646 h 10555"/>
                <a:gd name="T84" fmla="*/ 2147483646 w 11035"/>
                <a:gd name="T85" fmla="*/ 2147483646 h 10555"/>
                <a:gd name="T86" fmla="*/ 2147483646 w 11035"/>
                <a:gd name="T87" fmla="*/ 2147483646 h 10555"/>
                <a:gd name="T88" fmla="*/ 2147483646 w 11035"/>
                <a:gd name="T89" fmla="*/ 2147483646 h 10555"/>
                <a:gd name="T90" fmla="*/ 2147483646 w 11035"/>
                <a:gd name="T91" fmla="*/ 2147483646 h 10555"/>
                <a:gd name="T92" fmla="*/ 2147483646 w 11035"/>
                <a:gd name="T93" fmla="*/ 2147483646 h 10555"/>
                <a:gd name="T94" fmla="*/ 2147483646 w 11035"/>
                <a:gd name="T95" fmla="*/ 2147483646 h 10555"/>
                <a:gd name="T96" fmla="*/ 2147483646 w 11035"/>
                <a:gd name="T97" fmla="*/ 2147483646 h 10555"/>
                <a:gd name="T98" fmla="*/ 2147483646 w 11035"/>
                <a:gd name="T99" fmla="*/ 2147483646 h 10555"/>
                <a:gd name="T100" fmla="*/ 2147483646 w 11035"/>
                <a:gd name="T101" fmla="*/ 2147483646 h 10555"/>
                <a:gd name="T102" fmla="*/ 2147483646 w 11035"/>
                <a:gd name="T103" fmla="*/ 2147483646 h 10555"/>
                <a:gd name="T104" fmla="*/ 2147483646 w 11035"/>
                <a:gd name="T105" fmla="*/ 2147483646 h 10555"/>
                <a:gd name="T106" fmla="*/ 2147483646 w 11035"/>
                <a:gd name="T107" fmla="*/ 2147483646 h 10555"/>
                <a:gd name="T108" fmla="*/ 2147483646 w 11035"/>
                <a:gd name="T109" fmla="*/ 2147483646 h 10555"/>
                <a:gd name="T110" fmla="*/ 2147483646 w 11035"/>
                <a:gd name="T111" fmla="*/ 2147483646 h 10555"/>
                <a:gd name="T112" fmla="*/ 2147483646 w 11035"/>
                <a:gd name="T113" fmla="*/ 2147483646 h 10555"/>
                <a:gd name="T114" fmla="*/ 2147483646 w 11035"/>
                <a:gd name="T115" fmla="*/ 2147483646 h 10555"/>
                <a:gd name="T116" fmla="*/ 2147483646 w 11035"/>
                <a:gd name="T117" fmla="*/ 2147483646 h 10555"/>
                <a:gd name="T118" fmla="*/ 2147483646 w 11035"/>
                <a:gd name="T119" fmla="*/ 2147483646 h 1055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1035" h="10555">
                  <a:moveTo>
                    <a:pt x="11035" y="1823"/>
                  </a:moveTo>
                  <a:lnTo>
                    <a:pt x="11035" y="1823"/>
                  </a:lnTo>
                  <a:lnTo>
                    <a:pt x="11028" y="1815"/>
                  </a:lnTo>
                  <a:lnTo>
                    <a:pt x="11021" y="1809"/>
                  </a:lnTo>
                  <a:lnTo>
                    <a:pt x="11013" y="1803"/>
                  </a:lnTo>
                  <a:lnTo>
                    <a:pt x="11005" y="1798"/>
                  </a:lnTo>
                  <a:lnTo>
                    <a:pt x="10987" y="1789"/>
                  </a:lnTo>
                  <a:lnTo>
                    <a:pt x="10968" y="1782"/>
                  </a:lnTo>
                  <a:lnTo>
                    <a:pt x="10948" y="1776"/>
                  </a:lnTo>
                  <a:lnTo>
                    <a:pt x="10927" y="1772"/>
                  </a:lnTo>
                  <a:lnTo>
                    <a:pt x="10905" y="1770"/>
                  </a:lnTo>
                  <a:lnTo>
                    <a:pt x="10882" y="1769"/>
                  </a:lnTo>
                  <a:lnTo>
                    <a:pt x="10858" y="1769"/>
                  </a:lnTo>
                  <a:lnTo>
                    <a:pt x="10833" y="1770"/>
                  </a:lnTo>
                  <a:lnTo>
                    <a:pt x="10806" y="1773"/>
                  </a:lnTo>
                  <a:lnTo>
                    <a:pt x="10780" y="1777"/>
                  </a:lnTo>
                  <a:lnTo>
                    <a:pt x="10754" y="1781"/>
                  </a:lnTo>
                  <a:lnTo>
                    <a:pt x="10728" y="1787"/>
                  </a:lnTo>
                  <a:lnTo>
                    <a:pt x="10701" y="1793"/>
                  </a:lnTo>
                  <a:lnTo>
                    <a:pt x="10674" y="1800"/>
                  </a:lnTo>
                  <a:lnTo>
                    <a:pt x="10647" y="1808"/>
                  </a:lnTo>
                  <a:lnTo>
                    <a:pt x="10620" y="1816"/>
                  </a:lnTo>
                  <a:lnTo>
                    <a:pt x="10568" y="1836"/>
                  </a:lnTo>
                  <a:lnTo>
                    <a:pt x="10518" y="1855"/>
                  </a:lnTo>
                  <a:lnTo>
                    <a:pt x="10471" y="1875"/>
                  </a:lnTo>
                  <a:lnTo>
                    <a:pt x="10427" y="1896"/>
                  </a:lnTo>
                  <a:lnTo>
                    <a:pt x="10389" y="1916"/>
                  </a:lnTo>
                  <a:lnTo>
                    <a:pt x="10357" y="1934"/>
                  </a:lnTo>
                  <a:lnTo>
                    <a:pt x="10332" y="1951"/>
                  </a:lnTo>
                  <a:lnTo>
                    <a:pt x="10312" y="1966"/>
                  </a:lnTo>
                  <a:lnTo>
                    <a:pt x="10293" y="1981"/>
                  </a:lnTo>
                  <a:lnTo>
                    <a:pt x="10273" y="1997"/>
                  </a:lnTo>
                  <a:lnTo>
                    <a:pt x="10255" y="2014"/>
                  </a:lnTo>
                  <a:lnTo>
                    <a:pt x="10237" y="2030"/>
                  </a:lnTo>
                  <a:lnTo>
                    <a:pt x="10220" y="2047"/>
                  </a:lnTo>
                  <a:lnTo>
                    <a:pt x="10186" y="2082"/>
                  </a:lnTo>
                  <a:lnTo>
                    <a:pt x="10155" y="2118"/>
                  </a:lnTo>
                  <a:lnTo>
                    <a:pt x="10125" y="2156"/>
                  </a:lnTo>
                  <a:lnTo>
                    <a:pt x="10096" y="2196"/>
                  </a:lnTo>
                  <a:lnTo>
                    <a:pt x="10069" y="2236"/>
                  </a:lnTo>
                  <a:lnTo>
                    <a:pt x="10044" y="2277"/>
                  </a:lnTo>
                  <a:lnTo>
                    <a:pt x="10020" y="2319"/>
                  </a:lnTo>
                  <a:lnTo>
                    <a:pt x="9998" y="2364"/>
                  </a:lnTo>
                  <a:lnTo>
                    <a:pt x="9977" y="2408"/>
                  </a:lnTo>
                  <a:lnTo>
                    <a:pt x="9957" y="2453"/>
                  </a:lnTo>
                  <a:lnTo>
                    <a:pt x="9936" y="2498"/>
                  </a:lnTo>
                  <a:lnTo>
                    <a:pt x="9918" y="2545"/>
                  </a:lnTo>
                  <a:lnTo>
                    <a:pt x="9901" y="2592"/>
                  </a:lnTo>
                  <a:lnTo>
                    <a:pt x="9885" y="2639"/>
                  </a:lnTo>
                  <a:lnTo>
                    <a:pt x="9869" y="2687"/>
                  </a:lnTo>
                  <a:lnTo>
                    <a:pt x="9854" y="2736"/>
                  </a:lnTo>
                  <a:lnTo>
                    <a:pt x="9840" y="2784"/>
                  </a:lnTo>
                  <a:lnTo>
                    <a:pt x="9813" y="2880"/>
                  </a:lnTo>
                  <a:lnTo>
                    <a:pt x="9787" y="2977"/>
                  </a:lnTo>
                  <a:lnTo>
                    <a:pt x="9736" y="3168"/>
                  </a:lnTo>
                  <a:lnTo>
                    <a:pt x="9711" y="3261"/>
                  </a:lnTo>
                  <a:lnTo>
                    <a:pt x="9698" y="3306"/>
                  </a:lnTo>
                  <a:lnTo>
                    <a:pt x="9684" y="3350"/>
                  </a:lnTo>
                  <a:lnTo>
                    <a:pt x="9670" y="3395"/>
                  </a:lnTo>
                  <a:lnTo>
                    <a:pt x="9655" y="3439"/>
                  </a:lnTo>
                  <a:lnTo>
                    <a:pt x="9639" y="3485"/>
                  </a:lnTo>
                  <a:lnTo>
                    <a:pt x="9622" y="3529"/>
                  </a:lnTo>
                  <a:lnTo>
                    <a:pt x="9605" y="3573"/>
                  </a:lnTo>
                  <a:lnTo>
                    <a:pt x="9585" y="3617"/>
                  </a:lnTo>
                  <a:lnTo>
                    <a:pt x="9567" y="3662"/>
                  </a:lnTo>
                  <a:lnTo>
                    <a:pt x="9547" y="3706"/>
                  </a:lnTo>
                  <a:lnTo>
                    <a:pt x="9527" y="3749"/>
                  </a:lnTo>
                  <a:lnTo>
                    <a:pt x="9506" y="3792"/>
                  </a:lnTo>
                  <a:lnTo>
                    <a:pt x="9485" y="3836"/>
                  </a:lnTo>
                  <a:lnTo>
                    <a:pt x="9463" y="3879"/>
                  </a:lnTo>
                  <a:lnTo>
                    <a:pt x="9418" y="3964"/>
                  </a:lnTo>
                  <a:lnTo>
                    <a:pt x="9369" y="4049"/>
                  </a:lnTo>
                  <a:lnTo>
                    <a:pt x="9320" y="4132"/>
                  </a:lnTo>
                  <a:lnTo>
                    <a:pt x="9269" y="4214"/>
                  </a:lnTo>
                  <a:lnTo>
                    <a:pt x="9215" y="4295"/>
                  </a:lnTo>
                  <a:lnTo>
                    <a:pt x="9161" y="4375"/>
                  </a:lnTo>
                  <a:lnTo>
                    <a:pt x="9106" y="4454"/>
                  </a:lnTo>
                  <a:lnTo>
                    <a:pt x="9048" y="4531"/>
                  </a:lnTo>
                  <a:lnTo>
                    <a:pt x="8991" y="4607"/>
                  </a:lnTo>
                  <a:lnTo>
                    <a:pt x="8933" y="4681"/>
                  </a:lnTo>
                  <a:lnTo>
                    <a:pt x="8869" y="4758"/>
                  </a:lnTo>
                  <a:lnTo>
                    <a:pt x="8805" y="4833"/>
                  </a:lnTo>
                  <a:lnTo>
                    <a:pt x="8740" y="4908"/>
                  </a:lnTo>
                  <a:lnTo>
                    <a:pt x="8672" y="4980"/>
                  </a:lnTo>
                  <a:lnTo>
                    <a:pt x="8603" y="5050"/>
                  </a:lnTo>
                  <a:lnTo>
                    <a:pt x="8533" y="5120"/>
                  </a:lnTo>
                  <a:lnTo>
                    <a:pt x="8460" y="5188"/>
                  </a:lnTo>
                  <a:lnTo>
                    <a:pt x="8388" y="5254"/>
                  </a:lnTo>
                  <a:lnTo>
                    <a:pt x="8312" y="5319"/>
                  </a:lnTo>
                  <a:lnTo>
                    <a:pt x="8237" y="5381"/>
                  </a:lnTo>
                  <a:lnTo>
                    <a:pt x="8159" y="5443"/>
                  </a:lnTo>
                  <a:lnTo>
                    <a:pt x="8080" y="5502"/>
                  </a:lnTo>
                  <a:lnTo>
                    <a:pt x="8000" y="5559"/>
                  </a:lnTo>
                  <a:lnTo>
                    <a:pt x="7919" y="5615"/>
                  </a:lnTo>
                  <a:lnTo>
                    <a:pt x="7837" y="5668"/>
                  </a:lnTo>
                  <a:lnTo>
                    <a:pt x="7753" y="5719"/>
                  </a:lnTo>
                  <a:lnTo>
                    <a:pt x="7669" y="5769"/>
                  </a:lnTo>
                  <a:lnTo>
                    <a:pt x="7582" y="5817"/>
                  </a:lnTo>
                  <a:lnTo>
                    <a:pt x="7496" y="5862"/>
                  </a:lnTo>
                  <a:lnTo>
                    <a:pt x="7407" y="5905"/>
                  </a:lnTo>
                  <a:lnTo>
                    <a:pt x="7319" y="5946"/>
                  </a:lnTo>
                  <a:lnTo>
                    <a:pt x="7273" y="5967"/>
                  </a:lnTo>
                  <a:lnTo>
                    <a:pt x="7228" y="5986"/>
                  </a:lnTo>
                  <a:lnTo>
                    <a:pt x="7183" y="6005"/>
                  </a:lnTo>
                  <a:lnTo>
                    <a:pt x="7137" y="6023"/>
                  </a:lnTo>
                  <a:lnTo>
                    <a:pt x="7091" y="6040"/>
                  </a:lnTo>
                  <a:lnTo>
                    <a:pt x="7045" y="6057"/>
                  </a:lnTo>
                  <a:lnTo>
                    <a:pt x="6998" y="6073"/>
                  </a:lnTo>
                  <a:lnTo>
                    <a:pt x="6952" y="6089"/>
                  </a:lnTo>
                  <a:lnTo>
                    <a:pt x="6904" y="6104"/>
                  </a:lnTo>
                  <a:lnTo>
                    <a:pt x="6858" y="6119"/>
                  </a:lnTo>
                  <a:lnTo>
                    <a:pt x="6811" y="6133"/>
                  </a:lnTo>
                  <a:lnTo>
                    <a:pt x="6762" y="6147"/>
                  </a:lnTo>
                  <a:lnTo>
                    <a:pt x="6715" y="6160"/>
                  </a:lnTo>
                  <a:lnTo>
                    <a:pt x="6667" y="6172"/>
                  </a:lnTo>
                  <a:lnTo>
                    <a:pt x="6619" y="6183"/>
                  </a:lnTo>
                  <a:lnTo>
                    <a:pt x="6570" y="6194"/>
                  </a:lnTo>
                  <a:lnTo>
                    <a:pt x="6522" y="6205"/>
                  </a:lnTo>
                  <a:lnTo>
                    <a:pt x="6474" y="6214"/>
                  </a:lnTo>
                  <a:lnTo>
                    <a:pt x="6425" y="6223"/>
                  </a:lnTo>
                  <a:lnTo>
                    <a:pt x="6375" y="6232"/>
                  </a:lnTo>
                  <a:lnTo>
                    <a:pt x="6326" y="6240"/>
                  </a:lnTo>
                  <a:lnTo>
                    <a:pt x="6277" y="6247"/>
                  </a:lnTo>
                  <a:lnTo>
                    <a:pt x="6050" y="6277"/>
                  </a:lnTo>
                  <a:lnTo>
                    <a:pt x="5825" y="6306"/>
                  </a:lnTo>
                  <a:lnTo>
                    <a:pt x="5600" y="6337"/>
                  </a:lnTo>
                  <a:lnTo>
                    <a:pt x="5375" y="6367"/>
                  </a:lnTo>
                  <a:lnTo>
                    <a:pt x="5150" y="6399"/>
                  </a:lnTo>
                  <a:lnTo>
                    <a:pt x="5038" y="6416"/>
                  </a:lnTo>
                  <a:lnTo>
                    <a:pt x="4926" y="6433"/>
                  </a:lnTo>
                  <a:lnTo>
                    <a:pt x="4815" y="6451"/>
                  </a:lnTo>
                  <a:lnTo>
                    <a:pt x="4704" y="6470"/>
                  </a:lnTo>
                  <a:lnTo>
                    <a:pt x="4593" y="6490"/>
                  </a:lnTo>
                  <a:lnTo>
                    <a:pt x="4482" y="6511"/>
                  </a:lnTo>
                  <a:lnTo>
                    <a:pt x="4372" y="6533"/>
                  </a:lnTo>
                  <a:lnTo>
                    <a:pt x="4262" y="6557"/>
                  </a:lnTo>
                  <a:lnTo>
                    <a:pt x="4153" y="6581"/>
                  </a:lnTo>
                  <a:lnTo>
                    <a:pt x="4044" y="6607"/>
                  </a:lnTo>
                  <a:lnTo>
                    <a:pt x="3935" y="6634"/>
                  </a:lnTo>
                  <a:lnTo>
                    <a:pt x="3828" y="6663"/>
                  </a:lnTo>
                  <a:lnTo>
                    <a:pt x="3720" y="6695"/>
                  </a:lnTo>
                  <a:lnTo>
                    <a:pt x="3613" y="6727"/>
                  </a:lnTo>
                  <a:lnTo>
                    <a:pt x="3507" y="6761"/>
                  </a:lnTo>
                  <a:lnTo>
                    <a:pt x="3400" y="6797"/>
                  </a:lnTo>
                  <a:lnTo>
                    <a:pt x="3296" y="6836"/>
                  </a:lnTo>
                  <a:lnTo>
                    <a:pt x="3191" y="6877"/>
                  </a:lnTo>
                  <a:lnTo>
                    <a:pt x="3088" y="6919"/>
                  </a:lnTo>
                  <a:lnTo>
                    <a:pt x="3035" y="6942"/>
                  </a:lnTo>
                  <a:lnTo>
                    <a:pt x="2984" y="6964"/>
                  </a:lnTo>
                  <a:lnTo>
                    <a:pt x="2933" y="6988"/>
                  </a:lnTo>
                  <a:lnTo>
                    <a:pt x="2881" y="7012"/>
                  </a:lnTo>
                  <a:lnTo>
                    <a:pt x="2830" y="7036"/>
                  </a:lnTo>
                  <a:lnTo>
                    <a:pt x="2780" y="7062"/>
                  </a:lnTo>
                  <a:lnTo>
                    <a:pt x="2730" y="7088"/>
                  </a:lnTo>
                  <a:lnTo>
                    <a:pt x="2679" y="7115"/>
                  </a:lnTo>
                  <a:lnTo>
                    <a:pt x="2629" y="7142"/>
                  </a:lnTo>
                  <a:lnTo>
                    <a:pt x="2579" y="7170"/>
                  </a:lnTo>
                  <a:lnTo>
                    <a:pt x="2528" y="7199"/>
                  </a:lnTo>
                  <a:lnTo>
                    <a:pt x="2479" y="7229"/>
                  </a:lnTo>
                  <a:lnTo>
                    <a:pt x="2430" y="7259"/>
                  </a:lnTo>
                  <a:lnTo>
                    <a:pt x="2381" y="7290"/>
                  </a:lnTo>
                  <a:lnTo>
                    <a:pt x="2332" y="7321"/>
                  </a:lnTo>
                  <a:lnTo>
                    <a:pt x="2283" y="7353"/>
                  </a:lnTo>
                  <a:lnTo>
                    <a:pt x="2235" y="7386"/>
                  </a:lnTo>
                  <a:lnTo>
                    <a:pt x="2186" y="7421"/>
                  </a:lnTo>
                  <a:lnTo>
                    <a:pt x="2138" y="7456"/>
                  </a:lnTo>
                  <a:lnTo>
                    <a:pt x="2091" y="7491"/>
                  </a:lnTo>
                  <a:lnTo>
                    <a:pt x="2043" y="7527"/>
                  </a:lnTo>
                  <a:lnTo>
                    <a:pt x="1995" y="7564"/>
                  </a:lnTo>
                  <a:lnTo>
                    <a:pt x="1949" y="7603"/>
                  </a:lnTo>
                  <a:lnTo>
                    <a:pt x="1902" y="7642"/>
                  </a:lnTo>
                  <a:lnTo>
                    <a:pt x="1856" y="7682"/>
                  </a:lnTo>
                  <a:lnTo>
                    <a:pt x="1809" y="7722"/>
                  </a:lnTo>
                  <a:lnTo>
                    <a:pt x="1763" y="7764"/>
                  </a:lnTo>
                  <a:lnTo>
                    <a:pt x="1717" y="7806"/>
                  </a:lnTo>
                  <a:lnTo>
                    <a:pt x="1672" y="7850"/>
                  </a:lnTo>
                  <a:lnTo>
                    <a:pt x="1626" y="7894"/>
                  </a:lnTo>
                  <a:lnTo>
                    <a:pt x="1581" y="7939"/>
                  </a:lnTo>
                  <a:lnTo>
                    <a:pt x="1537" y="7985"/>
                  </a:lnTo>
                  <a:lnTo>
                    <a:pt x="1492" y="8032"/>
                  </a:lnTo>
                  <a:lnTo>
                    <a:pt x="1448" y="8080"/>
                  </a:lnTo>
                  <a:lnTo>
                    <a:pt x="1404" y="8130"/>
                  </a:lnTo>
                  <a:lnTo>
                    <a:pt x="1361" y="8180"/>
                  </a:lnTo>
                  <a:lnTo>
                    <a:pt x="1317" y="8230"/>
                  </a:lnTo>
                  <a:lnTo>
                    <a:pt x="1274" y="8282"/>
                  </a:lnTo>
                  <a:lnTo>
                    <a:pt x="1232" y="8336"/>
                  </a:lnTo>
                  <a:lnTo>
                    <a:pt x="1189" y="8390"/>
                  </a:lnTo>
                  <a:lnTo>
                    <a:pt x="1148" y="8445"/>
                  </a:lnTo>
                  <a:lnTo>
                    <a:pt x="1105" y="8502"/>
                  </a:lnTo>
                  <a:lnTo>
                    <a:pt x="1064" y="8559"/>
                  </a:lnTo>
                  <a:lnTo>
                    <a:pt x="1023" y="8617"/>
                  </a:lnTo>
                  <a:lnTo>
                    <a:pt x="982" y="8677"/>
                  </a:lnTo>
                  <a:lnTo>
                    <a:pt x="941" y="8737"/>
                  </a:lnTo>
                  <a:lnTo>
                    <a:pt x="901" y="8799"/>
                  </a:lnTo>
                  <a:lnTo>
                    <a:pt x="861" y="8862"/>
                  </a:lnTo>
                  <a:lnTo>
                    <a:pt x="822" y="8926"/>
                  </a:lnTo>
                  <a:lnTo>
                    <a:pt x="782" y="8991"/>
                  </a:lnTo>
                  <a:lnTo>
                    <a:pt x="743" y="9058"/>
                  </a:lnTo>
                  <a:lnTo>
                    <a:pt x="705" y="9125"/>
                  </a:lnTo>
                  <a:lnTo>
                    <a:pt x="667" y="9193"/>
                  </a:lnTo>
                  <a:lnTo>
                    <a:pt x="629" y="9264"/>
                  </a:lnTo>
                  <a:lnTo>
                    <a:pt x="591" y="9334"/>
                  </a:lnTo>
                  <a:lnTo>
                    <a:pt x="554" y="9407"/>
                  </a:lnTo>
                  <a:lnTo>
                    <a:pt x="517" y="9480"/>
                  </a:lnTo>
                  <a:lnTo>
                    <a:pt x="481" y="9555"/>
                  </a:lnTo>
                  <a:lnTo>
                    <a:pt x="445" y="9632"/>
                  </a:lnTo>
                  <a:lnTo>
                    <a:pt x="408" y="9708"/>
                  </a:lnTo>
                  <a:lnTo>
                    <a:pt x="373" y="9788"/>
                  </a:lnTo>
                  <a:lnTo>
                    <a:pt x="338" y="9867"/>
                  </a:lnTo>
                  <a:lnTo>
                    <a:pt x="304" y="9949"/>
                  </a:lnTo>
                  <a:lnTo>
                    <a:pt x="270" y="10031"/>
                  </a:lnTo>
                  <a:lnTo>
                    <a:pt x="235" y="10116"/>
                  </a:lnTo>
                  <a:lnTo>
                    <a:pt x="202" y="10200"/>
                  </a:lnTo>
                  <a:lnTo>
                    <a:pt x="169" y="10287"/>
                  </a:lnTo>
                  <a:lnTo>
                    <a:pt x="136" y="10375"/>
                  </a:lnTo>
                  <a:lnTo>
                    <a:pt x="104" y="10465"/>
                  </a:lnTo>
                  <a:lnTo>
                    <a:pt x="71" y="10555"/>
                  </a:lnTo>
                  <a:lnTo>
                    <a:pt x="75" y="10542"/>
                  </a:lnTo>
                  <a:lnTo>
                    <a:pt x="78" y="10528"/>
                  </a:lnTo>
                  <a:lnTo>
                    <a:pt x="81" y="10513"/>
                  </a:lnTo>
                  <a:lnTo>
                    <a:pt x="82" y="10497"/>
                  </a:lnTo>
                  <a:lnTo>
                    <a:pt x="83" y="10480"/>
                  </a:lnTo>
                  <a:lnTo>
                    <a:pt x="84" y="10463"/>
                  </a:lnTo>
                  <a:lnTo>
                    <a:pt x="83" y="10425"/>
                  </a:lnTo>
                  <a:lnTo>
                    <a:pt x="80" y="10386"/>
                  </a:lnTo>
                  <a:lnTo>
                    <a:pt x="75" y="10346"/>
                  </a:lnTo>
                  <a:lnTo>
                    <a:pt x="69" y="10304"/>
                  </a:lnTo>
                  <a:lnTo>
                    <a:pt x="63" y="10261"/>
                  </a:lnTo>
                  <a:lnTo>
                    <a:pt x="47" y="10176"/>
                  </a:lnTo>
                  <a:lnTo>
                    <a:pt x="32" y="10095"/>
                  </a:lnTo>
                  <a:lnTo>
                    <a:pt x="25" y="10057"/>
                  </a:lnTo>
                  <a:lnTo>
                    <a:pt x="20" y="10022"/>
                  </a:lnTo>
                  <a:lnTo>
                    <a:pt x="16" y="9990"/>
                  </a:lnTo>
                  <a:lnTo>
                    <a:pt x="13" y="9961"/>
                  </a:lnTo>
                  <a:lnTo>
                    <a:pt x="8" y="9857"/>
                  </a:lnTo>
                  <a:lnTo>
                    <a:pt x="4" y="9754"/>
                  </a:lnTo>
                  <a:lnTo>
                    <a:pt x="2" y="9650"/>
                  </a:lnTo>
                  <a:lnTo>
                    <a:pt x="1" y="9546"/>
                  </a:lnTo>
                  <a:lnTo>
                    <a:pt x="0" y="9443"/>
                  </a:lnTo>
                  <a:lnTo>
                    <a:pt x="1" y="9339"/>
                  </a:lnTo>
                  <a:lnTo>
                    <a:pt x="3" y="9236"/>
                  </a:lnTo>
                  <a:lnTo>
                    <a:pt x="7" y="9132"/>
                  </a:lnTo>
                  <a:lnTo>
                    <a:pt x="11" y="9028"/>
                  </a:lnTo>
                  <a:lnTo>
                    <a:pt x="16" y="8924"/>
                  </a:lnTo>
                  <a:lnTo>
                    <a:pt x="23" y="8820"/>
                  </a:lnTo>
                  <a:lnTo>
                    <a:pt x="30" y="8718"/>
                  </a:lnTo>
                  <a:lnTo>
                    <a:pt x="38" y="8614"/>
                  </a:lnTo>
                  <a:lnTo>
                    <a:pt x="48" y="8511"/>
                  </a:lnTo>
                  <a:lnTo>
                    <a:pt x="58" y="8407"/>
                  </a:lnTo>
                  <a:lnTo>
                    <a:pt x="70" y="8305"/>
                  </a:lnTo>
                  <a:lnTo>
                    <a:pt x="86" y="8172"/>
                  </a:lnTo>
                  <a:lnTo>
                    <a:pt x="105" y="8039"/>
                  </a:lnTo>
                  <a:lnTo>
                    <a:pt x="124" y="7906"/>
                  </a:lnTo>
                  <a:lnTo>
                    <a:pt x="146" y="7775"/>
                  </a:lnTo>
                  <a:lnTo>
                    <a:pt x="169" y="7642"/>
                  </a:lnTo>
                  <a:lnTo>
                    <a:pt x="194" y="7509"/>
                  </a:lnTo>
                  <a:lnTo>
                    <a:pt x="220" y="7376"/>
                  </a:lnTo>
                  <a:lnTo>
                    <a:pt x="248" y="7245"/>
                  </a:lnTo>
                  <a:lnTo>
                    <a:pt x="279" y="7112"/>
                  </a:lnTo>
                  <a:lnTo>
                    <a:pt x="310" y="6980"/>
                  </a:lnTo>
                  <a:lnTo>
                    <a:pt x="343" y="6848"/>
                  </a:lnTo>
                  <a:lnTo>
                    <a:pt x="378" y="6717"/>
                  </a:lnTo>
                  <a:lnTo>
                    <a:pt x="414" y="6585"/>
                  </a:lnTo>
                  <a:lnTo>
                    <a:pt x="454" y="6454"/>
                  </a:lnTo>
                  <a:lnTo>
                    <a:pt x="493" y="6324"/>
                  </a:lnTo>
                  <a:lnTo>
                    <a:pt x="534" y="6194"/>
                  </a:lnTo>
                  <a:lnTo>
                    <a:pt x="577" y="6063"/>
                  </a:lnTo>
                  <a:lnTo>
                    <a:pt x="623" y="5934"/>
                  </a:lnTo>
                  <a:lnTo>
                    <a:pt x="669" y="5805"/>
                  </a:lnTo>
                  <a:lnTo>
                    <a:pt x="717" y="5676"/>
                  </a:lnTo>
                  <a:lnTo>
                    <a:pt x="766" y="5548"/>
                  </a:lnTo>
                  <a:lnTo>
                    <a:pt x="818" y="5421"/>
                  </a:lnTo>
                  <a:lnTo>
                    <a:pt x="870" y="5294"/>
                  </a:lnTo>
                  <a:lnTo>
                    <a:pt x="924" y="5168"/>
                  </a:lnTo>
                  <a:lnTo>
                    <a:pt x="981" y="5042"/>
                  </a:lnTo>
                  <a:lnTo>
                    <a:pt x="1038" y="4918"/>
                  </a:lnTo>
                  <a:lnTo>
                    <a:pt x="1097" y="4793"/>
                  </a:lnTo>
                  <a:lnTo>
                    <a:pt x="1158" y="4669"/>
                  </a:lnTo>
                  <a:lnTo>
                    <a:pt x="1220" y="4547"/>
                  </a:lnTo>
                  <a:lnTo>
                    <a:pt x="1283" y="4425"/>
                  </a:lnTo>
                  <a:lnTo>
                    <a:pt x="1349" y="4303"/>
                  </a:lnTo>
                  <a:lnTo>
                    <a:pt x="1416" y="4184"/>
                  </a:lnTo>
                  <a:lnTo>
                    <a:pt x="1483" y="4064"/>
                  </a:lnTo>
                  <a:lnTo>
                    <a:pt x="1554" y="3945"/>
                  </a:lnTo>
                  <a:lnTo>
                    <a:pt x="1625" y="3828"/>
                  </a:lnTo>
                  <a:lnTo>
                    <a:pt x="1698" y="3712"/>
                  </a:lnTo>
                  <a:lnTo>
                    <a:pt x="1772" y="3596"/>
                  </a:lnTo>
                  <a:lnTo>
                    <a:pt x="1848" y="3482"/>
                  </a:lnTo>
                  <a:lnTo>
                    <a:pt x="1925" y="3368"/>
                  </a:lnTo>
                  <a:lnTo>
                    <a:pt x="2003" y="3256"/>
                  </a:lnTo>
                  <a:lnTo>
                    <a:pt x="2084" y="3145"/>
                  </a:lnTo>
                  <a:lnTo>
                    <a:pt x="2165" y="3035"/>
                  </a:lnTo>
                  <a:lnTo>
                    <a:pt x="2248" y="2926"/>
                  </a:lnTo>
                  <a:lnTo>
                    <a:pt x="2332" y="2819"/>
                  </a:lnTo>
                  <a:lnTo>
                    <a:pt x="2419" y="2712"/>
                  </a:lnTo>
                  <a:lnTo>
                    <a:pt x="2506" y="2607"/>
                  </a:lnTo>
                  <a:lnTo>
                    <a:pt x="2595" y="2503"/>
                  </a:lnTo>
                  <a:lnTo>
                    <a:pt x="2685" y="2402"/>
                  </a:lnTo>
                  <a:lnTo>
                    <a:pt x="2777" y="2300"/>
                  </a:lnTo>
                  <a:lnTo>
                    <a:pt x="2869" y="2201"/>
                  </a:lnTo>
                  <a:lnTo>
                    <a:pt x="2964" y="2103"/>
                  </a:lnTo>
                  <a:lnTo>
                    <a:pt x="3059" y="2007"/>
                  </a:lnTo>
                  <a:lnTo>
                    <a:pt x="3157" y="1911"/>
                  </a:lnTo>
                  <a:lnTo>
                    <a:pt x="3254" y="1817"/>
                  </a:lnTo>
                  <a:lnTo>
                    <a:pt x="3355" y="1726"/>
                  </a:lnTo>
                  <a:lnTo>
                    <a:pt x="3456" y="1635"/>
                  </a:lnTo>
                  <a:lnTo>
                    <a:pt x="3558" y="1546"/>
                  </a:lnTo>
                  <a:lnTo>
                    <a:pt x="3663" y="1459"/>
                  </a:lnTo>
                  <a:lnTo>
                    <a:pt x="3767" y="1374"/>
                  </a:lnTo>
                  <a:lnTo>
                    <a:pt x="3874" y="1291"/>
                  </a:lnTo>
                  <a:lnTo>
                    <a:pt x="3982" y="1208"/>
                  </a:lnTo>
                  <a:lnTo>
                    <a:pt x="4091" y="1129"/>
                  </a:lnTo>
                  <a:lnTo>
                    <a:pt x="4202" y="1050"/>
                  </a:lnTo>
                  <a:lnTo>
                    <a:pt x="4314" y="974"/>
                  </a:lnTo>
                  <a:lnTo>
                    <a:pt x="4370" y="936"/>
                  </a:lnTo>
                  <a:lnTo>
                    <a:pt x="4427" y="899"/>
                  </a:lnTo>
                  <a:lnTo>
                    <a:pt x="4484" y="862"/>
                  </a:lnTo>
                  <a:lnTo>
                    <a:pt x="4542" y="827"/>
                  </a:lnTo>
                  <a:lnTo>
                    <a:pt x="4600" y="792"/>
                  </a:lnTo>
                  <a:lnTo>
                    <a:pt x="4658" y="758"/>
                  </a:lnTo>
                  <a:lnTo>
                    <a:pt x="4717" y="723"/>
                  </a:lnTo>
                  <a:lnTo>
                    <a:pt x="4775" y="691"/>
                  </a:lnTo>
                  <a:lnTo>
                    <a:pt x="4834" y="658"/>
                  </a:lnTo>
                  <a:lnTo>
                    <a:pt x="4895" y="627"/>
                  </a:lnTo>
                  <a:lnTo>
                    <a:pt x="4954" y="596"/>
                  </a:lnTo>
                  <a:lnTo>
                    <a:pt x="5015" y="566"/>
                  </a:lnTo>
                  <a:lnTo>
                    <a:pt x="5075" y="536"/>
                  </a:lnTo>
                  <a:lnTo>
                    <a:pt x="5135" y="507"/>
                  </a:lnTo>
                  <a:lnTo>
                    <a:pt x="5197" y="479"/>
                  </a:lnTo>
                  <a:lnTo>
                    <a:pt x="5258" y="452"/>
                  </a:lnTo>
                  <a:lnTo>
                    <a:pt x="5319" y="425"/>
                  </a:lnTo>
                  <a:lnTo>
                    <a:pt x="5381" y="399"/>
                  </a:lnTo>
                  <a:lnTo>
                    <a:pt x="5443" y="373"/>
                  </a:lnTo>
                  <a:lnTo>
                    <a:pt x="5505" y="349"/>
                  </a:lnTo>
                  <a:lnTo>
                    <a:pt x="5568" y="325"/>
                  </a:lnTo>
                  <a:lnTo>
                    <a:pt x="5630" y="302"/>
                  </a:lnTo>
                  <a:lnTo>
                    <a:pt x="5693" y="280"/>
                  </a:lnTo>
                  <a:lnTo>
                    <a:pt x="5757" y="259"/>
                  </a:lnTo>
                  <a:lnTo>
                    <a:pt x="5820" y="239"/>
                  </a:lnTo>
                  <a:lnTo>
                    <a:pt x="5883" y="219"/>
                  </a:lnTo>
                  <a:lnTo>
                    <a:pt x="5948" y="199"/>
                  </a:lnTo>
                  <a:lnTo>
                    <a:pt x="6011" y="181"/>
                  </a:lnTo>
                  <a:lnTo>
                    <a:pt x="6076" y="164"/>
                  </a:lnTo>
                  <a:lnTo>
                    <a:pt x="6140" y="148"/>
                  </a:lnTo>
                  <a:lnTo>
                    <a:pt x="6204" y="132"/>
                  </a:lnTo>
                  <a:lnTo>
                    <a:pt x="6270" y="117"/>
                  </a:lnTo>
                  <a:lnTo>
                    <a:pt x="6334" y="103"/>
                  </a:lnTo>
                  <a:lnTo>
                    <a:pt x="6399" y="90"/>
                  </a:lnTo>
                  <a:lnTo>
                    <a:pt x="6465" y="78"/>
                  </a:lnTo>
                  <a:lnTo>
                    <a:pt x="6530" y="67"/>
                  </a:lnTo>
                  <a:lnTo>
                    <a:pt x="6595" y="56"/>
                  </a:lnTo>
                  <a:lnTo>
                    <a:pt x="6661" y="47"/>
                  </a:lnTo>
                  <a:lnTo>
                    <a:pt x="6726" y="38"/>
                  </a:lnTo>
                  <a:lnTo>
                    <a:pt x="6793" y="30"/>
                  </a:lnTo>
                  <a:lnTo>
                    <a:pt x="6858" y="24"/>
                  </a:lnTo>
                  <a:lnTo>
                    <a:pt x="6924" y="17"/>
                  </a:lnTo>
                  <a:lnTo>
                    <a:pt x="6991" y="12"/>
                  </a:lnTo>
                  <a:lnTo>
                    <a:pt x="7057" y="8"/>
                  </a:lnTo>
                  <a:lnTo>
                    <a:pt x="7123" y="4"/>
                  </a:lnTo>
                  <a:lnTo>
                    <a:pt x="7190" y="2"/>
                  </a:lnTo>
                  <a:lnTo>
                    <a:pt x="7256" y="1"/>
                  </a:lnTo>
                  <a:lnTo>
                    <a:pt x="7324" y="0"/>
                  </a:lnTo>
                  <a:lnTo>
                    <a:pt x="7390" y="1"/>
                  </a:lnTo>
                  <a:lnTo>
                    <a:pt x="7456" y="3"/>
                  </a:lnTo>
                  <a:lnTo>
                    <a:pt x="7524" y="5"/>
                  </a:lnTo>
                  <a:lnTo>
                    <a:pt x="7590" y="9"/>
                  </a:lnTo>
                  <a:lnTo>
                    <a:pt x="7658" y="13"/>
                  </a:lnTo>
                  <a:lnTo>
                    <a:pt x="7724" y="19"/>
                  </a:lnTo>
                  <a:lnTo>
                    <a:pt x="7791" y="26"/>
                  </a:lnTo>
                  <a:lnTo>
                    <a:pt x="7859" y="34"/>
                  </a:lnTo>
                  <a:lnTo>
                    <a:pt x="7925" y="43"/>
                  </a:lnTo>
                  <a:lnTo>
                    <a:pt x="7992" y="52"/>
                  </a:lnTo>
                  <a:lnTo>
                    <a:pt x="8060" y="63"/>
                  </a:lnTo>
                  <a:lnTo>
                    <a:pt x="8127" y="75"/>
                  </a:lnTo>
                  <a:lnTo>
                    <a:pt x="8194" y="87"/>
                  </a:lnTo>
                  <a:lnTo>
                    <a:pt x="8261" y="101"/>
                  </a:lnTo>
                  <a:lnTo>
                    <a:pt x="8328" y="116"/>
                  </a:lnTo>
                  <a:lnTo>
                    <a:pt x="8395" y="132"/>
                  </a:lnTo>
                  <a:lnTo>
                    <a:pt x="8444" y="144"/>
                  </a:lnTo>
                  <a:lnTo>
                    <a:pt x="8492" y="157"/>
                  </a:lnTo>
                  <a:lnTo>
                    <a:pt x="8541" y="171"/>
                  </a:lnTo>
                  <a:lnTo>
                    <a:pt x="8589" y="185"/>
                  </a:lnTo>
                  <a:lnTo>
                    <a:pt x="8637" y="199"/>
                  </a:lnTo>
                  <a:lnTo>
                    <a:pt x="8684" y="216"/>
                  </a:lnTo>
                  <a:lnTo>
                    <a:pt x="8732" y="231"/>
                  </a:lnTo>
                  <a:lnTo>
                    <a:pt x="8779" y="248"/>
                  </a:lnTo>
                  <a:lnTo>
                    <a:pt x="8872" y="282"/>
                  </a:lnTo>
                  <a:lnTo>
                    <a:pt x="8964" y="318"/>
                  </a:lnTo>
                  <a:lnTo>
                    <a:pt x="9055" y="357"/>
                  </a:lnTo>
                  <a:lnTo>
                    <a:pt x="9146" y="398"/>
                  </a:lnTo>
                  <a:lnTo>
                    <a:pt x="9234" y="440"/>
                  </a:lnTo>
                  <a:lnTo>
                    <a:pt x="9323" y="485"/>
                  </a:lnTo>
                  <a:lnTo>
                    <a:pt x="9409" y="531"/>
                  </a:lnTo>
                  <a:lnTo>
                    <a:pt x="9496" y="579"/>
                  </a:lnTo>
                  <a:lnTo>
                    <a:pt x="9580" y="629"/>
                  </a:lnTo>
                  <a:lnTo>
                    <a:pt x="9665" y="680"/>
                  </a:lnTo>
                  <a:lnTo>
                    <a:pt x="9748" y="733"/>
                  </a:lnTo>
                  <a:lnTo>
                    <a:pt x="9831" y="788"/>
                  </a:lnTo>
                  <a:lnTo>
                    <a:pt x="9912" y="843"/>
                  </a:lnTo>
                  <a:lnTo>
                    <a:pt x="9993" y="901"/>
                  </a:lnTo>
                  <a:lnTo>
                    <a:pt x="10072" y="960"/>
                  </a:lnTo>
                  <a:lnTo>
                    <a:pt x="10151" y="1020"/>
                  </a:lnTo>
                  <a:lnTo>
                    <a:pt x="10229" y="1081"/>
                  </a:lnTo>
                  <a:lnTo>
                    <a:pt x="10306" y="1144"/>
                  </a:lnTo>
                  <a:lnTo>
                    <a:pt x="10382" y="1207"/>
                  </a:lnTo>
                  <a:lnTo>
                    <a:pt x="10457" y="1272"/>
                  </a:lnTo>
                  <a:lnTo>
                    <a:pt x="10532" y="1338"/>
                  </a:lnTo>
                  <a:lnTo>
                    <a:pt x="10606" y="1404"/>
                  </a:lnTo>
                  <a:lnTo>
                    <a:pt x="10680" y="1473"/>
                  </a:lnTo>
                  <a:lnTo>
                    <a:pt x="10752" y="1541"/>
                  </a:lnTo>
                  <a:lnTo>
                    <a:pt x="10824" y="1610"/>
                  </a:lnTo>
                  <a:lnTo>
                    <a:pt x="10895" y="1680"/>
                  </a:lnTo>
                  <a:lnTo>
                    <a:pt x="10964" y="1751"/>
                  </a:lnTo>
                  <a:lnTo>
                    <a:pt x="11035" y="1823"/>
                  </a:lnTo>
                  <a:close/>
                </a:path>
              </a:pathLst>
            </a:custGeom>
            <a:solidFill>
              <a:srgbClr val="6D90A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1286" name="Freeform 9">
              <a:extLst>
                <a:ext uri="{FF2B5EF4-FFF2-40B4-BE49-F238E27FC236}">
                  <a16:creationId xmlns:a16="http://schemas.microsoft.com/office/drawing/2014/main" id="{B6FA5AEA-6023-0157-83BF-18AE002333A3}"/>
                </a:ext>
              </a:extLst>
            </p:cNvPr>
            <p:cNvSpPr>
              <a:spLocks/>
            </p:cNvSpPr>
            <p:nvPr/>
          </p:nvSpPr>
          <p:spPr bwMode="auto">
            <a:xfrm>
              <a:off x="3838953" y="2204864"/>
              <a:ext cx="2143801" cy="1446513"/>
            </a:xfrm>
            <a:custGeom>
              <a:avLst/>
              <a:gdLst>
                <a:gd name="T0" fmla="*/ 2147483646 w 12590"/>
                <a:gd name="T1" fmla="*/ 2147483646 h 8493"/>
                <a:gd name="T2" fmla="*/ 2147483646 w 12590"/>
                <a:gd name="T3" fmla="*/ 2147483646 h 8493"/>
                <a:gd name="T4" fmla="*/ 2147483646 w 12590"/>
                <a:gd name="T5" fmla="*/ 2147483646 h 8493"/>
                <a:gd name="T6" fmla="*/ 2147483646 w 12590"/>
                <a:gd name="T7" fmla="*/ 2147483646 h 8493"/>
                <a:gd name="T8" fmla="*/ 2147483646 w 12590"/>
                <a:gd name="T9" fmla="*/ 2147483646 h 8493"/>
                <a:gd name="T10" fmla="*/ 2147483646 w 12590"/>
                <a:gd name="T11" fmla="*/ 2147483646 h 8493"/>
                <a:gd name="T12" fmla="*/ 2147483646 w 12590"/>
                <a:gd name="T13" fmla="*/ 2147483646 h 8493"/>
                <a:gd name="T14" fmla="*/ 2147483646 w 12590"/>
                <a:gd name="T15" fmla="*/ 2147483646 h 8493"/>
                <a:gd name="T16" fmla="*/ 2147483646 w 12590"/>
                <a:gd name="T17" fmla="*/ 2147483646 h 8493"/>
                <a:gd name="T18" fmla="*/ 2147483646 w 12590"/>
                <a:gd name="T19" fmla="*/ 2147483646 h 8493"/>
                <a:gd name="T20" fmla="*/ 2147483646 w 12590"/>
                <a:gd name="T21" fmla="*/ 2147483646 h 8493"/>
                <a:gd name="T22" fmla="*/ 2147483646 w 12590"/>
                <a:gd name="T23" fmla="*/ 2147483646 h 8493"/>
                <a:gd name="T24" fmla="*/ 2147483646 w 12590"/>
                <a:gd name="T25" fmla="*/ 2147483646 h 8493"/>
                <a:gd name="T26" fmla="*/ 2147483646 w 12590"/>
                <a:gd name="T27" fmla="*/ 2147483646 h 8493"/>
                <a:gd name="T28" fmla="*/ 2147483646 w 12590"/>
                <a:gd name="T29" fmla="*/ 2147483646 h 8493"/>
                <a:gd name="T30" fmla="*/ 2147483646 w 12590"/>
                <a:gd name="T31" fmla="*/ 2147483646 h 8493"/>
                <a:gd name="T32" fmla="*/ 2147483646 w 12590"/>
                <a:gd name="T33" fmla="*/ 2147483646 h 8493"/>
                <a:gd name="T34" fmla="*/ 2147483646 w 12590"/>
                <a:gd name="T35" fmla="*/ 2147483646 h 8493"/>
                <a:gd name="T36" fmla="*/ 2147483646 w 12590"/>
                <a:gd name="T37" fmla="*/ 2147483646 h 8493"/>
                <a:gd name="T38" fmla="*/ 2147483646 w 12590"/>
                <a:gd name="T39" fmla="*/ 2147483646 h 8493"/>
                <a:gd name="T40" fmla="*/ 2147483646 w 12590"/>
                <a:gd name="T41" fmla="*/ 2147483646 h 8493"/>
                <a:gd name="T42" fmla="*/ 2147483646 w 12590"/>
                <a:gd name="T43" fmla="*/ 2147483646 h 8493"/>
                <a:gd name="T44" fmla="*/ 2147483646 w 12590"/>
                <a:gd name="T45" fmla="*/ 2147483646 h 8493"/>
                <a:gd name="T46" fmla="*/ 2147483646 w 12590"/>
                <a:gd name="T47" fmla="*/ 2147483646 h 8493"/>
                <a:gd name="T48" fmla="*/ 2147483646 w 12590"/>
                <a:gd name="T49" fmla="*/ 2147483646 h 8493"/>
                <a:gd name="T50" fmla="*/ 2147483646 w 12590"/>
                <a:gd name="T51" fmla="*/ 2147483646 h 8493"/>
                <a:gd name="T52" fmla="*/ 2147483646 w 12590"/>
                <a:gd name="T53" fmla="*/ 2147483646 h 8493"/>
                <a:gd name="T54" fmla="*/ 2147483646 w 12590"/>
                <a:gd name="T55" fmla="*/ 2147483646 h 8493"/>
                <a:gd name="T56" fmla="*/ 2147483646 w 12590"/>
                <a:gd name="T57" fmla="*/ 2147483646 h 8493"/>
                <a:gd name="T58" fmla="*/ 2147483646 w 12590"/>
                <a:gd name="T59" fmla="*/ 2147483646 h 8493"/>
                <a:gd name="T60" fmla="*/ 2147483646 w 12590"/>
                <a:gd name="T61" fmla="*/ 2147483646 h 8493"/>
                <a:gd name="T62" fmla="*/ 2147483646 w 12590"/>
                <a:gd name="T63" fmla="*/ 2147483646 h 8493"/>
                <a:gd name="T64" fmla="*/ 2147483646 w 12590"/>
                <a:gd name="T65" fmla="*/ 2147483646 h 8493"/>
                <a:gd name="T66" fmla="*/ 2147483646 w 12590"/>
                <a:gd name="T67" fmla="*/ 2147483646 h 8493"/>
                <a:gd name="T68" fmla="*/ 2147483646 w 12590"/>
                <a:gd name="T69" fmla="*/ 2147483646 h 8493"/>
                <a:gd name="T70" fmla="*/ 2147483646 w 12590"/>
                <a:gd name="T71" fmla="*/ 2147483646 h 8493"/>
                <a:gd name="T72" fmla="*/ 2147483646 w 12590"/>
                <a:gd name="T73" fmla="*/ 2147483646 h 8493"/>
                <a:gd name="T74" fmla="*/ 2147483646 w 12590"/>
                <a:gd name="T75" fmla="*/ 2147483646 h 8493"/>
                <a:gd name="T76" fmla="*/ 2147483646 w 12590"/>
                <a:gd name="T77" fmla="*/ 2147483646 h 8493"/>
                <a:gd name="T78" fmla="*/ 2147483646 w 12590"/>
                <a:gd name="T79" fmla="*/ 2147483646 h 8493"/>
                <a:gd name="T80" fmla="*/ 2147483646 w 12590"/>
                <a:gd name="T81" fmla="*/ 2147483646 h 8493"/>
                <a:gd name="T82" fmla="*/ 2147483646 w 12590"/>
                <a:gd name="T83" fmla="*/ 2147483646 h 8493"/>
                <a:gd name="T84" fmla="*/ 2147483646 w 12590"/>
                <a:gd name="T85" fmla="*/ 2147483646 h 8493"/>
                <a:gd name="T86" fmla="*/ 2147483646 w 12590"/>
                <a:gd name="T87" fmla="*/ 2147483646 h 8493"/>
                <a:gd name="T88" fmla="*/ 2147483646 w 12590"/>
                <a:gd name="T89" fmla="*/ 2147483646 h 8493"/>
                <a:gd name="T90" fmla="*/ 2147483646 w 12590"/>
                <a:gd name="T91" fmla="*/ 2147483646 h 8493"/>
                <a:gd name="T92" fmla="*/ 2147483646 w 12590"/>
                <a:gd name="T93" fmla="*/ 2147483646 h 8493"/>
                <a:gd name="T94" fmla="*/ 2147483646 w 12590"/>
                <a:gd name="T95" fmla="*/ 2147483646 h 8493"/>
                <a:gd name="T96" fmla="*/ 2147483646 w 12590"/>
                <a:gd name="T97" fmla="*/ 2147483646 h 8493"/>
                <a:gd name="T98" fmla="*/ 2147483646 w 12590"/>
                <a:gd name="T99" fmla="*/ 2147483646 h 8493"/>
                <a:gd name="T100" fmla="*/ 2147483646 w 12590"/>
                <a:gd name="T101" fmla="*/ 2147483646 h 8493"/>
                <a:gd name="T102" fmla="*/ 2147483646 w 12590"/>
                <a:gd name="T103" fmla="*/ 2147483646 h 8493"/>
                <a:gd name="T104" fmla="*/ 2147483646 w 12590"/>
                <a:gd name="T105" fmla="*/ 2147483646 h 8493"/>
                <a:gd name="T106" fmla="*/ 2147483646 w 12590"/>
                <a:gd name="T107" fmla="*/ 2147483646 h 8493"/>
                <a:gd name="T108" fmla="*/ 2147483646 w 12590"/>
                <a:gd name="T109" fmla="*/ 2147483646 h 8493"/>
                <a:gd name="T110" fmla="*/ 2147483646 w 12590"/>
                <a:gd name="T111" fmla="*/ 2147483646 h 8493"/>
                <a:gd name="T112" fmla="*/ 2147483646 w 12590"/>
                <a:gd name="T113" fmla="*/ 2147483646 h 8493"/>
                <a:gd name="T114" fmla="*/ 2147483646 w 12590"/>
                <a:gd name="T115" fmla="*/ 2147483646 h 8493"/>
                <a:gd name="T116" fmla="*/ 2147483646 w 12590"/>
                <a:gd name="T117" fmla="*/ 2147483646 h 8493"/>
                <a:gd name="T118" fmla="*/ 2147483646 w 12590"/>
                <a:gd name="T119" fmla="*/ 2147483646 h 849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2590" h="8493">
                  <a:moveTo>
                    <a:pt x="11839" y="8493"/>
                  </a:moveTo>
                  <a:lnTo>
                    <a:pt x="11839" y="8493"/>
                  </a:lnTo>
                  <a:lnTo>
                    <a:pt x="11843" y="8485"/>
                  </a:lnTo>
                  <a:lnTo>
                    <a:pt x="11846" y="8476"/>
                  </a:lnTo>
                  <a:lnTo>
                    <a:pt x="11849" y="8467"/>
                  </a:lnTo>
                  <a:lnTo>
                    <a:pt x="11851" y="8458"/>
                  </a:lnTo>
                  <a:lnTo>
                    <a:pt x="11854" y="8438"/>
                  </a:lnTo>
                  <a:lnTo>
                    <a:pt x="11855" y="8418"/>
                  </a:lnTo>
                  <a:lnTo>
                    <a:pt x="11854" y="8398"/>
                  </a:lnTo>
                  <a:lnTo>
                    <a:pt x="11851" y="8376"/>
                  </a:lnTo>
                  <a:lnTo>
                    <a:pt x="11846" y="8354"/>
                  </a:lnTo>
                  <a:lnTo>
                    <a:pt x="11839" y="8331"/>
                  </a:lnTo>
                  <a:lnTo>
                    <a:pt x="11831" y="8309"/>
                  </a:lnTo>
                  <a:lnTo>
                    <a:pt x="11822" y="8286"/>
                  </a:lnTo>
                  <a:lnTo>
                    <a:pt x="11811" y="8262"/>
                  </a:lnTo>
                  <a:lnTo>
                    <a:pt x="11799" y="8239"/>
                  </a:lnTo>
                  <a:lnTo>
                    <a:pt x="11786" y="8216"/>
                  </a:lnTo>
                  <a:lnTo>
                    <a:pt x="11772" y="8192"/>
                  </a:lnTo>
                  <a:lnTo>
                    <a:pt x="11757" y="8168"/>
                  </a:lnTo>
                  <a:lnTo>
                    <a:pt x="11742" y="8145"/>
                  </a:lnTo>
                  <a:lnTo>
                    <a:pt x="11726" y="8123"/>
                  </a:lnTo>
                  <a:lnTo>
                    <a:pt x="11709" y="8100"/>
                  </a:lnTo>
                  <a:lnTo>
                    <a:pt x="11674" y="8057"/>
                  </a:lnTo>
                  <a:lnTo>
                    <a:pt x="11639" y="8016"/>
                  </a:lnTo>
                  <a:lnTo>
                    <a:pt x="11605" y="7978"/>
                  </a:lnTo>
                  <a:lnTo>
                    <a:pt x="11571" y="7944"/>
                  </a:lnTo>
                  <a:lnTo>
                    <a:pt x="11540" y="7915"/>
                  </a:lnTo>
                  <a:lnTo>
                    <a:pt x="11511" y="7890"/>
                  </a:lnTo>
                  <a:lnTo>
                    <a:pt x="11487" y="7872"/>
                  </a:lnTo>
                  <a:lnTo>
                    <a:pt x="11467" y="7858"/>
                  </a:lnTo>
                  <a:lnTo>
                    <a:pt x="11446" y="7845"/>
                  </a:lnTo>
                  <a:lnTo>
                    <a:pt x="11425" y="7832"/>
                  </a:lnTo>
                  <a:lnTo>
                    <a:pt x="11404" y="7819"/>
                  </a:lnTo>
                  <a:lnTo>
                    <a:pt x="11382" y="7808"/>
                  </a:lnTo>
                  <a:lnTo>
                    <a:pt x="11361" y="7797"/>
                  </a:lnTo>
                  <a:lnTo>
                    <a:pt x="11316" y="7777"/>
                  </a:lnTo>
                  <a:lnTo>
                    <a:pt x="11271" y="7759"/>
                  </a:lnTo>
                  <a:lnTo>
                    <a:pt x="11226" y="7743"/>
                  </a:lnTo>
                  <a:lnTo>
                    <a:pt x="11180" y="7729"/>
                  </a:lnTo>
                  <a:lnTo>
                    <a:pt x="11132" y="7717"/>
                  </a:lnTo>
                  <a:lnTo>
                    <a:pt x="11085" y="7707"/>
                  </a:lnTo>
                  <a:lnTo>
                    <a:pt x="11038" y="7698"/>
                  </a:lnTo>
                  <a:lnTo>
                    <a:pt x="10988" y="7691"/>
                  </a:lnTo>
                  <a:lnTo>
                    <a:pt x="10940" y="7685"/>
                  </a:lnTo>
                  <a:lnTo>
                    <a:pt x="10891" y="7681"/>
                  </a:lnTo>
                  <a:lnTo>
                    <a:pt x="10842" y="7678"/>
                  </a:lnTo>
                  <a:lnTo>
                    <a:pt x="10791" y="7676"/>
                  </a:lnTo>
                  <a:lnTo>
                    <a:pt x="10741" y="7675"/>
                  </a:lnTo>
                  <a:lnTo>
                    <a:pt x="10691" y="7675"/>
                  </a:lnTo>
                  <a:lnTo>
                    <a:pt x="10641" y="7676"/>
                  </a:lnTo>
                  <a:lnTo>
                    <a:pt x="10590" y="7678"/>
                  </a:lnTo>
                  <a:lnTo>
                    <a:pt x="10540" y="7680"/>
                  </a:lnTo>
                  <a:lnTo>
                    <a:pt x="10439" y="7686"/>
                  </a:lnTo>
                  <a:lnTo>
                    <a:pt x="10340" y="7693"/>
                  </a:lnTo>
                  <a:lnTo>
                    <a:pt x="10143" y="7707"/>
                  </a:lnTo>
                  <a:lnTo>
                    <a:pt x="10047" y="7713"/>
                  </a:lnTo>
                  <a:lnTo>
                    <a:pt x="10000" y="7716"/>
                  </a:lnTo>
                  <a:lnTo>
                    <a:pt x="9954" y="7718"/>
                  </a:lnTo>
                  <a:lnTo>
                    <a:pt x="9906" y="7719"/>
                  </a:lnTo>
                  <a:lnTo>
                    <a:pt x="9859" y="7719"/>
                  </a:lnTo>
                  <a:lnTo>
                    <a:pt x="9812" y="7718"/>
                  </a:lnTo>
                  <a:lnTo>
                    <a:pt x="9764" y="7717"/>
                  </a:lnTo>
                  <a:lnTo>
                    <a:pt x="9716" y="7715"/>
                  </a:lnTo>
                  <a:lnTo>
                    <a:pt x="9668" y="7712"/>
                  </a:lnTo>
                  <a:lnTo>
                    <a:pt x="9621" y="7709"/>
                  </a:lnTo>
                  <a:lnTo>
                    <a:pt x="9572" y="7705"/>
                  </a:lnTo>
                  <a:lnTo>
                    <a:pt x="9525" y="7700"/>
                  </a:lnTo>
                  <a:lnTo>
                    <a:pt x="9477" y="7694"/>
                  </a:lnTo>
                  <a:lnTo>
                    <a:pt x="9430" y="7688"/>
                  </a:lnTo>
                  <a:lnTo>
                    <a:pt x="9381" y="7682"/>
                  </a:lnTo>
                  <a:lnTo>
                    <a:pt x="9286" y="7667"/>
                  </a:lnTo>
                  <a:lnTo>
                    <a:pt x="9190" y="7648"/>
                  </a:lnTo>
                  <a:lnTo>
                    <a:pt x="9096" y="7628"/>
                  </a:lnTo>
                  <a:lnTo>
                    <a:pt x="9001" y="7607"/>
                  </a:lnTo>
                  <a:lnTo>
                    <a:pt x="8907" y="7583"/>
                  </a:lnTo>
                  <a:lnTo>
                    <a:pt x="8814" y="7558"/>
                  </a:lnTo>
                  <a:lnTo>
                    <a:pt x="8722" y="7531"/>
                  </a:lnTo>
                  <a:lnTo>
                    <a:pt x="8630" y="7503"/>
                  </a:lnTo>
                  <a:lnTo>
                    <a:pt x="8540" y="7474"/>
                  </a:lnTo>
                  <a:lnTo>
                    <a:pt x="8450" y="7442"/>
                  </a:lnTo>
                  <a:lnTo>
                    <a:pt x="8357" y="7408"/>
                  </a:lnTo>
                  <a:lnTo>
                    <a:pt x="8264" y="7372"/>
                  </a:lnTo>
                  <a:lnTo>
                    <a:pt x="8172" y="7334"/>
                  </a:lnTo>
                  <a:lnTo>
                    <a:pt x="8082" y="7294"/>
                  </a:lnTo>
                  <a:lnTo>
                    <a:pt x="7992" y="7252"/>
                  </a:lnTo>
                  <a:lnTo>
                    <a:pt x="7904" y="7208"/>
                  </a:lnTo>
                  <a:lnTo>
                    <a:pt x="7816" y="7163"/>
                  </a:lnTo>
                  <a:lnTo>
                    <a:pt x="7730" y="7115"/>
                  </a:lnTo>
                  <a:lnTo>
                    <a:pt x="7644" y="7065"/>
                  </a:lnTo>
                  <a:lnTo>
                    <a:pt x="7560" y="7014"/>
                  </a:lnTo>
                  <a:lnTo>
                    <a:pt x="7478" y="6961"/>
                  </a:lnTo>
                  <a:lnTo>
                    <a:pt x="7396" y="6905"/>
                  </a:lnTo>
                  <a:lnTo>
                    <a:pt x="7316" y="6849"/>
                  </a:lnTo>
                  <a:lnTo>
                    <a:pt x="7236" y="6791"/>
                  </a:lnTo>
                  <a:lnTo>
                    <a:pt x="7159" y="6729"/>
                  </a:lnTo>
                  <a:lnTo>
                    <a:pt x="7082" y="6668"/>
                  </a:lnTo>
                  <a:lnTo>
                    <a:pt x="7008" y="6604"/>
                  </a:lnTo>
                  <a:lnTo>
                    <a:pt x="6935" y="6538"/>
                  </a:lnTo>
                  <a:lnTo>
                    <a:pt x="6863" y="6471"/>
                  </a:lnTo>
                  <a:lnTo>
                    <a:pt x="6794" y="6402"/>
                  </a:lnTo>
                  <a:lnTo>
                    <a:pt x="6725" y="6331"/>
                  </a:lnTo>
                  <a:lnTo>
                    <a:pt x="6692" y="6295"/>
                  </a:lnTo>
                  <a:lnTo>
                    <a:pt x="6659" y="6259"/>
                  </a:lnTo>
                  <a:lnTo>
                    <a:pt x="6627" y="6222"/>
                  </a:lnTo>
                  <a:lnTo>
                    <a:pt x="6595" y="6184"/>
                  </a:lnTo>
                  <a:lnTo>
                    <a:pt x="6563" y="6147"/>
                  </a:lnTo>
                  <a:lnTo>
                    <a:pt x="6532" y="6109"/>
                  </a:lnTo>
                  <a:lnTo>
                    <a:pt x="6501" y="6070"/>
                  </a:lnTo>
                  <a:lnTo>
                    <a:pt x="6471" y="6032"/>
                  </a:lnTo>
                  <a:lnTo>
                    <a:pt x="6442" y="5992"/>
                  </a:lnTo>
                  <a:lnTo>
                    <a:pt x="6412" y="5952"/>
                  </a:lnTo>
                  <a:lnTo>
                    <a:pt x="6383" y="5912"/>
                  </a:lnTo>
                  <a:lnTo>
                    <a:pt x="6355" y="5872"/>
                  </a:lnTo>
                  <a:lnTo>
                    <a:pt x="6327" y="5830"/>
                  </a:lnTo>
                  <a:lnTo>
                    <a:pt x="6300" y="5789"/>
                  </a:lnTo>
                  <a:lnTo>
                    <a:pt x="6274" y="5748"/>
                  </a:lnTo>
                  <a:lnTo>
                    <a:pt x="6248" y="5706"/>
                  </a:lnTo>
                  <a:lnTo>
                    <a:pt x="6221" y="5663"/>
                  </a:lnTo>
                  <a:lnTo>
                    <a:pt x="6196" y="5620"/>
                  </a:lnTo>
                  <a:lnTo>
                    <a:pt x="6172" y="5577"/>
                  </a:lnTo>
                  <a:lnTo>
                    <a:pt x="6148" y="5534"/>
                  </a:lnTo>
                  <a:lnTo>
                    <a:pt x="6124" y="5489"/>
                  </a:lnTo>
                  <a:lnTo>
                    <a:pt x="6102" y="5445"/>
                  </a:lnTo>
                  <a:lnTo>
                    <a:pt x="5999" y="5242"/>
                  </a:lnTo>
                  <a:lnTo>
                    <a:pt x="5897" y="5038"/>
                  </a:lnTo>
                  <a:lnTo>
                    <a:pt x="5795" y="4835"/>
                  </a:lnTo>
                  <a:lnTo>
                    <a:pt x="5692" y="4632"/>
                  </a:lnTo>
                  <a:lnTo>
                    <a:pt x="5589" y="4431"/>
                  </a:lnTo>
                  <a:lnTo>
                    <a:pt x="5537" y="4330"/>
                  </a:lnTo>
                  <a:lnTo>
                    <a:pt x="5484" y="4231"/>
                  </a:lnTo>
                  <a:lnTo>
                    <a:pt x="5430" y="4131"/>
                  </a:lnTo>
                  <a:lnTo>
                    <a:pt x="5376" y="4031"/>
                  </a:lnTo>
                  <a:lnTo>
                    <a:pt x="5320" y="3934"/>
                  </a:lnTo>
                  <a:lnTo>
                    <a:pt x="5265" y="3836"/>
                  </a:lnTo>
                  <a:lnTo>
                    <a:pt x="5208" y="3739"/>
                  </a:lnTo>
                  <a:lnTo>
                    <a:pt x="5150" y="3643"/>
                  </a:lnTo>
                  <a:lnTo>
                    <a:pt x="5091" y="3548"/>
                  </a:lnTo>
                  <a:lnTo>
                    <a:pt x="5031" y="3453"/>
                  </a:lnTo>
                  <a:lnTo>
                    <a:pt x="4969" y="3360"/>
                  </a:lnTo>
                  <a:lnTo>
                    <a:pt x="4907" y="3267"/>
                  </a:lnTo>
                  <a:lnTo>
                    <a:pt x="4843" y="3176"/>
                  </a:lnTo>
                  <a:lnTo>
                    <a:pt x="4776" y="3085"/>
                  </a:lnTo>
                  <a:lnTo>
                    <a:pt x="4709" y="2996"/>
                  </a:lnTo>
                  <a:lnTo>
                    <a:pt x="4640" y="2908"/>
                  </a:lnTo>
                  <a:lnTo>
                    <a:pt x="4570" y="2821"/>
                  </a:lnTo>
                  <a:lnTo>
                    <a:pt x="4497" y="2735"/>
                  </a:lnTo>
                  <a:lnTo>
                    <a:pt x="4422" y="2652"/>
                  </a:lnTo>
                  <a:lnTo>
                    <a:pt x="4385" y="2609"/>
                  </a:lnTo>
                  <a:lnTo>
                    <a:pt x="4346" y="2568"/>
                  </a:lnTo>
                  <a:lnTo>
                    <a:pt x="4308" y="2528"/>
                  </a:lnTo>
                  <a:lnTo>
                    <a:pt x="4267" y="2487"/>
                  </a:lnTo>
                  <a:lnTo>
                    <a:pt x="4228" y="2448"/>
                  </a:lnTo>
                  <a:lnTo>
                    <a:pt x="4187" y="2407"/>
                  </a:lnTo>
                  <a:lnTo>
                    <a:pt x="4146" y="2368"/>
                  </a:lnTo>
                  <a:lnTo>
                    <a:pt x="4104" y="2329"/>
                  </a:lnTo>
                  <a:lnTo>
                    <a:pt x="4062" y="2291"/>
                  </a:lnTo>
                  <a:lnTo>
                    <a:pt x="4019" y="2253"/>
                  </a:lnTo>
                  <a:lnTo>
                    <a:pt x="3976" y="2215"/>
                  </a:lnTo>
                  <a:lnTo>
                    <a:pt x="3931" y="2178"/>
                  </a:lnTo>
                  <a:lnTo>
                    <a:pt x="3887" y="2141"/>
                  </a:lnTo>
                  <a:lnTo>
                    <a:pt x="3842" y="2105"/>
                  </a:lnTo>
                  <a:lnTo>
                    <a:pt x="3796" y="2069"/>
                  </a:lnTo>
                  <a:lnTo>
                    <a:pt x="3749" y="2033"/>
                  </a:lnTo>
                  <a:lnTo>
                    <a:pt x="3702" y="1999"/>
                  </a:lnTo>
                  <a:lnTo>
                    <a:pt x="3654" y="1964"/>
                  </a:lnTo>
                  <a:lnTo>
                    <a:pt x="3606" y="1931"/>
                  </a:lnTo>
                  <a:lnTo>
                    <a:pt x="3556" y="1897"/>
                  </a:lnTo>
                  <a:lnTo>
                    <a:pt x="3506" y="1863"/>
                  </a:lnTo>
                  <a:lnTo>
                    <a:pt x="3456" y="1831"/>
                  </a:lnTo>
                  <a:lnTo>
                    <a:pt x="3404" y="1799"/>
                  </a:lnTo>
                  <a:lnTo>
                    <a:pt x="3352" y="1768"/>
                  </a:lnTo>
                  <a:lnTo>
                    <a:pt x="3299" y="1737"/>
                  </a:lnTo>
                  <a:lnTo>
                    <a:pt x="3245" y="1706"/>
                  </a:lnTo>
                  <a:lnTo>
                    <a:pt x="3191" y="1676"/>
                  </a:lnTo>
                  <a:lnTo>
                    <a:pt x="3136" y="1647"/>
                  </a:lnTo>
                  <a:lnTo>
                    <a:pt x="3081" y="1618"/>
                  </a:lnTo>
                  <a:lnTo>
                    <a:pt x="3024" y="1590"/>
                  </a:lnTo>
                  <a:lnTo>
                    <a:pt x="2966" y="1562"/>
                  </a:lnTo>
                  <a:lnTo>
                    <a:pt x="2909" y="1535"/>
                  </a:lnTo>
                  <a:lnTo>
                    <a:pt x="2849" y="1508"/>
                  </a:lnTo>
                  <a:lnTo>
                    <a:pt x="2789" y="1482"/>
                  </a:lnTo>
                  <a:lnTo>
                    <a:pt x="2729" y="1457"/>
                  </a:lnTo>
                  <a:lnTo>
                    <a:pt x="2667" y="1432"/>
                  </a:lnTo>
                  <a:lnTo>
                    <a:pt x="2605" y="1408"/>
                  </a:lnTo>
                  <a:lnTo>
                    <a:pt x="2541" y="1385"/>
                  </a:lnTo>
                  <a:lnTo>
                    <a:pt x="2477" y="1362"/>
                  </a:lnTo>
                  <a:lnTo>
                    <a:pt x="2412" y="1338"/>
                  </a:lnTo>
                  <a:lnTo>
                    <a:pt x="2346" y="1317"/>
                  </a:lnTo>
                  <a:lnTo>
                    <a:pt x="2279" y="1296"/>
                  </a:lnTo>
                  <a:lnTo>
                    <a:pt x="2212" y="1276"/>
                  </a:lnTo>
                  <a:lnTo>
                    <a:pt x="2143" y="1256"/>
                  </a:lnTo>
                  <a:lnTo>
                    <a:pt x="2073" y="1237"/>
                  </a:lnTo>
                  <a:lnTo>
                    <a:pt x="2002" y="1218"/>
                  </a:lnTo>
                  <a:lnTo>
                    <a:pt x="1931" y="1201"/>
                  </a:lnTo>
                  <a:lnTo>
                    <a:pt x="1859" y="1184"/>
                  </a:lnTo>
                  <a:lnTo>
                    <a:pt x="1785" y="1166"/>
                  </a:lnTo>
                  <a:lnTo>
                    <a:pt x="1711" y="1151"/>
                  </a:lnTo>
                  <a:lnTo>
                    <a:pt x="1635" y="1136"/>
                  </a:lnTo>
                  <a:lnTo>
                    <a:pt x="1559" y="1121"/>
                  </a:lnTo>
                  <a:lnTo>
                    <a:pt x="1481" y="1108"/>
                  </a:lnTo>
                  <a:lnTo>
                    <a:pt x="1403" y="1095"/>
                  </a:lnTo>
                  <a:lnTo>
                    <a:pt x="1324" y="1083"/>
                  </a:lnTo>
                  <a:lnTo>
                    <a:pt x="1243" y="1071"/>
                  </a:lnTo>
                  <a:lnTo>
                    <a:pt x="1162" y="1061"/>
                  </a:lnTo>
                  <a:lnTo>
                    <a:pt x="1078" y="1051"/>
                  </a:lnTo>
                  <a:lnTo>
                    <a:pt x="995" y="1041"/>
                  </a:lnTo>
                  <a:lnTo>
                    <a:pt x="910" y="1033"/>
                  </a:lnTo>
                  <a:lnTo>
                    <a:pt x="824" y="1025"/>
                  </a:lnTo>
                  <a:lnTo>
                    <a:pt x="737" y="1018"/>
                  </a:lnTo>
                  <a:lnTo>
                    <a:pt x="649" y="1012"/>
                  </a:lnTo>
                  <a:lnTo>
                    <a:pt x="560" y="1007"/>
                  </a:lnTo>
                  <a:lnTo>
                    <a:pt x="470" y="1002"/>
                  </a:lnTo>
                  <a:lnTo>
                    <a:pt x="378" y="998"/>
                  </a:lnTo>
                  <a:lnTo>
                    <a:pt x="286" y="996"/>
                  </a:lnTo>
                  <a:lnTo>
                    <a:pt x="191" y="993"/>
                  </a:lnTo>
                  <a:lnTo>
                    <a:pt x="97" y="992"/>
                  </a:lnTo>
                  <a:lnTo>
                    <a:pt x="0" y="992"/>
                  </a:lnTo>
                  <a:lnTo>
                    <a:pt x="14" y="991"/>
                  </a:lnTo>
                  <a:lnTo>
                    <a:pt x="28" y="988"/>
                  </a:lnTo>
                  <a:lnTo>
                    <a:pt x="43" y="986"/>
                  </a:lnTo>
                  <a:lnTo>
                    <a:pt x="59" y="982"/>
                  </a:lnTo>
                  <a:lnTo>
                    <a:pt x="75" y="978"/>
                  </a:lnTo>
                  <a:lnTo>
                    <a:pt x="92" y="972"/>
                  </a:lnTo>
                  <a:lnTo>
                    <a:pt x="127" y="959"/>
                  </a:lnTo>
                  <a:lnTo>
                    <a:pt x="163" y="944"/>
                  </a:lnTo>
                  <a:lnTo>
                    <a:pt x="199" y="926"/>
                  </a:lnTo>
                  <a:lnTo>
                    <a:pt x="237" y="907"/>
                  </a:lnTo>
                  <a:lnTo>
                    <a:pt x="275" y="887"/>
                  </a:lnTo>
                  <a:lnTo>
                    <a:pt x="350" y="845"/>
                  </a:lnTo>
                  <a:lnTo>
                    <a:pt x="421" y="803"/>
                  </a:lnTo>
                  <a:lnTo>
                    <a:pt x="456" y="785"/>
                  </a:lnTo>
                  <a:lnTo>
                    <a:pt x="487" y="768"/>
                  </a:lnTo>
                  <a:lnTo>
                    <a:pt x="516" y="753"/>
                  </a:lnTo>
                  <a:lnTo>
                    <a:pt x="542" y="742"/>
                  </a:lnTo>
                  <a:lnTo>
                    <a:pt x="639" y="703"/>
                  </a:lnTo>
                  <a:lnTo>
                    <a:pt x="735" y="666"/>
                  </a:lnTo>
                  <a:lnTo>
                    <a:pt x="833" y="629"/>
                  </a:lnTo>
                  <a:lnTo>
                    <a:pt x="930" y="594"/>
                  </a:lnTo>
                  <a:lnTo>
                    <a:pt x="1028" y="560"/>
                  </a:lnTo>
                  <a:lnTo>
                    <a:pt x="1126" y="527"/>
                  </a:lnTo>
                  <a:lnTo>
                    <a:pt x="1225" y="495"/>
                  </a:lnTo>
                  <a:lnTo>
                    <a:pt x="1324" y="465"/>
                  </a:lnTo>
                  <a:lnTo>
                    <a:pt x="1423" y="434"/>
                  </a:lnTo>
                  <a:lnTo>
                    <a:pt x="1523" y="405"/>
                  </a:lnTo>
                  <a:lnTo>
                    <a:pt x="1623" y="378"/>
                  </a:lnTo>
                  <a:lnTo>
                    <a:pt x="1724" y="351"/>
                  </a:lnTo>
                  <a:lnTo>
                    <a:pt x="1823" y="325"/>
                  </a:lnTo>
                  <a:lnTo>
                    <a:pt x="1925" y="301"/>
                  </a:lnTo>
                  <a:lnTo>
                    <a:pt x="2026" y="277"/>
                  </a:lnTo>
                  <a:lnTo>
                    <a:pt x="2127" y="253"/>
                  </a:lnTo>
                  <a:lnTo>
                    <a:pt x="2257" y="225"/>
                  </a:lnTo>
                  <a:lnTo>
                    <a:pt x="2389" y="199"/>
                  </a:lnTo>
                  <a:lnTo>
                    <a:pt x="2520" y="175"/>
                  </a:lnTo>
                  <a:lnTo>
                    <a:pt x="2653" y="152"/>
                  </a:lnTo>
                  <a:lnTo>
                    <a:pt x="2786" y="130"/>
                  </a:lnTo>
                  <a:lnTo>
                    <a:pt x="2919" y="111"/>
                  </a:lnTo>
                  <a:lnTo>
                    <a:pt x="3052" y="92"/>
                  </a:lnTo>
                  <a:lnTo>
                    <a:pt x="3187" y="75"/>
                  </a:lnTo>
                  <a:lnTo>
                    <a:pt x="3322" y="60"/>
                  </a:lnTo>
                  <a:lnTo>
                    <a:pt x="3457" y="47"/>
                  </a:lnTo>
                  <a:lnTo>
                    <a:pt x="3592" y="35"/>
                  </a:lnTo>
                  <a:lnTo>
                    <a:pt x="3728" y="25"/>
                  </a:lnTo>
                  <a:lnTo>
                    <a:pt x="3864" y="17"/>
                  </a:lnTo>
                  <a:lnTo>
                    <a:pt x="4001" y="10"/>
                  </a:lnTo>
                  <a:lnTo>
                    <a:pt x="4138" y="5"/>
                  </a:lnTo>
                  <a:lnTo>
                    <a:pt x="4274" y="2"/>
                  </a:lnTo>
                  <a:lnTo>
                    <a:pt x="4411" y="0"/>
                  </a:lnTo>
                  <a:lnTo>
                    <a:pt x="4548" y="0"/>
                  </a:lnTo>
                  <a:lnTo>
                    <a:pt x="4685" y="2"/>
                  </a:lnTo>
                  <a:lnTo>
                    <a:pt x="4822" y="5"/>
                  </a:lnTo>
                  <a:lnTo>
                    <a:pt x="4959" y="10"/>
                  </a:lnTo>
                  <a:lnTo>
                    <a:pt x="5096" y="17"/>
                  </a:lnTo>
                  <a:lnTo>
                    <a:pt x="5234" y="25"/>
                  </a:lnTo>
                  <a:lnTo>
                    <a:pt x="5371" y="35"/>
                  </a:lnTo>
                  <a:lnTo>
                    <a:pt x="5507" y="47"/>
                  </a:lnTo>
                  <a:lnTo>
                    <a:pt x="5645" y="60"/>
                  </a:lnTo>
                  <a:lnTo>
                    <a:pt x="5781" y="75"/>
                  </a:lnTo>
                  <a:lnTo>
                    <a:pt x="5918" y="93"/>
                  </a:lnTo>
                  <a:lnTo>
                    <a:pt x="6054" y="111"/>
                  </a:lnTo>
                  <a:lnTo>
                    <a:pt x="6190" y="132"/>
                  </a:lnTo>
                  <a:lnTo>
                    <a:pt x="6326" y="153"/>
                  </a:lnTo>
                  <a:lnTo>
                    <a:pt x="6462" y="177"/>
                  </a:lnTo>
                  <a:lnTo>
                    <a:pt x="6597" y="202"/>
                  </a:lnTo>
                  <a:lnTo>
                    <a:pt x="6731" y="229"/>
                  </a:lnTo>
                  <a:lnTo>
                    <a:pt x="6866" y="258"/>
                  </a:lnTo>
                  <a:lnTo>
                    <a:pt x="7000" y="290"/>
                  </a:lnTo>
                  <a:lnTo>
                    <a:pt x="7134" y="322"/>
                  </a:lnTo>
                  <a:lnTo>
                    <a:pt x="7266" y="356"/>
                  </a:lnTo>
                  <a:lnTo>
                    <a:pt x="7398" y="391"/>
                  </a:lnTo>
                  <a:lnTo>
                    <a:pt x="7531" y="429"/>
                  </a:lnTo>
                  <a:lnTo>
                    <a:pt x="7662" y="469"/>
                  </a:lnTo>
                  <a:lnTo>
                    <a:pt x="7792" y="510"/>
                  </a:lnTo>
                  <a:lnTo>
                    <a:pt x="7922" y="552"/>
                  </a:lnTo>
                  <a:lnTo>
                    <a:pt x="8052" y="597"/>
                  </a:lnTo>
                  <a:lnTo>
                    <a:pt x="8181" y="644"/>
                  </a:lnTo>
                  <a:lnTo>
                    <a:pt x="8308" y="692"/>
                  </a:lnTo>
                  <a:lnTo>
                    <a:pt x="8435" y="742"/>
                  </a:lnTo>
                  <a:lnTo>
                    <a:pt x="8561" y="793"/>
                  </a:lnTo>
                  <a:lnTo>
                    <a:pt x="8686" y="847"/>
                  </a:lnTo>
                  <a:lnTo>
                    <a:pt x="8811" y="902"/>
                  </a:lnTo>
                  <a:lnTo>
                    <a:pt x="8935" y="959"/>
                  </a:lnTo>
                  <a:lnTo>
                    <a:pt x="9057" y="1019"/>
                  </a:lnTo>
                  <a:lnTo>
                    <a:pt x="9178" y="1079"/>
                  </a:lnTo>
                  <a:lnTo>
                    <a:pt x="9299" y="1141"/>
                  </a:lnTo>
                  <a:lnTo>
                    <a:pt x="9419" y="1206"/>
                  </a:lnTo>
                  <a:lnTo>
                    <a:pt x="9537" y="1272"/>
                  </a:lnTo>
                  <a:lnTo>
                    <a:pt x="9655" y="1339"/>
                  </a:lnTo>
                  <a:lnTo>
                    <a:pt x="9771" y="1409"/>
                  </a:lnTo>
                  <a:lnTo>
                    <a:pt x="9886" y="1480"/>
                  </a:lnTo>
                  <a:lnTo>
                    <a:pt x="10000" y="1554"/>
                  </a:lnTo>
                  <a:lnTo>
                    <a:pt x="10113" y="1629"/>
                  </a:lnTo>
                  <a:lnTo>
                    <a:pt x="10224" y="1706"/>
                  </a:lnTo>
                  <a:lnTo>
                    <a:pt x="10335" y="1785"/>
                  </a:lnTo>
                  <a:lnTo>
                    <a:pt x="10443" y="1865"/>
                  </a:lnTo>
                  <a:lnTo>
                    <a:pt x="10498" y="1907"/>
                  </a:lnTo>
                  <a:lnTo>
                    <a:pt x="10551" y="1948"/>
                  </a:lnTo>
                  <a:lnTo>
                    <a:pt x="10604" y="1990"/>
                  </a:lnTo>
                  <a:lnTo>
                    <a:pt x="10657" y="2033"/>
                  </a:lnTo>
                  <a:lnTo>
                    <a:pt x="10709" y="2077"/>
                  </a:lnTo>
                  <a:lnTo>
                    <a:pt x="10760" y="2121"/>
                  </a:lnTo>
                  <a:lnTo>
                    <a:pt x="10811" y="2165"/>
                  </a:lnTo>
                  <a:lnTo>
                    <a:pt x="10862" y="2209"/>
                  </a:lnTo>
                  <a:lnTo>
                    <a:pt x="10911" y="2255"/>
                  </a:lnTo>
                  <a:lnTo>
                    <a:pt x="10961" y="2301"/>
                  </a:lnTo>
                  <a:lnTo>
                    <a:pt x="11010" y="2347"/>
                  </a:lnTo>
                  <a:lnTo>
                    <a:pt x="11058" y="2394"/>
                  </a:lnTo>
                  <a:lnTo>
                    <a:pt x="11106" y="2442"/>
                  </a:lnTo>
                  <a:lnTo>
                    <a:pt x="11152" y="2490"/>
                  </a:lnTo>
                  <a:lnTo>
                    <a:pt x="11200" y="2538"/>
                  </a:lnTo>
                  <a:lnTo>
                    <a:pt x="11245" y="2586"/>
                  </a:lnTo>
                  <a:lnTo>
                    <a:pt x="11291" y="2637"/>
                  </a:lnTo>
                  <a:lnTo>
                    <a:pt x="11335" y="2686"/>
                  </a:lnTo>
                  <a:lnTo>
                    <a:pt x="11380" y="2736"/>
                  </a:lnTo>
                  <a:lnTo>
                    <a:pt x="11423" y="2787"/>
                  </a:lnTo>
                  <a:lnTo>
                    <a:pt x="11466" y="2839"/>
                  </a:lnTo>
                  <a:lnTo>
                    <a:pt x="11508" y="2890"/>
                  </a:lnTo>
                  <a:lnTo>
                    <a:pt x="11550" y="2942"/>
                  </a:lnTo>
                  <a:lnTo>
                    <a:pt x="11591" y="2996"/>
                  </a:lnTo>
                  <a:lnTo>
                    <a:pt x="11630" y="3049"/>
                  </a:lnTo>
                  <a:lnTo>
                    <a:pt x="11670" y="3102"/>
                  </a:lnTo>
                  <a:lnTo>
                    <a:pt x="11709" y="3157"/>
                  </a:lnTo>
                  <a:lnTo>
                    <a:pt x="11747" y="3211"/>
                  </a:lnTo>
                  <a:lnTo>
                    <a:pt x="11784" y="3266"/>
                  </a:lnTo>
                  <a:lnTo>
                    <a:pt x="11821" y="3321"/>
                  </a:lnTo>
                  <a:lnTo>
                    <a:pt x="11856" y="3377"/>
                  </a:lnTo>
                  <a:lnTo>
                    <a:pt x="11892" y="3433"/>
                  </a:lnTo>
                  <a:lnTo>
                    <a:pt x="11927" y="3490"/>
                  </a:lnTo>
                  <a:lnTo>
                    <a:pt x="11960" y="3548"/>
                  </a:lnTo>
                  <a:lnTo>
                    <a:pt x="11993" y="3605"/>
                  </a:lnTo>
                  <a:lnTo>
                    <a:pt x="12025" y="3663"/>
                  </a:lnTo>
                  <a:lnTo>
                    <a:pt x="12057" y="3722"/>
                  </a:lnTo>
                  <a:lnTo>
                    <a:pt x="12087" y="3780"/>
                  </a:lnTo>
                  <a:lnTo>
                    <a:pt x="12117" y="3839"/>
                  </a:lnTo>
                  <a:lnTo>
                    <a:pt x="12146" y="3900"/>
                  </a:lnTo>
                  <a:lnTo>
                    <a:pt x="12174" y="3959"/>
                  </a:lnTo>
                  <a:lnTo>
                    <a:pt x="12201" y="4019"/>
                  </a:lnTo>
                  <a:lnTo>
                    <a:pt x="12228" y="4081"/>
                  </a:lnTo>
                  <a:lnTo>
                    <a:pt x="12253" y="4142"/>
                  </a:lnTo>
                  <a:lnTo>
                    <a:pt x="12278" y="4203"/>
                  </a:lnTo>
                  <a:lnTo>
                    <a:pt x="12302" y="4266"/>
                  </a:lnTo>
                  <a:lnTo>
                    <a:pt x="12325" y="4328"/>
                  </a:lnTo>
                  <a:lnTo>
                    <a:pt x="12347" y="4391"/>
                  </a:lnTo>
                  <a:lnTo>
                    <a:pt x="12368" y="4455"/>
                  </a:lnTo>
                  <a:lnTo>
                    <a:pt x="12388" y="4518"/>
                  </a:lnTo>
                  <a:lnTo>
                    <a:pt x="12408" y="4582"/>
                  </a:lnTo>
                  <a:lnTo>
                    <a:pt x="12427" y="4647"/>
                  </a:lnTo>
                  <a:lnTo>
                    <a:pt x="12444" y="4711"/>
                  </a:lnTo>
                  <a:lnTo>
                    <a:pt x="12461" y="4777"/>
                  </a:lnTo>
                  <a:lnTo>
                    <a:pt x="12476" y="4842"/>
                  </a:lnTo>
                  <a:lnTo>
                    <a:pt x="12491" y="4907"/>
                  </a:lnTo>
                  <a:lnTo>
                    <a:pt x="12505" y="4974"/>
                  </a:lnTo>
                  <a:lnTo>
                    <a:pt x="12517" y="5040"/>
                  </a:lnTo>
                  <a:lnTo>
                    <a:pt x="12529" y="5107"/>
                  </a:lnTo>
                  <a:lnTo>
                    <a:pt x="12540" y="5175"/>
                  </a:lnTo>
                  <a:lnTo>
                    <a:pt x="12550" y="5242"/>
                  </a:lnTo>
                  <a:lnTo>
                    <a:pt x="12558" y="5309"/>
                  </a:lnTo>
                  <a:lnTo>
                    <a:pt x="12566" y="5378"/>
                  </a:lnTo>
                  <a:lnTo>
                    <a:pt x="12574" y="5446"/>
                  </a:lnTo>
                  <a:lnTo>
                    <a:pt x="12578" y="5497"/>
                  </a:lnTo>
                  <a:lnTo>
                    <a:pt x="12582" y="5547"/>
                  </a:lnTo>
                  <a:lnTo>
                    <a:pt x="12585" y="5597"/>
                  </a:lnTo>
                  <a:lnTo>
                    <a:pt x="12587" y="5647"/>
                  </a:lnTo>
                  <a:lnTo>
                    <a:pt x="12589" y="5698"/>
                  </a:lnTo>
                  <a:lnTo>
                    <a:pt x="12590" y="5748"/>
                  </a:lnTo>
                  <a:lnTo>
                    <a:pt x="12590" y="5797"/>
                  </a:lnTo>
                  <a:lnTo>
                    <a:pt x="12590" y="5847"/>
                  </a:lnTo>
                  <a:lnTo>
                    <a:pt x="12588" y="5947"/>
                  </a:lnTo>
                  <a:lnTo>
                    <a:pt x="12584" y="6046"/>
                  </a:lnTo>
                  <a:lnTo>
                    <a:pt x="12577" y="6144"/>
                  </a:lnTo>
                  <a:lnTo>
                    <a:pt x="12567" y="6243"/>
                  </a:lnTo>
                  <a:lnTo>
                    <a:pt x="12556" y="6341"/>
                  </a:lnTo>
                  <a:lnTo>
                    <a:pt x="12543" y="6439"/>
                  </a:lnTo>
                  <a:lnTo>
                    <a:pt x="12528" y="6536"/>
                  </a:lnTo>
                  <a:lnTo>
                    <a:pt x="12511" y="6633"/>
                  </a:lnTo>
                  <a:lnTo>
                    <a:pt x="12492" y="6729"/>
                  </a:lnTo>
                  <a:lnTo>
                    <a:pt x="12471" y="6826"/>
                  </a:lnTo>
                  <a:lnTo>
                    <a:pt x="12448" y="6922"/>
                  </a:lnTo>
                  <a:lnTo>
                    <a:pt x="12424" y="7018"/>
                  </a:lnTo>
                  <a:lnTo>
                    <a:pt x="12398" y="7113"/>
                  </a:lnTo>
                  <a:lnTo>
                    <a:pt x="12369" y="7208"/>
                  </a:lnTo>
                  <a:lnTo>
                    <a:pt x="12340" y="7303"/>
                  </a:lnTo>
                  <a:lnTo>
                    <a:pt x="12309" y="7396"/>
                  </a:lnTo>
                  <a:lnTo>
                    <a:pt x="12276" y="7490"/>
                  </a:lnTo>
                  <a:lnTo>
                    <a:pt x="12243" y="7583"/>
                  </a:lnTo>
                  <a:lnTo>
                    <a:pt x="12207" y="7676"/>
                  </a:lnTo>
                  <a:lnTo>
                    <a:pt x="12170" y="7768"/>
                  </a:lnTo>
                  <a:lnTo>
                    <a:pt x="12133" y="7861"/>
                  </a:lnTo>
                  <a:lnTo>
                    <a:pt x="12094" y="7952"/>
                  </a:lnTo>
                  <a:lnTo>
                    <a:pt x="12054" y="8044"/>
                  </a:lnTo>
                  <a:lnTo>
                    <a:pt x="12013" y="8134"/>
                  </a:lnTo>
                  <a:lnTo>
                    <a:pt x="11971" y="8225"/>
                  </a:lnTo>
                  <a:lnTo>
                    <a:pt x="11928" y="8315"/>
                  </a:lnTo>
                  <a:lnTo>
                    <a:pt x="11884" y="8405"/>
                  </a:lnTo>
                  <a:lnTo>
                    <a:pt x="11839" y="8493"/>
                  </a:lnTo>
                  <a:close/>
                </a:path>
              </a:pathLst>
            </a:custGeom>
            <a:solidFill>
              <a:srgbClr val="023A5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1" name="Oval 40">
              <a:extLst>
                <a:ext uri="{FF2B5EF4-FFF2-40B4-BE49-F238E27FC236}">
                  <a16:creationId xmlns:a16="http://schemas.microsoft.com/office/drawing/2014/main" id="{FA888B11-3E41-9EFB-66D8-ED213C40C515}"/>
                </a:ext>
              </a:extLst>
            </p:cNvPr>
            <p:cNvSpPr/>
            <p:nvPr/>
          </p:nvSpPr>
          <p:spPr>
            <a:xfrm>
              <a:off x="5703126" y="4293736"/>
              <a:ext cx="390043" cy="389756"/>
            </a:xfrm>
            <a:prstGeom prst="ellipse">
              <a:avLst/>
            </a:prstGeom>
            <a:noFill/>
            <a:ln w="28575">
              <a:solidFill>
                <a:schemeClr val="bg1"/>
              </a:solidFill>
            </a:ln>
            <a:effectLst>
              <a:outerShdw blurRad="508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a:latin typeface="Arial Black" panose="020B0A04020102020204" pitchFamily="34" charset="0"/>
                </a:rPr>
                <a:t>2</a:t>
              </a:r>
            </a:p>
          </p:txBody>
        </p:sp>
        <p:sp>
          <p:nvSpPr>
            <p:cNvPr id="42" name="Oval 41">
              <a:extLst>
                <a:ext uri="{FF2B5EF4-FFF2-40B4-BE49-F238E27FC236}">
                  <a16:creationId xmlns:a16="http://schemas.microsoft.com/office/drawing/2014/main" id="{567CA951-64B7-1E18-08B1-8AFF6286EB41}"/>
                </a:ext>
              </a:extLst>
            </p:cNvPr>
            <p:cNvSpPr/>
            <p:nvPr/>
          </p:nvSpPr>
          <p:spPr>
            <a:xfrm>
              <a:off x="5179111" y="2799375"/>
              <a:ext cx="390043" cy="389756"/>
            </a:xfrm>
            <a:prstGeom prst="ellipse">
              <a:avLst/>
            </a:prstGeom>
            <a:noFill/>
            <a:ln w="28575">
              <a:solidFill>
                <a:schemeClr val="bg1"/>
              </a:solidFill>
            </a:ln>
            <a:effectLst>
              <a:outerShdw blurRad="508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a:latin typeface="Arial Black" panose="020B0A04020102020204" pitchFamily="34" charset="0"/>
                </a:rPr>
                <a:t>1</a:t>
              </a:r>
            </a:p>
          </p:txBody>
        </p:sp>
        <p:sp>
          <p:nvSpPr>
            <p:cNvPr id="43" name="Oval 42">
              <a:extLst>
                <a:ext uri="{FF2B5EF4-FFF2-40B4-BE49-F238E27FC236}">
                  <a16:creationId xmlns:a16="http://schemas.microsoft.com/office/drawing/2014/main" id="{B2F7F7DF-68CE-8E4C-3D36-397301A49C12}"/>
                </a:ext>
              </a:extLst>
            </p:cNvPr>
            <p:cNvSpPr/>
            <p:nvPr/>
          </p:nvSpPr>
          <p:spPr>
            <a:xfrm>
              <a:off x="4375282" y="5186401"/>
              <a:ext cx="390043" cy="389755"/>
            </a:xfrm>
            <a:prstGeom prst="ellipse">
              <a:avLst/>
            </a:prstGeom>
            <a:noFill/>
            <a:ln w="28575">
              <a:solidFill>
                <a:schemeClr val="bg1"/>
              </a:solidFill>
            </a:ln>
            <a:effectLst>
              <a:outerShdw blurRad="508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a:latin typeface="Arial Black" panose="020B0A04020102020204" pitchFamily="34" charset="0"/>
                </a:rPr>
                <a:t>3</a:t>
              </a:r>
            </a:p>
          </p:txBody>
        </p:sp>
        <p:sp>
          <p:nvSpPr>
            <p:cNvPr id="44" name="Oval 43">
              <a:extLst>
                <a:ext uri="{FF2B5EF4-FFF2-40B4-BE49-F238E27FC236}">
                  <a16:creationId xmlns:a16="http://schemas.microsoft.com/office/drawing/2014/main" id="{16AC1971-E882-F7BB-EB9C-075088F3A32B}"/>
                </a:ext>
              </a:extLst>
            </p:cNvPr>
            <p:cNvSpPr/>
            <p:nvPr/>
          </p:nvSpPr>
          <p:spPr>
            <a:xfrm>
              <a:off x="3096619" y="4293736"/>
              <a:ext cx="390043" cy="389756"/>
            </a:xfrm>
            <a:prstGeom prst="ellipse">
              <a:avLst/>
            </a:prstGeom>
            <a:noFill/>
            <a:ln w="28575">
              <a:solidFill>
                <a:schemeClr val="bg1"/>
              </a:solidFill>
            </a:ln>
            <a:effectLst>
              <a:outerShdw blurRad="508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a:latin typeface="Arial Black" panose="020B0A04020102020204" pitchFamily="34" charset="0"/>
                </a:rPr>
                <a:t>4</a:t>
              </a:r>
            </a:p>
          </p:txBody>
        </p:sp>
        <p:sp>
          <p:nvSpPr>
            <p:cNvPr id="45" name="Oval 44">
              <a:extLst>
                <a:ext uri="{FF2B5EF4-FFF2-40B4-BE49-F238E27FC236}">
                  <a16:creationId xmlns:a16="http://schemas.microsoft.com/office/drawing/2014/main" id="{8B5700DD-A0FB-DD3F-2310-54069E81DBB3}"/>
                </a:ext>
              </a:extLst>
            </p:cNvPr>
            <p:cNvSpPr/>
            <p:nvPr/>
          </p:nvSpPr>
          <p:spPr>
            <a:xfrm>
              <a:off x="3534146" y="2799375"/>
              <a:ext cx="390043" cy="389756"/>
            </a:xfrm>
            <a:prstGeom prst="ellipse">
              <a:avLst/>
            </a:prstGeom>
            <a:noFill/>
            <a:ln w="28575">
              <a:solidFill>
                <a:schemeClr val="bg1"/>
              </a:solidFill>
            </a:ln>
            <a:effectLst>
              <a:outerShdw blurRad="508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a:latin typeface="Arial Black" panose="020B0A04020102020204" pitchFamily="34" charset="0"/>
                </a:rPr>
                <a:t>5</a:t>
              </a:r>
            </a:p>
          </p:txBody>
        </p:sp>
        <p:pic>
          <p:nvPicPr>
            <p:cNvPr id="11292" name="Ellipse 256">
              <a:extLst>
                <a:ext uri="{FF2B5EF4-FFF2-40B4-BE49-F238E27FC236}">
                  <a16:creationId xmlns:a16="http://schemas.microsoft.com/office/drawing/2014/main" id="{4DB0EB37-CE7D-7889-7520-42147FA9005F}"/>
                </a:ext>
              </a:extLst>
            </p:cNvPr>
            <p:cNvPicPr>
              <a:picLocks noChangeArrowheads="1"/>
            </p:cNvPicPr>
            <p:nvPr/>
          </p:nvPicPr>
          <p:blipFill>
            <a:blip r:embed="rId2">
              <a:lum bright="60000"/>
              <a:extLst>
                <a:ext uri="{28A0092B-C50C-407E-A947-70E740481C1C}">
                  <a14:useLocalDpi xmlns:a14="http://schemas.microsoft.com/office/drawing/2010/main" val="0"/>
                </a:ext>
              </a:extLst>
            </a:blip>
            <a:srcRect/>
            <a:stretch>
              <a:fillRect/>
            </a:stretch>
          </p:blipFill>
          <p:spPr bwMode="auto">
            <a:xfrm>
              <a:off x="2824835" y="6128171"/>
              <a:ext cx="3494330" cy="511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93" name="Text Box 369">
              <a:extLst>
                <a:ext uri="{FF2B5EF4-FFF2-40B4-BE49-F238E27FC236}">
                  <a16:creationId xmlns:a16="http://schemas.microsoft.com/office/drawing/2014/main" id="{301CEAE1-9FBF-A87C-DC93-268976A1DA6F}"/>
                </a:ext>
              </a:extLst>
            </p:cNvPr>
            <p:cNvSpPr txBox="1">
              <a:spLocks noChangeArrowheads="1"/>
            </p:cNvSpPr>
            <p:nvPr/>
          </p:nvSpPr>
          <p:spPr bwMode="auto">
            <a:xfrm>
              <a:off x="3341599" y="6205278"/>
              <a:ext cx="2457831" cy="356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Arial" panose="020B0604020202020204" pitchFamily="34" charset="0"/>
                <a:buChar char="•"/>
                <a:defRPr sz="2400">
                  <a:solidFill>
                    <a:schemeClr val="tx1"/>
                  </a:solidFill>
                  <a:latin typeface="Calibri" panose="020F0502020204030204" pitchFamily="34" charset="0"/>
                </a:defRPr>
              </a:lvl1pPr>
              <a:lvl2pPr marL="557213" indent="-214313">
                <a:spcBef>
                  <a:spcPct val="20000"/>
                </a:spcBef>
                <a:buFont typeface="Arial" panose="020B0604020202020204" pitchFamily="34" charset="0"/>
                <a:buChar char="–"/>
                <a:defRPr sz="2100">
                  <a:solidFill>
                    <a:schemeClr val="tx1"/>
                  </a:solidFill>
                  <a:latin typeface="Calibri" panose="020F0502020204030204" pitchFamily="34" charset="0"/>
                </a:defRPr>
              </a:lvl2pPr>
              <a:lvl3pPr marL="857250" indent="-171450">
                <a:spcBef>
                  <a:spcPct val="20000"/>
                </a:spcBef>
                <a:buFont typeface="Arial" panose="020B0604020202020204" pitchFamily="34" charset="0"/>
                <a:buChar char="•"/>
                <a:defRPr>
                  <a:solidFill>
                    <a:schemeClr val="tx1"/>
                  </a:solidFill>
                  <a:latin typeface="Calibri" panose="020F0502020204030204" pitchFamily="34" charset="0"/>
                </a:defRPr>
              </a:lvl3pPr>
              <a:lvl4pPr marL="1200150" indent="-171450">
                <a:spcBef>
                  <a:spcPct val="20000"/>
                </a:spcBef>
                <a:buFont typeface="Arial" panose="020B0604020202020204" pitchFamily="34" charset="0"/>
                <a:buChar char="–"/>
                <a:defRPr sz="1500">
                  <a:solidFill>
                    <a:schemeClr val="tx1"/>
                  </a:solidFill>
                  <a:latin typeface="Calibri" panose="020F0502020204030204" pitchFamily="34" charset="0"/>
                </a:defRPr>
              </a:lvl4pPr>
              <a:lvl5pPr marL="1543050" indent="-171450">
                <a:spcBef>
                  <a:spcPct val="20000"/>
                </a:spcBef>
                <a:buFont typeface="Arial" panose="020B0604020202020204" pitchFamily="34" charset="0"/>
                <a:buChar char="»"/>
                <a:defRPr sz="1500">
                  <a:solidFill>
                    <a:schemeClr val="tx1"/>
                  </a:solidFill>
                  <a:latin typeface="Calibri" panose="020F0502020204030204" pitchFamily="34" charset="0"/>
                </a:defRPr>
              </a:lvl5pPr>
              <a:lvl6pPr marL="2000250" indent="-171450" eaLnBrk="0" fontAlgn="base" hangingPunct="0">
                <a:spcBef>
                  <a:spcPct val="20000"/>
                </a:spcBef>
                <a:spcAft>
                  <a:spcPct val="0"/>
                </a:spcAft>
                <a:buFont typeface="Arial" panose="020B0604020202020204" pitchFamily="34" charset="0"/>
                <a:buChar char="»"/>
                <a:defRPr sz="1500">
                  <a:solidFill>
                    <a:schemeClr val="tx1"/>
                  </a:solidFill>
                  <a:latin typeface="Calibri" panose="020F0502020204030204" pitchFamily="34" charset="0"/>
                </a:defRPr>
              </a:lvl6pPr>
              <a:lvl7pPr marL="2457450" indent="-171450" eaLnBrk="0" fontAlgn="base" hangingPunct="0">
                <a:spcBef>
                  <a:spcPct val="20000"/>
                </a:spcBef>
                <a:spcAft>
                  <a:spcPct val="0"/>
                </a:spcAft>
                <a:buFont typeface="Arial" panose="020B0604020202020204" pitchFamily="34" charset="0"/>
                <a:buChar char="»"/>
                <a:defRPr sz="1500">
                  <a:solidFill>
                    <a:schemeClr val="tx1"/>
                  </a:solidFill>
                  <a:latin typeface="Calibri" panose="020F0502020204030204" pitchFamily="34" charset="0"/>
                </a:defRPr>
              </a:lvl7pPr>
              <a:lvl8pPr marL="2914650" indent="-171450" eaLnBrk="0" fontAlgn="base" hangingPunct="0">
                <a:spcBef>
                  <a:spcPct val="20000"/>
                </a:spcBef>
                <a:spcAft>
                  <a:spcPct val="0"/>
                </a:spcAft>
                <a:buFont typeface="Arial" panose="020B0604020202020204" pitchFamily="34" charset="0"/>
                <a:buChar char="»"/>
                <a:defRPr sz="1500">
                  <a:solidFill>
                    <a:schemeClr val="tx1"/>
                  </a:solidFill>
                  <a:latin typeface="Calibri" panose="020F0502020204030204" pitchFamily="34" charset="0"/>
                </a:defRPr>
              </a:lvl8pPr>
              <a:lvl9pPr marL="3371850" indent="-171450" eaLnBrk="0" fontAlgn="base" hangingPunct="0">
                <a:spcBef>
                  <a:spcPct val="20000"/>
                </a:spcBef>
                <a:spcAft>
                  <a:spcPct val="0"/>
                </a:spcAft>
                <a:buFont typeface="Arial" panose="020B0604020202020204" pitchFamily="34" charset="0"/>
                <a:buChar char="»"/>
                <a:defRPr sz="1500">
                  <a:solidFill>
                    <a:schemeClr val="tx1"/>
                  </a:solidFill>
                  <a:latin typeface="Calibri" panose="020F0502020204030204" pitchFamily="34" charset="0"/>
                </a:defRPr>
              </a:lvl9pPr>
            </a:lstStyle>
            <a:p>
              <a:pPr algn="ctr" eaLnBrk="1" hangingPunct="1">
                <a:spcBef>
                  <a:spcPct val="0"/>
                </a:spcBef>
                <a:buFontTx/>
                <a:buNone/>
              </a:pPr>
              <a:endParaRPr lang="en-NG" altLang="en-US" sz="1800" noProof="1">
                <a:solidFill>
                  <a:srgbClr val="FFFFFF"/>
                </a:solidFill>
                <a:ea typeface="MS PGothic" panose="020B0600070205080204" pitchFamily="34" charset="-128"/>
              </a:endParaRPr>
            </a:p>
          </p:txBody>
        </p:sp>
      </p:grpSp>
      <p:grpSp>
        <p:nvGrpSpPr>
          <p:cNvPr id="11269" name="Group 47">
            <a:extLst>
              <a:ext uri="{FF2B5EF4-FFF2-40B4-BE49-F238E27FC236}">
                <a16:creationId xmlns:a16="http://schemas.microsoft.com/office/drawing/2014/main" id="{B7593867-2C67-14CE-25DC-C97A4896E5C1}"/>
              </a:ext>
            </a:extLst>
          </p:cNvPr>
          <p:cNvGrpSpPr>
            <a:grpSpLocks/>
          </p:cNvGrpSpPr>
          <p:nvPr/>
        </p:nvGrpSpPr>
        <p:grpSpPr bwMode="auto">
          <a:xfrm>
            <a:off x="6292850" y="3355104"/>
            <a:ext cx="4019550" cy="434975"/>
            <a:chOff x="4932040" y="2243398"/>
            <a:chExt cx="3888110" cy="556797"/>
          </a:xfrm>
        </p:grpSpPr>
        <p:sp>
          <p:nvSpPr>
            <p:cNvPr id="49" name="Rounded Rectangle 48">
              <a:extLst>
                <a:ext uri="{FF2B5EF4-FFF2-40B4-BE49-F238E27FC236}">
                  <a16:creationId xmlns:a16="http://schemas.microsoft.com/office/drawing/2014/main" id="{894476D0-B3DC-308B-AC67-92FEF4CD4ECC}"/>
                </a:ext>
              </a:extLst>
            </p:cNvPr>
            <p:cNvSpPr/>
            <p:nvPr/>
          </p:nvSpPr>
          <p:spPr>
            <a:xfrm>
              <a:off x="4932040" y="2243398"/>
              <a:ext cx="3888110" cy="556797"/>
            </a:xfrm>
            <a:prstGeom prst="roundRect">
              <a:avLst>
                <a:gd name="adj" fmla="val 13209"/>
              </a:avLst>
            </a:prstGeom>
            <a:solidFill>
              <a:srgbClr val="F7B619"/>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48640" anchor="ctr"/>
            <a:lstStyle/>
            <a:p>
              <a:pPr eaLnBrk="1" hangingPunct="1">
                <a:defRPr/>
              </a:pPr>
              <a:r>
                <a:rPr lang="en-US" altLang="en-US" sz="2000" dirty="0"/>
                <a:t>C&amp;T protocols and guidelines</a:t>
              </a:r>
            </a:p>
          </p:txBody>
        </p:sp>
        <p:sp>
          <p:nvSpPr>
            <p:cNvPr id="50" name="Oval 49">
              <a:extLst>
                <a:ext uri="{FF2B5EF4-FFF2-40B4-BE49-F238E27FC236}">
                  <a16:creationId xmlns:a16="http://schemas.microsoft.com/office/drawing/2014/main" id="{1B0F1543-88DF-05A0-CE2A-E63D3C406397}"/>
                </a:ext>
              </a:extLst>
            </p:cNvPr>
            <p:cNvSpPr/>
            <p:nvPr/>
          </p:nvSpPr>
          <p:spPr>
            <a:xfrm>
              <a:off x="5067172" y="2373453"/>
              <a:ext cx="296369" cy="296687"/>
            </a:xfrm>
            <a:prstGeom prst="ellipse">
              <a:avLst/>
            </a:prstGeom>
            <a:noFill/>
            <a:ln w="28575">
              <a:solidFill>
                <a:schemeClr val="bg1"/>
              </a:solidFill>
            </a:ln>
            <a:effectLst>
              <a:outerShdw blurRad="508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b="1" dirty="0">
                  <a:latin typeface="Arial Black" panose="020B0A04020102020204" pitchFamily="34" charset="0"/>
                </a:rPr>
                <a:t>2</a:t>
              </a:r>
            </a:p>
          </p:txBody>
        </p:sp>
      </p:grpSp>
      <p:grpSp>
        <p:nvGrpSpPr>
          <p:cNvPr id="11270" name="Group 50">
            <a:extLst>
              <a:ext uri="{FF2B5EF4-FFF2-40B4-BE49-F238E27FC236}">
                <a16:creationId xmlns:a16="http://schemas.microsoft.com/office/drawing/2014/main" id="{BD614312-7840-9C92-13F4-5B0783B0E25E}"/>
              </a:ext>
            </a:extLst>
          </p:cNvPr>
          <p:cNvGrpSpPr>
            <a:grpSpLocks/>
          </p:cNvGrpSpPr>
          <p:nvPr/>
        </p:nvGrpSpPr>
        <p:grpSpPr bwMode="auto">
          <a:xfrm>
            <a:off x="6292850" y="4145679"/>
            <a:ext cx="4019550" cy="434975"/>
            <a:chOff x="5084440" y="1728459"/>
            <a:chExt cx="3888110" cy="556797"/>
          </a:xfrm>
        </p:grpSpPr>
        <p:sp>
          <p:nvSpPr>
            <p:cNvPr id="52" name="Rounded Rectangle 51">
              <a:extLst>
                <a:ext uri="{FF2B5EF4-FFF2-40B4-BE49-F238E27FC236}">
                  <a16:creationId xmlns:a16="http://schemas.microsoft.com/office/drawing/2014/main" id="{00611B6F-BFC4-7083-B0BA-177561536377}"/>
                </a:ext>
              </a:extLst>
            </p:cNvPr>
            <p:cNvSpPr/>
            <p:nvPr/>
          </p:nvSpPr>
          <p:spPr>
            <a:xfrm>
              <a:off x="5084440" y="1728459"/>
              <a:ext cx="3888110" cy="556797"/>
            </a:xfrm>
            <a:prstGeom prst="roundRect">
              <a:avLst>
                <a:gd name="adj" fmla="val 13209"/>
              </a:avLst>
            </a:prstGeom>
            <a:solidFill>
              <a:srgbClr val="0D939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48640" anchor="ctr"/>
            <a:lstStyle/>
            <a:p>
              <a:pPr eaLnBrk="1" hangingPunct="1">
                <a:defRPr/>
              </a:pPr>
              <a:r>
                <a:rPr lang="en-US" altLang="en-US" sz="2000" dirty="0"/>
                <a:t>Training materials</a:t>
              </a:r>
            </a:p>
          </p:txBody>
        </p:sp>
        <p:sp>
          <p:nvSpPr>
            <p:cNvPr id="53" name="Oval 52">
              <a:extLst>
                <a:ext uri="{FF2B5EF4-FFF2-40B4-BE49-F238E27FC236}">
                  <a16:creationId xmlns:a16="http://schemas.microsoft.com/office/drawing/2014/main" id="{9CCA87DC-FCC4-FD18-019E-86549906B2A1}"/>
                </a:ext>
              </a:extLst>
            </p:cNvPr>
            <p:cNvSpPr/>
            <p:nvPr/>
          </p:nvSpPr>
          <p:spPr>
            <a:xfrm>
              <a:off x="5219572" y="1858514"/>
              <a:ext cx="296369" cy="296687"/>
            </a:xfrm>
            <a:prstGeom prst="ellipse">
              <a:avLst/>
            </a:prstGeom>
            <a:noFill/>
            <a:ln w="28575">
              <a:solidFill>
                <a:schemeClr val="bg1"/>
              </a:solidFill>
            </a:ln>
            <a:effectLst>
              <a:outerShdw blurRad="508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b="1" dirty="0">
                  <a:latin typeface="Arial Black" panose="020B0A04020102020204" pitchFamily="34" charset="0"/>
                </a:rPr>
                <a:t>3</a:t>
              </a:r>
            </a:p>
          </p:txBody>
        </p:sp>
      </p:grpSp>
      <p:grpSp>
        <p:nvGrpSpPr>
          <p:cNvPr id="11271" name="Group 53">
            <a:extLst>
              <a:ext uri="{FF2B5EF4-FFF2-40B4-BE49-F238E27FC236}">
                <a16:creationId xmlns:a16="http://schemas.microsoft.com/office/drawing/2014/main" id="{D7D0FDC7-DCC8-377D-C6E2-B440B2C1B7D8}"/>
              </a:ext>
            </a:extLst>
          </p:cNvPr>
          <p:cNvGrpSpPr>
            <a:grpSpLocks/>
          </p:cNvGrpSpPr>
          <p:nvPr/>
        </p:nvGrpSpPr>
        <p:grpSpPr bwMode="auto">
          <a:xfrm>
            <a:off x="6292850" y="4928316"/>
            <a:ext cx="4019550" cy="434975"/>
            <a:chOff x="5084440" y="1728459"/>
            <a:chExt cx="3888110" cy="556797"/>
          </a:xfrm>
        </p:grpSpPr>
        <p:sp>
          <p:nvSpPr>
            <p:cNvPr id="55" name="Rounded Rectangle 54">
              <a:extLst>
                <a:ext uri="{FF2B5EF4-FFF2-40B4-BE49-F238E27FC236}">
                  <a16:creationId xmlns:a16="http://schemas.microsoft.com/office/drawing/2014/main" id="{57723654-CAD3-5BD4-4179-C67315C92076}"/>
                </a:ext>
              </a:extLst>
            </p:cNvPr>
            <p:cNvSpPr/>
            <p:nvPr/>
          </p:nvSpPr>
          <p:spPr>
            <a:xfrm>
              <a:off x="5084440" y="1728459"/>
              <a:ext cx="3888110" cy="556797"/>
            </a:xfrm>
            <a:prstGeom prst="roundRect">
              <a:avLst>
                <a:gd name="adj" fmla="val 13209"/>
              </a:avLst>
            </a:prstGeom>
            <a:solidFill>
              <a:srgbClr val="86888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48640" anchor="ctr"/>
            <a:lstStyle/>
            <a:p>
              <a:pPr eaLnBrk="1" hangingPunct="1">
                <a:defRPr/>
              </a:pPr>
              <a:r>
                <a:rPr lang="en-US" altLang="en-US" sz="2000" dirty="0"/>
                <a:t>HIV test kits and other supplies</a:t>
              </a:r>
            </a:p>
          </p:txBody>
        </p:sp>
        <p:sp>
          <p:nvSpPr>
            <p:cNvPr id="56" name="Oval 55">
              <a:extLst>
                <a:ext uri="{FF2B5EF4-FFF2-40B4-BE49-F238E27FC236}">
                  <a16:creationId xmlns:a16="http://schemas.microsoft.com/office/drawing/2014/main" id="{E0F6790A-B336-2B36-CF01-0E4002AF176E}"/>
                </a:ext>
              </a:extLst>
            </p:cNvPr>
            <p:cNvSpPr/>
            <p:nvPr/>
          </p:nvSpPr>
          <p:spPr>
            <a:xfrm>
              <a:off x="5219572" y="1858514"/>
              <a:ext cx="296369" cy="296687"/>
            </a:xfrm>
            <a:prstGeom prst="ellipse">
              <a:avLst/>
            </a:prstGeom>
            <a:noFill/>
            <a:ln w="28575">
              <a:solidFill>
                <a:schemeClr val="bg1"/>
              </a:solidFill>
            </a:ln>
            <a:effectLst>
              <a:outerShdw blurRad="508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b="1" dirty="0">
                  <a:latin typeface="Arial Black" panose="020B0A04020102020204" pitchFamily="34" charset="0"/>
                </a:rPr>
                <a:t>4</a:t>
              </a:r>
            </a:p>
          </p:txBody>
        </p:sp>
      </p:grpSp>
      <p:grpSp>
        <p:nvGrpSpPr>
          <p:cNvPr id="11272" name="Group 56">
            <a:extLst>
              <a:ext uri="{FF2B5EF4-FFF2-40B4-BE49-F238E27FC236}">
                <a16:creationId xmlns:a16="http://schemas.microsoft.com/office/drawing/2014/main" id="{B6A9CB11-25A0-327A-9B8E-81D87E22F39E}"/>
              </a:ext>
            </a:extLst>
          </p:cNvPr>
          <p:cNvGrpSpPr>
            <a:grpSpLocks/>
          </p:cNvGrpSpPr>
          <p:nvPr/>
        </p:nvGrpSpPr>
        <p:grpSpPr bwMode="auto">
          <a:xfrm>
            <a:off x="6292850" y="5709366"/>
            <a:ext cx="4019550" cy="434975"/>
            <a:chOff x="5084440" y="1728459"/>
            <a:chExt cx="3888110" cy="556797"/>
          </a:xfrm>
        </p:grpSpPr>
        <p:sp>
          <p:nvSpPr>
            <p:cNvPr id="58" name="Rounded Rectangle 57">
              <a:extLst>
                <a:ext uri="{FF2B5EF4-FFF2-40B4-BE49-F238E27FC236}">
                  <a16:creationId xmlns:a16="http://schemas.microsoft.com/office/drawing/2014/main" id="{91D34191-C5F6-0AD0-9D55-7BA8B9980BB3}"/>
                </a:ext>
              </a:extLst>
            </p:cNvPr>
            <p:cNvSpPr/>
            <p:nvPr/>
          </p:nvSpPr>
          <p:spPr>
            <a:xfrm>
              <a:off x="5084440" y="1728459"/>
              <a:ext cx="3888110" cy="556797"/>
            </a:xfrm>
            <a:prstGeom prst="roundRect">
              <a:avLst>
                <a:gd name="adj" fmla="val 13209"/>
              </a:avLst>
            </a:prstGeom>
            <a:solidFill>
              <a:srgbClr val="6D90A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48640" anchor="ctr"/>
            <a:lstStyle/>
            <a:p>
              <a:pPr eaLnBrk="1" hangingPunct="1">
                <a:defRPr/>
              </a:pPr>
              <a:r>
                <a:rPr lang="en-US" altLang="en-US" sz="2000" dirty="0"/>
                <a:t>Money</a:t>
              </a:r>
            </a:p>
          </p:txBody>
        </p:sp>
        <p:sp>
          <p:nvSpPr>
            <p:cNvPr id="59" name="Oval 58">
              <a:extLst>
                <a:ext uri="{FF2B5EF4-FFF2-40B4-BE49-F238E27FC236}">
                  <a16:creationId xmlns:a16="http://schemas.microsoft.com/office/drawing/2014/main" id="{06FDF52F-A5B0-6198-C6B6-B2ACCB59425B}"/>
                </a:ext>
              </a:extLst>
            </p:cNvPr>
            <p:cNvSpPr/>
            <p:nvPr/>
          </p:nvSpPr>
          <p:spPr>
            <a:xfrm>
              <a:off x="5219572" y="1858514"/>
              <a:ext cx="296369" cy="296687"/>
            </a:xfrm>
            <a:prstGeom prst="ellipse">
              <a:avLst/>
            </a:prstGeom>
            <a:noFill/>
            <a:ln w="28575">
              <a:solidFill>
                <a:schemeClr val="bg1"/>
              </a:solidFill>
            </a:ln>
            <a:effectLst>
              <a:outerShdw blurRad="508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b="1" dirty="0">
                  <a:latin typeface="Arial Black" panose="020B0A04020102020204" pitchFamily="34" charset="0"/>
                </a:rPr>
                <a:t>5</a:t>
              </a:r>
            </a:p>
          </p:txBody>
        </p:sp>
      </p:grpSp>
      <p:sp>
        <p:nvSpPr>
          <p:cNvPr id="11273" name="Title 1">
            <a:extLst>
              <a:ext uri="{FF2B5EF4-FFF2-40B4-BE49-F238E27FC236}">
                <a16:creationId xmlns:a16="http://schemas.microsoft.com/office/drawing/2014/main" id="{E8A560A2-B5E5-3D33-C9D7-8F9FDDDBFBB9}"/>
              </a:ext>
            </a:extLst>
          </p:cNvPr>
          <p:cNvSpPr txBox="1">
            <a:spLocks/>
          </p:cNvSpPr>
          <p:nvPr/>
        </p:nvSpPr>
        <p:spPr bwMode="auto">
          <a:xfrm>
            <a:off x="427703" y="1141413"/>
            <a:ext cx="9884697" cy="1223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685800">
              <a:spcBef>
                <a:spcPct val="20000"/>
              </a:spcBef>
              <a:buFont typeface="Arial" panose="020B0604020202020204" pitchFamily="34" charset="0"/>
              <a:buChar char="•"/>
              <a:defRPr sz="2400">
                <a:solidFill>
                  <a:schemeClr val="tx1"/>
                </a:solidFill>
                <a:latin typeface="Calibri" panose="020F0502020204030204" pitchFamily="34" charset="0"/>
              </a:defRPr>
            </a:lvl1pPr>
            <a:lvl2pPr marL="557213" indent="-214313" defTabSz="685800">
              <a:spcBef>
                <a:spcPct val="20000"/>
              </a:spcBef>
              <a:buFont typeface="Arial" panose="020B0604020202020204" pitchFamily="34" charset="0"/>
              <a:buChar char="–"/>
              <a:defRPr sz="2100">
                <a:solidFill>
                  <a:schemeClr val="tx1"/>
                </a:solidFill>
                <a:latin typeface="Calibri" panose="020F0502020204030204" pitchFamily="34" charset="0"/>
              </a:defRPr>
            </a:lvl2pPr>
            <a:lvl3pPr marL="857250" indent="-171450" defTabSz="685800">
              <a:spcBef>
                <a:spcPct val="20000"/>
              </a:spcBef>
              <a:buFont typeface="Arial" panose="020B0604020202020204" pitchFamily="34" charset="0"/>
              <a:buChar char="•"/>
              <a:defRPr>
                <a:solidFill>
                  <a:schemeClr val="tx1"/>
                </a:solidFill>
                <a:latin typeface="Calibri" panose="020F0502020204030204" pitchFamily="34" charset="0"/>
              </a:defRPr>
            </a:lvl3pPr>
            <a:lvl4pPr marL="1200150" indent="-171450" defTabSz="685800">
              <a:spcBef>
                <a:spcPct val="20000"/>
              </a:spcBef>
              <a:buFont typeface="Arial" panose="020B0604020202020204" pitchFamily="34" charset="0"/>
              <a:buChar char="–"/>
              <a:defRPr sz="1500">
                <a:solidFill>
                  <a:schemeClr val="tx1"/>
                </a:solidFill>
                <a:latin typeface="Calibri" panose="020F0502020204030204" pitchFamily="34" charset="0"/>
              </a:defRPr>
            </a:lvl4pPr>
            <a:lvl5pPr marL="1543050" indent="-171450" defTabSz="685800">
              <a:spcBef>
                <a:spcPct val="20000"/>
              </a:spcBef>
              <a:buFont typeface="Arial" panose="020B0604020202020204" pitchFamily="34" charset="0"/>
              <a:buChar char="»"/>
              <a:defRPr sz="1500">
                <a:solidFill>
                  <a:schemeClr val="tx1"/>
                </a:solidFill>
                <a:latin typeface="Calibri" panose="020F0502020204030204" pitchFamily="34" charset="0"/>
              </a:defRPr>
            </a:lvl5pPr>
            <a:lvl6pPr marL="2000250" indent="-171450" defTabSz="685800" eaLnBrk="0" fontAlgn="base" hangingPunct="0">
              <a:spcBef>
                <a:spcPct val="20000"/>
              </a:spcBef>
              <a:spcAft>
                <a:spcPct val="0"/>
              </a:spcAft>
              <a:buFont typeface="Arial" panose="020B0604020202020204" pitchFamily="34" charset="0"/>
              <a:buChar char="»"/>
              <a:defRPr sz="1500">
                <a:solidFill>
                  <a:schemeClr val="tx1"/>
                </a:solidFill>
                <a:latin typeface="Calibri" panose="020F0502020204030204" pitchFamily="34" charset="0"/>
              </a:defRPr>
            </a:lvl6pPr>
            <a:lvl7pPr marL="2457450" indent="-171450" defTabSz="685800" eaLnBrk="0" fontAlgn="base" hangingPunct="0">
              <a:spcBef>
                <a:spcPct val="20000"/>
              </a:spcBef>
              <a:spcAft>
                <a:spcPct val="0"/>
              </a:spcAft>
              <a:buFont typeface="Arial" panose="020B0604020202020204" pitchFamily="34" charset="0"/>
              <a:buChar char="»"/>
              <a:defRPr sz="1500">
                <a:solidFill>
                  <a:schemeClr val="tx1"/>
                </a:solidFill>
                <a:latin typeface="Calibri" panose="020F0502020204030204" pitchFamily="34" charset="0"/>
              </a:defRPr>
            </a:lvl7pPr>
            <a:lvl8pPr marL="2914650" indent="-171450" defTabSz="685800" eaLnBrk="0" fontAlgn="base" hangingPunct="0">
              <a:spcBef>
                <a:spcPct val="20000"/>
              </a:spcBef>
              <a:spcAft>
                <a:spcPct val="0"/>
              </a:spcAft>
              <a:buFont typeface="Arial" panose="020B0604020202020204" pitchFamily="34" charset="0"/>
              <a:buChar char="»"/>
              <a:defRPr sz="1500">
                <a:solidFill>
                  <a:schemeClr val="tx1"/>
                </a:solidFill>
                <a:latin typeface="Calibri" panose="020F0502020204030204" pitchFamily="34" charset="0"/>
              </a:defRPr>
            </a:lvl8pPr>
            <a:lvl9pPr marL="3371850" indent="-171450" defTabSz="685800" eaLnBrk="0" fontAlgn="base" hangingPunct="0">
              <a:spcBef>
                <a:spcPct val="20000"/>
              </a:spcBef>
              <a:spcAft>
                <a:spcPct val="0"/>
              </a:spcAft>
              <a:buFont typeface="Arial" panose="020B0604020202020204" pitchFamily="34" charset="0"/>
              <a:buChar char="»"/>
              <a:defRPr sz="1500">
                <a:solidFill>
                  <a:schemeClr val="tx1"/>
                </a:solidFill>
                <a:latin typeface="Calibri" panose="020F0502020204030204" pitchFamily="34" charset="0"/>
              </a:defRPr>
            </a:lvl9pPr>
          </a:lstStyle>
          <a:p>
            <a:pPr eaLnBrk="1" hangingPunct="1">
              <a:spcBef>
                <a:spcPct val="0"/>
              </a:spcBef>
              <a:buFontTx/>
              <a:buNone/>
            </a:pPr>
            <a:r>
              <a:rPr lang="yo-NG" altLang="en-US" b="1" i="1" dirty="0">
                <a:solidFill>
                  <a:srgbClr val="00B050"/>
                </a:solidFill>
                <a:cs typeface="Arial" panose="020B0604020202020204" pitchFamily="34" charset="0"/>
              </a:rPr>
              <a:t>Inputs are w</a:t>
            </a:r>
            <a:r>
              <a:rPr lang="en-US" altLang="en-US" b="1" i="1" dirty="0">
                <a:solidFill>
                  <a:srgbClr val="00B050"/>
                </a:solidFill>
                <a:cs typeface="Arial" panose="020B0604020202020204" pitchFamily="34" charset="0"/>
              </a:rPr>
              <a:t>hat you need to implement</a:t>
            </a:r>
            <a:r>
              <a:rPr lang="yo-NG" altLang="en-US" b="1" i="1" dirty="0">
                <a:solidFill>
                  <a:srgbClr val="00B050"/>
                </a:solidFill>
                <a:cs typeface="Arial" panose="020B0604020202020204" pitchFamily="34" charset="0"/>
              </a:rPr>
              <a:t> a</a:t>
            </a:r>
            <a:r>
              <a:rPr lang="en-US" altLang="en-US" b="1" i="1" dirty="0">
                <a:solidFill>
                  <a:srgbClr val="00B050"/>
                </a:solidFill>
                <a:cs typeface="Arial" panose="020B0604020202020204" pitchFamily="34" charset="0"/>
              </a:rPr>
              <a:t> program</a:t>
            </a:r>
            <a:r>
              <a:rPr lang="en-US" altLang="en-US" i="1" dirty="0"/>
              <a:t>. Inputs are</a:t>
            </a:r>
            <a:r>
              <a:rPr lang="en-US" altLang="en-US" dirty="0"/>
              <a:t> ‘</a:t>
            </a:r>
            <a:r>
              <a:rPr lang="en-US" altLang="en-US" i="1" dirty="0"/>
              <a:t>what we use to do the work’. </a:t>
            </a:r>
          </a:p>
          <a:p>
            <a:pPr eaLnBrk="1" hangingPunct="1">
              <a:lnSpc>
                <a:spcPct val="80000"/>
              </a:lnSpc>
              <a:spcBef>
                <a:spcPct val="0"/>
              </a:spcBef>
              <a:spcAft>
                <a:spcPct val="20000"/>
              </a:spcAft>
              <a:buClr>
                <a:schemeClr val="hlink"/>
              </a:buClr>
              <a:buFont typeface="Wingdings" panose="05000000000000000000" pitchFamily="2" charset="2"/>
              <a:buNone/>
            </a:pPr>
            <a:r>
              <a:rPr lang="en-US" altLang="en-US" b="1" i="1" dirty="0">
                <a:solidFill>
                  <a:srgbClr val="00B050"/>
                </a:solidFill>
                <a:cs typeface="Arial" panose="020B0604020202020204" pitchFamily="34" charset="0"/>
              </a:rPr>
              <a:t>e.g. Finances, personnel, equipment and other material resources – </a:t>
            </a:r>
          </a:p>
          <a:p>
            <a:pPr eaLnBrk="1" hangingPunct="1">
              <a:lnSpc>
                <a:spcPct val="80000"/>
              </a:lnSpc>
              <a:spcBef>
                <a:spcPct val="0"/>
              </a:spcBef>
              <a:spcAft>
                <a:spcPct val="20000"/>
              </a:spcAft>
              <a:buClr>
                <a:schemeClr val="hlink"/>
              </a:buClr>
              <a:buFont typeface="Wingdings" panose="05000000000000000000" pitchFamily="2" charset="2"/>
              <a:buNone/>
            </a:pPr>
            <a:r>
              <a:rPr lang="en-US" altLang="en-US" b="1" i="1" dirty="0">
                <a:solidFill>
                  <a:srgbClr val="00B050"/>
                </a:solidFill>
                <a:cs typeface="Arial" panose="020B0604020202020204" pitchFamily="34" charset="0"/>
              </a:rPr>
              <a:t>Typically called 3Ms – Men, Money and Materials</a:t>
            </a: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2351BB-1691-99C4-1CCC-F86C4086D48E}"/>
              </a:ext>
            </a:extLst>
          </p:cNvPr>
          <p:cNvSpPr>
            <a:spLocks noGrp="1"/>
          </p:cNvSpPr>
          <p:nvPr>
            <p:ph type="title"/>
          </p:nvPr>
        </p:nvSpPr>
        <p:spPr>
          <a:xfrm>
            <a:off x="572493" y="238539"/>
            <a:ext cx="11018520" cy="1434415"/>
          </a:xfrm>
        </p:spPr>
        <p:txBody>
          <a:bodyPr anchor="b">
            <a:normAutofit/>
          </a:bodyPr>
          <a:lstStyle/>
          <a:p>
            <a:r>
              <a:rPr lang="en-US" sz="5400"/>
              <a:t>What is HTS?</a:t>
            </a:r>
          </a:p>
        </p:txBody>
      </p:sp>
      <p:sp>
        <p:nvSpPr>
          <p:cNvPr id="4" name="Slide Number Placeholder 3">
            <a:extLst>
              <a:ext uri="{FF2B5EF4-FFF2-40B4-BE49-F238E27FC236}">
                <a16:creationId xmlns:a16="http://schemas.microsoft.com/office/drawing/2014/main" id="{98905226-6EC3-C9FA-00BD-97422F1B9DEF}"/>
              </a:ext>
            </a:extLst>
          </p:cNvPr>
          <p:cNvSpPr>
            <a:spLocks noGrp="1"/>
          </p:cNvSpPr>
          <p:nvPr>
            <p:ph type="sldNum" sz="quarter" idx="12"/>
          </p:nvPr>
        </p:nvSpPr>
        <p:spPr>
          <a:xfrm>
            <a:off x="8610600" y="6356350"/>
            <a:ext cx="2743200" cy="365125"/>
          </a:xfrm>
        </p:spPr>
        <p:txBody>
          <a:bodyPr>
            <a:normAutofit/>
          </a:bodyPr>
          <a:lstStyle/>
          <a:p>
            <a:pPr>
              <a:spcAft>
                <a:spcPts val="600"/>
              </a:spcAft>
            </a:pPr>
            <a:fld id="{09D8572F-5E2A-4C2B-8D06-D2E642EBF18E}" type="slidenum">
              <a:rPr lang="en-US" smtClean="0"/>
              <a:pPr>
                <a:spcAft>
                  <a:spcPts val="600"/>
                </a:spcAft>
              </a:pPr>
              <a:t>50</a:t>
            </a:fld>
            <a:endParaRPr lang="en-US"/>
          </a:p>
        </p:txBody>
      </p:sp>
      <p:graphicFrame>
        <p:nvGraphicFramePr>
          <p:cNvPr id="5" name="Content Placeholder 2">
            <a:extLst>
              <a:ext uri="{FF2B5EF4-FFF2-40B4-BE49-F238E27FC236}">
                <a16:creationId xmlns:a16="http://schemas.microsoft.com/office/drawing/2014/main" id="{C4ABB331-A07E-2F1C-1398-BF0FF2B0D84C}"/>
              </a:ext>
            </a:extLst>
          </p:cNvPr>
          <p:cNvGraphicFramePr>
            <a:graphicFrameLocks noGrp="1"/>
          </p:cNvGraphicFramePr>
          <p:nvPr>
            <p:ph idx="1"/>
          </p:nvPr>
        </p:nvGraphicFramePr>
        <p:xfrm>
          <a:off x="572492" y="2071316"/>
          <a:ext cx="10972799" cy="411917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88005187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8C944C-CC6A-3ED9-25B8-4D85C64A9322}"/>
              </a:ext>
            </a:extLst>
          </p:cNvPr>
          <p:cNvSpPr>
            <a:spLocks noGrp="1"/>
          </p:cNvSpPr>
          <p:nvPr>
            <p:ph type="title"/>
          </p:nvPr>
        </p:nvSpPr>
        <p:spPr>
          <a:xfrm>
            <a:off x="851183" y="1143000"/>
            <a:ext cx="5079862" cy="727849"/>
          </a:xfrm>
          <a:solidFill>
            <a:schemeClr val="accent6"/>
          </a:solidFill>
        </p:spPr>
        <p:txBody>
          <a:bodyPr vert="horz" lIns="91440" tIns="45720" rIns="91440" bIns="45720" rtlCol="0" anchor="b">
            <a:normAutofit fontScale="90000"/>
          </a:bodyPr>
          <a:lstStyle/>
          <a:p>
            <a:r>
              <a:rPr lang="en-US" sz="5400" dirty="0"/>
              <a:t>HTS 95 Target</a:t>
            </a:r>
          </a:p>
        </p:txBody>
      </p:sp>
      <p:sp>
        <p:nvSpPr>
          <p:cNvPr id="10" name="Content Placeholder 9">
            <a:extLst>
              <a:ext uri="{FF2B5EF4-FFF2-40B4-BE49-F238E27FC236}">
                <a16:creationId xmlns:a16="http://schemas.microsoft.com/office/drawing/2014/main" id="{157A629D-0C9C-3CE5-76AC-17A96251F551}"/>
              </a:ext>
            </a:extLst>
          </p:cNvPr>
          <p:cNvSpPr>
            <a:spLocks noGrp="1"/>
          </p:cNvSpPr>
          <p:nvPr>
            <p:ph idx="1"/>
          </p:nvPr>
        </p:nvSpPr>
        <p:spPr>
          <a:xfrm>
            <a:off x="7357288" y="1942484"/>
            <a:ext cx="4699818" cy="733276"/>
          </a:xfrm>
        </p:spPr>
        <p:style>
          <a:lnRef idx="2">
            <a:schemeClr val="accent1"/>
          </a:lnRef>
          <a:fillRef idx="1">
            <a:schemeClr val="lt1"/>
          </a:fillRef>
          <a:effectRef idx="0">
            <a:schemeClr val="accent1"/>
          </a:effectRef>
          <a:fontRef idx="minor">
            <a:schemeClr val="dk1"/>
          </a:fontRef>
        </p:style>
        <p:txBody>
          <a:bodyPr vert="horz" lIns="91440" tIns="45720" rIns="91440" bIns="45720" rtlCol="0">
            <a:normAutofit/>
          </a:bodyPr>
          <a:lstStyle/>
          <a:p>
            <a:r>
              <a:rPr lang="en-US" sz="1800" dirty="0"/>
              <a:t>First step in attaining the UNAIDS goal of achieving HIV epidemic control by 2030</a:t>
            </a:r>
          </a:p>
        </p:txBody>
      </p:sp>
      <p:pic>
        <p:nvPicPr>
          <p:cNvPr id="1026" name="Picture 2" descr="Over 29,000 Nepalis Infected Wif HIV | Dignity Post">
            <a:extLst>
              <a:ext uri="{FF2B5EF4-FFF2-40B4-BE49-F238E27FC236}">
                <a16:creationId xmlns:a16="http://schemas.microsoft.com/office/drawing/2014/main" id="{AFE28AC4-8565-BD53-44EE-AAB228C08B61}"/>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851183" y="4400230"/>
            <a:ext cx="5441001" cy="2103035"/>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a:extLst>
              <a:ext uri="{FF2B5EF4-FFF2-40B4-BE49-F238E27FC236}">
                <a16:creationId xmlns:a16="http://schemas.microsoft.com/office/drawing/2014/main" id="{C62D30C9-4F3D-7AA5-2AF9-3B5A25412AEF}"/>
              </a:ext>
            </a:extLst>
          </p:cNvPr>
          <p:cNvSpPr>
            <a:spLocks noGrp="1"/>
          </p:cNvSpPr>
          <p:nvPr>
            <p:ph type="sldNum" sz="quarter" idx="12"/>
          </p:nvPr>
        </p:nvSpPr>
        <p:spPr>
          <a:xfrm>
            <a:off x="4989789" y="6356350"/>
            <a:ext cx="707714" cy="365125"/>
          </a:xfrm>
        </p:spPr>
        <p:txBody>
          <a:bodyPr vert="horz" lIns="91440" tIns="45720" rIns="91440" bIns="45720" rtlCol="0" anchor="ctr">
            <a:normAutofit/>
          </a:bodyPr>
          <a:lstStyle/>
          <a:p>
            <a:pPr>
              <a:spcAft>
                <a:spcPts val="600"/>
              </a:spcAft>
            </a:pPr>
            <a:fld id="{09D8572F-5E2A-4C2B-8D06-D2E642EBF18E}" type="slidenum">
              <a:rPr lang="en-US">
                <a:solidFill>
                  <a:schemeClr val="tx1">
                    <a:lumMod val="50000"/>
                    <a:lumOff val="50000"/>
                  </a:schemeClr>
                </a:solidFill>
              </a:rPr>
              <a:pPr>
                <a:spcAft>
                  <a:spcPts val="600"/>
                </a:spcAft>
              </a:pPr>
              <a:t>51</a:t>
            </a:fld>
            <a:endParaRPr lang="en-US">
              <a:solidFill>
                <a:schemeClr val="tx1">
                  <a:lumMod val="50000"/>
                  <a:lumOff val="50000"/>
                </a:schemeClr>
              </a:solidFill>
            </a:endParaRPr>
          </a:p>
        </p:txBody>
      </p:sp>
      <p:pic>
        <p:nvPicPr>
          <p:cNvPr id="6" name="Content Placeholder 5" descr="A picture containing text, tableware, plate, dishware&#10;&#10;Description automatically generated">
            <a:extLst>
              <a:ext uri="{FF2B5EF4-FFF2-40B4-BE49-F238E27FC236}">
                <a16:creationId xmlns:a16="http://schemas.microsoft.com/office/drawing/2014/main" id="{1D02DF40-8DC0-4996-EF9C-BA4B51019E3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2850" y="1865375"/>
            <a:ext cx="3388251" cy="1978458"/>
          </a:xfrm>
          <a:prstGeom prst="rect">
            <a:avLst/>
          </a:prstGeom>
        </p:spPr>
      </p:pic>
      <p:pic>
        <p:nvPicPr>
          <p:cNvPr id="1028" name="Picture 4" descr="Mission Icon Or Business Goal Logo In Red Design Concept On An Isolated  White Background Eps 10 Vector Stock Illustration - Download Image Now -  iStock">
            <a:extLst>
              <a:ext uri="{FF2B5EF4-FFF2-40B4-BE49-F238E27FC236}">
                <a16:creationId xmlns:a16="http://schemas.microsoft.com/office/drawing/2014/main" id="{04B86046-2516-8D77-6D24-AA7B382C438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89790" y="1142999"/>
            <a:ext cx="941256" cy="725317"/>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D19B1EF8-1C12-3C6C-1405-6292253A2EA0}"/>
              </a:ext>
            </a:extLst>
          </p:cNvPr>
          <p:cNvSpPr txBox="1"/>
          <p:nvPr/>
        </p:nvSpPr>
        <p:spPr>
          <a:xfrm>
            <a:off x="4374811" y="2072511"/>
            <a:ext cx="2379407" cy="1569660"/>
          </a:xfrm>
          <a:prstGeom prst="rect">
            <a:avLst/>
          </a:prstGeom>
          <a:noFill/>
        </p:spPr>
        <p:txBody>
          <a:bodyPr wrap="square" rtlCol="0">
            <a:spAutoFit/>
          </a:bodyPr>
          <a:lstStyle/>
          <a:p>
            <a:r>
              <a:rPr lang="en-US" sz="2400" dirty="0"/>
              <a:t>Of people living with HIV (</a:t>
            </a:r>
            <a:r>
              <a:rPr lang="en-US" sz="2400" b="1" dirty="0"/>
              <a:t>PLHIV</a:t>
            </a:r>
            <a:r>
              <a:rPr lang="en-US" sz="2400" dirty="0"/>
              <a:t>) know their HIV status by </a:t>
            </a:r>
            <a:r>
              <a:rPr lang="en-US" sz="2400" b="1" dirty="0"/>
              <a:t>2030</a:t>
            </a:r>
          </a:p>
        </p:txBody>
      </p:sp>
      <p:sp>
        <p:nvSpPr>
          <p:cNvPr id="22" name="Content Placeholder 9">
            <a:extLst>
              <a:ext uri="{FF2B5EF4-FFF2-40B4-BE49-F238E27FC236}">
                <a16:creationId xmlns:a16="http://schemas.microsoft.com/office/drawing/2014/main" id="{39677BD3-4B3E-E738-13BD-13C70AE9A76B}"/>
              </a:ext>
            </a:extLst>
          </p:cNvPr>
          <p:cNvSpPr txBox="1">
            <a:spLocks/>
          </p:cNvSpPr>
          <p:nvPr/>
        </p:nvSpPr>
        <p:spPr>
          <a:xfrm>
            <a:off x="7357288" y="3207180"/>
            <a:ext cx="4699818" cy="636653"/>
          </a:xfrm>
          <a:prstGeom prst="rect">
            <a:avLst/>
          </a:prstGeom>
        </p:spPr>
        <p:style>
          <a:lnRef idx="2">
            <a:schemeClr val="accent1"/>
          </a:lnRef>
          <a:fillRef idx="1">
            <a:schemeClr val="lt1"/>
          </a:fillRef>
          <a:effectRef idx="0">
            <a:schemeClr val="accent1"/>
          </a:effectRef>
          <a:fontRef idx="minor">
            <a:schemeClr val="dk1"/>
          </a:fontRef>
        </p:style>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a:t>Critical entry point for the HIV prevention, care and treatment services</a:t>
            </a:r>
          </a:p>
        </p:txBody>
      </p:sp>
    </p:spTree>
    <p:extLst>
      <p:ext uri="{BB962C8B-B14F-4D97-AF65-F5344CB8AC3E}">
        <p14:creationId xmlns:p14="http://schemas.microsoft.com/office/powerpoint/2010/main" val="281215503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79D810-2D56-208F-8B89-780D20466343}"/>
              </a:ext>
            </a:extLst>
          </p:cNvPr>
          <p:cNvSpPr>
            <a:spLocks noGrp="1"/>
          </p:cNvSpPr>
          <p:nvPr>
            <p:ph type="title"/>
          </p:nvPr>
        </p:nvSpPr>
        <p:spPr/>
        <p:txBody>
          <a:bodyPr/>
          <a:lstStyle/>
          <a:p>
            <a:r>
              <a:rPr lang="en-US" dirty="0"/>
              <a:t>Guiding Principles of HTS: The 5Cs</a:t>
            </a:r>
          </a:p>
        </p:txBody>
      </p:sp>
      <p:sp>
        <p:nvSpPr>
          <p:cNvPr id="4" name="Slide Number Placeholder 3">
            <a:extLst>
              <a:ext uri="{FF2B5EF4-FFF2-40B4-BE49-F238E27FC236}">
                <a16:creationId xmlns:a16="http://schemas.microsoft.com/office/drawing/2014/main" id="{867777A9-F469-0BFB-9A4D-5BAE52217307}"/>
              </a:ext>
            </a:extLst>
          </p:cNvPr>
          <p:cNvSpPr>
            <a:spLocks noGrp="1"/>
          </p:cNvSpPr>
          <p:nvPr>
            <p:ph type="sldNum" sz="quarter" idx="12"/>
          </p:nvPr>
        </p:nvSpPr>
        <p:spPr/>
        <p:txBody>
          <a:bodyPr/>
          <a:lstStyle/>
          <a:p>
            <a:fld id="{09D8572F-5E2A-4C2B-8D06-D2E642EBF18E}" type="slidenum">
              <a:rPr lang="en-US" smtClean="0"/>
              <a:t>52</a:t>
            </a:fld>
            <a:endParaRPr lang="en-US"/>
          </a:p>
        </p:txBody>
      </p:sp>
      <p:graphicFrame>
        <p:nvGraphicFramePr>
          <p:cNvPr id="5" name="Diagram 4">
            <a:extLst>
              <a:ext uri="{FF2B5EF4-FFF2-40B4-BE49-F238E27FC236}">
                <a16:creationId xmlns:a16="http://schemas.microsoft.com/office/drawing/2014/main" id="{87AA9897-B684-7549-289E-14DB965750B7}"/>
              </a:ext>
            </a:extLst>
          </p:cNvPr>
          <p:cNvGraphicFramePr/>
          <p:nvPr/>
        </p:nvGraphicFramePr>
        <p:xfrm>
          <a:off x="838200" y="2006081"/>
          <a:ext cx="10515600" cy="42272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24265667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268564-9A89-BEC8-6445-5DD03D2DEB68}"/>
              </a:ext>
            </a:extLst>
          </p:cNvPr>
          <p:cNvSpPr>
            <a:spLocks noGrp="1"/>
          </p:cNvSpPr>
          <p:nvPr>
            <p:ph type="title"/>
          </p:nvPr>
        </p:nvSpPr>
        <p:spPr>
          <a:xfrm>
            <a:off x="1388807" y="100781"/>
            <a:ext cx="10515600" cy="450952"/>
          </a:xfrm>
        </p:spPr>
        <p:txBody>
          <a:bodyPr>
            <a:normAutofit fontScale="90000"/>
          </a:bodyPr>
          <a:lstStyle/>
          <a:p>
            <a:r>
              <a:rPr lang="en-US" dirty="0"/>
              <a:t>HTS Service Flow and Documentation </a:t>
            </a:r>
          </a:p>
        </p:txBody>
      </p:sp>
      <p:sp>
        <p:nvSpPr>
          <p:cNvPr id="4" name="Slide Number Placeholder 3">
            <a:extLst>
              <a:ext uri="{FF2B5EF4-FFF2-40B4-BE49-F238E27FC236}">
                <a16:creationId xmlns:a16="http://schemas.microsoft.com/office/drawing/2014/main" id="{43FB6240-6008-736E-F16F-7689D46A8905}"/>
              </a:ext>
            </a:extLst>
          </p:cNvPr>
          <p:cNvSpPr>
            <a:spLocks noGrp="1"/>
          </p:cNvSpPr>
          <p:nvPr>
            <p:ph type="sldNum" sz="quarter" idx="12"/>
          </p:nvPr>
        </p:nvSpPr>
        <p:spPr/>
        <p:txBody>
          <a:bodyPr/>
          <a:lstStyle/>
          <a:p>
            <a:fld id="{09D8572F-5E2A-4C2B-8D06-D2E642EBF18E}" type="slidenum">
              <a:rPr lang="en-US" smtClean="0"/>
              <a:t>53</a:t>
            </a:fld>
            <a:endParaRPr lang="en-US"/>
          </a:p>
        </p:txBody>
      </p:sp>
      <p:sp>
        <p:nvSpPr>
          <p:cNvPr id="7" name="TextBox 6">
            <a:extLst>
              <a:ext uri="{FF2B5EF4-FFF2-40B4-BE49-F238E27FC236}">
                <a16:creationId xmlns:a16="http://schemas.microsoft.com/office/drawing/2014/main" id="{9D3D26DB-9D0A-BBE1-4866-A5202AC3CCFC}"/>
              </a:ext>
            </a:extLst>
          </p:cNvPr>
          <p:cNvSpPr txBox="1"/>
          <p:nvPr/>
        </p:nvSpPr>
        <p:spPr>
          <a:xfrm>
            <a:off x="3175817" y="5810866"/>
            <a:ext cx="1799303" cy="461665"/>
          </a:xfrm>
          <a:prstGeom prst="rect">
            <a:avLst/>
          </a:prstGeom>
          <a:solidFill>
            <a:schemeClr val="bg1">
              <a:lumMod val="65000"/>
            </a:schemeClr>
          </a:solidFill>
          <a:ln>
            <a:noFill/>
          </a:ln>
        </p:spPr>
        <p:txBody>
          <a:bodyPr wrap="square" rtlCol="0">
            <a:spAutoFit/>
          </a:bodyPr>
          <a:lstStyle/>
          <a:p>
            <a:r>
              <a:rPr lang="en-US" sz="1200" b="1" dirty="0">
                <a:solidFill>
                  <a:schemeClr val="bg2"/>
                </a:solidFill>
              </a:rPr>
              <a:t>Refer Eligible HIV –ve Client for PrEP services</a:t>
            </a:r>
          </a:p>
        </p:txBody>
      </p:sp>
      <p:pic>
        <p:nvPicPr>
          <p:cNvPr id="8" name="Picture 7">
            <a:extLst>
              <a:ext uri="{FF2B5EF4-FFF2-40B4-BE49-F238E27FC236}">
                <a16:creationId xmlns:a16="http://schemas.microsoft.com/office/drawing/2014/main" id="{D7716D70-7BE5-520C-5523-2189362F240D}"/>
              </a:ext>
            </a:extLst>
          </p:cNvPr>
          <p:cNvPicPr>
            <a:picLocks noChangeAspect="1"/>
          </p:cNvPicPr>
          <p:nvPr/>
        </p:nvPicPr>
        <p:blipFill rotWithShape="1">
          <a:blip r:embed="rId2"/>
          <a:srcRect l="26693" t="26952" r="12339" b="13549"/>
          <a:stretch/>
        </p:blipFill>
        <p:spPr>
          <a:xfrm>
            <a:off x="44245" y="688258"/>
            <a:ext cx="12103509" cy="6169742"/>
          </a:xfrm>
          <a:prstGeom prst="rect">
            <a:avLst/>
          </a:prstGeom>
        </p:spPr>
      </p:pic>
    </p:spTree>
    <p:extLst>
      <p:ext uri="{BB962C8B-B14F-4D97-AF65-F5344CB8AC3E}">
        <p14:creationId xmlns:p14="http://schemas.microsoft.com/office/powerpoint/2010/main" val="340151145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F75950-83DE-A47C-99AE-E3F4E777B3F4}"/>
              </a:ext>
            </a:extLst>
          </p:cNvPr>
          <p:cNvSpPr>
            <a:spLocks noGrp="1"/>
          </p:cNvSpPr>
          <p:nvPr>
            <p:ph type="title"/>
          </p:nvPr>
        </p:nvSpPr>
        <p:spPr>
          <a:xfrm>
            <a:off x="584030" y="165782"/>
            <a:ext cx="10909640" cy="1249394"/>
          </a:xfrm>
        </p:spPr>
        <p:txBody>
          <a:bodyPr vert="horz" lIns="91440" tIns="45720" rIns="91440" bIns="45720" rtlCol="0" anchor="ctr">
            <a:normAutofit/>
          </a:bodyPr>
          <a:lstStyle/>
          <a:p>
            <a:pPr algn="ctr"/>
            <a:r>
              <a:rPr lang="en-US" sz="5600" kern="1200" dirty="0">
                <a:solidFill>
                  <a:schemeClr val="tx1"/>
                </a:solidFill>
                <a:latin typeface="+mj-lt"/>
                <a:ea typeface="+mj-ea"/>
                <a:cs typeface="+mj-cs"/>
              </a:rPr>
              <a:t>Nigeria HIV Rapid Testing Algorithm</a:t>
            </a:r>
          </a:p>
        </p:txBody>
      </p:sp>
      <p:pic>
        <p:nvPicPr>
          <p:cNvPr id="5" name="Picture 4">
            <a:extLst>
              <a:ext uri="{FF2B5EF4-FFF2-40B4-BE49-F238E27FC236}">
                <a16:creationId xmlns:a16="http://schemas.microsoft.com/office/drawing/2014/main" id="{8AFAF8CB-0690-E296-A166-E78B0946B617}"/>
              </a:ext>
            </a:extLst>
          </p:cNvPr>
          <p:cNvPicPr>
            <a:picLocks noChangeAspect="1"/>
          </p:cNvPicPr>
          <p:nvPr/>
        </p:nvPicPr>
        <p:blipFill rotWithShape="1">
          <a:blip r:embed="rId2"/>
          <a:srcRect l="64439" t="29843" r="13750" b="19932"/>
          <a:stretch/>
        </p:blipFill>
        <p:spPr>
          <a:xfrm>
            <a:off x="752475" y="1958213"/>
            <a:ext cx="10572750" cy="4763262"/>
          </a:xfrm>
          <a:prstGeom prst="rect">
            <a:avLst/>
          </a:prstGeom>
        </p:spPr>
      </p:pic>
      <p:sp>
        <p:nvSpPr>
          <p:cNvPr id="6" name="Slide Number Placeholder 5">
            <a:extLst>
              <a:ext uri="{FF2B5EF4-FFF2-40B4-BE49-F238E27FC236}">
                <a16:creationId xmlns:a16="http://schemas.microsoft.com/office/drawing/2014/main" id="{29A5DA27-5AA3-99EB-1E44-E47177187B85}"/>
              </a:ext>
            </a:extLst>
          </p:cNvPr>
          <p:cNvSpPr>
            <a:spLocks noGrp="1"/>
          </p:cNvSpPr>
          <p:nvPr>
            <p:ph type="sldNum" sz="quarter" idx="12"/>
          </p:nvPr>
        </p:nvSpPr>
        <p:spPr/>
        <p:txBody>
          <a:bodyPr/>
          <a:lstStyle/>
          <a:p>
            <a:fld id="{09D8572F-5E2A-4C2B-8D06-D2E642EBF18E}" type="slidenum">
              <a:rPr lang="en-US" smtClean="0"/>
              <a:t>54</a:t>
            </a:fld>
            <a:endParaRPr lang="en-US"/>
          </a:p>
        </p:txBody>
      </p:sp>
    </p:spTree>
    <p:extLst>
      <p:ext uri="{BB962C8B-B14F-4D97-AF65-F5344CB8AC3E}">
        <p14:creationId xmlns:p14="http://schemas.microsoft.com/office/powerpoint/2010/main" val="236502570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Shape 544"/>
        <p:cNvGrpSpPr/>
        <p:nvPr/>
      </p:nvGrpSpPr>
      <p:grpSpPr>
        <a:xfrm>
          <a:off x="0" y="0"/>
          <a:ext cx="0" cy="0"/>
          <a:chOff x="0" y="0"/>
          <a:chExt cx="0" cy="0"/>
        </a:xfrm>
      </p:grpSpPr>
      <p:sp>
        <p:nvSpPr>
          <p:cNvPr id="545" name="Google Shape;545;p96"/>
          <p:cNvSpPr txBox="1">
            <a:spLocks noGrp="1"/>
          </p:cNvSpPr>
          <p:nvPr>
            <p:ph type="title"/>
          </p:nvPr>
        </p:nvSpPr>
        <p:spPr>
          <a:xfrm>
            <a:off x="465802" y="23610"/>
            <a:ext cx="11493910" cy="946139"/>
          </a:xfrm>
          <a:prstGeom prst="rect">
            <a:avLst/>
          </a:prstGeom>
          <a:noFill/>
          <a:ln>
            <a:noFill/>
          </a:ln>
        </p:spPr>
        <p:txBody>
          <a:bodyPr spcFirstLastPara="1" vert="horz" wrap="square" lIns="91425" tIns="45700" rIns="91425" bIns="45700" rtlCol="0" anchor="ctr" anchorCtr="0">
            <a:noAutofit/>
          </a:bodyPr>
          <a:lstStyle/>
          <a:p>
            <a:pPr algn="ctr">
              <a:spcBef>
                <a:spcPts val="0"/>
              </a:spcBef>
            </a:pPr>
            <a:r>
              <a:rPr lang="en-US" sz="4000" dirty="0">
                <a:latin typeface="Raleway"/>
                <a:ea typeface="Raleway"/>
                <a:cs typeface="Raleway"/>
                <a:sym typeface="Raleway"/>
              </a:rPr>
              <a:t>Recent Infection Testing Algorithm</a:t>
            </a:r>
            <a:endParaRPr dirty="0"/>
          </a:p>
        </p:txBody>
      </p:sp>
      <p:sp>
        <p:nvSpPr>
          <p:cNvPr id="546" name="Google Shape;546;p96"/>
          <p:cNvSpPr/>
          <p:nvPr/>
        </p:nvSpPr>
        <p:spPr>
          <a:xfrm>
            <a:off x="2024866" y="1880171"/>
            <a:ext cx="8137133" cy="801385"/>
          </a:xfrm>
          <a:prstGeom prst="rect">
            <a:avLst/>
          </a:prstGeom>
          <a:solidFill>
            <a:schemeClr val="accent6">
              <a:lumMod val="20000"/>
              <a:lumOff val="80000"/>
            </a:schemeClr>
          </a:solidFill>
          <a:ln w="25400" cap="flat" cmpd="sng">
            <a:solidFill>
              <a:srgbClr val="88A3A5"/>
            </a:solidFill>
            <a:prstDash val="solid"/>
            <a:round/>
            <a:headEnd type="none" w="sm" len="sm"/>
            <a:tailEnd type="none" w="sm" len="sm"/>
          </a:ln>
        </p:spPr>
        <p:txBody>
          <a:bodyPr spcFirstLastPara="1" wrap="square" lIns="91425" tIns="45700" rIns="91425" bIns="45700" anchor="ctr" anchorCtr="0">
            <a:noAutofit/>
          </a:bodyPr>
          <a:lstStyle/>
          <a:p>
            <a:r>
              <a:rPr lang="en-US" sz="1400" b="1" dirty="0">
                <a:solidFill>
                  <a:schemeClr val="dk1"/>
                </a:solidFill>
                <a:latin typeface="Arial"/>
                <a:ea typeface="Arial"/>
                <a:cs typeface="Arial"/>
                <a:sym typeface="Arial"/>
              </a:rPr>
              <a:t>HIV Test using </a:t>
            </a:r>
            <a:endParaRPr dirty="0"/>
          </a:p>
          <a:p>
            <a:r>
              <a:rPr lang="en-US" sz="1400" b="1" dirty="0">
                <a:solidFill>
                  <a:schemeClr val="dk1"/>
                </a:solidFill>
                <a:latin typeface="Arial"/>
                <a:ea typeface="Arial"/>
                <a:cs typeface="Arial"/>
                <a:sym typeface="Arial"/>
              </a:rPr>
              <a:t>National Algorithm</a:t>
            </a:r>
            <a:endParaRPr dirty="0"/>
          </a:p>
        </p:txBody>
      </p:sp>
      <p:sp>
        <p:nvSpPr>
          <p:cNvPr id="547" name="Google Shape;547;p96"/>
          <p:cNvSpPr/>
          <p:nvPr/>
        </p:nvSpPr>
        <p:spPr>
          <a:xfrm>
            <a:off x="6089945" y="1912134"/>
            <a:ext cx="1779997" cy="750012"/>
          </a:xfrm>
          <a:prstGeom prst="rect">
            <a:avLst/>
          </a:prstGeom>
          <a:solidFill>
            <a:schemeClr val="tx2">
              <a:lumMod val="20000"/>
              <a:lumOff val="80000"/>
            </a:schemeClr>
          </a:solidFill>
          <a:ln w="25400" cap="flat" cmpd="sng">
            <a:solidFill>
              <a:srgbClr val="88A3A5"/>
            </a:solidFill>
            <a:prstDash val="solid"/>
            <a:round/>
            <a:headEnd type="none" w="sm" len="sm"/>
            <a:tailEnd type="none" w="sm" len="sm"/>
          </a:ln>
        </p:spPr>
        <p:txBody>
          <a:bodyPr spcFirstLastPara="1" wrap="square" lIns="91425" tIns="45700" rIns="91425" bIns="45700" anchor="ctr" anchorCtr="0">
            <a:noAutofit/>
          </a:bodyPr>
          <a:lstStyle/>
          <a:p>
            <a:pPr algn="ctr"/>
            <a:r>
              <a:rPr lang="en-US" sz="1400" b="1">
                <a:solidFill>
                  <a:schemeClr val="dk1"/>
                </a:solidFill>
                <a:latin typeface="Arial"/>
                <a:ea typeface="Arial"/>
                <a:cs typeface="Arial"/>
                <a:sym typeface="Arial"/>
              </a:rPr>
              <a:t>Determine Reactive</a:t>
            </a:r>
            <a:endParaRPr/>
          </a:p>
        </p:txBody>
      </p:sp>
      <p:sp>
        <p:nvSpPr>
          <p:cNvPr id="548" name="Google Shape;548;p96"/>
          <p:cNvSpPr/>
          <p:nvPr/>
        </p:nvSpPr>
        <p:spPr>
          <a:xfrm>
            <a:off x="2045415" y="3093378"/>
            <a:ext cx="8137133" cy="801385"/>
          </a:xfrm>
          <a:prstGeom prst="rect">
            <a:avLst/>
          </a:prstGeom>
          <a:solidFill>
            <a:schemeClr val="accent6">
              <a:lumMod val="20000"/>
              <a:lumOff val="80000"/>
            </a:schemeClr>
          </a:solidFill>
          <a:ln w="25400" cap="flat" cmpd="sng">
            <a:solidFill>
              <a:srgbClr val="88A3A5"/>
            </a:solidFill>
            <a:prstDash val="solid"/>
            <a:round/>
            <a:headEnd type="none" w="sm" len="sm"/>
            <a:tailEnd type="none" w="sm" len="sm"/>
          </a:ln>
        </p:spPr>
        <p:txBody>
          <a:bodyPr spcFirstLastPara="1" wrap="square" lIns="91425" tIns="45700" rIns="91425" bIns="45700" anchor="ctr" anchorCtr="0">
            <a:noAutofit/>
          </a:bodyPr>
          <a:lstStyle/>
          <a:p>
            <a:r>
              <a:rPr lang="en-US" sz="1400" b="1" dirty="0">
                <a:solidFill>
                  <a:schemeClr val="dk1"/>
                </a:solidFill>
                <a:latin typeface="Arial"/>
                <a:ea typeface="Arial"/>
                <a:cs typeface="Arial"/>
                <a:sym typeface="Arial"/>
              </a:rPr>
              <a:t>Rapid Test For Recent</a:t>
            </a:r>
          </a:p>
          <a:p>
            <a:r>
              <a:rPr lang="en-US" sz="1400" b="1" dirty="0">
                <a:solidFill>
                  <a:schemeClr val="dk1"/>
                </a:solidFill>
                <a:latin typeface="Arial"/>
                <a:ea typeface="Arial"/>
                <a:cs typeface="Arial"/>
                <a:sym typeface="Arial"/>
              </a:rPr>
              <a:t>Infection (RTRI) Result</a:t>
            </a:r>
            <a:endParaRPr dirty="0"/>
          </a:p>
        </p:txBody>
      </p:sp>
      <p:sp>
        <p:nvSpPr>
          <p:cNvPr id="549" name="Google Shape;549;p96"/>
          <p:cNvSpPr/>
          <p:nvPr/>
        </p:nvSpPr>
        <p:spPr>
          <a:xfrm>
            <a:off x="4554234" y="3170433"/>
            <a:ext cx="1273996" cy="647272"/>
          </a:xfrm>
          <a:prstGeom prst="rect">
            <a:avLst/>
          </a:prstGeom>
          <a:solidFill>
            <a:schemeClr val="tx2">
              <a:lumMod val="20000"/>
              <a:lumOff val="80000"/>
            </a:schemeClr>
          </a:solidFill>
          <a:ln w="25400" cap="flat" cmpd="sng">
            <a:solidFill>
              <a:srgbClr val="88A3A5"/>
            </a:solidFill>
            <a:prstDash val="solid"/>
            <a:round/>
            <a:headEnd type="none" w="sm" len="sm"/>
            <a:tailEnd type="none" w="sm" len="sm"/>
          </a:ln>
        </p:spPr>
        <p:txBody>
          <a:bodyPr spcFirstLastPara="1" wrap="square" lIns="91425" tIns="45700" rIns="91425" bIns="45700" anchor="ctr" anchorCtr="0">
            <a:noAutofit/>
          </a:bodyPr>
          <a:lstStyle/>
          <a:p>
            <a:pPr algn="ctr"/>
            <a:r>
              <a:rPr lang="en-US" sz="1400" b="1" dirty="0">
                <a:solidFill>
                  <a:schemeClr val="dk1"/>
                </a:solidFill>
                <a:latin typeface="Arial"/>
                <a:ea typeface="Arial"/>
                <a:cs typeface="Arial"/>
                <a:sym typeface="Arial"/>
              </a:rPr>
              <a:t>Recent</a:t>
            </a:r>
            <a:endParaRPr dirty="0"/>
          </a:p>
        </p:txBody>
      </p:sp>
      <p:sp>
        <p:nvSpPr>
          <p:cNvPr id="550" name="Google Shape;550;p96"/>
          <p:cNvSpPr/>
          <p:nvPr/>
        </p:nvSpPr>
        <p:spPr>
          <a:xfrm>
            <a:off x="5952484" y="3160159"/>
            <a:ext cx="1356189" cy="647272"/>
          </a:xfrm>
          <a:prstGeom prst="rect">
            <a:avLst/>
          </a:prstGeom>
          <a:solidFill>
            <a:schemeClr val="tx2">
              <a:lumMod val="20000"/>
              <a:lumOff val="80000"/>
            </a:schemeClr>
          </a:solidFill>
          <a:ln w="25400" cap="flat" cmpd="sng">
            <a:solidFill>
              <a:srgbClr val="88A3A5"/>
            </a:solidFill>
            <a:prstDash val="solid"/>
            <a:round/>
            <a:headEnd type="none" w="sm" len="sm"/>
            <a:tailEnd type="none" w="sm" len="sm"/>
          </a:ln>
        </p:spPr>
        <p:txBody>
          <a:bodyPr spcFirstLastPara="1" wrap="square" lIns="91425" tIns="45700" rIns="91425" bIns="45700" anchor="ctr" anchorCtr="0">
            <a:noAutofit/>
          </a:bodyPr>
          <a:lstStyle/>
          <a:p>
            <a:pPr algn="ctr"/>
            <a:r>
              <a:rPr lang="en-US" sz="1400" b="1">
                <a:solidFill>
                  <a:schemeClr val="dk1"/>
                </a:solidFill>
                <a:latin typeface="Arial"/>
                <a:ea typeface="Arial"/>
                <a:cs typeface="Arial"/>
                <a:sym typeface="Arial"/>
              </a:rPr>
              <a:t>Long-term</a:t>
            </a:r>
            <a:endParaRPr/>
          </a:p>
        </p:txBody>
      </p:sp>
      <p:sp>
        <p:nvSpPr>
          <p:cNvPr id="551" name="Google Shape;551;p96"/>
          <p:cNvSpPr/>
          <p:nvPr/>
        </p:nvSpPr>
        <p:spPr>
          <a:xfrm>
            <a:off x="7471615" y="3160159"/>
            <a:ext cx="1273995" cy="647272"/>
          </a:xfrm>
          <a:prstGeom prst="rect">
            <a:avLst/>
          </a:prstGeom>
          <a:solidFill>
            <a:schemeClr val="tx2">
              <a:lumMod val="20000"/>
              <a:lumOff val="80000"/>
            </a:schemeClr>
          </a:solidFill>
          <a:ln w="25400" cap="flat" cmpd="sng">
            <a:solidFill>
              <a:srgbClr val="88A3A5"/>
            </a:solidFill>
            <a:prstDash val="solid"/>
            <a:round/>
            <a:headEnd type="none" w="sm" len="sm"/>
            <a:tailEnd type="none" w="sm" len="sm"/>
          </a:ln>
        </p:spPr>
        <p:txBody>
          <a:bodyPr spcFirstLastPara="1" wrap="square" lIns="91425" tIns="45700" rIns="91425" bIns="45700" anchor="ctr" anchorCtr="0">
            <a:noAutofit/>
          </a:bodyPr>
          <a:lstStyle/>
          <a:p>
            <a:pPr algn="ctr"/>
            <a:r>
              <a:rPr lang="en-US" sz="1400" b="1">
                <a:solidFill>
                  <a:schemeClr val="dk1"/>
                </a:solidFill>
                <a:latin typeface="Arial"/>
                <a:ea typeface="Arial"/>
                <a:cs typeface="Arial"/>
                <a:sym typeface="Arial"/>
              </a:rPr>
              <a:t>Negative</a:t>
            </a:r>
            <a:endParaRPr/>
          </a:p>
        </p:txBody>
      </p:sp>
      <p:sp>
        <p:nvSpPr>
          <p:cNvPr id="552" name="Google Shape;552;p96"/>
          <p:cNvSpPr/>
          <p:nvPr/>
        </p:nvSpPr>
        <p:spPr>
          <a:xfrm>
            <a:off x="8872592" y="3170433"/>
            <a:ext cx="1273995" cy="647272"/>
          </a:xfrm>
          <a:prstGeom prst="rect">
            <a:avLst/>
          </a:prstGeom>
          <a:solidFill>
            <a:schemeClr val="tx2">
              <a:lumMod val="20000"/>
              <a:lumOff val="80000"/>
            </a:schemeClr>
          </a:solidFill>
          <a:ln w="25400" cap="flat" cmpd="sng">
            <a:solidFill>
              <a:srgbClr val="88A3A5"/>
            </a:solidFill>
            <a:prstDash val="solid"/>
            <a:round/>
            <a:headEnd type="none" w="sm" len="sm"/>
            <a:tailEnd type="none" w="sm" len="sm"/>
          </a:ln>
        </p:spPr>
        <p:txBody>
          <a:bodyPr spcFirstLastPara="1" wrap="square" lIns="91425" tIns="45700" rIns="91425" bIns="45700" anchor="ctr" anchorCtr="0">
            <a:noAutofit/>
          </a:bodyPr>
          <a:lstStyle/>
          <a:p>
            <a:pPr algn="ctr"/>
            <a:r>
              <a:rPr lang="en-US" sz="1400" b="1">
                <a:solidFill>
                  <a:schemeClr val="dk1"/>
                </a:solidFill>
                <a:latin typeface="Arial"/>
                <a:ea typeface="Arial"/>
                <a:cs typeface="Arial"/>
                <a:sym typeface="Arial"/>
              </a:rPr>
              <a:t>Invalid</a:t>
            </a:r>
            <a:endParaRPr/>
          </a:p>
        </p:txBody>
      </p:sp>
      <p:sp>
        <p:nvSpPr>
          <p:cNvPr id="553" name="Google Shape;553;p96"/>
          <p:cNvSpPr/>
          <p:nvPr/>
        </p:nvSpPr>
        <p:spPr>
          <a:xfrm>
            <a:off x="2045414" y="4263776"/>
            <a:ext cx="8108878" cy="801385"/>
          </a:xfrm>
          <a:prstGeom prst="rect">
            <a:avLst/>
          </a:prstGeom>
          <a:solidFill>
            <a:schemeClr val="accent6">
              <a:lumMod val="20000"/>
              <a:lumOff val="80000"/>
            </a:schemeClr>
          </a:solidFill>
          <a:ln w="25400" cap="flat" cmpd="sng">
            <a:solidFill>
              <a:srgbClr val="88A3A5"/>
            </a:solidFill>
            <a:prstDash val="solid"/>
            <a:round/>
            <a:headEnd type="none" w="sm" len="sm"/>
            <a:tailEnd type="none" w="sm" len="sm"/>
          </a:ln>
        </p:spPr>
        <p:txBody>
          <a:bodyPr spcFirstLastPara="1" wrap="square" lIns="91425" tIns="45700" rIns="91425" bIns="45700" anchor="ctr" anchorCtr="0">
            <a:noAutofit/>
          </a:bodyPr>
          <a:lstStyle/>
          <a:p>
            <a:r>
              <a:rPr lang="en-US" sz="1400" b="1">
                <a:solidFill>
                  <a:schemeClr val="dk1"/>
                </a:solidFill>
                <a:latin typeface="Arial"/>
                <a:ea typeface="Arial"/>
                <a:cs typeface="Arial"/>
                <a:sym typeface="Arial"/>
              </a:rPr>
              <a:t>Viral Load </a:t>
            </a:r>
            <a:endParaRPr/>
          </a:p>
          <a:p>
            <a:r>
              <a:rPr lang="en-US" sz="1400" b="1">
                <a:solidFill>
                  <a:schemeClr val="dk1"/>
                </a:solidFill>
                <a:latin typeface="Arial"/>
                <a:ea typeface="Arial"/>
                <a:cs typeface="Arial"/>
                <a:sym typeface="Arial"/>
              </a:rPr>
              <a:t>Testing</a:t>
            </a:r>
            <a:endParaRPr/>
          </a:p>
        </p:txBody>
      </p:sp>
      <p:sp>
        <p:nvSpPr>
          <p:cNvPr id="554" name="Google Shape;554;p96"/>
          <p:cNvSpPr/>
          <p:nvPr/>
        </p:nvSpPr>
        <p:spPr>
          <a:xfrm>
            <a:off x="3537736" y="4337403"/>
            <a:ext cx="1653497" cy="666108"/>
          </a:xfrm>
          <a:prstGeom prst="rect">
            <a:avLst/>
          </a:prstGeom>
          <a:solidFill>
            <a:schemeClr val="tx2">
              <a:lumMod val="20000"/>
              <a:lumOff val="80000"/>
            </a:schemeClr>
          </a:solidFill>
          <a:ln w="25400" cap="flat" cmpd="sng">
            <a:solidFill>
              <a:srgbClr val="88A3A5"/>
            </a:solidFill>
            <a:prstDash val="solid"/>
            <a:round/>
            <a:headEnd type="none" w="sm" len="sm"/>
            <a:tailEnd type="none" w="sm" len="sm"/>
          </a:ln>
        </p:spPr>
        <p:txBody>
          <a:bodyPr spcFirstLastPara="1" wrap="square" lIns="91425" tIns="45700" rIns="91425" bIns="45700" anchor="ctr" anchorCtr="0">
            <a:noAutofit/>
          </a:bodyPr>
          <a:lstStyle/>
          <a:p>
            <a:r>
              <a:rPr lang="en-US" sz="1400" b="1" dirty="0">
                <a:solidFill>
                  <a:schemeClr val="dk1"/>
                </a:solidFill>
                <a:latin typeface="Lato"/>
                <a:ea typeface="Lato"/>
                <a:cs typeface="Lato"/>
                <a:sym typeface="Lato"/>
              </a:rPr>
              <a:t>≥ 1000 copies/ml</a:t>
            </a:r>
            <a:endParaRPr dirty="0"/>
          </a:p>
        </p:txBody>
      </p:sp>
      <p:sp>
        <p:nvSpPr>
          <p:cNvPr id="555" name="Google Shape;555;p96"/>
          <p:cNvSpPr/>
          <p:nvPr/>
        </p:nvSpPr>
        <p:spPr>
          <a:xfrm>
            <a:off x="5329933" y="4337403"/>
            <a:ext cx="1653497" cy="666108"/>
          </a:xfrm>
          <a:prstGeom prst="rect">
            <a:avLst/>
          </a:prstGeom>
          <a:solidFill>
            <a:schemeClr val="tx2">
              <a:lumMod val="20000"/>
              <a:lumOff val="80000"/>
            </a:schemeClr>
          </a:solidFill>
          <a:ln w="25400" cap="flat" cmpd="sng">
            <a:solidFill>
              <a:srgbClr val="88A3A5"/>
            </a:solidFill>
            <a:prstDash val="solid"/>
            <a:round/>
            <a:headEnd type="none" w="sm" len="sm"/>
            <a:tailEnd type="none" w="sm" len="sm"/>
          </a:ln>
        </p:spPr>
        <p:txBody>
          <a:bodyPr spcFirstLastPara="1" wrap="square" lIns="91425" tIns="45700" rIns="91425" bIns="45700" anchor="ctr" anchorCtr="0">
            <a:noAutofit/>
          </a:bodyPr>
          <a:lstStyle/>
          <a:p>
            <a:pPr algn="ctr"/>
            <a:r>
              <a:rPr lang="en-US" sz="1400" b="1" dirty="0">
                <a:solidFill>
                  <a:schemeClr val="dk1"/>
                </a:solidFill>
                <a:latin typeface="Arial"/>
                <a:ea typeface="Arial"/>
                <a:cs typeface="Arial"/>
                <a:sym typeface="Arial"/>
              </a:rPr>
              <a:t>&lt; 1000 copies/ml</a:t>
            </a:r>
            <a:endParaRPr dirty="0"/>
          </a:p>
        </p:txBody>
      </p:sp>
      <p:sp>
        <p:nvSpPr>
          <p:cNvPr id="556" name="Google Shape;556;p96"/>
          <p:cNvSpPr/>
          <p:nvPr/>
        </p:nvSpPr>
        <p:spPr>
          <a:xfrm>
            <a:off x="2045414" y="5435030"/>
            <a:ext cx="8101172" cy="801385"/>
          </a:xfrm>
          <a:prstGeom prst="rect">
            <a:avLst/>
          </a:prstGeom>
          <a:solidFill>
            <a:schemeClr val="accent6">
              <a:lumMod val="20000"/>
              <a:lumOff val="80000"/>
            </a:schemeClr>
          </a:solidFill>
          <a:ln w="25400" cap="flat" cmpd="sng">
            <a:solidFill>
              <a:srgbClr val="88A3A5"/>
            </a:solidFill>
            <a:prstDash val="solid"/>
            <a:round/>
            <a:headEnd type="none" w="sm" len="sm"/>
            <a:tailEnd type="none" w="sm" len="sm"/>
          </a:ln>
        </p:spPr>
        <p:txBody>
          <a:bodyPr spcFirstLastPara="1" wrap="square" lIns="91425" tIns="45700" rIns="91425" bIns="45700" anchor="ctr" anchorCtr="0">
            <a:noAutofit/>
          </a:bodyPr>
          <a:lstStyle/>
          <a:p>
            <a:r>
              <a:rPr lang="en-US" sz="1400" b="1" dirty="0">
                <a:solidFill>
                  <a:schemeClr val="dk1"/>
                </a:solidFill>
                <a:latin typeface="Arial"/>
                <a:ea typeface="Arial"/>
                <a:cs typeface="Arial"/>
                <a:sym typeface="Arial"/>
              </a:rPr>
              <a:t>Final </a:t>
            </a:r>
            <a:endParaRPr dirty="0"/>
          </a:p>
          <a:p>
            <a:r>
              <a:rPr lang="en-US" sz="1400" b="1" dirty="0">
                <a:solidFill>
                  <a:schemeClr val="dk1"/>
                </a:solidFill>
                <a:latin typeface="Arial"/>
                <a:ea typeface="Arial"/>
                <a:cs typeface="Arial"/>
                <a:sym typeface="Arial"/>
              </a:rPr>
              <a:t>Recency Result</a:t>
            </a:r>
            <a:endParaRPr dirty="0"/>
          </a:p>
        </p:txBody>
      </p:sp>
      <p:sp>
        <p:nvSpPr>
          <p:cNvPr id="557" name="Google Shape;557;p96"/>
          <p:cNvSpPr/>
          <p:nvPr/>
        </p:nvSpPr>
        <p:spPr>
          <a:xfrm>
            <a:off x="3732302" y="5487684"/>
            <a:ext cx="1643865" cy="696075"/>
          </a:xfrm>
          <a:prstGeom prst="rect">
            <a:avLst/>
          </a:prstGeom>
          <a:solidFill>
            <a:schemeClr val="tx2">
              <a:lumMod val="20000"/>
              <a:lumOff val="80000"/>
            </a:schemeClr>
          </a:solidFill>
          <a:ln w="25400" cap="flat" cmpd="sng">
            <a:solidFill>
              <a:srgbClr val="88A3A5"/>
            </a:solidFill>
            <a:prstDash val="solid"/>
            <a:round/>
            <a:headEnd type="none" w="sm" len="sm"/>
            <a:tailEnd type="none" w="sm" len="sm"/>
          </a:ln>
        </p:spPr>
        <p:txBody>
          <a:bodyPr spcFirstLastPara="1" wrap="square" lIns="91425" tIns="45700" rIns="91425" bIns="45700" anchor="ctr" anchorCtr="0">
            <a:noAutofit/>
          </a:bodyPr>
          <a:lstStyle/>
          <a:p>
            <a:pPr algn="ctr"/>
            <a:r>
              <a:rPr lang="en-US" sz="1400" b="1" dirty="0">
                <a:solidFill>
                  <a:schemeClr val="dk1"/>
                </a:solidFill>
                <a:latin typeface="Arial"/>
                <a:ea typeface="Arial"/>
                <a:cs typeface="Arial"/>
                <a:sym typeface="Arial"/>
              </a:rPr>
              <a:t>RITA Recent</a:t>
            </a:r>
            <a:endParaRPr dirty="0"/>
          </a:p>
        </p:txBody>
      </p:sp>
      <p:sp>
        <p:nvSpPr>
          <p:cNvPr id="558" name="Google Shape;558;p96"/>
          <p:cNvSpPr/>
          <p:nvPr/>
        </p:nvSpPr>
        <p:spPr>
          <a:xfrm>
            <a:off x="5726131" y="5487684"/>
            <a:ext cx="1643865" cy="696075"/>
          </a:xfrm>
          <a:prstGeom prst="rect">
            <a:avLst/>
          </a:prstGeom>
          <a:solidFill>
            <a:schemeClr val="tx2">
              <a:lumMod val="20000"/>
              <a:lumOff val="80000"/>
            </a:schemeClr>
          </a:solidFill>
          <a:ln w="25400" cap="flat" cmpd="sng">
            <a:solidFill>
              <a:srgbClr val="88A3A5"/>
            </a:solidFill>
            <a:prstDash val="solid"/>
            <a:round/>
            <a:headEnd type="none" w="sm" len="sm"/>
            <a:tailEnd type="none" w="sm" len="sm"/>
          </a:ln>
        </p:spPr>
        <p:txBody>
          <a:bodyPr spcFirstLastPara="1" wrap="square" lIns="91425" tIns="45700" rIns="91425" bIns="45700" anchor="ctr" anchorCtr="0">
            <a:noAutofit/>
          </a:bodyPr>
          <a:lstStyle/>
          <a:p>
            <a:pPr algn="ctr"/>
            <a:r>
              <a:rPr lang="en-US" sz="1400" b="1" dirty="0">
                <a:solidFill>
                  <a:schemeClr val="dk1"/>
                </a:solidFill>
                <a:latin typeface="Arial"/>
                <a:ea typeface="Arial"/>
                <a:cs typeface="Arial"/>
                <a:sym typeface="Arial"/>
              </a:rPr>
              <a:t>RITA Long Term </a:t>
            </a:r>
            <a:endParaRPr dirty="0"/>
          </a:p>
          <a:p>
            <a:pPr algn="ctr"/>
            <a:r>
              <a:rPr lang="en-US" sz="1400" dirty="0">
                <a:solidFill>
                  <a:schemeClr val="dk1"/>
                </a:solidFill>
                <a:latin typeface="Arial"/>
                <a:ea typeface="Arial"/>
                <a:cs typeface="Arial"/>
                <a:sym typeface="Arial"/>
              </a:rPr>
              <a:t>(Reclassified)</a:t>
            </a:r>
            <a:endParaRPr dirty="0"/>
          </a:p>
        </p:txBody>
      </p:sp>
      <p:cxnSp>
        <p:nvCxnSpPr>
          <p:cNvPr id="559" name="Google Shape;559;p96"/>
          <p:cNvCxnSpPr/>
          <p:nvPr/>
        </p:nvCxnSpPr>
        <p:spPr>
          <a:xfrm>
            <a:off x="5078858" y="2876764"/>
            <a:ext cx="4428162" cy="0"/>
          </a:xfrm>
          <a:prstGeom prst="straightConnector1">
            <a:avLst/>
          </a:prstGeom>
          <a:noFill/>
          <a:ln w="9525" cap="flat" cmpd="sng">
            <a:solidFill>
              <a:schemeClr val="dk2"/>
            </a:solidFill>
            <a:prstDash val="solid"/>
            <a:round/>
            <a:headEnd type="none" w="sm" len="sm"/>
            <a:tailEnd type="none" w="sm" len="sm"/>
          </a:ln>
        </p:spPr>
      </p:cxnSp>
      <p:cxnSp>
        <p:nvCxnSpPr>
          <p:cNvPr id="560" name="Google Shape;560;p96"/>
          <p:cNvCxnSpPr/>
          <p:nvPr/>
        </p:nvCxnSpPr>
        <p:spPr>
          <a:xfrm>
            <a:off x="5078858" y="2876765"/>
            <a:ext cx="0" cy="283395"/>
          </a:xfrm>
          <a:prstGeom prst="straightConnector1">
            <a:avLst/>
          </a:prstGeom>
          <a:noFill/>
          <a:ln w="9525" cap="flat" cmpd="sng">
            <a:solidFill>
              <a:schemeClr val="dk1"/>
            </a:solidFill>
            <a:prstDash val="solid"/>
            <a:round/>
            <a:headEnd type="none" w="sm" len="sm"/>
            <a:tailEnd type="none" w="sm" len="sm"/>
          </a:ln>
        </p:spPr>
      </p:cxnSp>
      <p:cxnSp>
        <p:nvCxnSpPr>
          <p:cNvPr id="561" name="Google Shape;561;p96"/>
          <p:cNvCxnSpPr/>
          <p:nvPr/>
        </p:nvCxnSpPr>
        <p:spPr>
          <a:xfrm>
            <a:off x="6609708" y="2876765"/>
            <a:ext cx="0" cy="283395"/>
          </a:xfrm>
          <a:prstGeom prst="straightConnector1">
            <a:avLst/>
          </a:prstGeom>
          <a:noFill/>
          <a:ln w="9525" cap="flat" cmpd="sng">
            <a:solidFill>
              <a:schemeClr val="dk1"/>
            </a:solidFill>
            <a:prstDash val="solid"/>
            <a:round/>
            <a:headEnd type="none" w="sm" len="sm"/>
            <a:tailEnd type="none" w="sm" len="sm"/>
          </a:ln>
        </p:spPr>
      </p:cxnSp>
      <p:cxnSp>
        <p:nvCxnSpPr>
          <p:cNvPr id="562" name="Google Shape;562;p96"/>
          <p:cNvCxnSpPr/>
          <p:nvPr/>
        </p:nvCxnSpPr>
        <p:spPr>
          <a:xfrm>
            <a:off x="8078912" y="2876765"/>
            <a:ext cx="0" cy="283395"/>
          </a:xfrm>
          <a:prstGeom prst="straightConnector1">
            <a:avLst/>
          </a:prstGeom>
          <a:noFill/>
          <a:ln w="9525" cap="flat" cmpd="sng">
            <a:solidFill>
              <a:schemeClr val="dk1"/>
            </a:solidFill>
            <a:prstDash val="solid"/>
            <a:round/>
            <a:headEnd type="none" w="sm" len="sm"/>
            <a:tailEnd type="none" w="sm" len="sm"/>
          </a:ln>
        </p:spPr>
      </p:cxnSp>
      <p:cxnSp>
        <p:nvCxnSpPr>
          <p:cNvPr id="563" name="Google Shape;563;p96"/>
          <p:cNvCxnSpPr>
            <a:endCxn id="552" idx="0"/>
          </p:cNvCxnSpPr>
          <p:nvPr/>
        </p:nvCxnSpPr>
        <p:spPr>
          <a:xfrm>
            <a:off x="9506888" y="2876733"/>
            <a:ext cx="2700" cy="293700"/>
          </a:xfrm>
          <a:prstGeom prst="straightConnector1">
            <a:avLst/>
          </a:prstGeom>
          <a:noFill/>
          <a:ln w="9525" cap="flat" cmpd="sng">
            <a:solidFill>
              <a:schemeClr val="dk1"/>
            </a:solidFill>
            <a:prstDash val="solid"/>
            <a:round/>
            <a:headEnd type="none" w="sm" len="sm"/>
            <a:tailEnd type="none" w="sm" len="sm"/>
          </a:ln>
        </p:spPr>
      </p:cxnSp>
      <p:cxnSp>
        <p:nvCxnSpPr>
          <p:cNvPr id="564" name="Google Shape;564;p96"/>
          <p:cNvCxnSpPr>
            <a:stCxn id="547" idx="2"/>
          </p:cNvCxnSpPr>
          <p:nvPr/>
        </p:nvCxnSpPr>
        <p:spPr>
          <a:xfrm>
            <a:off x="6979942" y="2662146"/>
            <a:ext cx="0" cy="195300"/>
          </a:xfrm>
          <a:prstGeom prst="straightConnector1">
            <a:avLst/>
          </a:prstGeom>
          <a:noFill/>
          <a:ln w="12700" cap="flat" cmpd="sng">
            <a:solidFill>
              <a:schemeClr val="dk1"/>
            </a:solidFill>
            <a:prstDash val="solid"/>
            <a:round/>
            <a:headEnd type="none" w="sm" len="sm"/>
            <a:tailEnd type="none" w="sm" len="sm"/>
          </a:ln>
        </p:spPr>
      </p:cxnSp>
      <p:cxnSp>
        <p:nvCxnSpPr>
          <p:cNvPr id="565" name="Google Shape;565;p96"/>
          <p:cNvCxnSpPr/>
          <p:nvPr/>
        </p:nvCxnSpPr>
        <p:spPr>
          <a:xfrm>
            <a:off x="4400765" y="4109663"/>
            <a:ext cx="1692667" cy="0"/>
          </a:xfrm>
          <a:prstGeom prst="straightConnector1">
            <a:avLst/>
          </a:prstGeom>
          <a:noFill/>
          <a:ln w="9525" cap="flat" cmpd="sng">
            <a:solidFill>
              <a:schemeClr val="dk1"/>
            </a:solidFill>
            <a:prstDash val="solid"/>
            <a:round/>
            <a:headEnd type="none" w="sm" len="sm"/>
            <a:tailEnd type="none" w="sm" len="sm"/>
          </a:ln>
        </p:spPr>
      </p:cxnSp>
      <p:cxnSp>
        <p:nvCxnSpPr>
          <p:cNvPr id="566" name="Google Shape;566;p96"/>
          <p:cNvCxnSpPr/>
          <p:nvPr/>
        </p:nvCxnSpPr>
        <p:spPr>
          <a:xfrm>
            <a:off x="4400764" y="4109663"/>
            <a:ext cx="0" cy="154112"/>
          </a:xfrm>
          <a:prstGeom prst="straightConnector1">
            <a:avLst/>
          </a:prstGeom>
          <a:noFill/>
          <a:ln w="9525" cap="flat" cmpd="sng">
            <a:solidFill>
              <a:schemeClr val="dk1"/>
            </a:solidFill>
            <a:prstDash val="solid"/>
            <a:round/>
            <a:headEnd type="none" w="sm" len="sm"/>
            <a:tailEnd type="none" w="sm" len="sm"/>
          </a:ln>
        </p:spPr>
      </p:cxnSp>
      <p:cxnSp>
        <p:nvCxnSpPr>
          <p:cNvPr id="567" name="Google Shape;567;p96"/>
          <p:cNvCxnSpPr>
            <a:endCxn id="553" idx="0"/>
          </p:cNvCxnSpPr>
          <p:nvPr/>
        </p:nvCxnSpPr>
        <p:spPr>
          <a:xfrm>
            <a:off x="6093553" y="4109575"/>
            <a:ext cx="6300" cy="154200"/>
          </a:xfrm>
          <a:prstGeom prst="straightConnector1">
            <a:avLst/>
          </a:prstGeom>
          <a:noFill/>
          <a:ln w="9525" cap="flat" cmpd="sng">
            <a:solidFill>
              <a:schemeClr val="dk1"/>
            </a:solidFill>
            <a:prstDash val="solid"/>
            <a:round/>
            <a:headEnd type="none" w="sm" len="sm"/>
            <a:tailEnd type="none" w="sm" len="sm"/>
          </a:ln>
        </p:spPr>
      </p:cxnSp>
      <p:cxnSp>
        <p:nvCxnSpPr>
          <p:cNvPr id="568" name="Google Shape;568;p96"/>
          <p:cNvCxnSpPr/>
          <p:nvPr/>
        </p:nvCxnSpPr>
        <p:spPr>
          <a:xfrm>
            <a:off x="5191232" y="3817705"/>
            <a:ext cx="0" cy="291958"/>
          </a:xfrm>
          <a:prstGeom prst="straightConnector1">
            <a:avLst/>
          </a:prstGeom>
          <a:noFill/>
          <a:ln w="9525" cap="flat" cmpd="sng">
            <a:solidFill>
              <a:schemeClr val="dk1"/>
            </a:solidFill>
            <a:prstDash val="solid"/>
            <a:round/>
            <a:headEnd type="none" w="sm" len="sm"/>
            <a:tailEnd type="none" w="sm" len="sm"/>
          </a:ln>
        </p:spPr>
      </p:cxnSp>
      <p:cxnSp>
        <p:nvCxnSpPr>
          <p:cNvPr id="569" name="Google Shape;569;p96"/>
          <p:cNvCxnSpPr/>
          <p:nvPr/>
        </p:nvCxnSpPr>
        <p:spPr>
          <a:xfrm>
            <a:off x="4400764" y="5065161"/>
            <a:ext cx="0" cy="422523"/>
          </a:xfrm>
          <a:prstGeom prst="straightConnector1">
            <a:avLst/>
          </a:prstGeom>
          <a:noFill/>
          <a:ln w="9525" cap="flat" cmpd="sng">
            <a:solidFill>
              <a:schemeClr val="dk1"/>
            </a:solidFill>
            <a:prstDash val="solid"/>
            <a:round/>
            <a:headEnd type="none" w="sm" len="sm"/>
            <a:tailEnd type="none" w="sm" len="sm"/>
          </a:ln>
        </p:spPr>
      </p:cxnSp>
      <p:cxnSp>
        <p:nvCxnSpPr>
          <p:cNvPr id="570" name="Google Shape;570;p96"/>
          <p:cNvCxnSpPr/>
          <p:nvPr/>
        </p:nvCxnSpPr>
        <p:spPr>
          <a:xfrm>
            <a:off x="6435047" y="5065161"/>
            <a:ext cx="0" cy="369869"/>
          </a:xfrm>
          <a:prstGeom prst="straightConnector1">
            <a:avLst/>
          </a:prstGeom>
          <a:noFill/>
          <a:ln w="9525" cap="flat" cmpd="sng">
            <a:solidFill>
              <a:schemeClr val="dk1"/>
            </a:solidFill>
            <a:prstDash val="solid"/>
            <a:round/>
            <a:headEnd type="none" w="sm" len="sm"/>
            <a:tailEnd type="none" w="sm" len="sm"/>
          </a:ln>
        </p:spPr>
      </p:cxnSp>
      <p:sp>
        <p:nvSpPr>
          <p:cNvPr id="2" name="Slide Number Placeholder 1">
            <a:extLst>
              <a:ext uri="{FF2B5EF4-FFF2-40B4-BE49-F238E27FC236}">
                <a16:creationId xmlns:a16="http://schemas.microsoft.com/office/drawing/2014/main" id="{DE74D9F4-6070-ADD3-A8F2-C39A0DDBE16F}"/>
              </a:ext>
            </a:extLst>
          </p:cNvPr>
          <p:cNvSpPr>
            <a:spLocks noGrp="1"/>
          </p:cNvSpPr>
          <p:nvPr>
            <p:ph type="sldNum" sz="quarter" idx="12"/>
          </p:nvPr>
        </p:nvSpPr>
        <p:spPr/>
        <p:txBody>
          <a:bodyPr/>
          <a:lstStyle/>
          <a:p>
            <a:fld id="{09D8572F-5E2A-4C2B-8D06-D2E642EBF18E}" type="slidenum">
              <a:rPr lang="en-US" smtClean="0"/>
              <a:t>55</a:t>
            </a:fld>
            <a:endParaRPr lang="en-US"/>
          </a:p>
        </p:txBody>
      </p:sp>
      <p:sp>
        <p:nvSpPr>
          <p:cNvPr id="3" name="TextBox 2">
            <a:extLst>
              <a:ext uri="{FF2B5EF4-FFF2-40B4-BE49-F238E27FC236}">
                <a16:creationId xmlns:a16="http://schemas.microsoft.com/office/drawing/2014/main" id="{CAA84653-CAB3-04E4-63A1-49F0762E71B6}"/>
              </a:ext>
            </a:extLst>
          </p:cNvPr>
          <p:cNvSpPr txBox="1"/>
          <p:nvPr/>
        </p:nvSpPr>
        <p:spPr>
          <a:xfrm>
            <a:off x="1071717" y="1081025"/>
            <a:ext cx="10282083" cy="646331"/>
          </a:xfrm>
          <a:prstGeom prst="rect">
            <a:avLst/>
          </a:prstGeom>
        </p:spPr>
        <p:style>
          <a:lnRef idx="1">
            <a:schemeClr val="accent2"/>
          </a:lnRef>
          <a:fillRef idx="2">
            <a:schemeClr val="accent2"/>
          </a:fillRef>
          <a:effectRef idx="1">
            <a:schemeClr val="accent2"/>
          </a:effectRef>
          <a:fontRef idx="minor">
            <a:schemeClr val="dk1"/>
          </a:fontRef>
        </p:style>
        <p:txBody>
          <a:bodyPr wrap="square" rtlCol="0">
            <a:spAutoFit/>
          </a:bodyPr>
          <a:lstStyle/>
          <a:p>
            <a:r>
              <a:rPr lang="en-US" dirty="0"/>
              <a:t>Recency testing helps to estimate the duration of HIV infection in newly diagnosed, ARV-naive PLIHIV ≥15 years and give an idea of the incidence of HIV infection in a population  </a:t>
            </a:r>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900F40-A44A-CBE3-167B-FFBFE12EE073}"/>
              </a:ext>
            </a:extLst>
          </p:cNvPr>
          <p:cNvSpPr>
            <a:spLocks noGrp="1"/>
          </p:cNvSpPr>
          <p:nvPr>
            <p:ph type="title"/>
          </p:nvPr>
        </p:nvSpPr>
        <p:spPr>
          <a:xfrm>
            <a:off x="838200" y="97656"/>
            <a:ext cx="10515600" cy="1325563"/>
          </a:xfrm>
        </p:spPr>
        <p:txBody>
          <a:bodyPr/>
          <a:lstStyle/>
          <a:p>
            <a:r>
              <a:rPr lang="en-US" dirty="0"/>
              <a:t>Index Testing Cascade</a:t>
            </a:r>
          </a:p>
        </p:txBody>
      </p:sp>
      <p:pic>
        <p:nvPicPr>
          <p:cNvPr id="6" name="Content Placeholder 5">
            <a:extLst>
              <a:ext uri="{FF2B5EF4-FFF2-40B4-BE49-F238E27FC236}">
                <a16:creationId xmlns:a16="http://schemas.microsoft.com/office/drawing/2014/main" id="{014DE94B-CB80-4380-3F7F-D35EC7A227F9}"/>
              </a:ext>
            </a:extLst>
          </p:cNvPr>
          <p:cNvPicPr>
            <a:picLocks noGrp="1" noChangeAspect="1"/>
          </p:cNvPicPr>
          <p:nvPr>
            <p:ph idx="1"/>
          </p:nvPr>
        </p:nvPicPr>
        <p:blipFill rotWithShape="1">
          <a:blip r:embed="rId2"/>
          <a:srcRect l="38181" t="33750" r="28417" b="21354"/>
          <a:stretch/>
        </p:blipFill>
        <p:spPr>
          <a:xfrm>
            <a:off x="6372808" y="2292876"/>
            <a:ext cx="5685841" cy="4132300"/>
          </a:xfrm>
          <a:ln>
            <a:solidFill>
              <a:schemeClr val="tx2"/>
            </a:solidFill>
          </a:ln>
        </p:spPr>
      </p:pic>
      <p:sp>
        <p:nvSpPr>
          <p:cNvPr id="4" name="Slide Number Placeholder 3">
            <a:extLst>
              <a:ext uri="{FF2B5EF4-FFF2-40B4-BE49-F238E27FC236}">
                <a16:creationId xmlns:a16="http://schemas.microsoft.com/office/drawing/2014/main" id="{3457AE18-989E-EF85-E2CC-88A78733F305}"/>
              </a:ext>
            </a:extLst>
          </p:cNvPr>
          <p:cNvSpPr>
            <a:spLocks noGrp="1"/>
          </p:cNvSpPr>
          <p:nvPr>
            <p:ph type="sldNum" sz="quarter" idx="12"/>
          </p:nvPr>
        </p:nvSpPr>
        <p:spPr/>
        <p:txBody>
          <a:bodyPr/>
          <a:lstStyle/>
          <a:p>
            <a:fld id="{09D8572F-5E2A-4C2B-8D06-D2E642EBF18E}" type="slidenum">
              <a:rPr lang="en-US" smtClean="0"/>
              <a:t>56</a:t>
            </a:fld>
            <a:endParaRPr lang="en-US"/>
          </a:p>
        </p:txBody>
      </p:sp>
      <p:pic>
        <p:nvPicPr>
          <p:cNvPr id="8" name="Picture 7">
            <a:extLst>
              <a:ext uri="{FF2B5EF4-FFF2-40B4-BE49-F238E27FC236}">
                <a16:creationId xmlns:a16="http://schemas.microsoft.com/office/drawing/2014/main" id="{825C6561-380A-3110-C1E7-EA3443B3142C}"/>
              </a:ext>
            </a:extLst>
          </p:cNvPr>
          <p:cNvPicPr>
            <a:picLocks noChangeAspect="1"/>
          </p:cNvPicPr>
          <p:nvPr/>
        </p:nvPicPr>
        <p:blipFill rotWithShape="1">
          <a:blip r:embed="rId3"/>
          <a:srcRect l="34062" t="30695" r="26172" b="15972"/>
          <a:stretch/>
        </p:blipFill>
        <p:spPr>
          <a:xfrm>
            <a:off x="133351" y="2283389"/>
            <a:ext cx="6146151" cy="4141787"/>
          </a:xfrm>
          <a:prstGeom prst="rect">
            <a:avLst/>
          </a:prstGeom>
          <a:ln>
            <a:solidFill>
              <a:schemeClr val="tx2"/>
            </a:solidFill>
          </a:ln>
        </p:spPr>
      </p:pic>
      <p:sp>
        <p:nvSpPr>
          <p:cNvPr id="3" name="TextBox 2">
            <a:extLst>
              <a:ext uri="{FF2B5EF4-FFF2-40B4-BE49-F238E27FC236}">
                <a16:creationId xmlns:a16="http://schemas.microsoft.com/office/drawing/2014/main" id="{1F6C2355-EE21-2052-342D-454711B0C4BF}"/>
              </a:ext>
            </a:extLst>
          </p:cNvPr>
          <p:cNvSpPr txBox="1"/>
          <p:nvPr/>
        </p:nvSpPr>
        <p:spPr>
          <a:xfrm>
            <a:off x="206477" y="1423219"/>
            <a:ext cx="11852172" cy="646331"/>
          </a:xfrm>
          <a:prstGeom prst="rect">
            <a:avLst/>
          </a:prstGeom>
        </p:spPr>
        <p:style>
          <a:lnRef idx="1">
            <a:schemeClr val="accent5"/>
          </a:lnRef>
          <a:fillRef idx="2">
            <a:schemeClr val="accent5"/>
          </a:fillRef>
          <a:effectRef idx="1">
            <a:schemeClr val="accent5"/>
          </a:effectRef>
          <a:fontRef idx="minor">
            <a:schemeClr val="dk1"/>
          </a:fontRef>
        </p:style>
        <p:txBody>
          <a:bodyPr wrap="square" rtlCol="0">
            <a:spAutoFit/>
          </a:bodyPr>
          <a:lstStyle/>
          <a:p>
            <a:r>
              <a:rPr lang="en-US" dirty="0"/>
              <a:t>Index testing is an approach whereby an exposed </a:t>
            </a:r>
            <a:r>
              <a:rPr lang="en-US" b="1" dirty="0"/>
              <a:t>contacts</a:t>
            </a:r>
            <a:r>
              <a:rPr lang="en-US" dirty="0"/>
              <a:t> of an </a:t>
            </a:r>
            <a:r>
              <a:rPr lang="en-US" b="1" dirty="0"/>
              <a:t>HIV positive person</a:t>
            </a:r>
            <a:r>
              <a:rPr lang="en-US" dirty="0"/>
              <a:t> (index case) are elicited and offered HIV testing services. The contacts can be sexual, biological (child/parent), or needle sharing contacts.</a:t>
            </a:r>
          </a:p>
        </p:txBody>
      </p:sp>
    </p:spTree>
    <p:extLst>
      <p:ext uri="{BB962C8B-B14F-4D97-AF65-F5344CB8AC3E}">
        <p14:creationId xmlns:p14="http://schemas.microsoft.com/office/powerpoint/2010/main" val="93901834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3FF30D-589B-D3B5-1BA9-ECA52634DBCF}"/>
              </a:ext>
            </a:extLst>
          </p:cNvPr>
          <p:cNvSpPr>
            <a:spLocks noGrp="1"/>
          </p:cNvSpPr>
          <p:nvPr>
            <p:ph type="title"/>
          </p:nvPr>
        </p:nvSpPr>
        <p:spPr>
          <a:xfrm>
            <a:off x="838200" y="365125"/>
            <a:ext cx="10515600" cy="1325563"/>
          </a:xfrm>
        </p:spPr>
        <p:txBody>
          <a:bodyPr>
            <a:normAutofit/>
          </a:bodyPr>
          <a:lstStyle/>
          <a:p>
            <a:r>
              <a:rPr lang="en-US" sz="5400"/>
              <a:t>MER Indicators: HTS_TST</a:t>
            </a:r>
          </a:p>
        </p:txBody>
      </p:sp>
      <p:sp>
        <p:nvSpPr>
          <p:cNvPr id="3" name="Content Placeholder 2">
            <a:extLst>
              <a:ext uri="{FF2B5EF4-FFF2-40B4-BE49-F238E27FC236}">
                <a16:creationId xmlns:a16="http://schemas.microsoft.com/office/drawing/2014/main" id="{644A75E0-D78E-9F66-F027-696B27712722}"/>
              </a:ext>
            </a:extLst>
          </p:cNvPr>
          <p:cNvSpPr>
            <a:spLocks noGrp="1"/>
          </p:cNvSpPr>
          <p:nvPr>
            <p:ph idx="1"/>
          </p:nvPr>
        </p:nvSpPr>
        <p:spPr>
          <a:xfrm>
            <a:off x="838200" y="1929384"/>
            <a:ext cx="10515600" cy="4251960"/>
          </a:xfrm>
        </p:spPr>
        <p:txBody>
          <a:bodyPr>
            <a:normAutofit/>
          </a:bodyPr>
          <a:lstStyle/>
          <a:p>
            <a:pPr marL="0" indent="0">
              <a:buNone/>
            </a:pPr>
            <a:r>
              <a:rPr lang="en-US" sz="2000" b="1" dirty="0"/>
              <a:t>Definition</a:t>
            </a:r>
          </a:p>
          <a:p>
            <a:pPr marL="0" indent="0">
              <a:buNone/>
            </a:pPr>
            <a:r>
              <a:rPr lang="en-US" sz="2000" dirty="0"/>
              <a:t>Number of individuals who received HIV Testing Services (HTS) and received their test results</a:t>
            </a:r>
          </a:p>
          <a:p>
            <a:pPr marL="0" indent="0">
              <a:buNone/>
            </a:pPr>
            <a:r>
              <a:rPr lang="en-US" sz="2000" b="1" dirty="0"/>
              <a:t>Modalities</a:t>
            </a:r>
            <a:endParaRPr lang="en-US" sz="2000" dirty="0"/>
          </a:p>
          <a:p>
            <a:pPr marL="457200" lvl="1" indent="0">
              <a:buNone/>
            </a:pPr>
            <a:r>
              <a:rPr lang="en-US" sz="2000" dirty="0"/>
              <a:t>Facility: Emergency, inpatient ward, Pediatrics (&lt;5 clinic), TB, STI, Index, PMTCT (ANC-1), PMTCT (Post-ANC1: Pregnancy/L&amp;D/BF), malnutrition, Other PITC, VCT</a:t>
            </a:r>
          </a:p>
          <a:p>
            <a:pPr marL="457200" lvl="1" indent="0">
              <a:buNone/>
            </a:pPr>
            <a:r>
              <a:rPr lang="en-US" sz="2000" dirty="0"/>
              <a:t>Community: Mobile, Index, Other community modalities</a:t>
            </a:r>
          </a:p>
          <a:p>
            <a:pPr marL="0" indent="0">
              <a:buNone/>
            </a:pPr>
            <a:r>
              <a:rPr lang="en-US" sz="2000" b="1" dirty="0"/>
              <a:t>Disaggregation:</a:t>
            </a:r>
            <a:r>
              <a:rPr lang="en-US" sz="2000" dirty="0"/>
              <a:t> Modality &amp; Result by age &amp; sex, key population type</a:t>
            </a:r>
          </a:p>
          <a:p>
            <a:pPr marL="0" indent="0">
              <a:buNone/>
            </a:pPr>
            <a:r>
              <a:rPr lang="en-US" sz="2000" b="1" dirty="0"/>
              <a:t>Reporting frequency</a:t>
            </a:r>
            <a:r>
              <a:rPr lang="en-US" sz="2000" dirty="0"/>
              <a:t>: Quarterly</a:t>
            </a:r>
          </a:p>
          <a:p>
            <a:pPr marL="0" indent="0">
              <a:buNone/>
            </a:pPr>
            <a:r>
              <a:rPr lang="en-US" sz="2000" b="1" dirty="0"/>
              <a:t>Reporting level</a:t>
            </a:r>
            <a:r>
              <a:rPr lang="en-US" sz="2000" dirty="0"/>
              <a:t>: facility and community</a:t>
            </a:r>
          </a:p>
          <a:p>
            <a:pPr marL="0" indent="0">
              <a:buNone/>
            </a:pPr>
            <a:r>
              <a:rPr lang="en-US" sz="2000" b="1" dirty="0"/>
              <a:t>Data Source</a:t>
            </a:r>
            <a:r>
              <a:rPr lang="en-US" sz="2000" dirty="0"/>
              <a:t>: Client Intake Form, HTS Register, PMTCT HTS Register</a:t>
            </a:r>
          </a:p>
        </p:txBody>
      </p:sp>
      <p:sp>
        <p:nvSpPr>
          <p:cNvPr id="4" name="Slide Number Placeholder 3">
            <a:extLst>
              <a:ext uri="{FF2B5EF4-FFF2-40B4-BE49-F238E27FC236}">
                <a16:creationId xmlns:a16="http://schemas.microsoft.com/office/drawing/2014/main" id="{A33D4D26-8110-71DD-A8AE-79AC53E7B058}"/>
              </a:ext>
            </a:extLst>
          </p:cNvPr>
          <p:cNvSpPr>
            <a:spLocks noGrp="1"/>
          </p:cNvSpPr>
          <p:nvPr>
            <p:ph type="sldNum" sz="quarter" idx="12"/>
          </p:nvPr>
        </p:nvSpPr>
        <p:spPr>
          <a:xfrm>
            <a:off x="8610600" y="6356350"/>
            <a:ext cx="2743200" cy="365125"/>
          </a:xfrm>
        </p:spPr>
        <p:txBody>
          <a:bodyPr>
            <a:normAutofit/>
          </a:bodyPr>
          <a:lstStyle/>
          <a:p>
            <a:pPr>
              <a:spcAft>
                <a:spcPts val="600"/>
              </a:spcAft>
            </a:pPr>
            <a:fld id="{09D8572F-5E2A-4C2B-8D06-D2E642EBF18E}" type="slidenum">
              <a:rPr lang="en-US" smtClean="0"/>
              <a:pPr>
                <a:spcAft>
                  <a:spcPts val="600"/>
                </a:spcAft>
              </a:pPr>
              <a:t>57</a:t>
            </a:fld>
            <a:endParaRPr lang="en-US"/>
          </a:p>
        </p:txBody>
      </p:sp>
    </p:spTree>
    <p:extLst>
      <p:ext uri="{BB962C8B-B14F-4D97-AF65-F5344CB8AC3E}">
        <p14:creationId xmlns:p14="http://schemas.microsoft.com/office/powerpoint/2010/main" val="324164101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94757E-3939-F017-00CA-511DE54542CB}"/>
              </a:ext>
            </a:extLst>
          </p:cNvPr>
          <p:cNvSpPr>
            <a:spLocks noGrp="1"/>
          </p:cNvSpPr>
          <p:nvPr>
            <p:ph type="title"/>
          </p:nvPr>
        </p:nvSpPr>
        <p:spPr>
          <a:xfrm>
            <a:off x="727372" y="67136"/>
            <a:ext cx="10909640" cy="748378"/>
          </a:xfrm>
        </p:spPr>
        <p:txBody>
          <a:bodyPr vert="horz" lIns="91440" tIns="45720" rIns="91440" bIns="45720" rtlCol="0" anchor="ctr">
            <a:normAutofit fontScale="90000"/>
          </a:bodyPr>
          <a:lstStyle/>
          <a:p>
            <a:pPr algn="ctr"/>
            <a:r>
              <a:rPr lang="en-US" sz="6600" kern="1200" dirty="0">
                <a:solidFill>
                  <a:schemeClr val="tx1"/>
                </a:solidFill>
                <a:latin typeface="+mj-lt"/>
                <a:ea typeface="+mj-ea"/>
                <a:cs typeface="+mj-cs"/>
              </a:rPr>
              <a:t>MER Indicators: HTS_TST (2)</a:t>
            </a:r>
          </a:p>
        </p:txBody>
      </p:sp>
      <p:pic>
        <p:nvPicPr>
          <p:cNvPr id="5" name="Picture 4">
            <a:extLst>
              <a:ext uri="{FF2B5EF4-FFF2-40B4-BE49-F238E27FC236}">
                <a16:creationId xmlns:a16="http://schemas.microsoft.com/office/drawing/2014/main" id="{A5169388-1A5F-2787-0D51-A5831C776364}"/>
              </a:ext>
            </a:extLst>
          </p:cNvPr>
          <p:cNvPicPr>
            <a:picLocks noChangeAspect="1"/>
          </p:cNvPicPr>
          <p:nvPr/>
        </p:nvPicPr>
        <p:blipFill rotWithShape="1">
          <a:blip r:embed="rId2"/>
          <a:srcRect l="64453" t="21388" r="16797" b="30556"/>
          <a:stretch/>
        </p:blipFill>
        <p:spPr>
          <a:xfrm>
            <a:off x="0" y="717755"/>
            <a:ext cx="12192000" cy="6140245"/>
          </a:xfrm>
          <a:prstGeom prst="rect">
            <a:avLst/>
          </a:prstGeom>
        </p:spPr>
      </p:pic>
      <p:sp>
        <p:nvSpPr>
          <p:cNvPr id="6" name="Slide Number Placeholder 5">
            <a:extLst>
              <a:ext uri="{FF2B5EF4-FFF2-40B4-BE49-F238E27FC236}">
                <a16:creationId xmlns:a16="http://schemas.microsoft.com/office/drawing/2014/main" id="{7F2D469B-FD50-A655-CE62-78EB199DDCF2}"/>
              </a:ext>
            </a:extLst>
          </p:cNvPr>
          <p:cNvSpPr>
            <a:spLocks noGrp="1"/>
          </p:cNvSpPr>
          <p:nvPr>
            <p:ph type="sldNum" sz="quarter" idx="12"/>
          </p:nvPr>
        </p:nvSpPr>
        <p:spPr>
          <a:xfrm>
            <a:off x="8610600" y="6356350"/>
            <a:ext cx="2743200" cy="365125"/>
          </a:xfrm>
        </p:spPr>
        <p:txBody>
          <a:bodyPr vert="horz" lIns="91440" tIns="45720" rIns="91440" bIns="45720" rtlCol="0" anchor="ctr">
            <a:normAutofit/>
          </a:bodyPr>
          <a:lstStyle/>
          <a:p>
            <a:pPr>
              <a:spcAft>
                <a:spcPts val="600"/>
              </a:spcAft>
            </a:pPr>
            <a:fld id="{09D8572F-5E2A-4C2B-8D06-D2E642EBF18E}" type="slidenum">
              <a:rPr lang="en-US" smtClean="0"/>
              <a:pPr>
                <a:spcAft>
                  <a:spcPts val="600"/>
                </a:spcAft>
              </a:pPr>
              <a:t>58</a:t>
            </a:fld>
            <a:endParaRPr lang="en-US"/>
          </a:p>
        </p:txBody>
      </p:sp>
    </p:spTree>
    <p:extLst>
      <p:ext uri="{BB962C8B-B14F-4D97-AF65-F5344CB8AC3E}">
        <p14:creationId xmlns:p14="http://schemas.microsoft.com/office/powerpoint/2010/main" val="168852756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4A0CB1-9953-F8F7-77D9-79B2DFC62830}"/>
              </a:ext>
            </a:extLst>
          </p:cNvPr>
          <p:cNvSpPr>
            <a:spLocks noGrp="1"/>
          </p:cNvSpPr>
          <p:nvPr>
            <p:ph type="title"/>
          </p:nvPr>
        </p:nvSpPr>
        <p:spPr>
          <a:xfrm>
            <a:off x="838200" y="365125"/>
            <a:ext cx="10515600" cy="1325563"/>
          </a:xfrm>
        </p:spPr>
        <p:txBody>
          <a:bodyPr>
            <a:normAutofit/>
          </a:bodyPr>
          <a:lstStyle/>
          <a:p>
            <a:r>
              <a:rPr lang="en-US" sz="5400"/>
              <a:t>MER Indicators: HTS_INDEX</a:t>
            </a:r>
          </a:p>
        </p:txBody>
      </p:sp>
      <p:sp>
        <p:nvSpPr>
          <p:cNvPr id="3" name="Content Placeholder 2">
            <a:extLst>
              <a:ext uri="{FF2B5EF4-FFF2-40B4-BE49-F238E27FC236}">
                <a16:creationId xmlns:a16="http://schemas.microsoft.com/office/drawing/2014/main" id="{909577C6-7B35-2D1B-FE73-7CA2B3EAE2CA}"/>
              </a:ext>
            </a:extLst>
          </p:cNvPr>
          <p:cNvSpPr>
            <a:spLocks noGrp="1"/>
          </p:cNvSpPr>
          <p:nvPr>
            <p:ph idx="1"/>
          </p:nvPr>
        </p:nvSpPr>
        <p:spPr>
          <a:xfrm>
            <a:off x="838200" y="1929384"/>
            <a:ext cx="10515600" cy="4251960"/>
          </a:xfrm>
        </p:spPr>
        <p:txBody>
          <a:bodyPr>
            <a:normAutofit/>
          </a:bodyPr>
          <a:lstStyle/>
          <a:p>
            <a:pPr marL="0" indent="0">
              <a:buNone/>
            </a:pPr>
            <a:r>
              <a:rPr lang="en-US" sz="2000" b="1"/>
              <a:t>Definition</a:t>
            </a:r>
          </a:p>
          <a:p>
            <a:pPr marL="0" indent="0">
              <a:buNone/>
            </a:pPr>
            <a:r>
              <a:rPr lang="en-US" sz="2000"/>
              <a:t>Number of individuals who were identified and tested using Index testing services and received their results</a:t>
            </a:r>
          </a:p>
          <a:p>
            <a:pPr marL="0" indent="0">
              <a:buNone/>
            </a:pPr>
            <a:r>
              <a:rPr lang="en-US" sz="2000" b="1"/>
              <a:t>Disaggregation</a:t>
            </a:r>
            <a:endParaRPr lang="en-US" sz="2000"/>
          </a:p>
          <a:p>
            <a:r>
              <a:rPr lang="en-US" sz="2000"/>
              <a:t>Number of index cases offered index testing by age/sex</a:t>
            </a:r>
          </a:p>
          <a:p>
            <a:r>
              <a:rPr lang="en-US" sz="2000"/>
              <a:t>Number of index cases that accepted index testing by age/sex</a:t>
            </a:r>
          </a:p>
          <a:p>
            <a:r>
              <a:rPr lang="en-US" sz="2000"/>
              <a:t>Number of contacts elicited by age/sex</a:t>
            </a:r>
          </a:p>
          <a:p>
            <a:r>
              <a:rPr lang="en-US" sz="2000"/>
              <a:t>Number of contacts tested &amp; results by age/sex</a:t>
            </a:r>
          </a:p>
          <a:p>
            <a:pPr marL="0" indent="0">
              <a:buNone/>
            </a:pPr>
            <a:r>
              <a:rPr lang="en-US" sz="2000" b="1"/>
              <a:t>Reporting Frequency</a:t>
            </a:r>
            <a:r>
              <a:rPr lang="en-US" sz="2000"/>
              <a:t>: Quarterly</a:t>
            </a:r>
          </a:p>
          <a:p>
            <a:pPr marL="0" indent="0">
              <a:buNone/>
            </a:pPr>
            <a:r>
              <a:rPr lang="en-US" sz="2000" b="1"/>
              <a:t>Reporting Level</a:t>
            </a:r>
            <a:r>
              <a:rPr lang="en-US" sz="2000"/>
              <a:t>: Facility and Community</a:t>
            </a:r>
          </a:p>
          <a:p>
            <a:pPr marL="0" indent="0">
              <a:buNone/>
            </a:pPr>
            <a:r>
              <a:rPr lang="en-US" sz="2000" b="1"/>
              <a:t>Data Sources: </a:t>
            </a:r>
            <a:r>
              <a:rPr lang="en-US" sz="2000"/>
              <a:t>Client Intake Form, Index Testing Register</a:t>
            </a:r>
          </a:p>
        </p:txBody>
      </p:sp>
      <p:sp>
        <p:nvSpPr>
          <p:cNvPr id="4" name="Slide Number Placeholder 3">
            <a:extLst>
              <a:ext uri="{FF2B5EF4-FFF2-40B4-BE49-F238E27FC236}">
                <a16:creationId xmlns:a16="http://schemas.microsoft.com/office/drawing/2014/main" id="{1ACD4A38-7D41-721C-0AEA-38F24BF81578}"/>
              </a:ext>
            </a:extLst>
          </p:cNvPr>
          <p:cNvSpPr>
            <a:spLocks noGrp="1"/>
          </p:cNvSpPr>
          <p:nvPr>
            <p:ph type="sldNum" sz="quarter" idx="12"/>
          </p:nvPr>
        </p:nvSpPr>
        <p:spPr>
          <a:xfrm>
            <a:off x="8610600" y="6356350"/>
            <a:ext cx="2743200" cy="365125"/>
          </a:xfrm>
        </p:spPr>
        <p:txBody>
          <a:bodyPr>
            <a:normAutofit/>
          </a:bodyPr>
          <a:lstStyle/>
          <a:p>
            <a:pPr>
              <a:spcAft>
                <a:spcPts val="600"/>
              </a:spcAft>
            </a:pPr>
            <a:fld id="{09D8572F-5E2A-4C2B-8D06-D2E642EBF18E}" type="slidenum">
              <a:rPr lang="en-US" smtClean="0"/>
              <a:pPr>
                <a:spcAft>
                  <a:spcPts val="600"/>
                </a:spcAft>
              </a:pPr>
              <a:t>59</a:t>
            </a:fld>
            <a:endParaRPr lang="en-US"/>
          </a:p>
        </p:txBody>
      </p:sp>
    </p:spTree>
    <p:extLst>
      <p:ext uri="{BB962C8B-B14F-4D97-AF65-F5344CB8AC3E}">
        <p14:creationId xmlns:p14="http://schemas.microsoft.com/office/powerpoint/2010/main" val="19241380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a:extLst>
              <a:ext uri="{FF2B5EF4-FFF2-40B4-BE49-F238E27FC236}">
                <a16:creationId xmlns:a16="http://schemas.microsoft.com/office/drawing/2014/main" id="{308548E7-6A56-7CD0-2588-FCF1BE84C1C8}"/>
              </a:ext>
            </a:extLst>
          </p:cNvPr>
          <p:cNvSpPr>
            <a:spLocks noGrp="1"/>
          </p:cNvSpPr>
          <p:nvPr>
            <p:ph type="ctrTitle"/>
          </p:nvPr>
        </p:nvSpPr>
        <p:spPr>
          <a:xfrm>
            <a:off x="1714500" y="220663"/>
            <a:ext cx="7772400" cy="1066800"/>
          </a:xfrm>
        </p:spPr>
        <p:txBody>
          <a:bodyPr>
            <a:normAutofit/>
          </a:bodyPr>
          <a:lstStyle/>
          <a:p>
            <a:pPr algn="ctr" eaLnBrk="1" hangingPunct="1"/>
            <a:r>
              <a:rPr lang="en-US" altLang="en-US" sz="3600" b="1" dirty="0">
                <a:solidFill>
                  <a:srgbClr val="002060"/>
                </a:solidFill>
                <a:latin typeface="Poppins" panose="00000500000000000000" pitchFamily="2" charset="0"/>
                <a:cs typeface="Poppins" panose="00000500000000000000" pitchFamily="2" charset="0"/>
              </a:rPr>
              <a:t>Activities</a:t>
            </a:r>
          </a:p>
        </p:txBody>
      </p:sp>
      <p:sp>
        <p:nvSpPr>
          <p:cNvPr id="22" name="Subtitle 21">
            <a:extLst>
              <a:ext uri="{FF2B5EF4-FFF2-40B4-BE49-F238E27FC236}">
                <a16:creationId xmlns:a16="http://schemas.microsoft.com/office/drawing/2014/main" id="{5CA0749B-9841-2A1D-0EB2-C9E283A0D01A}"/>
              </a:ext>
            </a:extLst>
          </p:cNvPr>
          <p:cNvSpPr>
            <a:spLocks noGrp="1"/>
          </p:cNvSpPr>
          <p:nvPr>
            <p:ph type="subTitle" idx="1"/>
          </p:nvPr>
        </p:nvSpPr>
        <p:spPr>
          <a:xfrm>
            <a:off x="1524000" y="1287463"/>
            <a:ext cx="8905875" cy="1752600"/>
          </a:xfrm>
        </p:spPr>
        <p:txBody>
          <a:bodyPr>
            <a:normAutofit/>
          </a:bodyPr>
          <a:lstStyle/>
          <a:p>
            <a:pPr algn="l" eaLnBrk="1" hangingPunct="1">
              <a:defRPr/>
            </a:pPr>
            <a:r>
              <a:rPr lang="en-US" sz="2400" b="1" i="1" dirty="0">
                <a:solidFill>
                  <a:srgbClr val="00B050"/>
                </a:solidFill>
                <a:latin typeface="Arial" charset="0"/>
                <a:cs typeface="Arial" charset="0"/>
              </a:rPr>
              <a:t>Activities</a:t>
            </a:r>
            <a:r>
              <a:rPr lang="yo-NG" sz="2400" b="1" i="1" dirty="0">
                <a:solidFill>
                  <a:srgbClr val="00B050"/>
                </a:solidFill>
                <a:latin typeface="Arial" charset="0"/>
                <a:cs typeface="Arial" charset="0"/>
              </a:rPr>
              <a:t> are w</a:t>
            </a:r>
            <a:r>
              <a:rPr lang="en-US" sz="2400" b="1" i="1" dirty="0">
                <a:solidFill>
                  <a:srgbClr val="00B050"/>
                </a:solidFill>
                <a:latin typeface="Arial" charset="0"/>
                <a:cs typeface="Arial" charset="0"/>
              </a:rPr>
              <a:t>hat you do to implement</a:t>
            </a:r>
            <a:r>
              <a:rPr lang="yo-NG" sz="2400" b="1" i="1" dirty="0">
                <a:solidFill>
                  <a:srgbClr val="00B050"/>
                </a:solidFill>
                <a:latin typeface="Arial" charset="0"/>
                <a:cs typeface="Arial" charset="0"/>
              </a:rPr>
              <a:t> a</a:t>
            </a:r>
            <a:r>
              <a:rPr lang="en-US" sz="2400" b="1" i="1" dirty="0">
                <a:solidFill>
                  <a:srgbClr val="00B050"/>
                </a:solidFill>
                <a:latin typeface="Arial" charset="0"/>
                <a:cs typeface="Arial" charset="0"/>
              </a:rPr>
              <a:t> program</a:t>
            </a:r>
            <a:r>
              <a:rPr lang="en-US" sz="2400" i="1" dirty="0">
                <a:solidFill>
                  <a:schemeClr val="tx1"/>
                </a:solidFill>
                <a:latin typeface="Arial" charset="0"/>
              </a:rPr>
              <a:t>. ‘The processes or actions that use a range of inputs to produce the desired outputs</a:t>
            </a:r>
            <a:r>
              <a:rPr lang="en-US" sz="2400" dirty="0">
                <a:solidFill>
                  <a:schemeClr val="tx1"/>
                </a:solidFill>
                <a:latin typeface="Arial" charset="0"/>
              </a:rPr>
              <a:t> </a:t>
            </a:r>
            <a:r>
              <a:rPr lang="en-US" sz="2400" i="1" dirty="0">
                <a:solidFill>
                  <a:schemeClr val="tx1"/>
                </a:solidFill>
                <a:latin typeface="Arial" charset="0"/>
              </a:rPr>
              <a:t>and ultimately outcomes’</a:t>
            </a:r>
          </a:p>
          <a:p>
            <a:pPr algn="l" eaLnBrk="1" hangingPunct="1">
              <a:defRPr/>
            </a:pPr>
            <a:r>
              <a:rPr lang="en-US" altLang="en-US" sz="2400" i="1" dirty="0">
                <a:solidFill>
                  <a:schemeClr val="tx1"/>
                </a:solidFill>
              </a:rPr>
              <a:t>Activities describe ‘what we do’. </a:t>
            </a:r>
          </a:p>
          <a:p>
            <a:pPr algn="l" eaLnBrk="1" hangingPunct="1">
              <a:defRPr/>
            </a:pPr>
            <a:endParaRPr lang="en-US" altLang="en-US" sz="2400" i="1" dirty="0">
              <a:solidFill>
                <a:schemeClr val="tx1"/>
              </a:solidFill>
            </a:endParaRPr>
          </a:p>
          <a:p>
            <a:pPr algn="l" eaLnBrk="1" hangingPunct="1">
              <a:defRPr/>
            </a:pPr>
            <a:endParaRPr lang="en-US" altLang="en-US" sz="2400" i="1" dirty="0">
              <a:solidFill>
                <a:schemeClr val="tx1"/>
              </a:solidFill>
            </a:endParaRPr>
          </a:p>
          <a:p>
            <a:pPr algn="l" eaLnBrk="1" hangingPunct="1">
              <a:defRPr/>
            </a:pPr>
            <a:endParaRPr lang="en-US" sz="2400" dirty="0"/>
          </a:p>
        </p:txBody>
      </p:sp>
      <p:sp>
        <p:nvSpPr>
          <p:cNvPr id="5" name="Oval 4">
            <a:extLst>
              <a:ext uri="{FF2B5EF4-FFF2-40B4-BE49-F238E27FC236}">
                <a16:creationId xmlns:a16="http://schemas.microsoft.com/office/drawing/2014/main" id="{97705B44-588C-5913-C2D0-29FE9FC9ABCE}"/>
              </a:ext>
            </a:extLst>
          </p:cNvPr>
          <p:cNvSpPr/>
          <p:nvPr/>
        </p:nvSpPr>
        <p:spPr>
          <a:xfrm>
            <a:off x="6248400" y="2239963"/>
            <a:ext cx="273050" cy="266700"/>
          </a:xfrm>
          <a:prstGeom prst="ellipse">
            <a:avLst/>
          </a:prstGeom>
          <a:noFill/>
          <a:ln w="28575">
            <a:solidFill>
              <a:schemeClr val="bg1"/>
            </a:solidFill>
          </a:ln>
          <a:effectLst>
            <a:outerShdw blurRad="508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b="1" dirty="0">
                <a:latin typeface="Arial Black" panose="020B0A04020102020204" pitchFamily="34" charset="0"/>
              </a:rPr>
              <a:t>2</a:t>
            </a:r>
          </a:p>
        </p:txBody>
      </p:sp>
      <p:sp>
        <p:nvSpPr>
          <p:cNvPr id="6" name="Freeform: Shape 32">
            <a:extLst>
              <a:ext uri="{FF2B5EF4-FFF2-40B4-BE49-F238E27FC236}">
                <a16:creationId xmlns:a16="http://schemas.microsoft.com/office/drawing/2014/main" id="{850A12EF-3A41-3B2B-73C9-BD6B419FD90D}"/>
              </a:ext>
            </a:extLst>
          </p:cNvPr>
          <p:cNvSpPr/>
          <p:nvPr/>
        </p:nvSpPr>
        <p:spPr>
          <a:xfrm>
            <a:off x="3074988" y="4522533"/>
            <a:ext cx="1052512" cy="387350"/>
          </a:xfrm>
          <a:custGeom>
            <a:avLst/>
            <a:gdLst>
              <a:gd name="connsiteX0" fmla="*/ 0 w 1122012"/>
              <a:gd name="connsiteY0" fmla="*/ 0 h 473610"/>
              <a:gd name="connsiteX1" fmla="*/ 4 w 1122012"/>
              <a:gd name="connsiteY1" fmla="*/ 0 h 473610"/>
              <a:gd name="connsiteX2" fmla="*/ 158074 w 1122012"/>
              <a:gd name="connsiteY2" fmla="*/ 157870 h 473610"/>
              <a:gd name="connsiteX3" fmla="*/ 518035 w 1122012"/>
              <a:gd name="connsiteY3" fmla="*/ 157870 h 473610"/>
              <a:gd name="connsiteX4" fmla="*/ 873590 w 1122012"/>
              <a:gd name="connsiteY4" fmla="*/ 157870 h 473610"/>
              <a:gd name="connsiteX5" fmla="*/ 963942 w 1122012"/>
              <a:gd name="connsiteY5" fmla="*/ 157870 h 473610"/>
              <a:gd name="connsiteX6" fmla="*/ 1122012 w 1122012"/>
              <a:gd name="connsiteY6" fmla="*/ 315740 h 473610"/>
              <a:gd name="connsiteX7" fmla="*/ 963942 w 1122012"/>
              <a:gd name="connsiteY7" fmla="*/ 473610 h 473610"/>
              <a:gd name="connsiteX8" fmla="*/ 3 w 1122012"/>
              <a:gd name="connsiteY8" fmla="*/ 473610 h 473610"/>
              <a:gd name="connsiteX9" fmla="*/ 3 w 1122012"/>
              <a:gd name="connsiteY9" fmla="*/ 315740 h 473610"/>
              <a:gd name="connsiteX10" fmla="*/ 0 w 1122012"/>
              <a:gd name="connsiteY10" fmla="*/ 315740 h 473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22012" h="473610">
                <a:moveTo>
                  <a:pt x="0" y="0"/>
                </a:moveTo>
                <a:lnTo>
                  <a:pt x="4" y="0"/>
                </a:lnTo>
                <a:cubicBezTo>
                  <a:pt x="4" y="87189"/>
                  <a:pt x="70774" y="157870"/>
                  <a:pt x="158074" y="157870"/>
                </a:cubicBezTo>
                <a:lnTo>
                  <a:pt x="518035" y="157870"/>
                </a:lnTo>
                <a:lnTo>
                  <a:pt x="873590" y="157870"/>
                </a:lnTo>
                <a:lnTo>
                  <a:pt x="963942" y="157870"/>
                </a:lnTo>
                <a:cubicBezTo>
                  <a:pt x="1051242" y="157870"/>
                  <a:pt x="1122012" y="228551"/>
                  <a:pt x="1122012" y="315740"/>
                </a:cubicBezTo>
                <a:cubicBezTo>
                  <a:pt x="1122012" y="402929"/>
                  <a:pt x="1051242" y="473610"/>
                  <a:pt x="963942" y="473610"/>
                </a:cubicBezTo>
                <a:lnTo>
                  <a:pt x="3" y="473610"/>
                </a:lnTo>
                <a:lnTo>
                  <a:pt x="3" y="315740"/>
                </a:lnTo>
                <a:lnTo>
                  <a:pt x="0" y="315740"/>
                </a:lnTo>
                <a:close/>
              </a:path>
            </a:pathLst>
          </a:custGeom>
          <a:gradFill flip="none" rotWithShape="1">
            <a:gsLst>
              <a:gs pos="0">
                <a:schemeClr val="bg2">
                  <a:lumMod val="75000"/>
                </a:schemeClr>
              </a:gs>
              <a:gs pos="42000">
                <a:schemeClr val="bg1">
                  <a:lumMod val="85000"/>
                </a:schemeClr>
              </a:gs>
              <a:gs pos="100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en-US" sz="1350"/>
          </a:p>
        </p:txBody>
      </p:sp>
      <p:sp>
        <p:nvSpPr>
          <p:cNvPr id="7" name="Freeform: Shape 33">
            <a:extLst>
              <a:ext uri="{FF2B5EF4-FFF2-40B4-BE49-F238E27FC236}">
                <a16:creationId xmlns:a16="http://schemas.microsoft.com/office/drawing/2014/main" id="{12B432C4-CBF8-4663-E4CE-AFBCBCB4C5C6}"/>
              </a:ext>
            </a:extLst>
          </p:cNvPr>
          <p:cNvSpPr/>
          <p:nvPr/>
        </p:nvSpPr>
        <p:spPr>
          <a:xfrm flipH="1">
            <a:off x="3083574" y="4270298"/>
            <a:ext cx="2607956" cy="1535609"/>
          </a:xfrm>
          <a:custGeom>
            <a:avLst/>
            <a:gdLst>
              <a:gd name="connsiteX0" fmla="*/ 4 w 2779777"/>
              <a:gd name="connsiteY0" fmla="*/ 541 h 1879095"/>
              <a:gd name="connsiteX1" fmla="*/ 4 w 2779777"/>
              <a:gd name="connsiteY1" fmla="*/ 157870 h 1879095"/>
              <a:gd name="connsiteX2" fmla="*/ 3 w 2779777"/>
              <a:gd name="connsiteY2" fmla="*/ 157870 h 1879095"/>
              <a:gd name="connsiteX3" fmla="*/ 3 w 2779777"/>
              <a:gd name="connsiteY3" fmla="*/ 473610 h 1879095"/>
              <a:gd name="connsiteX4" fmla="*/ 1657768 w 2779777"/>
              <a:gd name="connsiteY4" fmla="*/ 473610 h 1879095"/>
              <a:gd name="connsiteX5" fmla="*/ 1657768 w 2779777"/>
              <a:gd name="connsiteY5" fmla="*/ 473611 h 1879095"/>
              <a:gd name="connsiteX6" fmla="*/ 0 w 2779777"/>
              <a:gd name="connsiteY6" fmla="*/ 473611 h 1879095"/>
              <a:gd name="connsiteX7" fmla="*/ 0 w 2779777"/>
              <a:gd name="connsiteY7" fmla="*/ 1637039 h 1879095"/>
              <a:gd name="connsiteX8" fmla="*/ 242363 w 2779777"/>
              <a:gd name="connsiteY8" fmla="*/ 1879095 h 1879095"/>
              <a:gd name="connsiteX9" fmla="*/ 1657768 w 2779777"/>
              <a:gd name="connsiteY9" fmla="*/ 1879095 h 1879095"/>
              <a:gd name="connsiteX10" fmla="*/ 1657768 w 2779777"/>
              <a:gd name="connsiteY10" fmla="*/ 910453 h 1879095"/>
              <a:gd name="connsiteX11" fmla="*/ 1657768 w 2779777"/>
              <a:gd name="connsiteY11" fmla="*/ 836121 h 1879095"/>
              <a:gd name="connsiteX12" fmla="*/ 1657768 w 2779777"/>
              <a:gd name="connsiteY12" fmla="*/ 789350 h 1879095"/>
              <a:gd name="connsiteX13" fmla="*/ 1657768 w 2779777"/>
              <a:gd name="connsiteY13" fmla="*/ 631480 h 1879095"/>
              <a:gd name="connsiteX14" fmla="*/ 1657769 w 2779777"/>
              <a:gd name="connsiteY14" fmla="*/ 631480 h 1879095"/>
              <a:gd name="connsiteX15" fmla="*/ 1815839 w 2779777"/>
              <a:gd name="connsiteY15" fmla="*/ 473610 h 1879095"/>
              <a:gd name="connsiteX16" fmla="*/ 1906191 w 2779777"/>
              <a:gd name="connsiteY16" fmla="*/ 473610 h 1879095"/>
              <a:gd name="connsiteX17" fmla="*/ 2261746 w 2779777"/>
              <a:gd name="connsiteY17" fmla="*/ 473610 h 1879095"/>
              <a:gd name="connsiteX18" fmla="*/ 2303383 w 2779777"/>
              <a:gd name="connsiteY18" fmla="*/ 473610 h 1879095"/>
              <a:gd name="connsiteX19" fmla="*/ 2621707 w 2779777"/>
              <a:gd name="connsiteY19" fmla="*/ 473610 h 1879095"/>
              <a:gd name="connsiteX20" fmla="*/ 2779777 w 2779777"/>
              <a:gd name="connsiteY20" fmla="*/ 315740 h 1879095"/>
              <a:gd name="connsiteX21" fmla="*/ 2621707 w 2779777"/>
              <a:gd name="connsiteY21" fmla="*/ 157870 h 1879095"/>
              <a:gd name="connsiteX22" fmla="*/ 1906191 w 2779777"/>
              <a:gd name="connsiteY22" fmla="*/ 157870 h 1879095"/>
              <a:gd name="connsiteX23" fmla="*/ 1657769 w 2779777"/>
              <a:gd name="connsiteY23" fmla="*/ 157870 h 1879095"/>
              <a:gd name="connsiteX24" fmla="*/ 1122013 w 2779777"/>
              <a:gd name="connsiteY24" fmla="*/ 157870 h 1879095"/>
              <a:gd name="connsiteX25" fmla="*/ 1122013 w 2779777"/>
              <a:gd name="connsiteY25" fmla="*/ 158411 h 1879095"/>
              <a:gd name="connsiteX26" fmla="*/ 158074 w 2779777"/>
              <a:gd name="connsiteY26" fmla="*/ 158411 h 1879095"/>
              <a:gd name="connsiteX27" fmla="*/ 4 w 2779777"/>
              <a:gd name="connsiteY27" fmla="*/ 541 h 1879095"/>
              <a:gd name="connsiteX28" fmla="*/ 114 w 2779777"/>
              <a:gd name="connsiteY28" fmla="*/ 0 h 1879095"/>
              <a:gd name="connsiteX29" fmla="*/ 4 w 2779777"/>
              <a:gd name="connsiteY29" fmla="*/ 0 h 1879095"/>
              <a:gd name="connsiteX30" fmla="*/ 4 w 2779777"/>
              <a:gd name="connsiteY30" fmla="*/ 541 h 1879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79777" h="1879095">
                <a:moveTo>
                  <a:pt x="4" y="541"/>
                </a:moveTo>
                <a:lnTo>
                  <a:pt x="4" y="157870"/>
                </a:lnTo>
                <a:lnTo>
                  <a:pt x="3" y="157870"/>
                </a:lnTo>
                <a:lnTo>
                  <a:pt x="3" y="473610"/>
                </a:lnTo>
                <a:lnTo>
                  <a:pt x="1657768" y="473610"/>
                </a:lnTo>
                <a:lnTo>
                  <a:pt x="1657768" y="473611"/>
                </a:lnTo>
                <a:lnTo>
                  <a:pt x="0" y="473611"/>
                </a:lnTo>
                <a:lnTo>
                  <a:pt x="0" y="1637039"/>
                </a:lnTo>
                <a:cubicBezTo>
                  <a:pt x="0" y="1770723"/>
                  <a:pt x="108510" y="1879095"/>
                  <a:pt x="242363" y="1879095"/>
                </a:cubicBezTo>
                <a:lnTo>
                  <a:pt x="1657768" y="1879095"/>
                </a:lnTo>
                <a:lnTo>
                  <a:pt x="1657768" y="910453"/>
                </a:lnTo>
                <a:lnTo>
                  <a:pt x="1657768" y="836121"/>
                </a:lnTo>
                <a:lnTo>
                  <a:pt x="1657768" y="789350"/>
                </a:lnTo>
                <a:lnTo>
                  <a:pt x="1657768" y="631480"/>
                </a:lnTo>
                <a:lnTo>
                  <a:pt x="1657769" y="631480"/>
                </a:lnTo>
                <a:cubicBezTo>
                  <a:pt x="1657769" y="544291"/>
                  <a:pt x="1728539" y="473610"/>
                  <a:pt x="1815839" y="473610"/>
                </a:cubicBezTo>
                <a:lnTo>
                  <a:pt x="1906191" y="473610"/>
                </a:lnTo>
                <a:lnTo>
                  <a:pt x="2261746" y="473610"/>
                </a:lnTo>
                <a:lnTo>
                  <a:pt x="2303383" y="473610"/>
                </a:lnTo>
                <a:lnTo>
                  <a:pt x="2621707" y="473610"/>
                </a:lnTo>
                <a:cubicBezTo>
                  <a:pt x="2709007" y="473610"/>
                  <a:pt x="2779777" y="402929"/>
                  <a:pt x="2779777" y="315740"/>
                </a:cubicBezTo>
                <a:cubicBezTo>
                  <a:pt x="2779777" y="228551"/>
                  <a:pt x="2709007" y="157870"/>
                  <a:pt x="2621707" y="157870"/>
                </a:cubicBezTo>
                <a:lnTo>
                  <a:pt x="1906191" y="157870"/>
                </a:lnTo>
                <a:lnTo>
                  <a:pt x="1657769" y="157870"/>
                </a:lnTo>
                <a:lnTo>
                  <a:pt x="1122013" y="157870"/>
                </a:lnTo>
                <a:lnTo>
                  <a:pt x="1122013" y="158411"/>
                </a:lnTo>
                <a:lnTo>
                  <a:pt x="158074" y="158411"/>
                </a:lnTo>
                <a:cubicBezTo>
                  <a:pt x="70774" y="158411"/>
                  <a:pt x="4" y="87730"/>
                  <a:pt x="4" y="541"/>
                </a:cubicBezTo>
                <a:close/>
                <a:moveTo>
                  <a:pt x="114" y="0"/>
                </a:moveTo>
                <a:lnTo>
                  <a:pt x="4" y="0"/>
                </a:lnTo>
                <a:lnTo>
                  <a:pt x="4" y="541"/>
                </a:lnTo>
                <a:close/>
              </a:path>
            </a:pathLst>
          </a:custGeom>
          <a:gradFill flip="none" rotWithShape="1">
            <a:gsLst>
              <a:gs pos="0">
                <a:schemeClr val="accent2">
                  <a:lumMod val="50000"/>
                </a:schemeClr>
              </a:gs>
              <a:gs pos="10000">
                <a:schemeClr val="accent2"/>
              </a:gs>
              <a:gs pos="90000">
                <a:schemeClr val="accent2"/>
              </a:gs>
              <a:gs pos="100000">
                <a:schemeClr val="accent2">
                  <a:lumMod val="50000"/>
                </a:schemeClr>
              </a:gs>
            </a:gsLst>
            <a:lin ang="21594000" scaled="0"/>
            <a:tileRect/>
          </a:gradFill>
          <a:ln>
            <a:noFill/>
          </a:ln>
          <a:effectLst>
            <a:reflection blurRad="6350" stA="30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en-US" sz="1350"/>
          </a:p>
        </p:txBody>
      </p:sp>
      <p:sp>
        <p:nvSpPr>
          <p:cNvPr id="8" name="Freeform: Shape 34">
            <a:extLst>
              <a:ext uri="{FF2B5EF4-FFF2-40B4-BE49-F238E27FC236}">
                <a16:creationId xmlns:a16="http://schemas.microsoft.com/office/drawing/2014/main" id="{44F9AC72-7DE2-AD52-B7F1-B33B88209338}"/>
              </a:ext>
            </a:extLst>
          </p:cNvPr>
          <p:cNvSpPr/>
          <p:nvPr/>
        </p:nvSpPr>
        <p:spPr>
          <a:xfrm>
            <a:off x="4272169" y="4034710"/>
            <a:ext cx="1052512" cy="387350"/>
          </a:xfrm>
          <a:custGeom>
            <a:avLst/>
            <a:gdLst>
              <a:gd name="connsiteX0" fmla="*/ 0 w 1122012"/>
              <a:gd name="connsiteY0" fmla="*/ 0 h 473610"/>
              <a:gd name="connsiteX1" fmla="*/ 518035 w 1122012"/>
              <a:gd name="connsiteY1" fmla="*/ 0 h 473610"/>
              <a:gd name="connsiteX2" fmla="*/ 518035 w 1122012"/>
              <a:gd name="connsiteY2" fmla="*/ 157870 h 473610"/>
              <a:gd name="connsiteX3" fmla="*/ 963942 w 1122012"/>
              <a:gd name="connsiteY3" fmla="*/ 157870 h 473610"/>
              <a:gd name="connsiteX4" fmla="*/ 1122012 w 1122012"/>
              <a:gd name="connsiteY4" fmla="*/ 315740 h 473610"/>
              <a:gd name="connsiteX5" fmla="*/ 963942 w 1122012"/>
              <a:gd name="connsiteY5" fmla="*/ 473610 h 473610"/>
              <a:gd name="connsiteX6" fmla="*/ 3 w 1122012"/>
              <a:gd name="connsiteY6" fmla="*/ 473610 h 473610"/>
              <a:gd name="connsiteX7" fmla="*/ 3 w 1122012"/>
              <a:gd name="connsiteY7" fmla="*/ 315740 h 473610"/>
              <a:gd name="connsiteX8" fmla="*/ 0 w 1122012"/>
              <a:gd name="connsiteY8" fmla="*/ 315740 h 473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2012" h="473610">
                <a:moveTo>
                  <a:pt x="0" y="0"/>
                </a:moveTo>
                <a:lnTo>
                  <a:pt x="518035" y="0"/>
                </a:lnTo>
                <a:lnTo>
                  <a:pt x="518035" y="157870"/>
                </a:lnTo>
                <a:lnTo>
                  <a:pt x="963942" y="157870"/>
                </a:lnTo>
                <a:cubicBezTo>
                  <a:pt x="1051242" y="157870"/>
                  <a:pt x="1122012" y="228551"/>
                  <a:pt x="1122012" y="315740"/>
                </a:cubicBezTo>
                <a:cubicBezTo>
                  <a:pt x="1122012" y="402929"/>
                  <a:pt x="1051242" y="473610"/>
                  <a:pt x="963942" y="473610"/>
                </a:cubicBezTo>
                <a:lnTo>
                  <a:pt x="3" y="473610"/>
                </a:lnTo>
                <a:lnTo>
                  <a:pt x="3" y="315740"/>
                </a:lnTo>
                <a:lnTo>
                  <a:pt x="0" y="315740"/>
                </a:lnTo>
                <a:close/>
              </a:path>
            </a:pathLst>
          </a:custGeom>
          <a:gradFill flip="none" rotWithShape="1">
            <a:gsLst>
              <a:gs pos="0">
                <a:schemeClr val="bg2">
                  <a:lumMod val="75000"/>
                </a:schemeClr>
              </a:gs>
              <a:gs pos="42000">
                <a:schemeClr val="bg1">
                  <a:lumMod val="85000"/>
                </a:schemeClr>
              </a:gs>
              <a:gs pos="100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en-US" sz="1350"/>
          </a:p>
        </p:txBody>
      </p:sp>
      <p:sp>
        <p:nvSpPr>
          <p:cNvPr id="9" name="Freeform: Shape 35">
            <a:extLst>
              <a:ext uri="{FF2B5EF4-FFF2-40B4-BE49-F238E27FC236}">
                <a16:creationId xmlns:a16="http://schemas.microsoft.com/office/drawing/2014/main" id="{389617D6-1A09-DA05-17CA-7C758A88BC1D}"/>
              </a:ext>
            </a:extLst>
          </p:cNvPr>
          <p:cNvSpPr/>
          <p:nvPr/>
        </p:nvSpPr>
        <p:spPr>
          <a:xfrm flipH="1">
            <a:off x="4210618" y="3664950"/>
            <a:ext cx="2607956" cy="1535609"/>
          </a:xfrm>
          <a:custGeom>
            <a:avLst/>
            <a:gdLst>
              <a:gd name="connsiteX0" fmla="*/ 4 w 2779777"/>
              <a:gd name="connsiteY0" fmla="*/ 541 h 1879095"/>
              <a:gd name="connsiteX1" fmla="*/ 4 w 2779777"/>
              <a:gd name="connsiteY1" fmla="*/ 157870 h 1879095"/>
              <a:gd name="connsiteX2" fmla="*/ 3 w 2779777"/>
              <a:gd name="connsiteY2" fmla="*/ 157870 h 1879095"/>
              <a:gd name="connsiteX3" fmla="*/ 3 w 2779777"/>
              <a:gd name="connsiteY3" fmla="*/ 473610 h 1879095"/>
              <a:gd name="connsiteX4" fmla="*/ 1657768 w 2779777"/>
              <a:gd name="connsiteY4" fmla="*/ 473610 h 1879095"/>
              <a:gd name="connsiteX5" fmla="*/ 1657768 w 2779777"/>
              <a:gd name="connsiteY5" fmla="*/ 473611 h 1879095"/>
              <a:gd name="connsiteX6" fmla="*/ 0 w 2779777"/>
              <a:gd name="connsiteY6" fmla="*/ 473611 h 1879095"/>
              <a:gd name="connsiteX7" fmla="*/ 0 w 2779777"/>
              <a:gd name="connsiteY7" fmla="*/ 1637039 h 1879095"/>
              <a:gd name="connsiteX8" fmla="*/ 242363 w 2779777"/>
              <a:gd name="connsiteY8" fmla="*/ 1879095 h 1879095"/>
              <a:gd name="connsiteX9" fmla="*/ 1657768 w 2779777"/>
              <a:gd name="connsiteY9" fmla="*/ 1879095 h 1879095"/>
              <a:gd name="connsiteX10" fmla="*/ 1657768 w 2779777"/>
              <a:gd name="connsiteY10" fmla="*/ 910453 h 1879095"/>
              <a:gd name="connsiteX11" fmla="*/ 1657768 w 2779777"/>
              <a:gd name="connsiteY11" fmla="*/ 836121 h 1879095"/>
              <a:gd name="connsiteX12" fmla="*/ 1657768 w 2779777"/>
              <a:gd name="connsiteY12" fmla="*/ 789350 h 1879095"/>
              <a:gd name="connsiteX13" fmla="*/ 1657768 w 2779777"/>
              <a:gd name="connsiteY13" fmla="*/ 631480 h 1879095"/>
              <a:gd name="connsiteX14" fmla="*/ 1657769 w 2779777"/>
              <a:gd name="connsiteY14" fmla="*/ 631480 h 1879095"/>
              <a:gd name="connsiteX15" fmla="*/ 1815839 w 2779777"/>
              <a:gd name="connsiteY15" fmla="*/ 473610 h 1879095"/>
              <a:gd name="connsiteX16" fmla="*/ 1906191 w 2779777"/>
              <a:gd name="connsiteY16" fmla="*/ 473610 h 1879095"/>
              <a:gd name="connsiteX17" fmla="*/ 2261746 w 2779777"/>
              <a:gd name="connsiteY17" fmla="*/ 473610 h 1879095"/>
              <a:gd name="connsiteX18" fmla="*/ 2303383 w 2779777"/>
              <a:gd name="connsiteY18" fmla="*/ 473610 h 1879095"/>
              <a:gd name="connsiteX19" fmla="*/ 2621707 w 2779777"/>
              <a:gd name="connsiteY19" fmla="*/ 473610 h 1879095"/>
              <a:gd name="connsiteX20" fmla="*/ 2779777 w 2779777"/>
              <a:gd name="connsiteY20" fmla="*/ 315740 h 1879095"/>
              <a:gd name="connsiteX21" fmla="*/ 2621707 w 2779777"/>
              <a:gd name="connsiteY21" fmla="*/ 157870 h 1879095"/>
              <a:gd name="connsiteX22" fmla="*/ 1906191 w 2779777"/>
              <a:gd name="connsiteY22" fmla="*/ 157870 h 1879095"/>
              <a:gd name="connsiteX23" fmla="*/ 1657769 w 2779777"/>
              <a:gd name="connsiteY23" fmla="*/ 157870 h 1879095"/>
              <a:gd name="connsiteX24" fmla="*/ 1122013 w 2779777"/>
              <a:gd name="connsiteY24" fmla="*/ 157870 h 1879095"/>
              <a:gd name="connsiteX25" fmla="*/ 1122013 w 2779777"/>
              <a:gd name="connsiteY25" fmla="*/ 158411 h 1879095"/>
              <a:gd name="connsiteX26" fmla="*/ 158074 w 2779777"/>
              <a:gd name="connsiteY26" fmla="*/ 158411 h 1879095"/>
              <a:gd name="connsiteX27" fmla="*/ 4 w 2779777"/>
              <a:gd name="connsiteY27" fmla="*/ 541 h 1879095"/>
              <a:gd name="connsiteX28" fmla="*/ 114 w 2779777"/>
              <a:gd name="connsiteY28" fmla="*/ 0 h 1879095"/>
              <a:gd name="connsiteX29" fmla="*/ 4 w 2779777"/>
              <a:gd name="connsiteY29" fmla="*/ 0 h 1879095"/>
              <a:gd name="connsiteX30" fmla="*/ 4 w 2779777"/>
              <a:gd name="connsiteY30" fmla="*/ 541 h 1879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79777" h="1879095">
                <a:moveTo>
                  <a:pt x="4" y="541"/>
                </a:moveTo>
                <a:lnTo>
                  <a:pt x="4" y="157870"/>
                </a:lnTo>
                <a:lnTo>
                  <a:pt x="3" y="157870"/>
                </a:lnTo>
                <a:lnTo>
                  <a:pt x="3" y="473610"/>
                </a:lnTo>
                <a:lnTo>
                  <a:pt x="1657768" y="473610"/>
                </a:lnTo>
                <a:lnTo>
                  <a:pt x="1657768" y="473611"/>
                </a:lnTo>
                <a:lnTo>
                  <a:pt x="0" y="473611"/>
                </a:lnTo>
                <a:lnTo>
                  <a:pt x="0" y="1637039"/>
                </a:lnTo>
                <a:cubicBezTo>
                  <a:pt x="0" y="1770723"/>
                  <a:pt x="108510" y="1879095"/>
                  <a:pt x="242363" y="1879095"/>
                </a:cubicBezTo>
                <a:lnTo>
                  <a:pt x="1657768" y="1879095"/>
                </a:lnTo>
                <a:lnTo>
                  <a:pt x="1657768" y="910453"/>
                </a:lnTo>
                <a:lnTo>
                  <a:pt x="1657768" y="836121"/>
                </a:lnTo>
                <a:lnTo>
                  <a:pt x="1657768" y="789350"/>
                </a:lnTo>
                <a:lnTo>
                  <a:pt x="1657768" y="631480"/>
                </a:lnTo>
                <a:lnTo>
                  <a:pt x="1657769" y="631480"/>
                </a:lnTo>
                <a:cubicBezTo>
                  <a:pt x="1657769" y="544291"/>
                  <a:pt x="1728539" y="473610"/>
                  <a:pt x="1815839" y="473610"/>
                </a:cubicBezTo>
                <a:lnTo>
                  <a:pt x="1906191" y="473610"/>
                </a:lnTo>
                <a:lnTo>
                  <a:pt x="2261746" y="473610"/>
                </a:lnTo>
                <a:lnTo>
                  <a:pt x="2303383" y="473610"/>
                </a:lnTo>
                <a:lnTo>
                  <a:pt x="2621707" y="473610"/>
                </a:lnTo>
                <a:cubicBezTo>
                  <a:pt x="2709007" y="473610"/>
                  <a:pt x="2779777" y="402929"/>
                  <a:pt x="2779777" y="315740"/>
                </a:cubicBezTo>
                <a:cubicBezTo>
                  <a:pt x="2779777" y="228551"/>
                  <a:pt x="2709007" y="157870"/>
                  <a:pt x="2621707" y="157870"/>
                </a:cubicBezTo>
                <a:lnTo>
                  <a:pt x="1906191" y="157870"/>
                </a:lnTo>
                <a:lnTo>
                  <a:pt x="1657769" y="157870"/>
                </a:lnTo>
                <a:lnTo>
                  <a:pt x="1122013" y="157870"/>
                </a:lnTo>
                <a:lnTo>
                  <a:pt x="1122013" y="158411"/>
                </a:lnTo>
                <a:lnTo>
                  <a:pt x="158074" y="158411"/>
                </a:lnTo>
                <a:cubicBezTo>
                  <a:pt x="70774" y="158411"/>
                  <a:pt x="4" y="87730"/>
                  <a:pt x="4" y="541"/>
                </a:cubicBezTo>
                <a:close/>
                <a:moveTo>
                  <a:pt x="114" y="0"/>
                </a:moveTo>
                <a:lnTo>
                  <a:pt x="4" y="0"/>
                </a:lnTo>
                <a:lnTo>
                  <a:pt x="4" y="541"/>
                </a:lnTo>
                <a:close/>
              </a:path>
            </a:pathLst>
          </a:custGeom>
          <a:gradFill>
            <a:gsLst>
              <a:gs pos="0">
                <a:schemeClr val="accent6">
                  <a:lumMod val="50000"/>
                </a:schemeClr>
              </a:gs>
              <a:gs pos="10000">
                <a:schemeClr val="accent6"/>
              </a:gs>
              <a:gs pos="90000">
                <a:schemeClr val="accent6"/>
              </a:gs>
              <a:gs pos="100000">
                <a:schemeClr val="accent6">
                  <a:lumMod val="50000"/>
                </a:schemeClr>
              </a:gs>
            </a:gsLst>
            <a:lin ang="21594000" scaled="0"/>
          </a:gradFill>
          <a:ln>
            <a:noFill/>
          </a:ln>
          <a:effectLst>
            <a:reflection blurRad="6350" stA="30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en-US" sz="1350"/>
          </a:p>
        </p:txBody>
      </p:sp>
      <p:sp>
        <p:nvSpPr>
          <p:cNvPr id="10" name="Freeform: Shape 36">
            <a:extLst>
              <a:ext uri="{FF2B5EF4-FFF2-40B4-BE49-F238E27FC236}">
                <a16:creationId xmlns:a16="http://schemas.microsoft.com/office/drawing/2014/main" id="{01D2A5D8-137F-D765-C776-F94921CC6BEB}"/>
              </a:ext>
            </a:extLst>
          </p:cNvPr>
          <p:cNvSpPr/>
          <p:nvPr/>
        </p:nvSpPr>
        <p:spPr>
          <a:xfrm>
            <a:off x="5706908" y="3523742"/>
            <a:ext cx="1052513" cy="385763"/>
          </a:xfrm>
          <a:custGeom>
            <a:avLst/>
            <a:gdLst>
              <a:gd name="connsiteX0" fmla="*/ 0 w 1122012"/>
              <a:gd name="connsiteY0" fmla="*/ 0 h 473610"/>
              <a:gd name="connsiteX1" fmla="*/ 518035 w 1122012"/>
              <a:gd name="connsiteY1" fmla="*/ 0 h 473610"/>
              <a:gd name="connsiteX2" fmla="*/ 518035 w 1122012"/>
              <a:gd name="connsiteY2" fmla="*/ 157870 h 473610"/>
              <a:gd name="connsiteX3" fmla="*/ 963942 w 1122012"/>
              <a:gd name="connsiteY3" fmla="*/ 157870 h 473610"/>
              <a:gd name="connsiteX4" fmla="*/ 1122012 w 1122012"/>
              <a:gd name="connsiteY4" fmla="*/ 315740 h 473610"/>
              <a:gd name="connsiteX5" fmla="*/ 963942 w 1122012"/>
              <a:gd name="connsiteY5" fmla="*/ 473610 h 473610"/>
              <a:gd name="connsiteX6" fmla="*/ 3 w 1122012"/>
              <a:gd name="connsiteY6" fmla="*/ 473610 h 473610"/>
              <a:gd name="connsiteX7" fmla="*/ 3 w 1122012"/>
              <a:gd name="connsiteY7" fmla="*/ 315740 h 473610"/>
              <a:gd name="connsiteX8" fmla="*/ 0 w 1122012"/>
              <a:gd name="connsiteY8" fmla="*/ 315740 h 473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2012" h="473610">
                <a:moveTo>
                  <a:pt x="0" y="0"/>
                </a:moveTo>
                <a:lnTo>
                  <a:pt x="518035" y="0"/>
                </a:lnTo>
                <a:lnTo>
                  <a:pt x="518035" y="157870"/>
                </a:lnTo>
                <a:lnTo>
                  <a:pt x="963942" y="157870"/>
                </a:lnTo>
                <a:cubicBezTo>
                  <a:pt x="1051242" y="157870"/>
                  <a:pt x="1122012" y="228551"/>
                  <a:pt x="1122012" y="315740"/>
                </a:cubicBezTo>
                <a:cubicBezTo>
                  <a:pt x="1122012" y="402929"/>
                  <a:pt x="1051242" y="473610"/>
                  <a:pt x="963942" y="473610"/>
                </a:cubicBezTo>
                <a:lnTo>
                  <a:pt x="3" y="473610"/>
                </a:lnTo>
                <a:lnTo>
                  <a:pt x="3" y="315740"/>
                </a:lnTo>
                <a:lnTo>
                  <a:pt x="0" y="315740"/>
                </a:lnTo>
                <a:close/>
              </a:path>
            </a:pathLst>
          </a:custGeom>
          <a:gradFill flip="none" rotWithShape="1">
            <a:gsLst>
              <a:gs pos="0">
                <a:schemeClr val="bg2">
                  <a:lumMod val="75000"/>
                </a:schemeClr>
              </a:gs>
              <a:gs pos="42000">
                <a:schemeClr val="bg1">
                  <a:lumMod val="85000"/>
                </a:schemeClr>
              </a:gs>
              <a:gs pos="100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en-US" sz="1350"/>
          </a:p>
        </p:txBody>
      </p:sp>
      <p:sp>
        <p:nvSpPr>
          <p:cNvPr id="11" name="Freeform: Shape 37">
            <a:extLst>
              <a:ext uri="{FF2B5EF4-FFF2-40B4-BE49-F238E27FC236}">
                <a16:creationId xmlns:a16="http://schemas.microsoft.com/office/drawing/2014/main" id="{C6B1D23E-CE21-B7D6-42A6-3DC77FA8F1B4}"/>
              </a:ext>
            </a:extLst>
          </p:cNvPr>
          <p:cNvSpPr/>
          <p:nvPr/>
        </p:nvSpPr>
        <p:spPr>
          <a:xfrm flipH="1">
            <a:off x="5705914" y="3239964"/>
            <a:ext cx="2607956" cy="1535609"/>
          </a:xfrm>
          <a:custGeom>
            <a:avLst/>
            <a:gdLst>
              <a:gd name="connsiteX0" fmla="*/ 4 w 2779777"/>
              <a:gd name="connsiteY0" fmla="*/ 541 h 1879095"/>
              <a:gd name="connsiteX1" fmla="*/ 4 w 2779777"/>
              <a:gd name="connsiteY1" fmla="*/ 157870 h 1879095"/>
              <a:gd name="connsiteX2" fmla="*/ 3 w 2779777"/>
              <a:gd name="connsiteY2" fmla="*/ 157870 h 1879095"/>
              <a:gd name="connsiteX3" fmla="*/ 3 w 2779777"/>
              <a:gd name="connsiteY3" fmla="*/ 473610 h 1879095"/>
              <a:gd name="connsiteX4" fmla="*/ 1657768 w 2779777"/>
              <a:gd name="connsiteY4" fmla="*/ 473610 h 1879095"/>
              <a:gd name="connsiteX5" fmla="*/ 1657768 w 2779777"/>
              <a:gd name="connsiteY5" fmla="*/ 473611 h 1879095"/>
              <a:gd name="connsiteX6" fmla="*/ 0 w 2779777"/>
              <a:gd name="connsiteY6" fmla="*/ 473611 h 1879095"/>
              <a:gd name="connsiteX7" fmla="*/ 0 w 2779777"/>
              <a:gd name="connsiteY7" fmla="*/ 1637039 h 1879095"/>
              <a:gd name="connsiteX8" fmla="*/ 242363 w 2779777"/>
              <a:gd name="connsiteY8" fmla="*/ 1879095 h 1879095"/>
              <a:gd name="connsiteX9" fmla="*/ 1657768 w 2779777"/>
              <a:gd name="connsiteY9" fmla="*/ 1879095 h 1879095"/>
              <a:gd name="connsiteX10" fmla="*/ 1657768 w 2779777"/>
              <a:gd name="connsiteY10" fmla="*/ 910453 h 1879095"/>
              <a:gd name="connsiteX11" fmla="*/ 1657768 w 2779777"/>
              <a:gd name="connsiteY11" fmla="*/ 836121 h 1879095"/>
              <a:gd name="connsiteX12" fmla="*/ 1657768 w 2779777"/>
              <a:gd name="connsiteY12" fmla="*/ 789350 h 1879095"/>
              <a:gd name="connsiteX13" fmla="*/ 1657768 w 2779777"/>
              <a:gd name="connsiteY13" fmla="*/ 631480 h 1879095"/>
              <a:gd name="connsiteX14" fmla="*/ 1657769 w 2779777"/>
              <a:gd name="connsiteY14" fmla="*/ 631480 h 1879095"/>
              <a:gd name="connsiteX15" fmla="*/ 1815839 w 2779777"/>
              <a:gd name="connsiteY15" fmla="*/ 473610 h 1879095"/>
              <a:gd name="connsiteX16" fmla="*/ 1906191 w 2779777"/>
              <a:gd name="connsiteY16" fmla="*/ 473610 h 1879095"/>
              <a:gd name="connsiteX17" fmla="*/ 2261746 w 2779777"/>
              <a:gd name="connsiteY17" fmla="*/ 473610 h 1879095"/>
              <a:gd name="connsiteX18" fmla="*/ 2303383 w 2779777"/>
              <a:gd name="connsiteY18" fmla="*/ 473610 h 1879095"/>
              <a:gd name="connsiteX19" fmla="*/ 2621707 w 2779777"/>
              <a:gd name="connsiteY19" fmla="*/ 473610 h 1879095"/>
              <a:gd name="connsiteX20" fmla="*/ 2779777 w 2779777"/>
              <a:gd name="connsiteY20" fmla="*/ 315740 h 1879095"/>
              <a:gd name="connsiteX21" fmla="*/ 2621707 w 2779777"/>
              <a:gd name="connsiteY21" fmla="*/ 157870 h 1879095"/>
              <a:gd name="connsiteX22" fmla="*/ 1906191 w 2779777"/>
              <a:gd name="connsiteY22" fmla="*/ 157870 h 1879095"/>
              <a:gd name="connsiteX23" fmla="*/ 1657769 w 2779777"/>
              <a:gd name="connsiteY23" fmla="*/ 157870 h 1879095"/>
              <a:gd name="connsiteX24" fmla="*/ 1122013 w 2779777"/>
              <a:gd name="connsiteY24" fmla="*/ 157870 h 1879095"/>
              <a:gd name="connsiteX25" fmla="*/ 1122013 w 2779777"/>
              <a:gd name="connsiteY25" fmla="*/ 158411 h 1879095"/>
              <a:gd name="connsiteX26" fmla="*/ 158074 w 2779777"/>
              <a:gd name="connsiteY26" fmla="*/ 158411 h 1879095"/>
              <a:gd name="connsiteX27" fmla="*/ 4 w 2779777"/>
              <a:gd name="connsiteY27" fmla="*/ 541 h 1879095"/>
              <a:gd name="connsiteX28" fmla="*/ 114 w 2779777"/>
              <a:gd name="connsiteY28" fmla="*/ 0 h 1879095"/>
              <a:gd name="connsiteX29" fmla="*/ 4 w 2779777"/>
              <a:gd name="connsiteY29" fmla="*/ 0 h 1879095"/>
              <a:gd name="connsiteX30" fmla="*/ 4 w 2779777"/>
              <a:gd name="connsiteY30" fmla="*/ 541 h 1879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79777" h="1879095">
                <a:moveTo>
                  <a:pt x="4" y="541"/>
                </a:moveTo>
                <a:lnTo>
                  <a:pt x="4" y="157870"/>
                </a:lnTo>
                <a:lnTo>
                  <a:pt x="3" y="157870"/>
                </a:lnTo>
                <a:lnTo>
                  <a:pt x="3" y="473610"/>
                </a:lnTo>
                <a:lnTo>
                  <a:pt x="1657768" y="473610"/>
                </a:lnTo>
                <a:lnTo>
                  <a:pt x="1657768" y="473611"/>
                </a:lnTo>
                <a:lnTo>
                  <a:pt x="0" y="473611"/>
                </a:lnTo>
                <a:lnTo>
                  <a:pt x="0" y="1637039"/>
                </a:lnTo>
                <a:cubicBezTo>
                  <a:pt x="0" y="1770723"/>
                  <a:pt x="108510" y="1879095"/>
                  <a:pt x="242363" y="1879095"/>
                </a:cubicBezTo>
                <a:lnTo>
                  <a:pt x="1657768" y="1879095"/>
                </a:lnTo>
                <a:lnTo>
                  <a:pt x="1657768" y="910453"/>
                </a:lnTo>
                <a:lnTo>
                  <a:pt x="1657768" y="836121"/>
                </a:lnTo>
                <a:lnTo>
                  <a:pt x="1657768" y="789350"/>
                </a:lnTo>
                <a:lnTo>
                  <a:pt x="1657768" y="631480"/>
                </a:lnTo>
                <a:lnTo>
                  <a:pt x="1657769" y="631480"/>
                </a:lnTo>
                <a:cubicBezTo>
                  <a:pt x="1657769" y="544291"/>
                  <a:pt x="1728539" y="473610"/>
                  <a:pt x="1815839" y="473610"/>
                </a:cubicBezTo>
                <a:lnTo>
                  <a:pt x="1906191" y="473610"/>
                </a:lnTo>
                <a:lnTo>
                  <a:pt x="2261746" y="473610"/>
                </a:lnTo>
                <a:lnTo>
                  <a:pt x="2303383" y="473610"/>
                </a:lnTo>
                <a:lnTo>
                  <a:pt x="2621707" y="473610"/>
                </a:lnTo>
                <a:cubicBezTo>
                  <a:pt x="2709007" y="473610"/>
                  <a:pt x="2779777" y="402929"/>
                  <a:pt x="2779777" y="315740"/>
                </a:cubicBezTo>
                <a:cubicBezTo>
                  <a:pt x="2779777" y="228551"/>
                  <a:pt x="2709007" y="157870"/>
                  <a:pt x="2621707" y="157870"/>
                </a:cubicBezTo>
                <a:lnTo>
                  <a:pt x="1906191" y="157870"/>
                </a:lnTo>
                <a:lnTo>
                  <a:pt x="1657769" y="157870"/>
                </a:lnTo>
                <a:lnTo>
                  <a:pt x="1122013" y="157870"/>
                </a:lnTo>
                <a:lnTo>
                  <a:pt x="1122013" y="158411"/>
                </a:lnTo>
                <a:lnTo>
                  <a:pt x="158074" y="158411"/>
                </a:lnTo>
                <a:cubicBezTo>
                  <a:pt x="70774" y="158411"/>
                  <a:pt x="4" y="87730"/>
                  <a:pt x="4" y="541"/>
                </a:cubicBezTo>
                <a:close/>
                <a:moveTo>
                  <a:pt x="114" y="0"/>
                </a:moveTo>
                <a:lnTo>
                  <a:pt x="4" y="0"/>
                </a:lnTo>
                <a:lnTo>
                  <a:pt x="4" y="541"/>
                </a:lnTo>
                <a:close/>
              </a:path>
            </a:pathLst>
          </a:custGeom>
          <a:gradFill>
            <a:gsLst>
              <a:gs pos="0">
                <a:schemeClr val="accent3">
                  <a:lumMod val="50000"/>
                </a:schemeClr>
              </a:gs>
              <a:gs pos="10000">
                <a:schemeClr val="accent3"/>
              </a:gs>
              <a:gs pos="90000">
                <a:schemeClr val="accent3"/>
              </a:gs>
              <a:gs pos="100000">
                <a:schemeClr val="accent3">
                  <a:lumMod val="50000"/>
                </a:schemeClr>
              </a:gs>
            </a:gsLst>
            <a:lin ang="21594000" scaled="0"/>
          </a:gradFill>
          <a:ln>
            <a:noFill/>
          </a:ln>
          <a:effectLst>
            <a:reflection blurRad="6350" stA="30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en-US" sz="1350"/>
          </a:p>
        </p:txBody>
      </p:sp>
      <p:sp>
        <p:nvSpPr>
          <p:cNvPr id="12" name="Freeform: Shape 38">
            <a:extLst>
              <a:ext uri="{FF2B5EF4-FFF2-40B4-BE49-F238E27FC236}">
                <a16:creationId xmlns:a16="http://schemas.microsoft.com/office/drawing/2014/main" id="{B272A683-3C76-BF75-E183-B422A067B7C5}"/>
              </a:ext>
            </a:extLst>
          </p:cNvPr>
          <p:cNvSpPr/>
          <p:nvPr/>
        </p:nvSpPr>
        <p:spPr>
          <a:xfrm>
            <a:off x="7274380" y="3173413"/>
            <a:ext cx="1052512" cy="387350"/>
          </a:xfrm>
          <a:custGeom>
            <a:avLst/>
            <a:gdLst>
              <a:gd name="connsiteX0" fmla="*/ 0 w 1122012"/>
              <a:gd name="connsiteY0" fmla="*/ 0 h 473610"/>
              <a:gd name="connsiteX1" fmla="*/ 518035 w 1122012"/>
              <a:gd name="connsiteY1" fmla="*/ 0 h 473610"/>
              <a:gd name="connsiteX2" fmla="*/ 518035 w 1122012"/>
              <a:gd name="connsiteY2" fmla="*/ 157870 h 473610"/>
              <a:gd name="connsiteX3" fmla="*/ 963942 w 1122012"/>
              <a:gd name="connsiteY3" fmla="*/ 157870 h 473610"/>
              <a:gd name="connsiteX4" fmla="*/ 1122012 w 1122012"/>
              <a:gd name="connsiteY4" fmla="*/ 315740 h 473610"/>
              <a:gd name="connsiteX5" fmla="*/ 963942 w 1122012"/>
              <a:gd name="connsiteY5" fmla="*/ 473610 h 473610"/>
              <a:gd name="connsiteX6" fmla="*/ 3 w 1122012"/>
              <a:gd name="connsiteY6" fmla="*/ 473610 h 473610"/>
              <a:gd name="connsiteX7" fmla="*/ 3 w 1122012"/>
              <a:gd name="connsiteY7" fmla="*/ 315740 h 473610"/>
              <a:gd name="connsiteX8" fmla="*/ 0 w 1122012"/>
              <a:gd name="connsiteY8" fmla="*/ 315740 h 473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2012" h="473610">
                <a:moveTo>
                  <a:pt x="0" y="0"/>
                </a:moveTo>
                <a:lnTo>
                  <a:pt x="518035" y="0"/>
                </a:lnTo>
                <a:lnTo>
                  <a:pt x="518035" y="157870"/>
                </a:lnTo>
                <a:lnTo>
                  <a:pt x="963942" y="157870"/>
                </a:lnTo>
                <a:cubicBezTo>
                  <a:pt x="1051242" y="157870"/>
                  <a:pt x="1122012" y="228551"/>
                  <a:pt x="1122012" y="315740"/>
                </a:cubicBezTo>
                <a:cubicBezTo>
                  <a:pt x="1122012" y="402929"/>
                  <a:pt x="1051242" y="473610"/>
                  <a:pt x="963942" y="473610"/>
                </a:cubicBezTo>
                <a:lnTo>
                  <a:pt x="3" y="473610"/>
                </a:lnTo>
                <a:lnTo>
                  <a:pt x="3" y="315740"/>
                </a:lnTo>
                <a:lnTo>
                  <a:pt x="0" y="315740"/>
                </a:lnTo>
                <a:close/>
              </a:path>
            </a:pathLst>
          </a:custGeom>
          <a:gradFill flip="none" rotWithShape="1">
            <a:gsLst>
              <a:gs pos="0">
                <a:schemeClr val="bg2">
                  <a:lumMod val="75000"/>
                </a:schemeClr>
              </a:gs>
              <a:gs pos="42000">
                <a:schemeClr val="bg1">
                  <a:lumMod val="85000"/>
                </a:schemeClr>
              </a:gs>
              <a:gs pos="100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en-US" sz="1350"/>
          </a:p>
        </p:txBody>
      </p:sp>
      <p:sp>
        <p:nvSpPr>
          <p:cNvPr id="13" name="Freeform: Shape 72">
            <a:extLst>
              <a:ext uri="{FF2B5EF4-FFF2-40B4-BE49-F238E27FC236}">
                <a16:creationId xmlns:a16="http://schemas.microsoft.com/office/drawing/2014/main" id="{7343A898-8430-61B3-3B8D-8DDFCE926CFA}"/>
              </a:ext>
            </a:extLst>
          </p:cNvPr>
          <p:cNvSpPr/>
          <p:nvPr/>
        </p:nvSpPr>
        <p:spPr>
          <a:xfrm flipH="1">
            <a:off x="7256360" y="2921098"/>
            <a:ext cx="3750852" cy="1818253"/>
          </a:xfrm>
          <a:custGeom>
            <a:avLst/>
            <a:gdLst>
              <a:gd name="connsiteX0" fmla="*/ 2875963 w 3997972"/>
              <a:gd name="connsiteY0" fmla="*/ 567609 h 2224961"/>
              <a:gd name="connsiteX1" fmla="*/ 2875963 w 3997972"/>
              <a:gd name="connsiteY1" fmla="*/ 567610 h 2224961"/>
              <a:gd name="connsiteX2" fmla="*/ 1364887 w 3997972"/>
              <a:gd name="connsiteY2" fmla="*/ 567610 h 2224961"/>
              <a:gd name="connsiteX3" fmla="*/ 1364887 w 3997972"/>
              <a:gd name="connsiteY3" fmla="*/ 567609 h 2224961"/>
              <a:gd name="connsiteX4" fmla="*/ 1155513 w 3997972"/>
              <a:gd name="connsiteY4" fmla="*/ 0 h 2224961"/>
              <a:gd name="connsiteX5" fmla="*/ 1074015 w 3997972"/>
              <a:gd name="connsiteY5" fmla="*/ 16454 h 2224961"/>
              <a:gd name="connsiteX6" fmla="*/ 1015465 w 3997972"/>
              <a:gd name="connsiteY6" fmla="*/ 55928 h 2224961"/>
              <a:gd name="connsiteX7" fmla="*/ 1003232 w 3997972"/>
              <a:gd name="connsiteY7" fmla="*/ 67599 h 2224961"/>
              <a:gd name="connsiteX8" fmla="*/ 67496 w 3997972"/>
              <a:gd name="connsiteY8" fmla="*/ 960266 h 2224961"/>
              <a:gd name="connsiteX9" fmla="*/ 67493 w 3997972"/>
              <a:gd name="connsiteY9" fmla="*/ 960268 h 2224961"/>
              <a:gd name="connsiteX10" fmla="*/ 58063 w 3997972"/>
              <a:gd name="connsiteY10" fmla="*/ 969263 h 2224961"/>
              <a:gd name="connsiteX11" fmla="*/ 16454 w 3997972"/>
              <a:gd name="connsiteY11" fmla="*/ 1030980 h 2224961"/>
              <a:gd name="connsiteX12" fmla="*/ 0 w 3997972"/>
              <a:gd name="connsiteY12" fmla="*/ 1112478 h 2224961"/>
              <a:gd name="connsiteX13" fmla="*/ 16454 w 3997972"/>
              <a:gd name="connsiteY13" fmla="*/ 1193976 h 2224961"/>
              <a:gd name="connsiteX14" fmla="*/ 58063 w 3997972"/>
              <a:gd name="connsiteY14" fmla="*/ 1255692 h 2224961"/>
              <a:gd name="connsiteX15" fmla="*/ 67493 w 3997972"/>
              <a:gd name="connsiteY15" fmla="*/ 1264688 h 2224961"/>
              <a:gd name="connsiteX16" fmla="*/ 67496 w 3997972"/>
              <a:gd name="connsiteY16" fmla="*/ 1264690 h 2224961"/>
              <a:gd name="connsiteX17" fmla="*/ 1003215 w 3997972"/>
              <a:gd name="connsiteY17" fmla="*/ 2157340 h 2224961"/>
              <a:gd name="connsiteX18" fmla="*/ 1003217 w 3997972"/>
              <a:gd name="connsiteY18" fmla="*/ 2157343 h 2224961"/>
              <a:gd name="connsiteX19" fmla="*/ 1015487 w 3997972"/>
              <a:gd name="connsiteY19" fmla="*/ 2169049 h 2224961"/>
              <a:gd name="connsiteX20" fmla="*/ 1074013 w 3997972"/>
              <a:gd name="connsiteY20" fmla="*/ 2208507 h 2224961"/>
              <a:gd name="connsiteX21" fmla="*/ 1155511 w 3997972"/>
              <a:gd name="connsiteY21" fmla="*/ 2224961 h 2224961"/>
              <a:gd name="connsiteX22" fmla="*/ 1364886 w 3997972"/>
              <a:gd name="connsiteY22" fmla="*/ 2015586 h 2224961"/>
              <a:gd name="connsiteX23" fmla="*/ 1357249 w 3997972"/>
              <a:gd name="connsiteY23" fmla="*/ 1965065 h 2224961"/>
              <a:gd name="connsiteX24" fmla="*/ 1357249 w 3997972"/>
              <a:gd name="connsiteY24" fmla="*/ 1965065 h 2224961"/>
              <a:gd name="connsiteX25" fmla="*/ 1364887 w 3997972"/>
              <a:gd name="connsiteY25" fmla="*/ 2015586 h 2224961"/>
              <a:gd name="connsiteX26" fmla="*/ 1364887 w 3997972"/>
              <a:gd name="connsiteY26" fmla="*/ 1965065 h 2224961"/>
              <a:gd name="connsiteX27" fmla="*/ 1401677 w 3997972"/>
              <a:gd name="connsiteY27" fmla="*/ 1965065 h 2224961"/>
              <a:gd name="connsiteX28" fmla="*/ 1411713 w 3997972"/>
              <a:gd name="connsiteY28" fmla="*/ 1968176 h 2224961"/>
              <a:gd name="connsiteX29" fmla="*/ 1460558 w 3997972"/>
              <a:gd name="connsiteY29" fmla="*/ 1973094 h 2224961"/>
              <a:gd name="connsiteX30" fmla="*/ 2875963 w 3997972"/>
              <a:gd name="connsiteY30" fmla="*/ 1973094 h 2224961"/>
              <a:gd name="connsiteX31" fmla="*/ 2875963 w 3997972"/>
              <a:gd name="connsiteY31" fmla="*/ 1004452 h 2224961"/>
              <a:gd name="connsiteX32" fmla="*/ 2875963 w 3997972"/>
              <a:gd name="connsiteY32" fmla="*/ 930120 h 2224961"/>
              <a:gd name="connsiteX33" fmla="*/ 2875963 w 3997972"/>
              <a:gd name="connsiteY33" fmla="*/ 883349 h 2224961"/>
              <a:gd name="connsiteX34" fmla="*/ 2875963 w 3997972"/>
              <a:gd name="connsiteY34" fmla="*/ 725479 h 2224961"/>
              <a:gd name="connsiteX35" fmla="*/ 2875964 w 3997972"/>
              <a:gd name="connsiteY35" fmla="*/ 725479 h 2224961"/>
              <a:gd name="connsiteX36" fmla="*/ 3034034 w 3997972"/>
              <a:gd name="connsiteY36" fmla="*/ 567609 h 2224961"/>
              <a:gd name="connsiteX37" fmla="*/ 3124386 w 3997972"/>
              <a:gd name="connsiteY37" fmla="*/ 567609 h 2224961"/>
              <a:gd name="connsiteX38" fmla="*/ 3479941 w 3997972"/>
              <a:gd name="connsiteY38" fmla="*/ 567609 h 2224961"/>
              <a:gd name="connsiteX39" fmla="*/ 3521578 w 3997972"/>
              <a:gd name="connsiteY39" fmla="*/ 567609 h 2224961"/>
              <a:gd name="connsiteX40" fmla="*/ 3839902 w 3997972"/>
              <a:gd name="connsiteY40" fmla="*/ 567609 h 2224961"/>
              <a:gd name="connsiteX41" fmla="*/ 3997972 w 3997972"/>
              <a:gd name="connsiteY41" fmla="*/ 409739 h 2224961"/>
              <a:gd name="connsiteX42" fmla="*/ 3839902 w 3997972"/>
              <a:gd name="connsiteY42" fmla="*/ 251869 h 2224961"/>
              <a:gd name="connsiteX43" fmla="*/ 3124386 w 3997972"/>
              <a:gd name="connsiteY43" fmla="*/ 251869 h 2224961"/>
              <a:gd name="connsiteX44" fmla="*/ 2875964 w 3997972"/>
              <a:gd name="connsiteY44" fmla="*/ 251869 h 2224961"/>
              <a:gd name="connsiteX45" fmla="*/ 2340208 w 3997972"/>
              <a:gd name="connsiteY45" fmla="*/ 251869 h 2224961"/>
              <a:gd name="connsiteX46" fmla="*/ 2340208 w 3997972"/>
              <a:gd name="connsiteY46" fmla="*/ 252410 h 2224961"/>
              <a:gd name="connsiteX47" fmla="*/ 1376269 w 3997972"/>
              <a:gd name="connsiteY47" fmla="*/ 252410 h 2224961"/>
              <a:gd name="connsiteX48" fmla="*/ 1364887 w 3997972"/>
              <a:gd name="connsiteY48" fmla="*/ 252371 h 2224961"/>
              <a:gd name="connsiteX49" fmla="*/ 1364887 w 3997972"/>
              <a:gd name="connsiteY49" fmla="*/ 209385 h 2224961"/>
              <a:gd name="connsiteX50" fmla="*/ 1364887 w 3997972"/>
              <a:gd name="connsiteY50" fmla="*/ 209365 h 2224961"/>
              <a:gd name="connsiteX51" fmla="*/ 1360634 w 3997972"/>
              <a:gd name="connsiteY51" fmla="*/ 167179 h 2224961"/>
              <a:gd name="connsiteX52" fmla="*/ 1155513 w 3997972"/>
              <a:gd name="connsiteY52" fmla="*/ 0 h 2224961"/>
              <a:gd name="connsiteX0" fmla="*/ 2875963 w 3997972"/>
              <a:gd name="connsiteY0" fmla="*/ 567609 h 2224961"/>
              <a:gd name="connsiteX1" fmla="*/ 2875963 w 3997972"/>
              <a:gd name="connsiteY1" fmla="*/ 567610 h 2224961"/>
              <a:gd name="connsiteX2" fmla="*/ 1364887 w 3997972"/>
              <a:gd name="connsiteY2" fmla="*/ 567610 h 2224961"/>
              <a:gd name="connsiteX3" fmla="*/ 1364887 w 3997972"/>
              <a:gd name="connsiteY3" fmla="*/ 567609 h 2224961"/>
              <a:gd name="connsiteX4" fmla="*/ 2875963 w 3997972"/>
              <a:gd name="connsiteY4" fmla="*/ 567609 h 2224961"/>
              <a:gd name="connsiteX5" fmla="*/ 1155513 w 3997972"/>
              <a:gd name="connsiteY5" fmla="*/ 0 h 2224961"/>
              <a:gd name="connsiteX6" fmla="*/ 1074015 w 3997972"/>
              <a:gd name="connsiteY6" fmla="*/ 16454 h 2224961"/>
              <a:gd name="connsiteX7" fmla="*/ 1015465 w 3997972"/>
              <a:gd name="connsiteY7" fmla="*/ 55928 h 2224961"/>
              <a:gd name="connsiteX8" fmla="*/ 1003232 w 3997972"/>
              <a:gd name="connsiteY8" fmla="*/ 67599 h 2224961"/>
              <a:gd name="connsiteX9" fmla="*/ 67496 w 3997972"/>
              <a:gd name="connsiteY9" fmla="*/ 960266 h 2224961"/>
              <a:gd name="connsiteX10" fmla="*/ 67493 w 3997972"/>
              <a:gd name="connsiteY10" fmla="*/ 960268 h 2224961"/>
              <a:gd name="connsiteX11" fmla="*/ 58063 w 3997972"/>
              <a:gd name="connsiteY11" fmla="*/ 969263 h 2224961"/>
              <a:gd name="connsiteX12" fmla="*/ 16454 w 3997972"/>
              <a:gd name="connsiteY12" fmla="*/ 1030980 h 2224961"/>
              <a:gd name="connsiteX13" fmla="*/ 0 w 3997972"/>
              <a:gd name="connsiteY13" fmla="*/ 1112478 h 2224961"/>
              <a:gd name="connsiteX14" fmla="*/ 16454 w 3997972"/>
              <a:gd name="connsiteY14" fmla="*/ 1193976 h 2224961"/>
              <a:gd name="connsiteX15" fmla="*/ 58063 w 3997972"/>
              <a:gd name="connsiteY15" fmla="*/ 1255692 h 2224961"/>
              <a:gd name="connsiteX16" fmla="*/ 67493 w 3997972"/>
              <a:gd name="connsiteY16" fmla="*/ 1264688 h 2224961"/>
              <a:gd name="connsiteX17" fmla="*/ 67496 w 3997972"/>
              <a:gd name="connsiteY17" fmla="*/ 1264690 h 2224961"/>
              <a:gd name="connsiteX18" fmla="*/ 1003215 w 3997972"/>
              <a:gd name="connsiteY18" fmla="*/ 2157340 h 2224961"/>
              <a:gd name="connsiteX19" fmla="*/ 1003217 w 3997972"/>
              <a:gd name="connsiteY19" fmla="*/ 2157343 h 2224961"/>
              <a:gd name="connsiteX20" fmla="*/ 1015487 w 3997972"/>
              <a:gd name="connsiteY20" fmla="*/ 2169049 h 2224961"/>
              <a:gd name="connsiteX21" fmla="*/ 1074013 w 3997972"/>
              <a:gd name="connsiteY21" fmla="*/ 2208507 h 2224961"/>
              <a:gd name="connsiteX22" fmla="*/ 1155511 w 3997972"/>
              <a:gd name="connsiteY22" fmla="*/ 2224961 h 2224961"/>
              <a:gd name="connsiteX23" fmla="*/ 1364886 w 3997972"/>
              <a:gd name="connsiteY23" fmla="*/ 2015586 h 2224961"/>
              <a:gd name="connsiteX24" fmla="*/ 1357249 w 3997972"/>
              <a:gd name="connsiteY24" fmla="*/ 1965065 h 2224961"/>
              <a:gd name="connsiteX25" fmla="*/ 1357249 w 3997972"/>
              <a:gd name="connsiteY25" fmla="*/ 1965065 h 2224961"/>
              <a:gd name="connsiteX26" fmla="*/ 1364887 w 3997972"/>
              <a:gd name="connsiteY26" fmla="*/ 2015586 h 2224961"/>
              <a:gd name="connsiteX27" fmla="*/ 1364887 w 3997972"/>
              <a:gd name="connsiteY27" fmla="*/ 1965065 h 2224961"/>
              <a:gd name="connsiteX28" fmla="*/ 1401677 w 3997972"/>
              <a:gd name="connsiteY28" fmla="*/ 1965065 h 2224961"/>
              <a:gd name="connsiteX29" fmla="*/ 1460558 w 3997972"/>
              <a:gd name="connsiteY29" fmla="*/ 1973094 h 2224961"/>
              <a:gd name="connsiteX30" fmla="*/ 2875963 w 3997972"/>
              <a:gd name="connsiteY30" fmla="*/ 1973094 h 2224961"/>
              <a:gd name="connsiteX31" fmla="*/ 2875963 w 3997972"/>
              <a:gd name="connsiteY31" fmla="*/ 1004452 h 2224961"/>
              <a:gd name="connsiteX32" fmla="*/ 2875963 w 3997972"/>
              <a:gd name="connsiteY32" fmla="*/ 930120 h 2224961"/>
              <a:gd name="connsiteX33" fmla="*/ 2875963 w 3997972"/>
              <a:gd name="connsiteY33" fmla="*/ 883349 h 2224961"/>
              <a:gd name="connsiteX34" fmla="*/ 2875963 w 3997972"/>
              <a:gd name="connsiteY34" fmla="*/ 725479 h 2224961"/>
              <a:gd name="connsiteX35" fmla="*/ 2875964 w 3997972"/>
              <a:gd name="connsiteY35" fmla="*/ 725479 h 2224961"/>
              <a:gd name="connsiteX36" fmla="*/ 3034034 w 3997972"/>
              <a:gd name="connsiteY36" fmla="*/ 567609 h 2224961"/>
              <a:gd name="connsiteX37" fmla="*/ 3124386 w 3997972"/>
              <a:gd name="connsiteY37" fmla="*/ 567609 h 2224961"/>
              <a:gd name="connsiteX38" fmla="*/ 3479941 w 3997972"/>
              <a:gd name="connsiteY38" fmla="*/ 567609 h 2224961"/>
              <a:gd name="connsiteX39" fmla="*/ 3521578 w 3997972"/>
              <a:gd name="connsiteY39" fmla="*/ 567609 h 2224961"/>
              <a:gd name="connsiteX40" fmla="*/ 3839902 w 3997972"/>
              <a:gd name="connsiteY40" fmla="*/ 567609 h 2224961"/>
              <a:gd name="connsiteX41" fmla="*/ 3997972 w 3997972"/>
              <a:gd name="connsiteY41" fmla="*/ 409739 h 2224961"/>
              <a:gd name="connsiteX42" fmla="*/ 3839902 w 3997972"/>
              <a:gd name="connsiteY42" fmla="*/ 251869 h 2224961"/>
              <a:gd name="connsiteX43" fmla="*/ 3124386 w 3997972"/>
              <a:gd name="connsiteY43" fmla="*/ 251869 h 2224961"/>
              <a:gd name="connsiteX44" fmla="*/ 2875964 w 3997972"/>
              <a:gd name="connsiteY44" fmla="*/ 251869 h 2224961"/>
              <a:gd name="connsiteX45" fmla="*/ 2340208 w 3997972"/>
              <a:gd name="connsiteY45" fmla="*/ 251869 h 2224961"/>
              <a:gd name="connsiteX46" fmla="*/ 2340208 w 3997972"/>
              <a:gd name="connsiteY46" fmla="*/ 252410 h 2224961"/>
              <a:gd name="connsiteX47" fmla="*/ 1376269 w 3997972"/>
              <a:gd name="connsiteY47" fmla="*/ 252410 h 2224961"/>
              <a:gd name="connsiteX48" fmla="*/ 1364887 w 3997972"/>
              <a:gd name="connsiteY48" fmla="*/ 252371 h 2224961"/>
              <a:gd name="connsiteX49" fmla="*/ 1364887 w 3997972"/>
              <a:gd name="connsiteY49" fmla="*/ 209385 h 2224961"/>
              <a:gd name="connsiteX50" fmla="*/ 1364887 w 3997972"/>
              <a:gd name="connsiteY50" fmla="*/ 209365 h 2224961"/>
              <a:gd name="connsiteX51" fmla="*/ 1360634 w 3997972"/>
              <a:gd name="connsiteY51" fmla="*/ 167179 h 2224961"/>
              <a:gd name="connsiteX52" fmla="*/ 1155513 w 3997972"/>
              <a:gd name="connsiteY52" fmla="*/ 0 h 2224961"/>
              <a:gd name="connsiteX0" fmla="*/ 2875963 w 3997972"/>
              <a:gd name="connsiteY0" fmla="*/ 567609 h 2224961"/>
              <a:gd name="connsiteX1" fmla="*/ 2875963 w 3997972"/>
              <a:gd name="connsiteY1" fmla="*/ 567610 h 2224961"/>
              <a:gd name="connsiteX2" fmla="*/ 1364887 w 3997972"/>
              <a:gd name="connsiteY2" fmla="*/ 567610 h 2224961"/>
              <a:gd name="connsiteX3" fmla="*/ 1364887 w 3997972"/>
              <a:gd name="connsiteY3" fmla="*/ 567609 h 2224961"/>
              <a:gd name="connsiteX4" fmla="*/ 2875963 w 3997972"/>
              <a:gd name="connsiteY4" fmla="*/ 567609 h 2224961"/>
              <a:gd name="connsiteX5" fmla="*/ 1155513 w 3997972"/>
              <a:gd name="connsiteY5" fmla="*/ 0 h 2224961"/>
              <a:gd name="connsiteX6" fmla="*/ 1074015 w 3997972"/>
              <a:gd name="connsiteY6" fmla="*/ 16454 h 2224961"/>
              <a:gd name="connsiteX7" fmla="*/ 1015465 w 3997972"/>
              <a:gd name="connsiteY7" fmla="*/ 55928 h 2224961"/>
              <a:gd name="connsiteX8" fmla="*/ 1003232 w 3997972"/>
              <a:gd name="connsiteY8" fmla="*/ 67599 h 2224961"/>
              <a:gd name="connsiteX9" fmla="*/ 67496 w 3997972"/>
              <a:gd name="connsiteY9" fmla="*/ 960266 h 2224961"/>
              <a:gd name="connsiteX10" fmla="*/ 67493 w 3997972"/>
              <a:gd name="connsiteY10" fmla="*/ 960268 h 2224961"/>
              <a:gd name="connsiteX11" fmla="*/ 58063 w 3997972"/>
              <a:gd name="connsiteY11" fmla="*/ 969263 h 2224961"/>
              <a:gd name="connsiteX12" fmla="*/ 16454 w 3997972"/>
              <a:gd name="connsiteY12" fmla="*/ 1030980 h 2224961"/>
              <a:gd name="connsiteX13" fmla="*/ 0 w 3997972"/>
              <a:gd name="connsiteY13" fmla="*/ 1112478 h 2224961"/>
              <a:gd name="connsiteX14" fmla="*/ 16454 w 3997972"/>
              <a:gd name="connsiteY14" fmla="*/ 1193976 h 2224961"/>
              <a:gd name="connsiteX15" fmla="*/ 58063 w 3997972"/>
              <a:gd name="connsiteY15" fmla="*/ 1255692 h 2224961"/>
              <a:gd name="connsiteX16" fmla="*/ 67493 w 3997972"/>
              <a:gd name="connsiteY16" fmla="*/ 1264688 h 2224961"/>
              <a:gd name="connsiteX17" fmla="*/ 67496 w 3997972"/>
              <a:gd name="connsiteY17" fmla="*/ 1264690 h 2224961"/>
              <a:gd name="connsiteX18" fmla="*/ 1003215 w 3997972"/>
              <a:gd name="connsiteY18" fmla="*/ 2157340 h 2224961"/>
              <a:gd name="connsiteX19" fmla="*/ 1003217 w 3997972"/>
              <a:gd name="connsiteY19" fmla="*/ 2157343 h 2224961"/>
              <a:gd name="connsiteX20" fmla="*/ 1015487 w 3997972"/>
              <a:gd name="connsiteY20" fmla="*/ 2169049 h 2224961"/>
              <a:gd name="connsiteX21" fmla="*/ 1074013 w 3997972"/>
              <a:gd name="connsiteY21" fmla="*/ 2208507 h 2224961"/>
              <a:gd name="connsiteX22" fmla="*/ 1155511 w 3997972"/>
              <a:gd name="connsiteY22" fmla="*/ 2224961 h 2224961"/>
              <a:gd name="connsiteX23" fmla="*/ 1364886 w 3997972"/>
              <a:gd name="connsiteY23" fmla="*/ 2015586 h 2224961"/>
              <a:gd name="connsiteX24" fmla="*/ 1357249 w 3997972"/>
              <a:gd name="connsiteY24" fmla="*/ 1965065 h 2224961"/>
              <a:gd name="connsiteX25" fmla="*/ 1357249 w 3997972"/>
              <a:gd name="connsiteY25" fmla="*/ 1965065 h 2224961"/>
              <a:gd name="connsiteX26" fmla="*/ 1364887 w 3997972"/>
              <a:gd name="connsiteY26" fmla="*/ 2015586 h 2224961"/>
              <a:gd name="connsiteX27" fmla="*/ 1364887 w 3997972"/>
              <a:gd name="connsiteY27" fmla="*/ 1965065 h 2224961"/>
              <a:gd name="connsiteX28" fmla="*/ 1460558 w 3997972"/>
              <a:gd name="connsiteY28" fmla="*/ 1973094 h 2224961"/>
              <a:gd name="connsiteX29" fmla="*/ 2875963 w 3997972"/>
              <a:gd name="connsiteY29" fmla="*/ 1973094 h 2224961"/>
              <a:gd name="connsiteX30" fmla="*/ 2875963 w 3997972"/>
              <a:gd name="connsiteY30" fmla="*/ 1004452 h 2224961"/>
              <a:gd name="connsiteX31" fmla="*/ 2875963 w 3997972"/>
              <a:gd name="connsiteY31" fmla="*/ 930120 h 2224961"/>
              <a:gd name="connsiteX32" fmla="*/ 2875963 w 3997972"/>
              <a:gd name="connsiteY32" fmla="*/ 883349 h 2224961"/>
              <a:gd name="connsiteX33" fmla="*/ 2875963 w 3997972"/>
              <a:gd name="connsiteY33" fmla="*/ 725479 h 2224961"/>
              <a:gd name="connsiteX34" fmla="*/ 2875964 w 3997972"/>
              <a:gd name="connsiteY34" fmla="*/ 725479 h 2224961"/>
              <a:gd name="connsiteX35" fmla="*/ 3034034 w 3997972"/>
              <a:gd name="connsiteY35" fmla="*/ 567609 h 2224961"/>
              <a:gd name="connsiteX36" fmla="*/ 3124386 w 3997972"/>
              <a:gd name="connsiteY36" fmla="*/ 567609 h 2224961"/>
              <a:gd name="connsiteX37" fmla="*/ 3479941 w 3997972"/>
              <a:gd name="connsiteY37" fmla="*/ 567609 h 2224961"/>
              <a:gd name="connsiteX38" fmla="*/ 3521578 w 3997972"/>
              <a:gd name="connsiteY38" fmla="*/ 567609 h 2224961"/>
              <a:gd name="connsiteX39" fmla="*/ 3839902 w 3997972"/>
              <a:gd name="connsiteY39" fmla="*/ 567609 h 2224961"/>
              <a:gd name="connsiteX40" fmla="*/ 3997972 w 3997972"/>
              <a:gd name="connsiteY40" fmla="*/ 409739 h 2224961"/>
              <a:gd name="connsiteX41" fmla="*/ 3839902 w 3997972"/>
              <a:gd name="connsiteY41" fmla="*/ 251869 h 2224961"/>
              <a:gd name="connsiteX42" fmla="*/ 3124386 w 3997972"/>
              <a:gd name="connsiteY42" fmla="*/ 251869 h 2224961"/>
              <a:gd name="connsiteX43" fmla="*/ 2875964 w 3997972"/>
              <a:gd name="connsiteY43" fmla="*/ 251869 h 2224961"/>
              <a:gd name="connsiteX44" fmla="*/ 2340208 w 3997972"/>
              <a:gd name="connsiteY44" fmla="*/ 251869 h 2224961"/>
              <a:gd name="connsiteX45" fmla="*/ 2340208 w 3997972"/>
              <a:gd name="connsiteY45" fmla="*/ 252410 h 2224961"/>
              <a:gd name="connsiteX46" fmla="*/ 1376269 w 3997972"/>
              <a:gd name="connsiteY46" fmla="*/ 252410 h 2224961"/>
              <a:gd name="connsiteX47" fmla="*/ 1364887 w 3997972"/>
              <a:gd name="connsiteY47" fmla="*/ 252371 h 2224961"/>
              <a:gd name="connsiteX48" fmla="*/ 1364887 w 3997972"/>
              <a:gd name="connsiteY48" fmla="*/ 209385 h 2224961"/>
              <a:gd name="connsiteX49" fmla="*/ 1364887 w 3997972"/>
              <a:gd name="connsiteY49" fmla="*/ 209365 h 2224961"/>
              <a:gd name="connsiteX50" fmla="*/ 1360634 w 3997972"/>
              <a:gd name="connsiteY50" fmla="*/ 167179 h 2224961"/>
              <a:gd name="connsiteX51" fmla="*/ 1155513 w 3997972"/>
              <a:gd name="connsiteY51" fmla="*/ 0 h 2224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997972" h="2224961">
                <a:moveTo>
                  <a:pt x="2875963" y="567609"/>
                </a:moveTo>
                <a:lnTo>
                  <a:pt x="2875963" y="567610"/>
                </a:lnTo>
                <a:lnTo>
                  <a:pt x="1364887" y="567610"/>
                </a:lnTo>
                <a:lnTo>
                  <a:pt x="1364887" y="567609"/>
                </a:lnTo>
                <a:lnTo>
                  <a:pt x="2875963" y="567609"/>
                </a:lnTo>
                <a:close/>
                <a:moveTo>
                  <a:pt x="1155513" y="0"/>
                </a:moveTo>
                <a:cubicBezTo>
                  <a:pt x="1126604" y="0"/>
                  <a:pt x="1099064" y="5859"/>
                  <a:pt x="1074015" y="16454"/>
                </a:cubicBezTo>
                <a:lnTo>
                  <a:pt x="1015465" y="55928"/>
                </a:lnTo>
                <a:lnTo>
                  <a:pt x="1003232" y="67599"/>
                </a:lnTo>
                <a:lnTo>
                  <a:pt x="67496" y="960266"/>
                </a:lnTo>
                <a:cubicBezTo>
                  <a:pt x="67495" y="960267"/>
                  <a:pt x="67494" y="960267"/>
                  <a:pt x="67493" y="960268"/>
                </a:cubicBezTo>
                <a:lnTo>
                  <a:pt x="58063" y="969263"/>
                </a:lnTo>
                <a:lnTo>
                  <a:pt x="16454" y="1030980"/>
                </a:lnTo>
                <a:cubicBezTo>
                  <a:pt x="5859" y="1056029"/>
                  <a:pt x="0" y="1083569"/>
                  <a:pt x="0" y="1112478"/>
                </a:cubicBezTo>
                <a:cubicBezTo>
                  <a:pt x="0" y="1141387"/>
                  <a:pt x="5859" y="1168927"/>
                  <a:pt x="16454" y="1193976"/>
                </a:cubicBezTo>
                <a:lnTo>
                  <a:pt x="58063" y="1255692"/>
                </a:lnTo>
                <a:lnTo>
                  <a:pt x="67493" y="1264688"/>
                </a:lnTo>
                <a:cubicBezTo>
                  <a:pt x="67494" y="1264689"/>
                  <a:pt x="67495" y="1264689"/>
                  <a:pt x="67496" y="1264690"/>
                </a:cubicBezTo>
                <a:lnTo>
                  <a:pt x="1003215" y="2157340"/>
                </a:lnTo>
                <a:cubicBezTo>
                  <a:pt x="1003216" y="2157341"/>
                  <a:pt x="1003216" y="2157342"/>
                  <a:pt x="1003217" y="2157343"/>
                </a:cubicBezTo>
                <a:lnTo>
                  <a:pt x="1015487" y="2169049"/>
                </a:lnTo>
                <a:lnTo>
                  <a:pt x="1074013" y="2208507"/>
                </a:lnTo>
                <a:cubicBezTo>
                  <a:pt x="1099062" y="2219102"/>
                  <a:pt x="1126602" y="2224961"/>
                  <a:pt x="1155511" y="2224961"/>
                </a:cubicBezTo>
                <a:cubicBezTo>
                  <a:pt x="1271146" y="2224961"/>
                  <a:pt x="1364886" y="2131221"/>
                  <a:pt x="1364886" y="2015586"/>
                </a:cubicBezTo>
                <a:lnTo>
                  <a:pt x="1357249" y="1965065"/>
                </a:lnTo>
                <a:lnTo>
                  <a:pt x="1357249" y="1965065"/>
                </a:lnTo>
                <a:lnTo>
                  <a:pt x="1364887" y="2015586"/>
                </a:lnTo>
                <a:lnTo>
                  <a:pt x="1364887" y="1965065"/>
                </a:lnTo>
                <a:lnTo>
                  <a:pt x="1460558" y="1973094"/>
                </a:lnTo>
                <a:lnTo>
                  <a:pt x="2875963" y="1973094"/>
                </a:lnTo>
                <a:lnTo>
                  <a:pt x="2875963" y="1004452"/>
                </a:lnTo>
                <a:lnTo>
                  <a:pt x="2875963" y="930120"/>
                </a:lnTo>
                <a:lnTo>
                  <a:pt x="2875963" y="883349"/>
                </a:lnTo>
                <a:lnTo>
                  <a:pt x="2875963" y="725479"/>
                </a:lnTo>
                <a:lnTo>
                  <a:pt x="2875964" y="725479"/>
                </a:lnTo>
                <a:cubicBezTo>
                  <a:pt x="2875964" y="638290"/>
                  <a:pt x="2946734" y="567609"/>
                  <a:pt x="3034034" y="567609"/>
                </a:cubicBezTo>
                <a:lnTo>
                  <a:pt x="3124386" y="567609"/>
                </a:lnTo>
                <a:lnTo>
                  <a:pt x="3479941" y="567609"/>
                </a:lnTo>
                <a:lnTo>
                  <a:pt x="3521578" y="567609"/>
                </a:lnTo>
                <a:lnTo>
                  <a:pt x="3839902" y="567609"/>
                </a:lnTo>
                <a:cubicBezTo>
                  <a:pt x="3927202" y="567609"/>
                  <a:pt x="3997972" y="496928"/>
                  <a:pt x="3997972" y="409739"/>
                </a:cubicBezTo>
                <a:cubicBezTo>
                  <a:pt x="3997972" y="322550"/>
                  <a:pt x="3927202" y="251869"/>
                  <a:pt x="3839902" y="251869"/>
                </a:cubicBezTo>
                <a:lnTo>
                  <a:pt x="3124386" y="251869"/>
                </a:lnTo>
                <a:lnTo>
                  <a:pt x="2875964" y="251869"/>
                </a:lnTo>
                <a:lnTo>
                  <a:pt x="2340208" y="251869"/>
                </a:lnTo>
                <a:lnTo>
                  <a:pt x="2340208" y="252410"/>
                </a:lnTo>
                <a:lnTo>
                  <a:pt x="1376269" y="252410"/>
                </a:lnTo>
                <a:lnTo>
                  <a:pt x="1364887" y="252371"/>
                </a:lnTo>
                <a:lnTo>
                  <a:pt x="1364887" y="209385"/>
                </a:lnTo>
                <a:lnTo>
                  <a:pt x="1364887" y="209365"/>
                </a:lnTo>
                <a:lnTo>
                  <a:pt x="1360634" y="167179"/>
                </a:lnTo>
                <a:cubicBezTo>
                  <a:pt x="1341111" y="71770"/>
                  <a:pt x="1256694" y="0"/>
                  <a:pt x="1155513" y="0"/>
                </a:cubicBezTo>
                <a:close/>
              </a:path>
            </a:pathLst>
          </a:custGeom>
          <a:gradFill flip="none" rotWithShape="1">
            <a:gsLst>
              <a:gs pos="0">
                <a:schemeClr val="accent4">
                  <a:lumMod val="50000"/>
                </a:schemeClr>
              </a:gs>
              <a:gs pos="15000">
                <a:schemeClr val="accent4"/>
              </a:gs>
            </a:gsLst>
            <a:lin ang="10800000" scaled="1"/>
            <a:tileRect/>
          </a:gradFill>
          <a:ln>
            <a:noFill/>
          </a:ln>
          <a:effectLst>
            <a:reflection blurRad="6350" stA="30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en-US" sz="1350"/>
          </a:p>
        </p:txBody>
      </p:sp>
      <p:sp>
        <p:nvSpPr>
          <p:cNvPr id="14" name="Freeform: Shape 40">
            <a:extLst>
              <a:ext uri="{FF2B5EF4-FFF2-40B4-BE49-F238E27FC236}">
                <a16:creationId xmlns:a16="http://schemas.microsoft.com/office/drawing/2014/main" id="{5352A41E-0581-7DC1-4686-B66C24FFBA77}"/>
              </a:ext>
            </a:extLst>
          </p:cNvPr>
          <p:cNvSpPr/>
          <p:nvPr/>
        </p:nvSpPr>
        <p:spPr>
          <a:xfrm>
            <a:off x="1537593" y="4685139"/>
            <a:ext cx="2604655" cy="1535609"/>
          </a:xfrm>
          <a:custGeom>
            <a:avLst/>
            <a:gdLst>
              <a:gd name="connsiteX0" fmla="*/ 2776257 w 2776258"/>
              <a:gd name="connsiteY0" fmla="*/ 0 h 1879094"/>
              <a:gd name="connsiteX1" fmla="*/ 2776258 w 2776258"/>
              <a:gd name="connsiteY1" fmla="*/ 0 h 1879094"/>
              <a:gd name="connsiteX2" fmla="*/ 2776258 w 2776258"/>
              <a:gd name="connsiteY2" fmla="*/ 157870 h 1879094"/>
              <a:gd name="connsiteX3" fmla="*/ 2776258 w 2776258"/>
              <a:gd name="connsiteY3" fmla="*/ 204641 h 1879094"/>
              <a:gd name="connsiteX4" fmla="*/ 2776258 w 2776258"/>
              <a:gd name="connsiteY4" fmla="*/ 278973 h 1879094"/>
              <a:gd name="connsiteX5" fmla="*/ 2776258 w 2776258"/>
              <a:gd name="connsiteY5" fmla="*/ 315740 h 1879094"/>
              <a:gd name="connsiteX6" fmla="*/ 2776258 w 2776258"/>
              <a:gd name="connsiteY6" fmla="*/ 473610 h 1879094"/>
              <a:gd name="connsiteX7" fmla="*/ 2776258 w 2776258"/>
              <a:gd name="connsiteY7" fmla="*/ 520381 h 1879094"/>
              <a:gd name="connsiteX8" fmla="*/ 2776258 w 2776258"/>
              <a:gd name="connsiteY8" fmla="*/ 594713 h 1879094"/>
              <a:gd name="connsiteX9" fmla="*/ 2776258 w 2776258"/>
              <a:gd name="connsiteY9" fmla="*/ 1321298 h 1879094"/>
              <a:gd name="connsiteX10" fmla="*/ 2776258 w 2776258"/>
              <a:gd name="connsiteY10" fmla="*/ 1637038 h 1879094"/>
              <a:gd name="connsiteX11" fmla="*/ 2534202 w 2776258"/>
              <a:gd name="connsiteY11" fmla="*/ 1879094 h 1879094"/>
              <a:gd name="connsiteX12" fmla="*/ 242056 w 2776258"/>
              <a:gd name="connsiteY12" fmla="*/ 1879094 h 1879094"/>
              <a:gd name="connsiteX13" fmla="*/ 0 w 2776258"/>
              <a:gd name="connsiteY13" fmla="*/ 1637038 h 1879094"/>
              <a:gd name="connsiteX14" fmla="*/ 0 w 2776258"/>
              <a:gd name="connsiteY14" fmla="*/ 1321298 h 1879094"/>
              <a:gd name="connsiteX15" fmla="*/ 0 w 2776258"/>
              <a:gd name="connsiteY15" fmla="*/ 631480 h 1879094"/>
              <a:gd name="connsiteX16" fmla="*/ 0 w 2776258"/>
              <a:gd name="connsiteY16" fmla="*/ 315740 h 1879094"/>
              <a:gd name="connsiteX17" fmla="*/ 157870 w 2776258"/>
              <a:gd name="connsiteY17" fmla="*/ 157870 h 1879094"/>
              <a:gd name="connsiteX18" fmla="*/ 1654248 w 2776258"/>
              <a:gd name="connsiteY18" fmla="*/ 157870 h 1879094"/>
              <a:gd name="connsiteX19" fmla="*/ 1655670 w 2776258"/>
              <a:gd name="connsiteY19" fmla="*/ 157870 h 1879094"/>
              <a:gd name="connsiteX20" fmla="*/ 2618187 w 2776258"/>
              <a:gd name="connsiteY20" fmla="*/ 157870 h 1879094"/>
              <a:gd name="connsiteX21" fmla="*/ 2776257 w 2776258"/>
              <a:gd name="connsiteY21" fmla="*/ 0 h 1879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76258" h="1879094">
                <a:moveTo>
                  <a:pt x="2776257" y="0"/>
                </a:moveTo>
                <a:lnTo>
                  <a:pt x="2776258" y="0"/>
                </a:lnTo>
                <a:lnTo>
                  <a:pt x="2776258" y="157870"/>
                </a:lnTo>
                <a:lnTo>
                  <a:pt x="2776258" y="204641"/>
                </a:lnTo>
                <a:lnTo>
                  <a:pt x="2776258" y="278973"/>
                </a:lnTo>
                <a:lnTo>
                  <a:pt x="2776258" y="315740"/>
                </a:lnTo>
                <a:lnTo>
                  <a:pt x="2776258" y="473610"/>
                </a:lnTo>
                <a:lnTo>
                  <a:pt x="2776258" y="520381"/>
                </a:lnTo>
                <a:lnTo>
                  <a:pt x="2776258" y="594713"/>
                </a:lnTo>
                <a:lnTo>
                  <a:pt x="2776258" y="1321298"/>
                </a:lnTo>
                <a:lnTo>
                  <a:pt x="2776258" y="1637038"/>
                </a:lnTo>
                <a:cubicBezTo>
                  <a:pt x="2776258" y="1770722"/>
                  <a:pt x="2667886" y="1879094"/>
                  <a:pt x="2534202" y="1879094"/>
                </a:cubicBezTo>
                <a:lnTo>
                  <a:pt x="242056" y="1879094"/>
                </a:lnTo>
                <a:cubicBezTo>
                  <a:pt x="108372" y="1879094"/>
                  <a:pt x="0" y="1770722"/>
                  <a:pt x="0" y="1637038"/>
                </a:cubicBezTo>
                <a:lnTo>
                  <a:pt x="0" y="1321298"/>
                </a:lnTo>
                <a:lnTo>
                  <a:pt x="0" y="631480"/>
                </a:lnTo>
                <a:lnTo>
                  <a:pt x="0" y="315740"/>
                </a:lnTo>
                <a:cubicBezTo>
                  <a:pt x="0" y="228551"/>
                  <a:pt x="70681" y="157870"/>
                  <a:pt x="157870" y="157870"/>
                </a:cubicBezTo>
                <a:lnTo>
                  <a:pt x="1654248" y="157870"/>
                </a:lnTo>
                <a:lnTo>
                  <a:pt x="1655670" y="157870"/>
                </a:lnTo>
                <a:lnTo>
                  <a:pt x="2618187" y="157870"/>
                </a:lnTo>
                <a:cubicBezTo>
                  <a:pt x="2705487" y="157870"/>
                  <a:pt x="2776257" y="87189"/>
                  <a:pt x="2776257" y="0"/>
                </a:cubicBezTo>
                <a:close/>
              </a:path>
            </a:pathLst>
          </a:custGeom>
          <a:gradFill flip="none" rotWithShape="1">
            <a:gsLst>
              <a:gs pos="0">
                <a:schemeClr val="accent1">
                  <a:lumMod val="75000"/>
                </a:schemeClr>
              </a:gs>
              <a:gs pos="10000">
                <a:schemeClr val="tx2"/>
              </a:gs>
              <a:gs pos="90000">
                <a:schemeClr val="tx2"/>
              </a:gs>
              <a:gs pos="100000">
                <a:schemeClr val="accent1">
                  <a:lumMod val="50000"/>
                </a:schemeClr>
              </a:gs>
            </a:gsLst>
            <a:lin ang="21594000" scaled="0"/>
            <a:tileRect/>
          </a:gradFill>
          <a:ln>
            <a:noFill/>
          </a:ln>
          <a:effectLst>
            <a:reflection blurRad="6350" stA="30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en-US" sz="1350"/>
          </a:p>
        </p:txBody>
      </p:sp>
      <p:sp>
        <p:nvSpPr>
          <p:cNvPr id="12302" name="TextBox 14">
            <a:extLst>
              <a:ext uri="{FF2B5EF4-FFF2-40B4-BE49-F238E27FC236}">
                <a16:creationId xmlns:a16="http://schemas.microsoft.com/office/drawing/2014/main" id="{E8F6E73A-404C-FB27-DF5A-4AB8F5C285C9}"/>
              </a:ext>
            </a:extLst>
          </p:cNvPr>
          <p:cNvSpPr txBox="1">
            <a:spLocks noChangeArrowheads="1"/>
          </p:cNvSpPr>
          <p:nvPr/>
        </p:nvSpPr>
        <p:spPr bwMode="auto">
          <a:xfrm>
            <a:off x="2296871" y="5282286"/>
            <a:ext cx="1544637" cy="341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b">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pPr>
            <a:r>
              <a:rPr lang="en-US" altLang="en-US" dirty="0">
                <a:solidFill>
                  <a:schemeClr val="bg1"/>
                </a:solidFill>
              </a:rPr>
              <a:t>Training</a:t>
            </a:r>
          </a:p>
        </p:txBody>
      </p:sp>
      <p:sp>
        <p:nvSpPr>
          <p:cNvPr id="12303" name="TextBox 15">
            <a:extLst>
              <a:ext uri="{FF2B5EF4-FFF2-40B4-BE49-F238E27FC236}">
                <a16:creationId xmlns:a16="http://schemas.microsoft.com/office/drawing/2014/main" id="{85DA2EBE-C41F-2C7A-3887-65B724DC7C87}"/>
              </a:ext>
            </a:extLst>
          </p:cNvPr>
          <p:cNvSpPr txBox="1">
            <a:spLocks noChangeArrowheads="1"/>
          </p:cNvSpPr>
          <p:nvPr/>
        </p:nvSpPr>
        <p:spPr bwMode="auto">
          <a:xfrm>
            <a:off x="4171744" y="5132744"/>
            <a:ext cx="1233488"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b">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pPr>
            <a:r>
              <a:rPr lang="en-US" altLang="en-US" dirty="0">
                <a:solidFill>
                  <a:schemeClr val="bg1"/>
                </a:solidFill>
              </a:rPr>
              <a:t>Counseling</a:t>
            </a:r>
            <a:endParaRPr lang="en-US" altLang="en-US" sz="1600" dirty="0">
              <a:solidFill>
                <a:schemeClr val="bg1"/>
              </a:solidFill>
            </a:endParaRPr>
          </a:p>
        </p:txBody>
      </p:sp>
      <p:sp>
        <p:nvSpPr>
          <p:cNvPr id="12304" name="TextBox 16">
            <a:extLst>
              <a:ext uri="{FF2B5EF4-FFF2-40B4-BE49-F238E27FC236}">
                <a16:creationId xmlns:a16="http://schemas.microsoft.com/office/drawing/2014/main" id="{5A7E3E8F-E1DA-5CFD-D9A0-3C5CAED6A694}"/>
              </a:ext>
            </a:extLst>
          </p:cNvPr>
          <p:cNvSpPr txBox="1">
            <a:spLocks noChangeArrowheads="1"/>
          </p:cNvSpPr>
          <p:nvPr/>
        </p:nvSpPr>
        <p:spPr bwMode="auto">
          <a:xfrm>
            <a:off x="5371742" y="4146030"/>
            <a:ext cx="1971675" cy="839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b">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pPr>
            <a:r>
              <a:rPr lang="en-US" altLang="en-US" dirty="0">
                <a:solidFill>
                  <a:schemeClr val="bg1"/>
                </a:solidFill>
              </a:rPr>
              <a:t>Curriculum, guidelines development</a:t>
            </a:r>
          </a:p>
        </p:txBody>
      </p:sp>
      <p:sp>
        <p:nvSpPr>
          <p:cNvPr id="12305" name="TextBox 17">
            <a:extLst>
              <a:ext uri="{FF2B5EF4-FFF2-40B4-BE49-F238E27FC236}">
                <a16:creationId xmlns:a16="http://schemas.microsoft.com/office/drawing/2014/main" id="{1D007C80-8D74-683A-CD69-E301EF0319B5}"/>
              </a:ext>
            </a:extLst>
          </p:cNvPr>
          <p:cNvSpPr txBox="1">
            <a:spLocks noChangeArrowheads="1"/>
          </p:cNvSpPr>
          <p:nvPr/>
        </p:nvSpPr>
        <p:spPr bwMode="auto">
          <a:xfrm>
            <a:off x="6879661" y="3841750"/>
            <a:ext cx="1512887"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b">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pPr>
            <a:r>
              <a:rPr lang="en-US" altLang="en-US" dirty="0">
                <a:solidFill>
                  <a:schemeClr val="bg1"/>
                </a:solidFill>
              </a:rPr>
              <a:t>Recording &amp; reporting</a:t>
            </a:r>
          </a:p>
        </p:txBody>
      </p:sp>
      <p:sp>
        <p:nvSpPr>
          <p:cNvPr id="12306" name="TextBox 18">
            <a:extLst>
              <a:ext uri="{FF2B5EF4-FFF2-40B4-BE49-F238E27FC236}">
                <a16:creationId xmlns:a16="http://schemas.microsoft.com/office/drawing/2014/main" id="{CA55CA41-B271-C53A-6F15-97F46E5640AC}"/>
              </a:ext>
            </a:extLst>
          </p:cNvPr>
          <p:cNvSpPr txBox="1">
            <a:spLocks noChangeArrowheads="1"/>
          </p:cNvSpPr>
          <p:nvPr/>
        </p:nvSpPr>
        <p:spPr bwMode="auto">
          <a:xfrm>
            <a:off x="8458097" y="3594100"/>
            <a:ext cx="1941513"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b">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pPr>
            <a:r>
              <a:rPr lang="en-US" altLang="en-US">
                <a:solidFill>
                  <a:schemeClr val="bg1"/>
                </a:solidFill>
              </a:rPr>
              <a:t>Supervision &amp; Service provision</a:t>
            </a:r>
          </a:p>
        </p:txBody>
      </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37D44D-2AFE-F890-D22E-3431047D52B3}"/>
              </a:ext>
            </a:extLst>
          </p:cNvPr>
          <p:cNvSpPr>
            <a:spLocks noGrp="1"/>
          </p:cNvSpPr>
          <p:nvPr>
            <p:ph type="title"/>
          </p:nvPr>
        </p:nvSpPr>
        <p:spPr>
          <a:xfrm>
            <a:off x="838200" y="365125"/>
            <a:ext cx="10515600" cy="1325563"/>
          </a:xfrm>
        </p:spPr>
        <p:txBody>
          <a:bodyPr>
            <a:normAutofit/>
          </a:bodyPr>
          <a:lstStyle/>
          <a:p>
            <a:r>
              <a:rPr lang="en-US" sz="5400"/>
              <a:t>MER Indicators: HTS_RECENT</a:t>
            </a:r>
          </a:p>
        </p:txBody>
      </p:sp>
      <p:sp>
        <p:nvSpPr>
          <p:cNvPr id="3" name="Content Placeholder 2">
            <a:extLst>
              <a:ext uri="{FF2B5EF4-FFF2-40B4-BE49-F238E27FC236}">
                <a16:creationId xmlns:a16="http://schemas.microsoft.com/office/drawing/2014/main" id="{7D027DB5-BF5E-551A-8356-2485B9B6CAB6}"/>
              </a:ext>
            </a:extLst>
          </p:cNvPr>
          <p:cNvSpPr>
            <a:spLocks noGrp="1"/>
          </p:cNvSpPr>
          <p:nvPr>
            <p:ph idx="1"/>
          </p:nvPr>
        </p:nvSpPr>
        <p:spPr>
          <a:xfrm>
            <a:off x="838200" y="1929384"/>
            <a:ext cx="10515600" cy="4251960"/>
          </a:xfrm>
        </p:spPr>
        <p:txBody>
          <a:bodyPr>
            <a:normAutofit/>
          </a:bodyPr>
          <a:lstStyle/>
          <a:p>
            <a:pPr marL="0" indent="0">
              <a:buNone/>
            </a:pPr>
            <a:r>
              <a:rPr lang="en-US" sz="1900" b="1" dirty="0"/>
              <a:t>Definition</a:t>
            </a:r>
          </a:p>
          <a:p>
            <a:pPr marL="0" indent="0">
              <a:buNone/>
            </a:pPr>
            <a:r>
              <a:rPr lang="en-US" sz="1900" dirty="0"/>
              <a:t>Number of newly diagnosed HIV-positive persons who received testing for recent infection with a documented result during the reporting period</a:t>
            </a:r>
          </a:p>
          <a:p>
            <a:pPr marL="0" indent="0">
              <a:buNone/>
            </a:pPr>
            <a:r>
              <a:rPr lang="en-US" sz="1900" b="1" dirty="0"/>
              <a:t>Modalities</a:t>
            </a:r>
            <a:endParaRPr lang="en-US" sz="1900" dirty="0"/>
          </a:p>
          <a:p>
            <a:pPr marL="457200" lvl="1" indent="0">
              <a:buNone/>
            </a:pPr>
            <a:r>
              <a:rPr lang="en-US" sz="1900" b="1" dirty="0"/>
              <a:t>Facility</a:t>
            </a:r>
            <a:r>
              <a:rPr lang="en-US" sz="1900" dirty="0"/>
              <a:t>: Emergency, inpatient ward, Pediatrics (&lt;5 clinic), TB, STI, Index, PMTCT (ANC-1), PMTCT (Post-ANC1: Pregnancy/L&amp;D/BF), malnutrition, Other PITC, VCT</a:t>
            </a:r>
          </a:p>
          <a:p>
            <a:pPr marL="457200" lvl="1" indent="0">
              <a:buNone/>
            </a:pPr>
            <a:r>
              <a:rPr lang="en-US" sz="1900" b="1" dirty="0"/>
              <a:t>Community</a:t>
            </a:r>
            <a:r>
              <a:rPr lang="en-US" sz="1900" dirty="0"/>
              <a:t>: Mobile, Index, Other community modalities</a:t>
            </a:r>
          </a:p>
          <a:p>
            <a:pPr marL="0" indent="0">
              <a:buNone/>
            </a:pPr>
            <a:r>
              <a:rPr lang="en-US" sz="1900" b="1" dirty="0"/>
              <a:t>Disaggregation</a:t>
            </a:r>
            <a:r>
              <a:rPr lang="en-US" sz="1900" dirty="0"/>
              <a:t>: Modality &amp; Result by age &amp; sex, Key population type</a:t>
            </a:r>
          </a:p>
          <a:p>
            <a:pPr marL="0" indent="0">
              <a:buNone/>
            </a:pPr>
            <a:r>
              <a:rPr lang="en-US" sz="1900" b="1" dirty="0"/>
              <a:t>Reporting frequency</a:t>
            </a:r>
            <a:r>
              <a:rPr lang="en-US" sz="1900" dirty="0"/>
              <a:t>: Quarterly</a:t>
            </a:r>
          </a:p>
          <a:p>
            <a:pPr marL="0" indent="0">
              <a:buNone/>
            </a:pPr>
            <a:r>
              <a:rPr lang="en-US" sz="1900" b="1" dirty="0"/>
              <a:t>Reporting level</a:t>
            </a:r>
            <a:r>
              <a:rPr lang="en-US" sz="1900" dirty="0"/>
              <a:t>: facility and community</a:t>
            </a:r>
          </a:p>
          <a:p>
            <a:pPr marL="0" indent="0">
              <a:buNone/>
            </a:pPr>
            <a:r>
              <a:rPr lang="en-US" sz="1900" b="1" dirty="0"/>
              <a:t>Data Sources</a:t>
            </a:r>
            <a:r>
              <a:rPr lang="en-US" sz="1900" dirty="0"/>
              <a:t>: Client Intake Form, Standalone Recency Form(NMRS), RTRI Result Documentation Form </a:t>
            </a:r>
          </a:p>
        </p:txBody>
      </p:sp>
      <p:sp>
        <p:nvSpPr>
          <p:cNvPr id="4" name="Slide Number Placeholder 3">
            <a:extLst>
              <a:ext uri="{FF2B5EF4-FFF2-40B4-BE49-F238E27FC236}">
                <a16:creationId xmlns:a16="http://schemas.microsoft.com/office/drawing/2014/main" id="{8E53B42F-B3A3-FE0A-F198-F67F81863836}"/>
              </a:ext>
            </a:extLst>
          </p:cNvPr>
          <p:cNvSpPr>
            <a:spLocks noGrp="1"/>
          </p:cNvSpPr>
          <p:nvPr>
            <p:ph type="sldNum" sz="quarter" idx="12"/>
          </p:nvPr>
        </p:nvSpPr>
        <p:spPr>
          <a:xfrm>
            <a:off x="8610600" y="6356350"/>
            <a:ext cx="2743200" cy="365125"/>
          </a:xfrm>
        </p:spPr>
        <p:txBody>
          <a:bodyPr>
            <a:normAutofit/>
          </a:bodyPr>
          <a:lstStyle/>
          <a:p>
            <a:pPr>
              <a:spcAft>
                <a:spcPts val="600"/>
              </a:spcAft>
            </a:pPr>
            <a:fld id="{09D8572F-5E2A-4C2B-8D06-D2E642EBF18E}" type="slidenum">
              <a:rPr lang="en-US" smtClean="0"/>
              <a:pPr>
                <a:spcAft>
                  <a:spcPts val="600"/>
                </a:spcAft>
              </a:pPr>
              <a:t>60</a:t>
            </a:fld>
            <a:endParaRPr lang="en-US"/>
          </a:p>
        </p:txBody>
      </p:sp>
    </p:spTree>
    <p:extLst>
      <p:ext uri="{BB962C8B-B14F-4D97-AF65-F5344CB8AC3E}">
        <p14:creationId xmlns:p14="http://schemas.microsoft.com/office/powerpoint/2010/main" val="333420703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46E7A-6987-9826-880C-76F2890E31AE}"/>
              </a:ext>
            </a:extLst>
          </p:cNvPr>
          <p:cNvSpPr>
            <a:spLocks noGrp="1"/>
          </p:cNvSpPr>
          <p:nvPr>
            <p:ph type="title"/>
          </p:nvPr>
        </p:nvSpPr>
        <p:spPr>
          <a:xfrm>
            <a:off x="838200" y="365125"/>
            <a:ext cx="10515600" cy="1325563"/>
          </a:xfrm>
        </p:spPr>
        <p:txBody>
          <a:bodyPr>
            <a:normAutofit/>
          </a:bodyPr>
          <a:lstStyle/>
          <a:p>
            <a:r>
              <a:rPr lang="en-US" sz="5400"/>
              <a:t>MER Indicators: HTS_SELF</a:t>
            </a:r>
          </a:p>
        </p:txBody>
      </p:sp>
      <p:sp>
        <p:nvSpPr>
          <p:cNvPr id="3" name="Content Placeholder 2">
            <a:extLst>
              <a:ext uri="{FF2B5EF4-FFF2-40B4-BE49-F238E27FC236}">
                <a16:creationId xmlns:a16="http://schemas.microsoft.com/office/drawing/2014/main" id="{A5ACD754-13BF-14C6-3993-37D771D52877}"/>
              </a:ext>
            </a:extLst>
          </p:cNvPr>
          <p:cNvSpPr>
            <a:spLocks noGrp="1"/>
          </p:cNvSpPr>
          <p:nvPr>
            <p:ph idx="1"/>
          </p:nvPr>
        </p:nvSpPr>
        <p:spPr>
          <a:xfrm>
            <a:off x="838200" y="1929383"/>
            <a:ext cx="10515600" cy="4563491"/>
          </a:xfrm>
        </p:spPr>
        <p:txBody>
          <a:bodyPr>
            <a:normAutofit/>
          </a:bodyPr>
          <a:lstStyle/>
          <a:p>
            <a:pPr marL="0" indent="0">
              <a:buNone/>
            </a:pPr>
            <a:r>
              <a:rPr lang="en-US" sz="1700" b="1" dirty="0"/>
              <a:t>Definition: </a:t>
            </a:r>
            <a:r>
              <a:rPr lang="en-US" sz="1700" dirty="0"/>
              <a:t>Number of individual HIV self-test (HIVST) kits distributed</a:t>
            </a:r>
          </a:p>
          <a:p>
            <a:pPr marL="0" indent="0">
              <a:buNone/>
            </a:pPr>
            <a:r>
              <a:rPr lang="en-US" sz="1700" dirty="0"/>
              <a:t>*HIV self testing is a screening test in which a person collects his or her own specimen (oral fluid or blood), performs an HIV test using and interprets the result. Can be </a:t>
            </a:r>
            <a:r>
              <a:rPr lang="en-US" sz="1700" b="1" dirty="0"/>
              <a:t>directly assisted </a:t>
            </a:r>
            <a:r>
              <a:rPr lang="en-US" sz="1700" dirty="0"/>
              <a:t>or</a:t>
            </a:r>
            <a:r>
              <a:rPr lang="en-US" sz="1700" b="1" dirty="0"/>
              <a:t> unassisted</a:t>
            </a:r>
          </a:p>
          <a:p>
            <a:pPr marL="0" indent="0">
              <a:buNone/>
            </a:pPr>
            <a:r>
              <a:rPr lang="en-US" sz="1700" b="1" dirty="0"/>
              <a:t>Modalities</a:t>
            </a:r>
            <a:endParaRPr lang="en-US" sz="1700" dirty="0"/>
          </a:p>
          <a:p>
            <a:pPr marL="457200" lvl="1" indent="0">
              <a:buNone/>
            </a:pPr>
            <a:r>
              <a:rPr lang="en-US" sz="1700" b="1" dirty="0"/>
              <a:t>Facility</a:t>
            </a:r>
            <a:r>
              <a:rPr lang="en-US" sz="1700" dirty="0"/>
              <a:t>: Emergency, inpatient ward, Pediatrics (&lt;5 clinic), TB, STI, Index, PMTCT (ANC-1), PMTCT (Post-ANC1: Pregnancy/L&amp;D/BF), malnutrition, Other PITC, VCT</a:t>
            </a:r>
          </a:p>
          <a:p>
            <a:pPr marL="457200" lvl="1" indent="0">
              <a:buNone/>
            </a:pPr>
            <a:r>
              <a:rPr lang="en-US" sz="1700" b="1" dirty="0"/>
              <a:t>Community</a:t>
            </a:r>
            <a:r>
              <a:rPr lang="en-US" sz="1700" dirty="0"/>
              <a:t>: Mobile, Index, Other community modalities</a:t>
            </a:r>
          </a:p>
          <a:p>
            <a:pPr marL="0" indent="0">
              <a:buNone/>
            </a:pPr>
            <a:r>
              <a:rPr lang="en-US" sz="1700" b="1" dirty="0"/>
              <a:t>Disaggregation</a:t>
            </a:r>
            <a:r>
              <a:rPr lang="en-US" sz="1700" dirty="0"/>
              <a:t>: Type of self-testing (directly-assisted/unassisted); Number of self-test kits distributed to a person by age &amp; sex (directly assisted. Optional for unassisted), number of self-test kits distributed by Key population type, number of self-test kits distributed for use by (self, sex partner, others)</a:t>
            </a:r>
          </a:p>
          <a:p>
            <a:pPr marL="0" indent="0">
              <a:buNone/>
            </a:pPr>
            <a:r>
              <a:rPr lang="en-US" sz="1700" b="1" dirty="0"/>
              <a:t>Reporting frequency</a:t>
            </a:r>
            <a:r>
              <a:rPr lang="en-US" sz="1700" dirty="0"/>
              <a:t>: Quarterly</a:t>
            </a:r>
          </a:p>
          <a:p>
            <a:pPr marL="0" indent="0">
              <a:buNone/>
            </a:pPr>
            <a:r>
              <a:rPr lang="en-US" sz="1700" b="1" dirty="0"/>
              <a:t>Reporting level</a:t>
            </a:r>
            <a:r>
              <a:rPr lang="en-US" sz="1700" dirty="0"/>
              <a:t>: facility and community</a:t>
            </a:r>
          </a:p>
          <a:p>
            <a:pPr marL="0" indent="0">
              <a:buNone/>
            </a:pPr>
            <a:r>
              <a:rPr lang="en-US" sz="1700" b="1" dirty="0"/>
              <a:t>Data Sources</a:t>
            </a:r>
            <a:r>
              <a:rPr lang="en-US" sz="1700" dirty="0"/>
              <a:t>: HIVST Response &amp; Referral Card (completed for each kit distributed); HIVST Register</a:t>
            </a:r>
          </a:p>
        </p:txBody>
      </p:sp>
      <p:sp>
        <p:nvSpPr>
          <p:cNvPr id="4" name="Slide Number Placeholder 3">
            <a:extLst>
              <a:ext uri="{FF2B5EF4-FFF2-40B4-BE49-F238E27FC236}">
                <a16:creationId xmlns:a16="http://schemas.microsoft.com/office/drawing/2014/main" id="{892E2060-8E44-E74D-C048-5B9F859C390E}"/>
              </a:ext>
            </a:extLst>
          </p:cNvPr>
          <p:cNvSpPr>
            <a:spLocks noGrp="1"/>
          </p:cNvSpPr>
          <p:nvPr>
            <p:ph type="sldNum" sz="quarter" idx="12"/>
          </p:nvPr>
        </p:nvSpPr>
        <p:spPr>
          <a:xfrm>
            <a:off x="8610600" y="6356350"/>
            <a:ext cx="2743200" cy="365125"/>
          </a:xfrm>
        </p:spPr>
        <p:txBody>
          <a:bodyPr>
            <a:normAutofit/>
          </a:bodyPr>
          <a:lstStyle/>
          <a:p>
            <a:pPr>
              <a:spcAft>
                <a:spcPts val="600"/>
              </a:spcAft>
            </a:pPr>
            <a:fld id="{09D8572F-5E2A-4C2B-8D06-D2E642EBF18E}" type="slidenum">
              <a:rPr lang="en-US" smtClean="0"/>
              <a:pPr>
                <a:spcAft>
                  <a:spcPts val="600"/>
                </a:spcAft>
              </a:pPr>
              <a:t>61</a:t>
            </a:fld>
            <a:endParaRPr lang="en-US"/>
          </a:p>
        </p:txBody>
      </p:sp>
    </p:spTree>
    <p:extLst>
      <p:ext uri="{BB962C8B-B14F-4D97-AF65-F5344CB8AC3E}">
        <p14:creationId xmlns:p14="http://schemas.microsoft.com/office/powerpoint/2010/main" val="286310675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7BE075B-545C-E10B-3141-AB4D924727A4}"/>
              </a:ext>
            </a:extLst>
          </p:cNvPr>
          <p:cNvPicPr>
            <a:picLocks noChangeAspect="1"/>
          </p:cNvPicPr>
          <p:nvPr/>
        </p:nvPicPr>
        <p:blipFill rotWithShape="1">
          <a:blip r:embed="rId2">
            <a:duotone>
              <a:schemeClr val="bg2">
                <a:shade val="45000"/>
                <a:satMod val="135000"/>
              </a:schemeClr>
              <a:prstClr val="white"/>
            </a:duotone>
          </a:blip>
          <a:srcRect t="15730"/>
          <a:stretch/>
        </p:blipFill>
        <p:spPr>
          <a:xfrm>
            <a:off x="20" y="10"/>
            <a:ext cx="12191980" cy="6857990"/>
          </a:xfrm>
          <a:prstGeom prst="rect">
            <a:avLst/>
          </a:prstGeom>
        </p:spPr>
      </p:pic>
      <p:sp>
        <p:nvSpPr>
          <p:cNvPr id="2" name="Title 1">
            <a:extLst>
              <a:ext uri="{FF2B5EF4-FFF2-40B4-BE49-F238E27FC236}">
                <a16:creationId xmlns:a16="http://schemas.microsoft.com/office/drawing/2014/main" id="{5736A55B-F458-93FC-0E24-04566FCAB128}"/>
              </a:ext>
            </a:extLst>
          </p:cNvPr>
          <p:cNvSpPr>
            <a:spLocks noGrp="1"/>
          </p:cNvSpPr>
          <p:nvPr>
            <p:ph type="title"/>
          </p:nvPr>
        </p:nvSpPr>
        <p:spPr>
          <a:xfrm>
            <a:off x="838200" y="365125"/>
            <a:ext cx="10515600" cy="1325563"/>
          </a:xfrm>
        </p:spPr>
        <p:txBody>
          <a:bodyPr>
            <a:normAutofit/>
          </a:bodyPr>
          <a:lstStyle/>
          <a:p>
            <a:r>
              <a:rPr lang="en-US" dirty="0"/>
              <a:t>Summary of HTS M&amp;E Tools</a:t>
            </a:r>
          </a:p>
        </p:txBody>
      </p:sp>
      <p:sp>
        <p:nvSpPr>
          <p:cNvPr id="4" name="Slide Number Placeholder 3">
            <a:extLst>
              <a:ext uri="{FF2B5EF4-FFF2-40B4-BE49-F238E27FC236}">
                <a16:creationId xmlns:a16="http://schemas.microsoft.com/office/drawing/2014/main" id="{4D39D54B-0149-DE36-9F64-C68D8B9ED606}"/>
              </a:ext>
            </a:extLst>
          </p:cNvPr>
          <p:cNvSpPr>
            <a:spLocks noGrp="1"/>
          </p:cNvSpPr>
          <p:nvPr>
            <p:ph type="sldNum" sz="quarter" idx="12"/>
          </p:nvPr>
        </p:nvSpPr>
        <p:spPr>
          <a:xfrm>
            <a:off x="8610600" y="6356350"/>
            <a:ext cx="2743200" cy="365125"/>
          </a:xfrm>
        </p:spPr>
        <p:txBody>
          <a:bodyPr>
            <a:normAutofit/>
          </a:bodyPr>
          <a:lstStyle/>
          <a:p>
            <a:pPr>
              <a:spcAft>
                <a:spcPts val="600"/>
              </a:spcAft>
            </a:pPr>
            <a:fld id="{09D8572F-5E2A-4C2B-8D06-D2E642EBF18E}" type="slidenum">
              <a:rPr lang="en-US" smtClean="0"/>
              <a:pPr>
                <a:spcAft>
                  <a:spcPts val="600"/>
                </a:spcAft>
              </a:pPr>
              <a:t>62</a:t>
            </a:fld>
            <a:endParaRPr lang="en-US"/>
          </a:p>
        </p:txBody>
      </p:sp>
      <p:graphicFrame>
        <p:nvGraphicFramePr>
          <p:cNvPr id="6" name="Content Placeholder 2">
            <a:extLst>
              <a:ext uri="{FF2B5EF4-FFF2-40B4-BE49-F238E27FC236}">
                <a16:creationId xmlns:a16="http://schemas.microsoft.com/office/drawing/2014/main" id="{F19E187E-20D5-7E13-0602-DEBEDDF8B2CA}"/>
              </a:ext>
            </a:extLst>
          </p:cNvPr>
          <p:cNvGraphicFramePr>
            <a:graphicFrameLocks noGrp="1"/>
          </p:cNvGraphicFramePr>
          <p:nvPr>
            <p:ph idx="1"/>
          </p:nvPr>
        </p:nvGraphicFramePr>
        <p:xfrm>
          <a:off x="376084" y="1690688"/>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1447748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BDE89D-6DFD-4F59-A0D5-82816270D73D}"/>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D2BDE89D-6DFD-4F59-A0D5-82816270D73D}"/>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943F7051-F003-4550-961C-81F7863B6661}"/>
              </a:ext>
            </a:extLst>
          </p:cNvPr>
          <p:cNvSpPr txBox="1"/>
          <p:nvPr/>
        </p:nvSpPr>
        <p:spPr>
          <a:xfrm>
            <a:off x="6477000" y="2767281"/>
            <a:ext cx="4190999" cy="1323439"/>
          </a:xfrm>
          <a:prstGeom prst="rect">
            <a:avLst/>
          </a:prstGeom>
          <a:noFill/>
        </p:spPr>
        <p:txBody>
          <a:bodyPr wrap="square" rtlCol="0">
            <a:spAutoFit/>
          </a:bodyPr>
          <a:lstStyle/>
          <a:p>
            <a:pPr algn="ctr"/>
            <a:r>
              <a:rPr lang="en-US" sz="4000" dirty="0">
                <a:solidFill>
                  <a:schemeClr val="tx2">
                    <a:lumMod val="75000"/>
                  </a:schemeClr>
                </a:solidFill>
              </a:rPr>
              <a:t>ART CASCADE &amp; KEY INDICATORS</a:t>
            </a:r>
            <a:endParaRPr lang="en-NG" sz="4000" dirty="0">
              <a:solidFill>
                <a:schemeClr val="tx2">
                  <a:lumMod val="75000"/>
                </a:schemeClr>
              </a:solidFill>
            </a:endParaRPr>
          </a:p>
        </p:txBody>
      </p:sp>
      <p:sp>
        <p:nvSpPr>
          <p:cNvPr id="8" name="TextBox 7">
            <a:extLst>
              <a:ext uri="{FF2B5EF4-FFF2-40B4-BE49-F238E27FC236}">
                <a16:creationId xmlns:a16="http://schemas.microsoft.com/office/drawing/2014/main" id="{2DF2D1C9-08AB-4B3F-BEB8-6BE5033A8648}"/>
              </a:ext>
            </a:extLst>
          </p:cNvPr>
          <p:cNvSpPr txBox="1"/>
          <p:nvPr/>
        </p:nvSpPr>
        <p:spPr>
          <a:xfrm>
            <a:off x="6477000" y="5271701"/>
            <a:ext cx="3581400" cy="523220"/>
          </a:xfrm>
          <a:prstGeom prst="rect">
            <a:avLst/>
          </a:prstGeom>
          <a:noFill/>
        </p:spPr>
        <p:txBody>
          <a:bodyPr wrap="square" rtlCol="0">
            <a:spAutoFit/>
          </a:bodyPr>
          <a:lstStyle/>
          <a:p>
            <a:pPr algn="ctr"/>
            <a:r>
              <a:rPr lang="en-US" sz="1400" dirty="0">
                <a:solidFill>
                  <a:schemeClr val="tx2">
                    <a:lumMod val="60000"/>
                    <a:lumOff val="40000"/>
                  </a:schemeClr>
                </a:solidFill>
              </a:rPr>
              <a:t>New Staff Orientation Online Bootcamp</a:t>
            </a:r>
          </a:p>
          <a:p>
            <a:pPr algn="ctr"/>
            <a:r>
              <a:rPr lang="en-US" sz="1400" dirty="0">
                <a:solidFill>
                  <a:schemeClr val="tx2">
                    <a:lumMod val="60000"/>
                    <a:lumOff val="40000"/>
                  </a:schemeClr>
                </a:solidFill>
              </a:rPr>
              <a:t>14</a:t>
            </a:r>
            <a:r>
              <a:rPr lang="en-US" sz="1400" baseline="30000" dirty="0">
                <a:solidFill>
                  <a:schemeClr val="tx2">
                    <a:lumMod val="60000"/>
                    <a:lumOff val="40000"/>
                  </a:schemeClr>
                </a:solidFill>
              </a:rPr>
              <a:t>th</a:t>
            </a:r>
            <a:r>
              <a:rPr lang="en-US" sz="1400" dirty="0">
                <a:solidFill>
                  <a:schemeClr val="tx2">
                    <a:lumMod val="60000"/>
                    <a:lumOff val="40000"/>
                  </a:schemeClr>
                </a:solidFill>
              </a:rPr>
              <a:t> June, 2022</a:t>
            </a:r>
            <a:endParaRPr lang="en-NG" sz="1400" dirty="0">
              <a:solidFill>
                <a:schemeClr val="tx2">
                  <a:lumMod val="60000"/>
                  <a:lumOff val="40000"/>
                </a:schemeClr>
              </a:solidFill>
            </a:endParaRPr>
          </a:p>
        </p:txBody>
      </p:sp>
      <p:pic>
        <p:nvPicPr>
          <p:cNvPr id="3" name="Picture 2">
            <a:extLst>
              <a:ext uri="{FF2B5EF4-FFF2-40B4-BE49-F238E27FC236}">
                <a16:creationId xmlns:a16="http://schemas.microsoft.com/office/drawing/2014/main" id="{DA1EA68A-2382-F7FD-56E0-3B66F68BDA62}"/>
              </a:ext>
            </a:extLst>
          </p:cNvPr>
          <p:cNvPicPr>
            <a:picLocks noChangeAspect="1"/>
          </p:cNvPicPr>
          <p:nvPr/>
        </p:nvPicPr>
        <p:blipFill>
          <a:blip r:embed="rId5"/>
          <a:stretch>
            <a:fillRect/>
          </a:stretch>
        </p:blipFill>
        <p:spPr>
          <a:xfrm>
            <a:off x="1524001" y="1166852"/>
            <a:ext cx="4876800" cy="5233949"/>
          </a:xfrm>
          <a:prstGeom prst="rect">
            <a:avLst/>
          </a:prstGeom>
        </p:spPr>
      </p:pic>
    </p:spTree>
    <p:extLst>
      <p:ext uri="{BB962C8B-B14F-4D97-AF65-F5344CB8AC3E}">
        <p14:creationId xmlns:p14="http://schemas.microsoft.com/office/powerpoint/2010/main" val="11771029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TextBox 133">
            <a:extLst>
              <a:ext uri="{FF2B5EF4-FFF2-40B4-BE49-F238E27FC236}">
                <a16:creationId xmlns:a16="http://schemas.microsoft.com/office/drawing/2014/main" id="{86E6788C-76AA-43BC-8B7F-196C83841096}"/>
              </a:ext>
            </a:extLst>
          </p:cNvPr>
          <p:cNvSpPr txBox="1"/>
          <p:nvPr/>
        </p:nvSpPr>
        <p:spPr>
          <a:xfrm>
            <a:off x="1847850" y="463992"/>
            <a:ext cx="8496300" cy="553998"/>
          </a:xfrm>
          <a:prstGeom prst="rect">
            <a:avLst/>
          </a:prstGeom>
          <a:noFill/>
        </p:spPr>
        <p:txBody>
          <a:bodyPr wrap="square" lIns="0" tIns="0" rIns="0" bIns="0" rtlCol="0" anchor="t">
            <a:spAutoFit/>
          </a:bodyPr>
          <a:lstStyle/>
          <a:p>
            <a:pPr algn="ctr" defTabSz="685800"/>
            <a:r>
              <a:rPr lang="en-US" sz="3600" dirty="0">
                <a:latin typeface="Corbel" panose="020B0503020204020204"/>
              </a:rPr>
              <a:t>TX_NEW</a:t>
            </a:r>
          </a:p>
        </p:txBody>
      </p:sp>
      <p:grpSp>
        <p:nvGrpSpPr>
          <p:cNvPr id="2" name="Group 1">
            <a:extLst>
              <a:ext uri="{FF2B5EF4-FFF2-40B4-BE49-F238E27FC236}">
                <a16:creationId xmlns:a16="http://schemas.microsoft.com/office/drawing/2014/main" id="{11383E8B-A9F5-4C59-A67A-3554539F5B7A}"/>
              </a:ext>
            </a:extLst>
          </p:cNvPr>
          <p:cNvGrpSpPr/>
          <p:nvPr/>
        </p:nvGrpSpPr>
        <p:grpSpPr>
          <a:xfrm>
            <a:off x="1524001" y="1143000"/>
            <a:ext cx="9144001" cy="5578476"/>
            <a:chOff x="0" y="857250"/>
            <a:chExt cx="9144001" cy="5864226"/>
          </a:xfrm>
        </p:grpSpPr>
        <p:sp>
          <p:nvSpPr>
            <p:cNvPr id="98" name="Rectangle 97">
              <a:extLst>
                <a:ext uri="{FF2B5EF4-FFF2-40B4-BE49-F238E27FC236}">
                  <a16:creationId xmlns:a16="http://schemas.microsoft.com/office/drawing/2014/main" id="{84CAA34D-CD75-45C6-B39E-7C242EB87261}"/>
                </a:ext>
              </a:extLst>
            </p:cNvPr>
            <p:cNvSpPr/>
            <p:nvPr/>
          </p:nvSpPr>
          <p:spPr>
            <a:xfrm>
              <a:off x="1" y="2871107"/>
              <a:ext cx="9144000" cy="1306286"/>
            </a:xfrm>
            <a:prstGeom prst="rect">
              <a:avLst/>
            </a:prstGeom>
            <a:solidFill>
              <a:srgbClr val="E7E6E6"/>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99" name="Rectangle: Rounded Corners 98">
              <a:extLst>
                <a:ext uri="{FF2B5EF4-FFF2-40B4-BE49-F238E27FC236}">
                  <a16:creationId xmlns:a16="http://schemas.microsoft.com/office/drawing/2014/main" id="{B79F2794-CAB0-4CBC-A170-CA7853D4B5E7}"/>
                </a:ext>
              </a:extLst>
            </p:cNvPr>
            <p:cNvSpPr/>
            <p:nvPr/>
          </p:nvSpPr>
          <p:spPr>
            <a:xfrm>
              <a:off x="3652410" y="2015558"/>
              <a:ext cx="1951265" cy="3145971"/>
            </a:xfrm>
            <a:prstGeom prst="roundRect">
              <a:avLst>
                <a:gd name="adj" fmla="val 4952"/>
              </a:avLst>
            </a:prstGeom>
            <a:solidFill>
              <a:sysClr val="window" lastClr="FFFFFF">
                <a:lumMod val="65000"/>
              </a:sys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00" name="Rectangle: Rounded Corners 99">
              <a:extLst>
                <a:ext uri="{FF2B5EF4-FFF2-40B4-BE49-F238E27FC236}">
                  <a16:creationId xmlns:a16="http://schemas.microsoft.com/office/drawing/2014/main" id="{624C18DD-A9DF-4469-A7B6-6C9AAA2D41F4}"/>
                </a:ext>
              </a:extLst>
            </p:cNvPr>
            <p:cNvSpPr/>
            <p:nvPr/>
          </p:nvSpPr>
          <p:spPr>
            <a:xfrm>
              <a:off x="6625597" y="2015558"/>
              <a:ext cx="1951265" cy="3145971"/>
            </a:xfrm>
            <a:prstGeom prst="roundRect">
              <a:avLst>
                <a:gd name="adj" fmla="val 4952"/>
              </a:avLst>
            </a:prstGeom>
            <a:solidFill>
              <a:sysClr val="window" lastClr="FFFFFF">
                <a:lumMod val="65000"/>
              </a:sys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01" name="Rectangle: Rounded Corners 100">
              <a:extLst>
                <a:ext uri="{FF2B5EF4-FFF2-40B4-BE49-F238E27FC236}">
                  <a16:creationId xmlns:a16="http://schemas.microsoft.com/office/drawing/2014/main" id="{F503AF90-BD38-48FC-8812-4FA3F25DB0E6}"/>
                </a:ext>
              </a:extLst>
            </p:cNvPr>
            <p:cNvSpPr/>
            <p:nvPr/>
          </p:nvSpPr>
          <p:spPr>
            <a:xfrm>
              <a:off x="685800" y="2015558"/>
              <a:ext cx="1951265" cy="3145971"/>
            </a:xfrm>
            <a:prstGeom prst="roundRect">
              <a:avLst>
                <a:gd name="adj" fmla="val 4952"/>
              </a:avLst>
            </a:prstGeom>
            <a:solidFill>
              <a:sysClr val="window" lastClr="FFFFFF">
                <a:lumMod val="65000"/>
              </a:sys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02" name="Frame 101">
              <a:extLst>
                <a:ext uri="{FF2B5EF4-FFF2-40B4-BE49-F238E27FC236}">
                  <a16:creationId xmlns:a16="http://schemas.microsoft.com/office/drawing/2014/main" id="{530C96A5-18F8-41CE-8FBF-056A3D32634C}"/>
                </a:ext>
              </a:extLst>
            </p:cNvPr>
            <p:cNvSpPr/>
            <p:nvPr/>
          </p:nvSpPr>
          <p:spPr>
            <a:xfrm>
              <a:off x="0" y="857250"/>
              <a:ext cx="9144000" cy="5143500"/>
            </a:xfrm>
            <a:prstGeom prst="frame">
              <a:avLst>
                <a:gd name="adj1" fmla="val 1053"/>
              </a:avLst>
            </a:prstGeom>
            <a:solidFill>
              <a:srgbClr val="44546A">
                <a:lumMod val="40000"/>
                <a:lumOff val="60000"/>
              </a:srgbClr>
            </a:solidFill>
            <a:ln w="12700" cap="flat" cmpd="sng" algn="ctr">
              <a:noFill/>
              <a:prstDash val="solid"/>
              <a:miter lim="800000"/>
            </a:ln>
            <a:effectLst/>
          </p:spPr>
          <p:txBody>
            <a:bodyPr rtlCol="0" anchor="ctr"/>
            <a:lstStyle/>
            <a:p>
              <a:pPr algn="ctr" defTabSz="685800">
                <a:defRPr/>
              </a:pPr>
              <a:endParaRPr lang="en-US" sz="1350" kern="0">
                <a:solidFill>
                  <a:prstClr val="black"/>
                </a:solidFill>
                <a:latin typeface="Calibri Light"/>
              </a:endParaRPr>
            </a:p>
          </p:txBody>
        </p:sp>
        <p:sp>
          <p:nvSpPr>
            <p:cNvPr id="103" name="Rectangle 102">
              <a:extLst>
                <a:ext uri="{FF2B5EF4-FFF2-40B4-BE49-F238E27FC236}">
                  <a16:creationId xmlns:a16="http://schemas.microsoft.com/office/drawing/2014/main" id="{D5A75610-4C9C-4007-86BE-0C93387BD4CC}"/>
                </a:ext>
              </a:extLst>
            </p:cNvPr>
            <p:cNvSpPr/>
            <p:nvPr/>
          </p:nvSpPr>
          <p:spPr>
            <a:xfrm>
              <a:off x="0" y="857250"/>
              <a:ext cx="336430" cy="336430"/>
            </a:xfrm>
            <a:prstGeom prst="rect">
              <a:avLst/>
            </a:prstGeom>
            <a:solidFill>
              <a:srgbClr val="AF5F6D"/>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04" name="Rectangle 103">
              <a:extLst>
                <a:ext uri="{FF2B5EF4-FFF2-40B4-BE49-F238E27FC236}">
                  <a16:creationId xmlns:a16="http://schemas.microsoft.com/office/drawing/2014/main" id="{88DED4A1-8837-48AC-9F2B-DE23F8D97ECB}"/>
                </a:ext>
              </a:extLst>
            </p:cNvPr>
            <p:cNvSpPr/>
            <p:nvPr/>
          </p:nvSpPr>
          <p:spPr>
            <a:xfrm>
              <a:off x="8807571" y="5664321"/>
              <a:ext cx="336430" cy="336430"/>
            </a:xfrm>
            <a:prstGeom prst="rect">
              <a:avLst/>
            </a:prstGeom>
            <a:solidFill>
              <a:srgbClr val="EB6B56"/>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18" name="Slide Number Placeholder 21">
              <a:extLst>
                <a:ext uri="{FF2B5EF4-FFF2-40B4-BE49-F238E27FC236}">
                  <a16:creationId xmlns:a16="http://schemas.microsoft.com/office/drawing/2014/main" id="{93A42D60-09D3-464C-9CEE-9793BC406A2C}"/>
                </a:ext>
              </a:extLst>
            </p:cNvPr>
            <p:cNvSpPr txBox="1">
              <a:spLocks/>
            </p:cNvSpPr>
            <p:nvPr/>
          </p:nvSpPr>
          <p:spPr>
            <a:xfrm>
              <a:off x="6457950" y="6356351"/>
              <a:ext cx="2057400" cy="365125"/>
            </a:xfrm>
            <a:prstGeom prst="rect">
              <a:avLst/>
            </a:prstGeom>
          </p:spPr>
          <p:txBody>
            <a:bodyPr vert="horz" lIns="91440" tIns="45720" rIns="91440" bIns="4572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fld id="{B9940D52-AD77-4C6A-9DCC-3EEF87AE9DF8}" type="slidenum">
                <a:rPr lang="en-US">
                  <a:solidFill>
                    <a:prstClr val="black">
                      <a:tint val="75000"/>
                    </a:prstClr>
                  </a:solidFill>
                  <a:latin typeface="Calibri Light"/>
                </a:rPr>
                <a:pPr defTabSz="685800"/>
                <a:t>64</a:t>
              </a:fld>
              <a:endParaRPr lang="en-US">
                <a:solidFill>
                  <a:prstClr val="black">
                    <a:tint val="75000"/>
                  </a:prstClr>
                </a:solidFill>
                <a:latin typeface="Calibri Light"/>
              </a:endParaRPr>
            </a:p>
          </p:txBody>
        </p:sp>
        <p:sp>
          <p:nvSpPr>
            <p:cNvPr id="119" name="Rectangle: Rounded Corners 118">
              <a:extLst>
                <a:ext uri="{FF2B5EF4-FFF2-40B4-BE49-F238E27FC236}">
                  <a16:creationId xmlns:a16="http://schemas.microsoft.com/office/drawing/2014/main" id="{A31B6B7F-B442-478B-AC83-5877659C504E}"/>
                </a:ext>
              </a:extLst>
            </p:cNvPr>
            <p:cNvSpPr/>
            <p:nvPr/>
          </p:nvSpPr>
          <p:spPr>
            <a:xfrm>
              <a:off x="628650" y="1951264"/>
              <a:ext cx="1951265" cy="3145971"/>
            </a:xfrm>
            <a:prstGeom prst="roundRect">
              <a:avLst>
                <a:gd name="adj" fmla="val 4952"/>
              </a:avLst>
            </a:prstGeom>
            <a:solidFill>
              <a:schemeClr val="accent2">
                <a:lumMod val="40000"/>
                <a:lumOff val="60000"/>
              </a:scheme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20" name="Rectangle: Rounded Corners 119">
              <a:extLst>
                <a:ext uri="{FF2B5EF4-FFF2-40B4-BE49-F238E27FC236}">
                  <a16:creationId xmlns:a16="http://schemas.microsoft.com/office/drawing/2014/main" id="{755AABF3-A803-4326-BD1C-065642A1AA83}"/>
                </a:ext>
              </a:extLst>
            </p:cNvPr>
            <p:cNvSpPr/>
            <p:nvPr/>
          </p:nvSpPr>
          <p:spPr>
            <a:xfrm>
              <a:off x="3596368" y="1951264"/>
              <a:ext cx="1951265" cy="3145971"/>
            </a:xfrm>
            <a:prstGeom prst="roundRect">
              <a:avLst>
                <a:gd name="adj" fmla="val 4952"/>
              </a:avLst>
            </a:prstGeom>
            <a:solidFill>
              <a:schemeClr val="accent3">
                <a:lumMod val="40000"/>
                <a:lumOff val="60000"/>
              </a:scheme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21" name="Rectangle: Rounded Corners 120">
              <a:extLst>
                <a:ext uri="{FF2B5EF4-FFF2-40B4-BE49-F238E27FC236}">
                  <a16:creationId xmlns:a16="http://schemas.microsoft.com/office/drawing/2014/main" id="{51F48CB3-9A91-4CD8-BAB4-372731EF5FB1}"/>
                </a:ext>
              </a:extLst>
            </p:cNvPr>
            <p:cNvSpPr/>
            <p:nvPr/>
          </p:nvSpPr>
          <p:spPr>
            <a:xfrm>
              <a:off x="6564085" y="1951264"/>
              <a:ext cx="1951265" cy="3145971"/>
            </a:xfrm>
            <a:prstGeom prst="roundRect">
              <a:avLst>
                <a:gd name="adj" fmla="val 4952"/>
              </a:avLst>
            </a:prstGeom>
            <a:solidFill>
              <a:schemeClr val="accent1">
                <a:lumMod val="40000"/>
                <a:lumOff val="60000"/>
              </a:scheme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grpSp>
          <p:nvGrpSpPr>
            <p:cNvPr id="122" name="Group 121">
              <a:extLst>
                <a:ext uri="{FF2B5EF4-FFF2-40B4-BE49-F238E27FC236}">
                  <a16:creationId xmlns:a16="http://schemas.microsoft.com/office/drawing/2014/main" id="{1D5F4261-1706-4F0E-8267-369D57C1FB88}"/>
                </a:ext>
              </a:extLst>
            </p:cNvPr>
            <p:cNvGrpSpPr/>
            <p:nvPr/>
          </p:nvGrpSpPr>
          <p:grpSpPr>
            <a:xfrm>
              <a:off x="2875574" y="3333082"/>
              <a:ext cx="425135" cy="382335"/>
              <a:chOff x="4854484" y="5910272"/>
              <a:chExt cx="283864" cy="255286"/>
            </a:xfrm>
            <a:solidFill>
              <a:srgbClr val="44546A"/>
            </a:solidFill>
          </p:grpSpPr>
          <p:sp>
            <p:nvSpPr>
              <p:cNvPr id="123" name="Freeform 251">
                <a:extLst>
                  <a:ext uri="{FF2B5EF4-FFF2-40B4-BE49-F238E27FC236}">
                    <a16:creationId xmlns:a16="http://schemas.microsoft.com/office/drawing/2014/main" id="{0C8CED70-9586-4725-ABB9-23097BB29906}"/>
                  </a:ext>
                </a:extLst>
              </p:cNvPr>
              <p:cNvSpPr>
                <a:spLocks/>
              </p:cNvSpPr>
              <p:nvPr/>
            </p:nvSpPr>
            <p:spPr bwMode="auto">
              <a:xfrm>
                <a:off x="4854484" y="5910272"/>
                <a:ext cx="165746" cy="255286"/>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sp>
            <p:nvSpPr>
              <p:cNvPr id="124" name="Freeform 252">
                <a:extLst>
                  <a:ext uri="{FF2B5EF4-FFF2-40B4-BE49-F238E27FC236}">
                    <a16:creationId xmlns:a16="http://schemas.microsoft.com/office/drawing/2014/main" id="{0F01F1D5-7465-4E64-9CCB-5C815BD8B5EC}"/>
                  </a:ext>
                </a:extLst>
              </p:cNvPr>
              <p:cNvSpPr>
                <a:spLocks/>
              </p:cNvSpPr>
              <p:nvPr/>
            </p:nvSpPr>
            <p:spPr bwMode="auto">
              <a:xfrm>
                <a:off x="4972602" y="5910272"/>
                <a:ext cx="165746" cy="255286"/>
              </a:xfrm>
              <a:custGeom>
                <a:avLst/>
                <a:gdLst>
                  <a:gd name="T0" fmla="*/ 344 w 348"/>
                  <a:gd name="T1" fmla="*/ 260 h 535"/>
                  <a:gd name="T2" fmla="*/ 86 w 348"/>
                  <a:gd name="T3" fmla="*/ 2 h 535"/>
                  <a:gd name="T4" fmla="*/ 83 w 348"/>
                  <a:gd name="T5" fmla="*/ 0 h 535"/>
                  <a:gd name="T6" fmla="*/ 80 w 348"/>
                  <a:gd name="T7" fmla="*/ 0 h 535"/>
                  <a:gd name="T8" fmla="*/ 75 w 348"/>
                  <a:gd name="T9" fmla="*/ 0 h 535"/>
                  <a:gd name="T10" fmla="*/ 72 w 348"/>
                  <a:gd name="T11" fmla="*/ 2 h 535"/>
                  <a:gd name="T12" fmla="*/ 3 w 348"/>
                  <a:gd name="T13" fmla="*/ 72 h 535"/>
                  <a:gd name="T14" fmla="*/ 1 w 348"/>
                  <a:gd name="T15" fmla="*/ 75 h 535"/>
                  <a:gd name="T16" fmla="*/ 0 w 348"/>
                  <a:gd name="T17" fmla="*/ 79 h 535"/>
                  <a:gd name="T18" fmla="*/ 1 w 348"/>
                  <a:gd name="T19" fmla="*/ 83 h 535"/>
                  <a:gd name="T20" fmla="*/ 3 w 348"/>
                  <a:gd name="T21" fmla="*/ 86 h 535"/>
                  <a:gd name="T22" fmla="*/ 185 w 348"/>
                  <a:gd name="T23" fmla="*/ 268 h 535"/>
                  <a:gd name="T24" fmla="*/ 3 w 348"/>
                  <a:gd name="T25" fmla="*/ 449 h 535"/>
                  <a:gd name="T26" fmla="*/ 1 w 348"/>
                  <a:gd name="T27" fmla="*/ 452 h 535"/>
                  <a:gd name="T28" fmla="*/ 0 w 348"/>
                  <a:gd name="T29" fmla="*/ 457 h 535"/>
                  <a:gd name="T30" fmla="*/ 1 w 348"/>
                  <a:gd name="T31" fmla="*/ 460 h 535"/>
                  <a:gd name="T32" fmla="*/ 3 w 348"/>
                  <a:gd name="T33" fmla="*/ 463 h 535"/>
                  <a:gd name="T34" fmla="*/ 72 w 348"/>
                  <a:gd name="T35" fmla="*/ 532 h 535"/>
                  <a:gd name="T36" fmla="*/ 75 w 348"/>
                  <a:gd name="T37" fmla="*/ 534 h 535"/>
                  <a:gd name="T38" fmla="*/ 80 w 348"/>
                  <a:gd name="T39" fmla="*/ 535 h 535"/>
                  <a:gd name="T40" fmla="*/ 83 w 348"/>
                  <a:gd name="T41" fmla="*/ 534 h 535"/>
                  <a:gd name="T42" fmla="*/ 86 w 348"/>
                  <a:gd name="T43" fmla="*/ 533 h 535"/>
                  <a:gd name="T44" fmla="*/ 344 w 348"/>
                  <a:gd name="T45" fmla="*/ 274 h 535"/>
                  <a:gd name="T46" fmla="*/ 347 w 348"/>
                  <a:gd name="T47" fmla="*/ 271 h 535"/>
                  <a:gd name="T48" fmla="*/ 348 w 348"/>
                  <a:gd name="T49" fmla="*/ 268 h 535"/>
                  <a:gd name="T50" fmla="*/ 347 w 348"/>
                  <a:gd name="T51" fmla="*/ 263 h 535"/>
                  <a:gd name="T52" fmla="*/ 344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4" y="260"/>
                    </a:moveTo>
                    <a:lnTo>
                      <a:pt x="86" y="2"/>
                    </a:lnTo>
                    <a:lnTo>
                      <a:pt x="83" y="0"/>
                    </a:lnTo>
                    <a:lnTo>
                      <a:pt x="80" y="0"/>
                    </a:lnTo>
                    <a:lnTo>
                      <a:pt x="75" y="0"/>
                    </a:lnTo>
                    <a:lnTo>
                      <a:pt x="72" y="2"/>
                    </a:lnTo>
                    <a:lnTo>
                      <a:pt x="3" y="72"/>
                    </a:lnTo>
                    <a:lnTo>
                      <a:pt x="1" y="75"/>
                    </a:lnTo>
                    <a:lnTo>
                      <a:pt x="0" y="79"/>
                    </a:lnTo>
                    <a:lnTo>
                      <a:pt x="1" y="83"/>
                    </a:lnTo>
                    <a:lnTo>
                      <a:pt x="3" y="86"/>
                    </a:lnTo>
                    <a:lnTo>
                      <a:pt x="185" y="268"/>
                    </a:lnTo>
                    <a:lnTo>
                      <a:pt x="3" y="449"/>
                    </a:lnTo>
                    <a:lnTo>
                      <a:pt x="1" y="452"/>
                    </a:lnTo>
                    <a:lnTo>
                      <a:pt x="0" y="457"/>
                    </a:lnTo>
                    <a:lnTo>
                      <a:pt x="1" y="460"/>
                    </a:lnTo>
                    <a:lnTo>
                      <a:pt x="3" y="463"/>
                    </a:lnTo>
                    <a:lnTo>
                      <a:pt x="72" y="532"/>
                    </a:lnTo>
                    <a:lnTo>
                      <a:pt x="75" y="534"/>
                    </a:lnTo>
                    <a:lnTo>
                      <a:pt x="80" y="535"/>
                    </a:lnTo>
                    <a:lnTo>
                      <a:pt x="83" y="534"/>
                    </a:lnTo>
                    <a:lnTo>
                      <a:pt x="86" y="533"/>
                    </a:lnTo>
                    <a:lnTo>
                      <a:pt x="344" y="274"/>
                    </a:lnTo>
                    <a:lnTo>
                      <a:pt x="347" y="271"/>
                    </a:lnTo>
                    <a:lnTo>
                      <a:pt x="348" y="268"/>
                    </a:lnTo>
                    <a:lnTo>
                      <a:pt x="347" y="263"/>
                    </a:lnTo>
                    <a:lnTo>
                      <a:pt x="344"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grpSp>
        <p:grpSp>
          <p:nvGrpSpPr>
            <p:cNvPr id="125" name="Group 124">
              <a:extLst>
                <a:ext uri="{FF2B5EF4-FFF2-40B4-BE49-F238E27FC236}">
                  <a16:creationId xmlns:a16="http://schemas.microsoft.com/office/drawing/2014/main" id="{819BCB2C-2594-4246-AF1C-54887570D1B2}"/>
                </a:ext>
              </a:extLst>
            </p:cNvPr>
            <p:cNvGrpSpPr/>
            <p:nvPr/>
          </p:nvGrpSpPr>
          <p:grpSpPr>
            <a:xfrm>
              <a:off x="5843292" y="3333082"/>
              <a:ext cx="425135" cy="382335"/>
              <a:chOff x="4854484" y="5910272"/>
              <a:chExt cx="283864" cy="255286"/>
            </a:xfrm>
            <a:solidFill>
              <a:srgbClr val="44546A"/>
            </a:solidFill>
          </p:grpSpPr>
          <p:sp>
            <p:nvSpPr>
              <p:cNvPr id="126" name="Freeform 251">
                <a:extLst>
                  <a:ext uri="{FF2B5EF4-FFF2-40B4-BE49-F238E27FC236}">
                    <a16:creationId xmlns:a16="http://schemas.microsoft.com/office/drawing/2014/main" id="{B4AFA590-489D-461F-87B5-31AA21C9CA6E}"/>
                  </a:ext>
                </a:extLst>
              </p:cNvPr>
              <p:cNvSpPr>
                <a:spLocks/>
              </p:cNvSpPr>
              <p:nvPr/>
            </p:nvSpPr>
            <p:spPr bwMode="auto">
              <a:xfrm>
                <a:off x="4854484" y="5910272"/>
                <a:ext cx="165746" cy="255286"/>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sp>
            <p:nvSpPr>
              <p:cNvPr id="127" name="Freeform 252">
                <a:extLst>
                  <a:ext uri="{FF2B5EF4-FFF2-40B4-BE49-F238E27FC236}">
                    <a16:creationId xmlns:a16="http://schemas.microsoft.com/office/drawing/2014/main" id="{686E9970-8B1D-4D78-8BC4-D6A0633DF381}"/>
                  </a:ext>
                </a:extLst>
              </p:cNvPr>
              <p:cNvSpPr>
                <a:spLocks/>
              </p:cNvSpPr>
              <p:nvPr/>
            </p:nvSpPr>
            <p:spPr bwMode="auto">
              <a:xfrm>
                <a:off x="4972602" y="5910272"/>
                <a:ext cx="165746" cy="255286"/>
              </a:xfrm>
              <a:custGeom>
                <a:avLst/>
                <a:gdLst>
                  <a:gd name="T0" fmla="*/ 344 w 348"/>
                  <a:gd name="T1" fmla="*/ 260 h 535"/>
                  <a:gd name="T2" fmla="*/ 86 w 348"/>
                  <a:gd name="T3" fmla="*/ 2 h 535"/>
                  <a:gd name="T4" fmla="*/ 83 w 348"/>
                  <a:gd name="T5" fmla="*/ 0 h 535"/>
                  <a:gd name="T6" fmla="*/ 80 w 348"/>
                  <a:gd name="T7" fmla="*/ 0 h 535"/>
                  <a:gd name="T8" fmla="*/ 75 w 348"/>
                  <a:gd name="T9" fmla="*/ 0 h 535"/>
                  <a:gd name="T10" fmla="*/ 72 w 348"/>
                  <a:gd name="T11" fmla="*/ 2 h 535"/>
                  <a:gd name="T12" fmla="*/ 3 w 348"/>
                  <a:gd name="T13" fmla="*/ 72 h 535"/>
                  <a:gd name="T14" fmla="*/ 1 w 348"/>
                  <a:gd name="T15" fmla="*/ 75 h 535"/>
                  <a:gd name="T16" fmla="*/ 0 w 348"/>
                  <a:gd name="T17" fmla="*/ 79 h 535"/>
                  <a:gd name="T18" fmla="*/ 1 w 348"/>
                  <a:gd name="T19" fmla="*/ 83 h 535"/>
                  <a:gd name="T20" fmla="*/ 3 w 348"/>
                  <a:gd name="T21" fmla="*/ 86 h 535"/>
                  <a:gd name="T22" fmla="*/ 185 w 348"/>
                  <a:gd name="T23" fmla="*/ 268 h 535"/>
                  <a:gd name="T24" fmla="*/ 3 w 348"/>
                  <a:gd name="T25" fmla="*/ 449 h 535"/>
                  <a:gd name="T26" fmla="*/ 1 w 348"/>
                  <a:gd name="T27" fmla="*/ 452 h 535"/>
                  <a:gd name="T28" fmla="*/ 0 w 348"/>
                  <a:gd name="T29" fmla="*/ 457 h 535"/>
                  <a:gd name="T30" fmla="*/ 1 w 348"/>
                  <a:gd name="T31" fmla="*/ 460 h 535"/>
                  <a:gd name="T32" fmla="*/ 3 w 348"/>
                  <a:gd name="T33" fmla="*/ 463 h 535"/>
                  <a:gd name="T34" fmla="*/ 72 w 348"/>
                  <a:gd name="T35" fmla="*/ 532 h 535"/>
                  <a:gd name="T36" fmla="*/ 75 w 348"/>
                  <a:gd name="T37" fmla="*/ 534 h 535"/>
                  <a:gd name="T38" fmla="*/ 80 w 348"/>
                  <a:gd name="T39" fmla="*/ 535 h 535"/>
                  <a:gd name="T40" fmla="*/ 83 w 348"/>
                  <a:gd name="T41" fmla="*/ 534 h 535"/>
                  <a:gd name="T42" fmla="*/ 86 w 348"/>
                  <a:gd name="T43" fmla="*/ 533 h 535"/>
                  <a:gd name="T44" fmla="*/ 344 w 348"/>
                  <a:gd name="T45" fmla="*/ 274 h 535"/>
                  <a:gd name="T46" fmla="*/ 347 w 348"/>
                  <a:gd name="T47" fmla="*/ 271 h 535"/>
                  <a:gd name="T48" fmla="*/ 348 w 348"/>
                  <a:gd name="T49" fmla="*/ 268 h 535"/>
                  <a:gd name="T50" fmla="*/ 347 w 348"/>
                  <a:gd name="T51" fmla="*/ 263 h 535"/>
                  <a:gd name="T52" fmla="*/ 344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4" y="260"/>
                    </a:moveTo>
                    <a:lnTo>
                      <a:pt x="86" y="2"/>
                    </a:lnTo>
                    <a:lnTo>
                      <a:pt x="83" y="0"/>
                    </a:lnTo>
                    <a:lnTo>
                      <a:pt x="80" y="0"/>
                    </a:lnTo>
                    <a:lnTo>
                      <a:pt x="75" y="0"/>
                    </a:lnTo>
                    <a:lnTo>
                      <a:pt x="72" y="2"/>
                    </a:lnTo>
                    <a:lnTo>
                      <a:pt x="3" y="72"/>
                    </a:lnTo>
                    <a:lnTo>
                      <a:pt x="1" y="75"/>
                    </a:lnTo>
                    <a:lnTo>
                      <a:pt x="0" y="79"/>
                    </a:lnTo>
                    <a:lnTo>
                      <a:pt x="1" y="83"/>
                    </a:lnTo>
                    <a:lnTo>
                      <a:pt x="3" y="86"/>
                    </a:lnTo>
                    <a:lnTo>
                      <a:pt x="185" y="268"/>
                    </a:lnTo>
                    <a:lnTo>
                      <a:pt x="3" y="449"/>
                    </a:lnTo>
                    <a:lnTo>
                      <a:pt x="1" y="452"/>
                    </a:lnTo>
                    <a:lnTo>
                      <a:pt x="0" y="457"/>
                    </a:lnTo>
                    <a:lnTo>
                      <a:pt x="1" y="460"/>
                    </a:lnTo>
                    <a:lnTo>
                      <a:pt x="3" y="463"/>
                    </a:lnTo>
                    <a:lnTo>
                      <a:pt x="72" y="532"/>
                    </a:lnTo>
                    <a:lnTo>
                      <a:pt x="75" y="534"/>
                    </a:lnTo>
                    <a:lnTo>
                      <a:pt x="80" y="535"/>
                    </a:lnTo>
                    <a:lnTo>
                      <a:pt x="83" y="534"/>
                    </a:lnTo>
                    <a:lnTo>
                      <a:pt x="86" y="533"/>
                    </a:lnTo>
                    <a:lnTo>
                      <a:pt x="344" y="274"/>
                    </a:lnTo>
                    <a:lnTo>
                      <a:pt x="347" y="271"/>
                    </a:lnTo>
                    <a:lnTo>
                      <a:pt x="348" y="268"/>
                    </a:lnTo>
                    <a:lnTo>
                      <a:pt x="347" y="263"/>
                    </a:lnTo>
                    <a:lnTo>
                      <a:pt x="344"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grpSp>
        <p:sp>
          <p:nvSpPr>
            <p:cNvPr id="137" name="TextBox 136">
              <a:extLst>
                <a:ext uri="{FF2B5EF4-FFF2-40B4-BE49-F238E27FC236}">
                  <a16:creationId xmlns:a16="http://schemas.microsoft.com/office/drawing/2014/main" id="{BD72369C-B18A-43FF-AFFB-FB7B6C1A5ABC}"/>
                </a:ext>
              </a:extLst>
            </p:cNvPr>
            <p:cNvSpPr txBox="1"/>
            <p:nvPr/>
          </p:nvSpPr>
          <p:spPr>
            <a:xfrm>
              <a:off x="861604" y="3340228"/>
              <a:ext cx="1500596" cy="509579"/>
            </a:xfrm>
            <a:prstGeom prst="rect">
              <a:avLst/>
            </a:prstGeom>
            <a:noFill/>
          </p:spPr>
          <p:txBody>
            <a:bodyPr wrap="square" lIns="0" tIns="0" rIns="0" bIns="0" rtlCol="0" anchor="ctr">
              <a:spAutoFit/>
            </a:bodyPr>
            <a:lstStyle/>
            <a:p>
              <a:pPr algn="ctr" defTabSz="685800"/>
              <a:r>
                <a:rPr lang="en-US" sz="1050" dirty="0">
                  <a:latin typeface="Calibri Light"/>
                </a:rPr>
                <a:t>Number of adults and children newly enrolled on antiretroviral therapy (ART) </a:t>
              </a:r>
            </a:p>
          </p:txBody>
        </p:sp>
        <p:sp>
          <p:nvSpPr>
            <p:cNvPr id="138" name="TextBox 137">
              <a:extLst>
                <a:ext uri="{FF2B5EF4-FFF2-40B4-BE49-F238E27FC236}">
                  <a16:creationId xmlns:a16="http://schemas.microsoft.com/office/drawing/2014/main" id="{29087046-24DC-401B-97BD-14EADBFCDAAD}"/>
                </a:ext>
              </a:extLst>
            </p:cNvPr>
            <p:cNvSpPr txBox="1"/>
            <p:nvPr/>
          </p:nvSpPr>
          <p:spPr>
            <a:xfrm>
              <a:off x="853984" y="2277218"/>
              <a:ext cx="1500596" cy="291188"/>
            </a:xfrm>
            <a:prstGeom prst="rect">
              <a:avLst/>
            </a:prstGeom>
            <a:noFill/>
          </p:spPr>
          <p:txBody>
            <a:bodyPr wrap="square" lIns="0" tIns="0" rIns="0" bIns="0" rtlCol="0" anchor="ctr">
              <a:spAutoFit/>
            </a:bodyPr>
            <a:lstStyle/>
            <a:p>
              <a:pPr algn="ctr" defTabSz="685800"/>
              <a:r>
                <a:rPr lang="en-US" b="1" dirty="0">
                  <a:latin typeface="Calibri Light"/>
                </a:rPr>
                <a:t>DESCRIPTION</a:t>
              </a:r>
            </a:p>
          </p:txBody>
        </p:sp>
        <p:sp>
          <p:nvSpPr>
            <p:cNvPr id="144" name="TextBox 143">
              <a:extLst>
                <a:ext uri="{FF2B5EF4-FFF2-40B4-BE49-F238E27FC236}">
                  <a16:creationId xmlns:a16="http://schemas.microsoft.com/office/drawing/2014/main" id="{C75D3502-2084-4D34-B7F6-EC24A147A540}"/>
                </a:ext>
              </a:extLst>
            </p:cNvPr>
            <p:cNvSpPr txBox="1"/>
            <p:nvPr/>
          </p:nvSpPr>
          <p:spPr>
            <a:xfrm>
              <a:off x="3681349" y="3260347"/>
              <a:ext cx="1794069" cy="509579"/>
            </a:xfrm>
            <a:prstGeom prst="rect">
              <a:avLst/>
            </a:prstGeom>
            <a:noFill/>
            <a:ln>
              <a:noFill/>
            </a:ln>
          </p:spPr>
          <p:txBody>
            <a:bodyPr wrap="square" lIns="0" tIns="0" rIns="0" bIns="0" rtlCol="0" anchor="ctr">
              <a:spAutoFit/>
            </a:bodyPr>
            <a:lstStyle/>
            <a:p>
              <a:pPr algn="ctr" defTabSz="685800"/>
              <a:r>
                <a:rPr lang="en-US" sz="1050" dirty="0">
                  <a:latin typeface="Calibri Light"/>
                </a:rPr>
                <a:t>Number of adults and children newly enrolled on antiretroviral therapy (ART)</a:t>
              </a:r>
            </a:p>
          </p:txBody>
        </p:sp>
        <p:sp>
          <p:nvSpPr>
            <p:cNvPr id="145" name="TextBox 144">
              <a:extLst>
                <a:ext uri="{FF2B5EF4-FFF2-40B4-BE49-F238E27FC236}">
                  <a16:creationId xmlns:a16="http://schemas.microsoft.com/office/drawing/2014/main" id="{4229BB9B-1E9C-4794-BD7E-31916C0D2655}"/>
                </a:ext>
              </a:extLst>
            </p:cNvPr>
            <p:cNvSpPr txBox="1"/>
            <p:nvPr/>
          </p:nvSpPr>
          <p:spPr>
            <a:xfrm>
              <a:off x="3698128" y="2257667"/>
              <a:ext cx="1729828" cy="291188"/>
            </a:xfrm>
            <a:prstGeom prst="rect">
              <a:avLst/>
            </a:prstGeom>
            <a:noFill/>
          </p:spPr>
          <p:txBody>
            <a:bodyPr wrap="square" lIns="0" tIns="0" rIns="0" bIns="0" rtlCol="0" anchor="ctr">
              <a:spAutoFit/>
            </a:bodyPr>
            <a:lstStyle/>
            <a:p>
              <a:pPr algn="ctr" defTabSz="685800"/>
              <a:r>
                <a:rPr lang="en-US" b="1" dirty="0">
                  <a:latin typeface="Calibri Light"/>
                </a:rPr>
                <a:t>NUMERATOR</a:t>
              </a:r>
            </a:p>
          </p:txBody>
        </p:sp>
        <p:sp>
          <p:nvSpPr>
            <p:cNvPr id="150" name="TextBox 149">
              <a:extLst>
                <a:ext uri="{FF2B5EF4-FFF2-40B4-BE49-F238E27FC236}">
                  <a16:creationId xmlns:a16="http://schemas.microsoft.com/office/drawing/2014/main" id="{A432B2BB-4C21-4AF1-9B8E-A30EC8F9E140}"/>
                </a:ext>
              </a:extLst>
            </p:cNvPr>
            <p:cNvSpPr txBox="1"/>
            <p:nvPr/>
          </p:nvSpPr>
          <p:spPr>
            <a:xfrm>
              <a:off x="6808655" y="3231636"/>
              <a:ext cx="1500596" cy="679438"/>
            </a:xfrm>
            <a:prstGeom prst="rect">
              <a:avLst/>
            </a:prstGeom>
            <a:noFill/>
          </p:spPr>
          <p:txBody>
            <a:bodyPr wrap="square" lIns="0" tIns="0" rIns="0" bIns="0" rtlCol="0" anchor="ctr">
              <a:spAutoFit/>
            </a:bodyPr>
            <a:lstStyle/>
            <a:p>
              <a:pPr marL="171450" indent="-171450" defTabSz="685800">
                <a:buFont typeface="Arial" panose="020B0604020202020204" pitchFamily="34" charset="0"/>
                <a:buChar char="•"/>
              </a:pPr>
              <a:r>
                <a:rPr lang="en-US" sz="1050" dirty="0">
                  <a:latin typeface="Calibri Light"/>
                </a:rPr>
                <a:t>National Data Repository (NDR)</a:t>
              </a:r>
            </a:p>
            <a:p>
              <a:pPr marL="171450" indent="-171450" defTabSz="685800">
                <a:buFont typeface="Arial" panose="020B0604020202020204" pitchFamily="34" charset="0"/>
                <a:buChar char="•"/>
              </a:pPr>
              <a:r>
                <a:rPr lang="en-US" sz="1050" dirty="0" err="1">
                  <a:latin typeface="Calibri Light"/>
                </a:rPr>
                <a:t>NigeriaMRS</a:t>
              </a:r>
              <a:endParaRPr lang="en-US" sz="1050" dirty="0">
                <a:latin typeface="Calibri Light"/>
              </a:endParaRPr>
            </a:p>
            <a:p>
              <a:pPr marL="171450" indent="-171450" defTabSz="685800">
                <a:buFont typeface="Arial" panose="020B0604020202020204" pitchFamily="34" charset="0"/>
                <a:buChar char="•"/>
              </a:pPr>
              <a:r>
                <a:rPr lang="en-US" sz="1050" dirty="0">
                  <a:latin typeface="Calibri Light"/>
                </a:rPr>
                <a:t>ART Register</a:t>
              </a:r>
            </a:p>
          </p:txBody>
        </p:sp>
        <p:sp>
          <p:nvSpPr>
            <p:cNvPr id="151" name="TextBox 150">
              <a:extLst>
                <a:ext uri="{FF2B5EF4-FFF2-40B4-BE49-F238E27FC236}">
                  <a16:creationId xmlns:a16="http://schemas.microsoft.com/office/drawing/2014/main" id="{269059BD-5BEF-4B22-9D87-AC985C86C7EA}"/>
                </a:ext>
              </a:extLst>
            </p:cNvPr>
            <p:cNvSpPr txBox="1"/>
            <p:nvPr/>
          </p:nvSpPr>
          <p:spPr>
            <a:xfrm>
              <a:off x="6789420" y="2277218"/>
              <a:ext cx="1500596" cy="291188"/>
            </a:xfrm>
            <a:prstGeom prst="rect">
              <a:avLst/>
            </a:prstGeom>
            <a:noFill/>
          </p:spPr>
          <p:txBody>
            <a:bodyPr wrap="square" lIns="0" tIns="0" rIns="0" bIns="0" rtlCol="0" anchor="ctr">
              <a:spAutoFit/>
            </a:bodyPr>
            <a:lstStyle/>
            <a:p>
              <a:pPr algn="ctr" defTabSz="685800"/>
              <a:r>
                <a:rPr lang="en-US" b="1" dirty="0">
                  <a:latin typeface="Calibri Light"/>
                </a:rPr>
                <a:t>DATA SOURCE</a:t>
              </a:r>
            </a:p>
          </p:txBody>
        </p:sp>
      </p:grpSp>
    </p:spTree>
    <p:extLst>
      <p:ext uri="{BB962C8B-B14F-4D97-AF65-F5344CB8AC3E}">
        <p14:creationId xmlns:p14="http://schemas.microsoft.com/office/powerpoint/2010/main" val="367866731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TextBox 133">
            <a:extLst>
              <a:ext uri="{FF2B5EF4-FFF2-40B4-BE49-F238E27FC236}">
                <a16:creationId xmlns:a16="http://schemas.microsoft.com/office/drawing/2014/main" id="{86E6788C-76AA-43BC-8B7F-196C83841096}"/>
              </a:ext>
            </a:extLst>
          </p:cNvPr>
          <p:cNvSpPr txBox="1"/>
          <p:nvPr/>
        </p:nvSpPr>
        <p:spPr>
          <a:xfrm>
            <a:off x="1847850" y="463992"/>
            <a:ext cx="8496300" cy="553998"/>
          </a:xfrm>
          <a:prstGeom prst="rect">
            <a:avLst/>
          </a:prstGeom>
          <a:noFill/>
        </p:spPr>
        <p:txBody>
          <a:bodyPr wrap="square" lIns="0" tIns="0" rIns="0" bIns="0" rtlCol="0" anchor="t">
            <a:spAutoFit/>
          </a:bodyPr>
          <a:lstStyle/>
          <a:p>
            <a:pPr algn="ctr" defTabSz="685800"/>
            <a:r>
              <a:rPr lang="en-US" sz="3600" dirty="0">
                <a:latin typeface="Corbel" panose="020B0503020204020204"/>
              </a:rPr>
              <a:t>TX_NEW</a:t>
            </a:r>
          </a:p>
        </p:txBody>
      </p:sp>
      <p:grpSp>
        <p:nvGrpSpPr>
          <p:cNvPr id="2" name="Group 1">
            <a:extLst>
              <a:ext uri="{FF2B5EF4-FFF2-40B4-BE49-F238E27FC236}">
                <a16:creationId xmlns:a16="http://schemas.microsoft.com/office/drawing/2014/main" id="{11383E8B-A9F5-4C59-A67A-3554539F5B7A}"/>
              </a:ext>
            </a:extLst>
          </p:cNvPr>
          <p:cNvGrpSpPr/>
          <p:nvPr/>
        </p:nvGrpSpPr>
        <p:grpSpPr>
          <a:xfrm>
            <a:off x="1524001" y="1143000"/>
            <a:ext cx="9144001" cy="5578476"/>
            <a:chOff x="0" y="857250"/>
            <a:chExt cx="9144001" cy="5864226"/>
          </a:xfrm>
        </p:grpSpPr>
        <p:sp>
          <p:nvSpPr>
            <p:cNvPr id="98" name="Rectangle 97">
              <a:extLst>
                <a:ext uri="{FF2B5EF4-FFF2-40B4-BE49-F238E27FC236}">
                  <a16:creationId xmlns:a16="http://schemas.microsoft.com/office/drawing/2014/main" id="{84CAA34D-CD75-45C6-B39E-7C242EB87261}"/>
                </a:ext>
              </a:extLst>
            </p:cNvPr>
            <p:cNvSpPr/>
            <p:nvPr/>
          </p:nvSpPr>
          <p:spPr>
            <a:xfrm>
              <a:off x="1" y="2871107"/>
              <a:ext cx="9144000" cy="1306286"/>
            </a:xfrm>
            <a:prstGeom prst="rect">
              <a:avLst/>
            </a:prstGeom>
            <a:solidFill>
              <a:srgbClr val="E7E6E6"/>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99" name="Rectangle: Rounded Corners 98">
              <a:extLst>
                <a:ext uri="{FF2B5EF4-FFF2-40B4-BE49-F238E27FC236}">
                  <a16:creationId xmlns:a16="http://schemas.microsoft.com/office/drawing/2014/main" id="{B79F2794-CAB0-4CBC-A170-CA7853D4B5E7}"/>
                </a:ext>
              </a:extLst>
            </p:cNvPr>
            <p:cNvSpPr/>
            <p:nvPr/>
          </p:nvSpPr>
          <p:spPr>
            <a:xfrm>
              <a:off x="3652410" y="2015558"/>
              <a:ext cx="1951265" cy="3145971"/>
            </a:xfrm>
            <a:prstGeom prst="roundRect">
              <a:avLst>
                <a:gd name="adj" fmla="val 4952"/>
              </a:avLst>
            </a:prstGeom>
            <a:solidFill>
              <a:sysClr val="window" lastClr="FFFFFF">
                <a:lumMod val="65000"/>
              </a:sys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00" name="Rectangle: Rounded Corners 99">
              <a:extLst>
                <a:ext uri="{FF2B5EF4-FFF2-40B4-BE49-F238E27FC236}">
                  <a16:creationId xmlns:a16="http://schemas.microsoft.com/office/drawing/2014/main" id="{624C18DD-A9DF-4469-A7B6-6C9AAA2D41F4}"/>
                </a:ext>
              </a:extLst>
            </p:cNvPr>
            <p:cNvSpPr/>
            <p:nvPr/>
          </p:nvSpPr>
          <p:spPr>
            <a:xfrm>
              <a:off x="6625597" y="2015558"/>
              <a:ext cx="1951265" cy="3145971"/>
            </a:xfrm>
            <a:prstGeom prst="roundRect">
              <a:avLst>
                <a:gd name="adj" fmla="val 4952"/>
              </a:avLst>
            </a:prstGeom>
            <a:solidFill>
              <a:sysClr val="window" lastClr="FFFFFF">
                <a:lumMod val="65000"/>
              </a:sys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01" name="Rectangle: Rounded Corners 100">
              <a:extLst>
                <a:ext uri="{FF2B5EF4-FFF2-40B4-BE49-F238E27FC236}">
                  <a16:creationId xmlns:a16="http://schemas.microsoft.com/office/drawing/2014/main" id="{F503AF90-BD38-48FC-8812-4FA3F25DB0E6}"/>
                </a:ext>
              </a:extLst>
            </p:cNvPr>
            <p:cNvSpPr/>
            <p:nvPr/>
          </p:nvSpPr>
          <p:spPr>
            <a:xfrm>
              <a:off x="685800" y="2015558"/>
              <a:ext cx="1951265" cy="3145971"/>
            </a:xfrm>
            <a:prstGeom prst="roundRect">
              <a:avLst>
                <a:gd name="adj" fmla="val 4952"/>
              </a:avLst>
            </a:prstGeom>
            <a:solidFill>
              <a:sysClr val="window" lastClr="FFFFFF">
                <a:lumMod val="65000"/>
              </a:sys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02" name="Frame 101">
              <a:extLst>
                <a:ext uri="{FF2B5EF4-FFF2-40B4-BE49-F238E27FC236}">
                  <a16:creationId xmlns:a16="http://schemas.microsoft.com/office/drawing/2014/main" id="{530C96A5-18F8-41CE-8FBF-056A3D32634C}"/>
                </a:ext>
              </a:extLst>
            </p:cNvPr>
            <p:cNvSpPr/>
            <p:nvPr/>
          </p:nvSpPr>
          <p:spPr>
            <a:xfrm>
              <a:off x="0" y="857250"/>
              <a:ext cx="9144000" cy="5143500"/>
            </a:xfrm>
            <a:prstGeom prst="frame">
              <a:avLst>
                <a:gd name="adj1" fmla="val 1053"/>
              </a:avLst>
            </a:prstGeom>
            <a:solidFill>
              <a:srgbClr val="44546A">
                <a:lumMod val="40000"/>
                <a:lumOff val="60000"/>
              </a:srgbClr>
            </a:solidFill>
            <a:ln w="12700" cap="flat" cmpd="sng" algn="ctr">
              <a:noFill/>
              <a:prstDash val="solid"/>
              <a:miter lim="800000"/>
            </a:ln>
            <a:effectLst/>
          </p:spPr>
          <p:txBody>
            <a:bodyPr rtlCol="0" anchor="ctr"/>
            <a:lstStyle/>
            <a:p>
              <a:pPr algn="ctr" defTabSz="685800">
                <a:defRPr/>
              </a:pPr>
              <a:endParaRPr lang="en-US" sz="1350" kern="0">
                <a:solidFill>
                  <a:prstClr val="black"/>
                </a:solidFill>
                <a:latin typeface="Calibri Light"/>
              </a:endParaRPr>
            </a:p>
          </p:txBody>
        </p:sp>
        <p:sp>
          <p:nvSpPr>
            <p:cNvPr id="103" name="Rectangle 102">
              <a:extLst>
                <a:ext uri="{FF2B5EF4-FFF2-40B4-BE49-F238E27FC236}">
                  <a16:creationId xmlns:a16="http://schemas.microsoft.com/office/drawing/2014/main" id="{D5A75610-4C9C-4007-86BE-0C93387BD4CC}"/>
                </a:ext>
              </a:extLst>
            </p:cNvPr>
            <p:cNvSpPr/>
            <p:nvPr/>
          </p:nvSpPr>
          <p:spPr>
            <a:xfrm>
              <a:off x="0" y="857250"/>
              <a:ext cx="336430" cy="336430"/>
            </a:xfrm>
            <a:prstGeom prst="rect">
              <a:avLst/>
            </a:prstGeom>
            <a:solidFill>
              <a:srgbClr val="AF5F6D"/>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04" name="Rectangle 103">
              <a:extLst>
                <a:ext uri="{FF2B5EF4-FFF2-40B4-BE49-F238E27FC236}">
                  <a16:creationId xmlns:a16="http://schemas.microsoft.com/office/drawing/2014/main" id="{88DED4A1-8837-48AC-9F2B-DE23F8D97ECB}"/>
                </a:ext>
              </a:extLst>
            </p:cNvPr>
            <p:cNvSpPr/>
            <p:nvPr/>
          </p:nvSpPr>
          <p:spPr>
            <a:xfrm>
              <a:off x="8807571" y="5664321"/>
              <a:ext cx="336430" cy="336430"/>
            </a:xfrm>
            <a:prstGeom prst="rect">
              <a:avLst/>
            </a:prstGeom>
            <a:solidFill>
              <a:srgbClr val="EB6B56"/>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18" name="Slide Number Placeholder 21">
              <a:extLst>
                <a:ext uri="{FF2B5EF4-FFF2-40B4-BE49-F238E27FC236}">
                  <a16:creationId xmlns:a16="http://schemas.microsoft.com/office/drawing/2014/main" id="{93A42D60-09D3-464C-9CEE-9793BC406A2C}"/>
                </a:ext>
              </a:extLst>
            </p:cNvPr>
            <p:cNvSpPr txBox="1">
              <a:spLocks/>
            </p:cNvSpPr>
            <p:nvPr/>
          </p:nvSpPr>
          <p:spPr>
            <a:xfrm>
              <a:off x="6457950" y="6356351"/>
              <a:ext cx="2057400" cy="365125"/>
            </a:xfrm>
            <a:prstGeom prst="rect">
              <a:avLst/>
            </a:prstGeom>
          </p:spPr>
          <p:txBody>
            <a:bodyPr vert="horz" lIns="91440" tIns="45720" rIns="91440" bIns="4572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fld id="{B9940D52-AD77-4C6A-9DCC-3EEF87AE9DF8}" type="slidenum">
                <a:rPr lang="en-US">
                  <a:solidFill>
                    <a:prstClr val="black">
                      <a:tint val="75000"/>
                    </a:prstClr>
                  </a:solidFill>
                  <a:latin typeface="Calibri Light"/>
                </a:rPr>
                <a:pPr defTabSz="685800"/>
                <a:t>65</a:t>
              </a:fld>
              <a:endParaRPr lang="en-US">
                <a:solidFill>
                  <a:prstClr val="black">
                    <a:tint val="75000"/>
                  </a:prstClr>
                </a:solidFill>
                <a:latin typeface="Calibri Light"/>
              </a:endParaRPr>
            </a:p>
          </p:txBody>
        </p:sp>
        <p:sp>
          <p:nvSpPr>
            <p:cNvPr id="119" name="Rectangle: Rounded Corners 118">
              <a:extLst>
                <a:ext uri="{FF2B5EF4-FFF2-40B4-BE49-F238E27FC236}">
                  <a16:creationId xmlns:a16="http://schemas.microsoft.com/office/drawing/2014/main" id="{A31B6B7F-B442-478B-AC83-5877659C504E}"/>
                </a:ext>
              </a:extLst>
            </p:cNvPr>
            <p:cNvSpPr/>
            <p:nvPr/>
          </p:nvSpPr>
          <p:spPr>
            <a:xfrm>
              <a:off x="628650" y="1951264"/>
              <a:ext cx="1951265" cy="3145971"/>
            </a:xfrm>
            <a:prstGeom prst="roundRect">
              <a:avLst>
                <a:gd name="adj" fmla="val 4952"/>
              </a:avLst>
            </a:prstGeom>
            <a:solidFill>
              <a:schemeClr val="accent4">
                <a:lumMod val="20000"/>
                <a:lumOff val="80000"/>
              </a:scheme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20" name="Rectangle: Rounded Corners 119">
              <a:extLst>
                <a:ext uri="{FF2B5EF4-FFF2-40B4-BE49-F238E27FC236}">
                  <a16:creationId xmlns:a16="http://schemas.microsoft.com/office/drawing/2014/main" id="{755AABF3-A803-4326-BD1C-065642A1AA83}"/>
                </a:ext>
              </a:extLst>
            </p:cNvPr>
            <p:cNvSpPr/>
            <p:nvPr/>
          </p:nvSpPr>
          <p:spPr>
            <a:xfrm>
              <a:off x="3596368" y="1951264"/>
              <a:ext cx="1951265" cy="3145971"/>
            </a:xfrm>
            <a:prstGeom prst="roundRect">
              <a:avLst>
                <a:gd name="adj" fmla="val 4952"/>
              </a:avLst>
            </a:prstGeom>
            <a:solidFill>
              <a:schemeClr val="bg1">
                <a:lumMod val="85000"/>
              </a:scheme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21" name="Rectangle: Rounded Corners 120">
              <a:extLst>
                <a:ext uri="{FF2B5EF4-FFF2-40B4-BE49-F238E27FC236}">
                  <a16:creationId xmlns:a16="http://schemas.microsoft.com/office/drawing/2014/main" id="{51F48CB3-9A91-4CD8-BAB4-372731EF5FB1}"/>
                </a:ext>
              </a:extLst>
            </p:cNvPr>
            <p:cNvSpPr/>
            <p:nvPr/>
          </p:nvSpPr>
          <p:spPr>
            <a:xfrm>
              <a:off x="6564085" y="1951264"/>
              <a:ext cx="1951265" cy="3145971"/>
            </a:xfrm>
            <a:prstGeom prst="roundRect">
              <a:avLst>
                <a:gd name="adj" fmla="val 4952"/>
              </a:avLst>
            </a:prstGeom>
            <a:solidFill>
              <a:schemeClr val="accent6">
                <a:lumMod val="20000"/>
                <a:lumOff val="80000"/>
              </a:scheme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grpSp>
          <p:nvGrpSpPr>
            <p:cNvPr id="122" name="Group 121">
              <a:extLst>
                <a:ext uri="{FF2B5EF4-FFF2-40B4-BE49-F238E27FC236}">
                  <a16:creationId xmlns:a16="http://schemas.microsoft.com/office/drawing/2014/main" id="{1D5F4261-1706-4F0E-8267-369D57C1FB88}"/>
                </a:ext>
              </a:extLst>
            </p:cNvPr>
            <p:cNvGrpSpPr/>
            <p:nvPr/>
          </p:nvGrpSpPr>
          <p:grpSpPr>
            <a:xfrm>
              <a:off x="2875574" y="3333082"/>
              <a:ext cx="425135" cy="382335"/>
              <a:chOff x="4854484" y="5910272"/>
              <a:chExt cx="283864" cy="255286"/>
            </a:xfrm>
            <a:solidFill>
              <a:srgbClr val="44546A"/>
            </a:solidFill>
          </p:grpSpPr>
          <p:sp>
            <p:nvSpPr>
              <p:cNvPr id="123" name="Freeform 251">
                <a:extLst>
                  <a:ext uri="{FF2B5EF4-FFF2-40B4-BE49-F238E27FC236}">
                    <a16:creationId xmlns:a16="http://schemas.microsoft.com/office/drawing/2014/main" id="{0C8CED70-9586-4725-ABB9-23097BB29906}"/>
                  </a:ext>
                </a:extLst>
              </p:cNvPr>
              <p:cNvSpPr>
                <a:spLocks/>
              </p:cNvSpPr>
              <p:nvPr/>
            </p:nvSpPr>
            <p:spPr bwMode="auto">
              <a:xfrm>
                <a:off x="4854484" y="5910272"/>
                <a:ext cx="165746" cy="255286"/>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sp>
            <p:nvSpPr>
              <p:cNvPr id="124" name="Freeform 252">
                <a:extLst>
                  <a:ext uri="{FF2B5EF4-FFF2-40B4-BE49-F238E27FC236}">
                    <a16:creationId xmlns:a16="http://schemas.microsoft.com/office/drawing/2014/main" id="{0F01F1D5-7465-4E64-9CCB-5C815BD8B5EC}"/>
                  </a:ext>
                </a:extLst>
              </p:cNvPr>
              <p:cNvSpPr>
                <a:spLocks/>
              </p:cNvSpPr>
              <p:nvPr/>
            </p:nvSpPr>
            <p:spPr bwMode="auto">
              <a:xfrm>
                <a:off x="4972602" y="5910272"/>
                <a:ext cx="165746" cy="255286"/>
              </a:xfrm>
              <a:custGeom>
                <a:avLst/>
                <a:gdLst>
                  <a:gd name="T0" fmla="*/ 344 w 348"/>
                  <a:gd name="T1" fmla="*/ 260 h 535"/>
                  <a:gd name="T2" fmla="*/ 86 w 348"/>
                  <a:gd name="T3" fmla="*/ 2 h 535"/>
                  <a:gd name="T4" fmla="*/ 83 w 348"/>
                  <a:gd name="T5" fmla="*/ 0 h 535"/>
                  <a:gd name="T6" fmla="*/ 80 w 348"/>
                  <a:gd name="T7" fmla="*/ 0 h 535"/>
                  <a:gd name="T8" fmla="*/ 75 w 348"/>
                  <a:gd name="T9" fmla="*/ 0 h 535"/>
                  <a:gd name="T10" fmla="*/ 72 w 348"/>
                  <a:gd name="T11" fmla="*/ 2 h 535"/>
                  <a:gd name="T12" fmla="*/ 3 w 348"/>
                  <a:gd name="T13" fmla="*/ 72 h 535"/>
                  <a:gd name="T14" fmla="*/ 1 w 348"/>
                  <a:gd name="T15" fmla="*/ 75 h 535"/>
                  <a:gd name="T16" fmla="*/ 0 w 348"/>
                  <a:gd name="T17" fmla="*/ 79 h 535"/>
                  <a:gd name="T18" fmla="*/ 1 w 348"/>
                  <a:gd name="T19" fmla="*/ 83 h 535"/>
                  <a:gd name="T20" fmla="*/ 3 w 348"/>
                  <a:gd name="T21" fmla="*/ 86 h 535"/>
                  <a:gd name="T22" fmla="*/ 185 w 348"/>
                  <a:gd name="T23" fmla="*/ 268 h 535"/>
                  <a:gd name="T24" fmla="*/ 3 w 348"/>
                  <a:gd name="T25" fmla="*/ 449 h 535"/>
                  <a:gd name="T26" fmla="*/ 1 w 348"/>
                  <a:gd name="T27" fmla="*/ 452 h 535"/>
                  <a:gd name="T28" fmla="*/ 0 w 348"/>
                  <a:gd name="T29" fmla="*/ 457 h 535"/>
                  <a:gd name="T30" fmla="*/ 1 w 348"/>
                  <a:gd name="T31" fmla="*/ 460 h 535"/>
                  <a:gd name="T32" fmla="*/ 3 w 348"/>
                  <a:gd name="T33" fmla="*/ 463 h 535"/>
                  <a:gd name="T34" fmla="*/ 72 w 348"/>
                  <a:gd name="T35" fmla="*/ 532 h 535"/>
                  <a:gd name="T36" fmla="*/ 75 w 348"/>
                  <a:gd name="T37" fmla="*/ 534 h 535"/>
                  <a:gd name="T38" fmla="*/ 80 w 348"/>
                  <a:gd name="T39" fmla="*/ 535 h 535"/>
                  <a:gd name="T40" fmla="*/ 83 w 348"/>
                  <a:gd name="T41" fmla="*/ 534 h 535"/>
                  <a:gd name="T42" fmla="*/ 86 w 348"/>
                  <a:gd name="T43" fmla="*/ 533 h 535"/>
                  <a:gd name="T44" fmla="*/ 344 w 348"/>
                  <a:gd name="T45" fmla="*/ 274 h 535"/>
                  <a:gd name="T46" fmla="*/ 347 w 348"/>
                  <a:gd name="T47" fmla="*/ 271 h 535"/>
                  <a:gd name="T48" fmla="*/ 348 w 348"/>
                  <a:gd name="T49" fmla="*/ 268 h 535"/>
                  <a:gd name="T50" fmla="*/ 347 w 348"/>
                  <a:gd name="T51" fmla="*/ 263 h 535"/>
                  <a:gd name="T52" fmla="*/ 344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4" y="260"/>
                    </a:moveTo>
                    <a:lnTo>
                      <a:pt x="86" y="2"/>
                    </a:lnTo>
                    <a:lnTo>
                      <a:pt x="83" y="0"/>
                    </a:lnTo>
                    <a:lnTo>
                      <a:pt x="80" y="0"/>
                    </a:lnTo>
                    <a:lnTo>
                      <a:pt x="75" y="0"/>
                    </a:lnTo>
                    <a:lnTo>
                      <a:pt x="72" y="2"/>
                    </a:lnTo>
                    <a:lnTo>
                      <a:pt x="3" y="72"/>
                    </a:lnTo>
                    <a:lnTo>
                      <a:pt x="1" y="75"/>
                    </a:lnTo>
                    <a:lnTo>
                      <a:pt x="0" y="79"/>
                    </a:lnTo>
                    <a:lnTo>
                      <a:pt x="1" y="83"/>
                    </a:lnTo>
                    <a:lnTo>
                      <a:pt x="3" y="86"/>
                    </a:lnTo>
                    <a:lnTo>
                      <a:pt x="185" y="268"/>
                    </a:lnTo>
                    <a:lnTo>
                      <a:pt x="3" y="449"/>
                    </a:lnTo>
                    <a:lnTo>
                      <a:pt x="1" y="452"/>
                    </a:lnTo>
                    <a:lnTo>
                      <a:pt x="0" y="457"/>
                    </a:lnTo>
                    <a:lnTo>
                      <a:pt x="1" y="460"/>
                    </a:lnTo>
                    <a:lnTo>
                      <a:pt x="3" y="463"/>
                    </a:lnTo>
                    <a:lnTo>
                      <a:pt x="72" y="532"/>
                    </a:lnTo>
                    <a:lnTo>
                      <a:pt x="75" y="534"/>
                    </a:lnTo>
                    <a:lnTo>
                      <a:pt x="80" y="535"/>
                    </a:lnTo>
                    <a:lnTo>
                      <a:pt x="83" y="534"/>
                    </a:lnTo>
                    <a:lnTo>
                      <a:pt x="86" y="533"/>
                    </a:lnTo>
                    <a:lnTo>
                      <a:pt x="344" y="274"/>
                    </a:lnTo>
                    <a:lnTo>
                      <a:pt x="347" y="271"/>
                    </a:lnTo>
                    <a:lnTo>
                      <a:pt x="348" y="268"/>
                    </a:lnTo>
                    <a:lnTo>
                      <a:pt x="347" y="263"/>
                    </a:lnTo>
                    <a:lnTo>
                      <a:pt x="344"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grpSp>
        <p:grpSp>
          <p:nvGrpSpPr>
            <p:cNvPr id="125" name="Group 124">
              <a:extLst>
                <a:ext uri="{FF2B5EF4-FFF2-40B4-BE49-F238E27FC236}">
                  <a16:creationId xmlns:a16="http://schemas.microsoft.com/office/drawing/2014/main" id="{819BCB2C-2594-4246-AF1C-54887570D1B2}"/>
                </a:ext>
              </a:extLst>
            </p:cNvPr>
            <p:cNvGrpSpPr/>
            <p:nvPr/>
          </p:nvGrpSpPr>
          <p:grpSpPr>
            <a:xfrm>
              <a:off x="5843292" y="3333082"/>
              <a:ext cx="425135" cy="382335"/>
              <a:chOff x="4854484" y="5910272"/>
              <a:chExt cx="283864" cy="255286"/>
            </a:xfrm>
            <a:solidFill>
              <a:srgbClr val="44546A"/>
            </a:solidFill>
          </p:grpSpPr>
          <p:sp>
            <p:nvSpPr>
              <p:cNvPr id="126" name="Freeform 251">
                <a:extLst>
                  <a:ext uri="{FF2B5EF4-FFF2-40B4-BE49-F238E27FC236}">
                    <a16:creationId xmlns:a16="http://schemas.microsoft.com/office/drawing/2014/main" id="{B4AFA590-489D-461F-87B5-31AA21C9CA6E}"/>
                  </a:ext>
                </a:extLst>
              </p:cNvPr>
              <p:cNvSpPr>
                <a:spLocks/>
              </p:cNvSpPr>
              <p:nvPr/>
            </p:nvSpPr>
            <p:spPr bwMode="auto">
              <a:xfrm>
                <a:off x="4854484" y="5910272"/>
                <a:ext cx="165746" cy="255286"/>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sp>
            <p:nvSpPr>
              <p:cNvPr id="127" name="Freeform 252">
                <a:extLst>
                  <a:ext uri="{FF2B5EF4-FFF2-40B4-BE49-F238E27FC236}">
                    <a16:creationId xmlns:a16="http://schemas.microsoft.com/office/drawing/2014/main" id="{686E9970-8B1D-4D78-8BC4-D6A0633DF381}"/>
                  </a:ext>
                </a:extLst>
              </p:cNvPr>
              <p:cNvSpPr>
                <a:spLocks/>
              </p:cNvSpPr>
              <p:nvPr/>
            </p:nvSpPr>
            <p:spPr bwMode="auto">
              <a:xfrm>
                <a:off x="4972602" y="5910272"/>
                <a:ext cx="165746" cy="255286"/>
              </a:xfrm>
              <a:custGeom>
                <a:avLst/>
                <a:gdLst>
                  <a:gd name="T0" fmla="*/ 344 w 348"/>
                  <a:gd name="T1" fmla="*/ 260 h 535"/>
                  <a:gd name="T2" fmla="*/ 86 w 348"/>
                  <a:gd name="T3" fmla="*/ 2 h 535"/>
                  <a:gd name="T4" fmla="*/ 83 w 348"/>
                  <a:gd name="T5" fmla="*/ 0 h 535"/>
                  <a:gd name="T6" fmla="*/ 80 w 348"/>
                  <a:gd name="T7" fmla="*/ 0 h 535"/>
                  <a:gd name="T8" fmla="*/ 75 w 348"/>
                  <a:gd name="T9" fmla="*/ 0 h 535"/>
                  <a:gd name="T10" fmla="*/ 72 w 348"/>
                  <a:gd name="T11" fmla="*/ 2 h 535"/>
                  <a:gd name="T12" fmla="*/ 3 w 348"/>
                  <a:gd name="T13" fmla="*/ 72 h 535"/>
                  <a:gd name="T14" fmla="*/ 1 w 348"/>
                  <a:gd name="T15" fmla="*/ 75 h 535"/>
                  <a:gd name="T16" fmla="*/ 0 w 348"/>
                  <a:gd name="T17" fmla="*/ 79 h 535"/>
                  <a:gd name="T18" fmla="*/ 1 w 348"/>
                  <a:gd name="T19" fmla="*/ 83 h 535"/>
                  <a:gd name="T20" fmla="*/ 3 w 348"/>
                  <a:gd name="T21" fmla="*/ 86 h 535"/>
                  <a:gd name="T22" fmla="*/ 185 w 348"/>
                  <a:gd name="T23" fmla="*/ 268 h 535"/>
                  <a:gd name="T24" fmla="*/ 3 w 348"/>
                  <a:gd name="T25" fmla="*/ 449 h 535"/>
                  <a:gd name="T26" fmla="*/ 1 w 348"/>
                  <a:gd name="T27" fmla="*/ 452 h 535"/>
                  <a:gd name="T28" fmla="*/ 0 w 348"/>
                  <a:gd name="T29" fmla="*/ 457 h 535"/>
                  <a:gd name="T30" fmla="*/ 1 w 348"/>
                  <a:gd name="T31" fmla="*/ 460 h 535"/>
                  <a:gd name="T32" fmla="*/ 3 w 348"/>
                  <a:gd name="T33" fmla="*/ 463 h 535"/>
                  <a:gd name="T34" fmla="*/ 72 w 348"/>
                  <a:gd name="T35" fmla="*/ 532 h 535"/>
                  <a:gd name="T36" fmla="*/ 75 w 348"/>
                  <a:gd name="T37" fmla="*/ 534 h 535"/>
                  <a:gd name="T38" fmla="*/ 80 w 348"/>
                  <a:gd name="T39" fmla="*/ 535 h 535"/>
                  <a:gd name="T40" fmla="*/ 83 w 348"/>
                  <a:gd name="T41" fmla="*/ 534 h 535"/>
                  <a:gd name="T42" fmla="*/ 86 w 348"/>
                  <a:gd name="T43" fmla="*/ 533 h 535"/>
                  <a:gd name="T44" fmla="*/ 344 w 348"/>
                  <a:gd name="T45" fmla="*/ 274 h 535"/>
                  <a:gd name="T46" fmla="*/ 347 w 348"/>
                  <a:gd name="T47" fmla="*/ 271 h 535"/>
                  <a:gd name="T48" fmla="*/ 348 w 348"/>
                  <a:gd name="T49" fmla="*/ 268 h 535"/>
                  <a:gd name="T50" fmla="*/ 347 w 348"/>
                  <a:gd name="T51" fmla="*/ 263 h 535"/>
                  <a:gd name="T52" fmla="*/ 344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4" y="260"/>
                    </a:moveTo>
                    <a:lnTo>
                      <a:pt x="86" y="2"/>
                    </a:lnTo>
                    <a:lnTo>
                      <a:pt x="83" y="0"/>
                    </a:lnTo>
                    <a:lnTo>
                      <a:pt x="80" y="0"/>
                    </a:lnTo>
                    <a:lnTo>
                      <a:pt x="75" y="0"/>
                    </a:lnTo>
                    <a:lnTo>
                      <a:pt x="72" y="2"/>
                    </a:lnTo>
                    <a:lnTo>
                      <a:pt x="3" y="72"/>
                    </a:lnTo>
                    <a:lnTo>
                      <a:pt x="1" y="75"/>
                    </a:lnTo>
                    <a:lnTo>
                      <a:pt x="0" y="79"/>
                    </a:lnTo>
                    <a:lnTo>
                      <a:pt x="1" y="83"/>
                    </a:lnTo>
                    <a:lnTo>
                      <a:pt x="3" y="86"/>
                    </a:lnTo>
                    <a:lnTo>
                      <a:pt x="185" y="268"/>
                    </a:lnTo>
                    <a:lnTo>
                      <a:pt x="3" y="449"/>
                    </a:lnTo>
                    <a:lnTo>
                      <a:pt x="1" y="452"/>
                    </a:lnTo>
                    <a:lnTo>
                      <a:pt x="0" y="457"/>
                    </a:lnTo>
                    <a:lnTo>
                      <a:pt x="1" y="460"/>
                    </a:lnTo>
                    <a:lnTo>
                      <a:pt x="3" y="463"/>
                    </a:lnTo>
                    <a:lnTo>
                      <a:pt x="72" y="532"/>
                    </a:lnTo>
                    <a:lnTo>
                      <a:pt x="75" y="534"/>
                    </a:lnTo>
                    <a:lnTo>
                      <a:pt x="80" y="535"/>
                    </a:lnTo>
                    <a:lnTo>
                      <a:pt x="83" y="534"/>
                    </a:lnTo>
                    <a:lnTo>
                      <a:pt x="86" y="533"/>
                    </a:lnTo>
                    <a:lnTo>
                      <a:pt x="344" y="274"/>
                    </a:lnTo>
                    <a:lnTo>
                      <a:pt x="347" y="271"/>
                    </a:lnTo>
                    <a:lnTo>
                      <a:pt x="348" y="268"/>
                    </a:lnTo>
                    <a:lnTo>
                      <a:pt x="347" y="263"/>
                    </a:lnTo>
                    <a:lnTo>
                      <a:pt x="344"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grpSp>
        <p:sp>
          <p:nvSpPr>
            <p:cNvPr id="137" name="TextBox 136">
              <a:extLst>
                <a:ext uri="{FF2B5EF4-FFF2-40B4-BE49-F238E27FC236}">
                  <a16:creationId xmlns:a16="http://schemas.microsoft.com/office/drawing/2014/main" id="{BD72369C-B18A-43FF-AFFB-FB7B6C1A5ABC}"/>
                </a:ext>
              </a:extLst>
            </p:cNvPr>
            <p:cNvSpPr txBox="1"/>
            <p:nvPr/>
          </p:nvSpPr>
          <p:spPr>
            <a:xfrm>
              <a:off x="833107" y="3135924"/>
              <a:ext cx="1735711" cy="679438"/>
            </a:xfrm>
            <a:prstGeom prst="rect">
              <a:avLst/>
            </a:prstGeom>
            <a:noFill/>
            <a:ln>
              <a:noFill/>
            </a:ln>
          </p:spPr>
          <p:txBody>
            <a:bodyPr wrap="square" lIns="0" tIns="0" rIns="0" bIns="0" rtlCol="0" anchor="ctr">
              <a:spAutoFit/>
            </a:bodyPr>
            <a:lstStyle/>
            <a:p>
              <a:pPr marL="171450" indent="-171450" defTabSz="685800">
                <a:buFont typeface="Arial" panose="020B0604020202020204" pitchFamily="34" charset="0"/>
                <a:buChar char="•"/>
              </a:pPr>
              <a:r>
                <a:rPr lang="en-US" sz="1050" dirty="0">
                  <a:latin typeface="Calibri Light"/>
                </a:rPr>
                <a:t>Newly enrolled in ART</a:t>
              </a:r>
            </a:p>
            <a:p>
              <a:pPr marL="171450" indent="-171450" defTabSz="685800">
                <a:buFont typeface="Arial" panose="020B0604020202020204" pitchFamily="34" charset="0"/>
                <a:buChar char="•"/>
              </a:pPr>
              <a:r>
                <a:rPr lang="en-US" sz="1050" dirty="0">
                  <a:latin typeface="Calibri Light"/>
                </a:rPr>
                <a:t>Not transferred in or temporarily stopped and resumed</a:t>
              </a:r>
            </a:p>
          </p:txBody>
        </p:sp>
        <p:sp>
          <p:nvSpPr>
            <p:cNvPr id="138" name="TextBox 137">
              <a:extLst>
                <a:ext uri="{FF2B5EF4-FFF2-40B4-BE49-F238E27FC236}">
                  <a16:creationId xmlns:a16="http://schemas.microsoft.com/office/drawing/2014/main" id="{29087046-24DC-401B-97BD-14EADBFCDAAD}"/>
                </a:ext>
              </a:extLst>
            </p:cNvPr>
            <p:cNvSpPr txBox="1"/>
            <p:nvPr/>
          </p:nvSpPr>
          <p:spPr>
            <a:xfrm>
              <a:off x="834513" y="2005698"/>
              <a:ext cx="1500596" cy="582376"/>
            </a:xfrm>
            <a:prstGeom prst="rect">
              <a:avLst/>
            </a:prstGeom>
            <a:noFill/>
          </p:spPr>
          <p:txBody>
            <a:bodyPr wrap="square" lIns="0" tIns="0" rIns="0" bIns="0" rtlCol="0" anchor="ctr">
              <a:spAutoFit/>
            </a:bodyPr>
            <a:lstStyle/>
            <a:p>
              <a:pPr algn="ctr" defTabSz="685800"/>
              <a:r>
                <a:rPr lang="en-US" b="1" dirty="0">
                  <a:latin typeface="Calibri Light"/>
                </a:rPr>
                <a:t>COLLECTION/</a:t>
              </a:r>
            </a:p>
            <a:p>
              <a:pPr algn="ctr" defTabSz="685800"/>
              <a:r>
                <a:rPr lang="en-US" b="1" dirty="0">
                  <a:latin typeface="Calibri Light"/>
                </a:rPr>
                <a:t>REPORTING</a:t>
              </a:r>
            </a:p>
          </p:txBody>
        </p:sp>
        <p:sp>
          <p:nvSpPr>
            <p:cNvPr id="144" name="TextBox 143">
              <a:extLst>
                <a:ext uri="{FF2B5EF4-FFF2-40B4-BE49-F238E27FC236}">
                  <a16:creationId xmlns:a16="http://schemas.microsoft.com/office/drawing/2014/main" id="{C75D3502-2084-4D34-B7F6-EC24A147A540}"/>
                </a:ext>
              </a:extLst>
            </p:cNvPr>
            <p:cNvSpPr txBox="1"/>
            <p:nvPr/>
          </p:nvSpPr>
          <p:spPr>
            <a:xfrm>
              <a:off x="3786469" y="3128912"/>
              <a:ext cx="1626331" cy="679438"/>
            </a:xfrm>
            <a:prstGeom prst="rect">
              <a:avLst/>
            </a:prstGeom>
            <a:noFill/>
            <a:ln>
              <a:noFill/>
            </a:ln>
          </p:spPr>
          <p:txBody>
            <a:bodyPr wrap="square" lIns="0" tIns="0" rIns="0" bIns="0" rtlCol="0" anchor="ctr">
              <a:spAutoFit/>
            </a:bodyPr>
            <a:lstStyle>
              <a:defPPr>
                <a:defRPr lang="en-US"/>
              </a:defPPr>
              <a:lvl1pPr defTabSz="685800">
                <a:defRPr sz="1050" b="1">
                  <a:latin typeface="Calibri Light"/>
                </a:defRPr>
              </a:lvl1pPr>
            </a:lstStyle>
            <a:p>
              <a:pPr marL="171450" indent="-171450">
                <a:buFont typeface="Arial" panose="020B0604020202020204" pitchFamily="34" charset="0"/>
                <a:buChar char="•"/>
              </a:pPr>
              <a:r>
                <a:rPr lang="en-US" b="0" dirty="0"/>
                <a:t>Numerator ≥ subtotal of each disaggregation</a:t>
              </a:r>
            </a:p>
            <a:p>
              <a:pPr marL="171450" indent="-171450">
                <a:buFont typeface="Arial" panose="020B0604020202020204" pitchFamily="34" charset="0"/>
                <a:buChar char="•"/>
              </a:pPr>
              <a:r>
                <a:rPr lang="en-US" b="0" dirty="0"/>
                <a:t>Confirm that TX_NEW ≤ TX_CURR</a:t>
              </a:r>
            </a:p>
          </p:txBody>
        </p:sp>
        <p:sp>
          <p:nvSpPr>
            <p:cNvPr id="145" name="TextBox 144">
              <a:extLst>
                <a:ext uri="{FF2B5EF4-FFF2-40B4-BE49-F238E27FC236}">
                  <a16:creationId xmlns:a16="http://schemas.microsoft.com/office/drawing/2014/main" id="{4229BB9B-1E9C-4794-BD7E-31916C0D2655}"/>
                </a:ext>
              </a:extLst>
            </p:cNvPr>
            <p:cNvSpPr txBox="1"/>
            <p:nvPr/>
          </p:nvSpPr>
          <p:spPr>
            <a:xfrm>
              <a:off x="3787215" y="2276002"/>
              <a:ext cx="1569569" cy="291188"/>
            </a:xfrm>
            <a:prstGeom prst="rect">
              <a:avLst/>
            </a:prstGeom>
            <a:noFill/>
          </p:spPr>
          <p:txBody>
            <a:bodyPr wrap="square" lIns="0" tIns="0" rIns="0" bIns="0" rtlCol="0" anchor="ctr">
              <a:spAutoFit/>
            </a:bodyPr>
            <a:lstStyle/>
            <a:p>
              <a:pPr algn="ctr" defTabSz="685800"/>
              <a:r>
                <a:rPr lang="en-US" b="1" dirty="0">
                  <a:latin typeface="Calibri Light"/>
                </a:rPr>
                <a:t>DATA QUALITY</a:t>
              </a:r>
            </a:p>
          </p:txBody>
        </p:sp>
        <p:sp>
          <p:nvSpPr>
            <p:cNvPr id="150" name="TextBox 149">
              <a:extLst>
                <a:ext uri="{FF2B5EF4-FFF2-40B4-BE49-F238E27FC236}">
                  <a16:creationId xmlns:a16="http://schemas.microsoft.com/office/drawing/2014/main" id="{A432B2BB-4C21-4AF1-9B8E-A30EC8F9E140}"/>
                </a:ext>
              </a:extLst>
            </p:cNvPr>
            <p:cNvSpPr txBox="1"/>
            <p:nvPr/>
          </p:nvSpPr>
          <p:spPr>
            <a:xfrm>
              <a:off x="6785564" y="3180244"/>
              <a:ext cx="1592581" cy="679438"/>
            </a:xfrm>
            <a:prstGeom prst="rect">
              <a:avLst/>
            </a:prstGeom>
            <a:noFill/>
          </p:spPr>
          <p:txBody>
            <a:bodyPr wrap="square" lIns="0" tIns="0" rIns="0" bIns="0" rtlCol="0" anchor="ctr">
              <a:spAutoFit/>
            </a:bodyPr>
            <a:lstStyle/>
            <a:p>
              <a:pPr marL="171450" indent="-171450" defTabSz="685800">
                <a:buFont typeface="Arial" panose="020B0604020202020204" pitchFamily="34" charset="0"/>
                <a:buChar char="•"/>
              </a:pPr>
              <a:r>
                <a:rPr lang="en-US" sz="1050" dirty="0">
                  <a:latin typeface="Calibri Light"/>
                </a:rPr>
                <a:t>5-year Age Band</a:t>
              </a:r>
            </a:p>
            <a:p>
              <a:pPr marL="171450" indent="-171450" defTabSz="685800">
                <a:buFont typeface="Arial" panose="020B0604020202020204" pitchFamily="34" charset="0"/>
                <a:buChar char="•"/>
              </a:pPr>
              <a:r>
                <a:rPr lang="en-US" sz="1050" dirty="0">
                  <a:latin typeface="Calibri Light"/>
                </a:rPr>
                <a:t>Sex</a:t>
              </a:r>
            </a:p>
            <a:p>
              <a:pPr marL="171450" indent="-171450" defTabSz="685800">
                <a:buFont typeface="Arial" panose="020B0604020202020204" pitchFamily="34" charset="0"/>
                <a:buChar char="•"/>
              </a:pPr>
              <a:r>
                <a:rPr lang="en-US" sz="1050" dirty="0">
                  <a:latin typeface="Calibri Light"/>
                </a:rPr>
                <a:t>Breastfeeding Status</a:t>
              </a:r>
            </a:p>
            <a:p>
              <a:pPr marL="171450" indent="-171450" defTabSz="685800">
                <a:buFont typeface="Arial" panose="020B0604020202020204" pitchFamily="34" charset="0"/>
                <a:buChar char="•"/>
              </a:pPr>
              <a:r>
                <a:rPr lang="en-US" sz="1050" dirty="0">
                  <a:latin typeface="Calibri Light"/>
                </a:rPr>
                <a:t>Key Population Type</a:t>
              </a:r>
            </a:p>
          </p:txBody>
        </p:sp>
        <p:sp>
          <p:nvSpPr>
            <p:cNvPr id="151" name="TextBox 150">
              <a:extLst>
                <a:ext uri="{FF2B5EF4-FFF2-40B4-BE49-F238E27FC236}">
                  <a16:creationId xmlns:a16="http://schemas.microsoft.com/office/drawing/2014/main" id="{269059BD-5BEF-4B22-9D87-AC985C86C7EA}"/>
                </a:ext>
              </a:extLst>
            </p:cNvPr>
            <p:cNvSpPr txBox="1"/>
            <p:nvPr/>
          </p:nvSpPr>
          <p:spPr>
            <a:xfrm>
              <a:off x="6606468" y="2197851"/>
              <a:ext cx="1832066" cy="291188"/>
            </a:xfrm>
            <a:prstGeom prst="rect">
              <a:avLst/>
            </a:prstGeom>
            <a:noFill/>
          </p:spPr>
          <p:txBody>
            <a:bodyPr wrap="square" lIns="0" tIns="0" rIns="0" bIns="0" rtlCol="0" anchor="ctr">
              <a:spAutoFit/>
            </a:bodyPr>
            <a:lstStyle/>
            <a:p>
              <a:pPr algn="ctr" defTabSz="685800"/>
              <a:r>
                <a:rPr lang="en-US" b="1" dirty="0">
                  <a:latin typeface="Calibri Light"/>
                </a:rPr>
                <a:t>DISAGGREGATION</a:t>
              </a:r>
            </a:p>
          </p:txBody>
        </p:sp>
      </p:grpSp>
      <p:sp>
        <p:nvSpPr>
          <p:cNvPr id="27" name="TextBox 26">
            <a:extLst>
              <a:ext uri="{FF2B5EF4-FFF2-40B4-BE49-F238E27FC236}">
                <a16:creationId xmlns:a16="http://schemas.microsoft.com/office/drawing/2014/main" id="{923EB2B2-4E3D-B18C-979D-688033131AEB}"/>
              </a:ext>
            </a:extLst>
          </p:cNvPr>
          <p:cNvSpPr txBox="1"/>
          <p:nvPr/>
        </p:nvSpPr>
        <p:spPr>
          <a:xfrm>
            <a:off x="2304864" y="4243532"/>
            <a:ext cx="1719483" cy="161583"/>
          </a:xfrm>
          <a:prstGeom prst="rect">
            <a:avLst/>
          </a:prstGeom>
          <a:noFill/>
          <a:ln>
            <a:solidFill>
              <a:schemeClr val="bg1"/>
            </a:solidFill>
          </a:ln>
        </p:spPr>
        <p:txBody>
          <a:bodyPr wrap="square" lIns="0" tIns="0" rIns="0" bIns="0" rtlCol="0" anchor="ctr">
            <a:spAutoFit/>
          </a:bodyPr>
          <a:lstStyle/>
          <a:p>
            <a:pPr marL="171450" indent="-171450" defTabSz="685800">
              <a:buFont typeface="Arial" panose="020B0604020202020204" pitchFamily="34" charset="0"/>
              <a:buChar char="•"/>
            </a:pPr>
            <a:r>
              <a:rPr lang="en-US" sz="1050" dirty="0">
                <a:latin typeface="Calibri Light"/>
              </a:rPr>
              <a:t>Quarterly</a:t>
            </a:r>
          </a:p>
        </p:txBody>
      </p:sp>
    </p:spTree>
    <p:extLst>
      <p:ext uri="{BB962C8B-B14F-4D97-AF65-F5344CB8AC3E}">
        <p14:creationId xmlns:p14="http://schemas.microsoft.com/office/powerpoint/2010/main" val="129061337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TextBox 133">
            <a:extLst>
              <a:ext uri="{FF2B5EF4-FFF2-40B4-BE49-F238E27FC236}">
                <a16:creationId xmlns:a16="http://schemas.microsoft.com/office/drawing/2014/main" id="{86E6788C-76AA-43BC-8B7F-196C83841096}"/>
              </a:ext>
            </a:extLst>
          </p:cNvPr>
          <p:cNvSpPr txBox="1"/>
          <p:nvPr/>
        </p:nvSpPr>
        <p:spPr>
          <a:xfrm>
            <a:off x="1847850" y="463992"/>
            <a:ext cx="8496300" cy="553998"/>
          </a:xfrm>
          <a:prstGeom prst="rect">
            <a:avLst/>
          </a:prstGeom>
          <a:noFill/>
        </p:spPr>
        <p:txBody>
          <a:bodyPr wrap="square" lIns="0" tIns="0" rIns="0" bIns="0" rtlCol="0" anchor="t">
            <a:spAutoFit/>
          </a:bodyPr>
          <a:lstStyle/>
          <a:p>
            <a:pPr algn="ctr" defTabSz="685800"/>
            <a:r>
              <a:rPr lang="en-US" sz="3600" dirty="0">
                <a:latin typeface="Corbel" panose="020B0503020204020204"/>
              </a:rPr>
              <a:t>TX_CURR</a:t>
            </a:r>
          </a:p>
        </p:txBody>
      </p:sp>
      <p:grpSp>
        <p:nvGrpSpPr>
          <p:cNvPr id="2" name="Group 1">
            <a:extLst>
              <a:ext uri="{FF2B5EF4-FFF2-40B4-BE49-F238E27FC236}">
                <a16:creationId xmlns:a16="http://schemas.microsoft.com/office/drawing/2014/main" id="{11383E8B-A9F5-4C59-A67A-3554539F5B7A}"/>
              </a:ext>
            </a:extLst>
          </p:cNvPr>
          <p:cNvGrpSpPr/>
          <p:nvPr/>
        </p:nvGrpSpPr>
        <p:grpSpPr>
          <a:xfrm>
            <a:off x="1524001" y="1143000"/>
            <a:ext cx="9144001" cy="5578476"/>
            <a:chOff x="0" y="857250"/>
            <a:chExt cx="9144001" cy="5864226"/>
          </a:xfrm>
        </p:grpSpPr>
        <p:sp>
          <p:nvSpPr>
            <p:cNvPr id="98" name="Rectangle 97">
              <a:extLst>
                <a:ext uri="{FF2B5EF4-FFF2-40B4-BE49-F238E27FC236}">
                  <a16:creationId xmlns:a16="http://schemas.microsoft.com/office/drawing/2014/main" id="{84CAA34D-CD75-45C6-B39E-7C242EB87261}"/>
                </a:ext>
              </a:extLst>
            </p:cNvPr>
            <p:cNvSpPr/>
            <p:nvPr/>
          </p:nvSpPr>
          <p:spPr>
            <a:xfrm>
              <a:off x="1" y="2871107"/>
              <a:ext cx="9144000" cy="1306286"/>
            </a:xfrm>
            <a:prstGeom prst="rect">
              <a:avLst/>
            </a:prstGeom>
            <a:solidFill>
              <a:srgbClr val="E7E6E6"/>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99" name="Rectangle: Rounded Corners 98">
              <a:extLst>
                <a:ext uri="{FF2B5EF4-FFF2-40B4-BE49-F238E27FC236}">
                  <a16:creationId xmlns:a16="http://schemas.microsoft.com/office/drawing/2014/main" id="{B79F2794-CAB0-4CBC-A170-CA7853D4B5E7}"/>
                </a:ext>
              </a:extLst>
            </p:cNvPr>
            <p:cNvSpPr/>
            <p:nvPr/>
          </p:nvSpPr>
          <p:spPr>
            <a:xfrm>
              <a:off x="3652410" y="2015558"/>
              <a:ext cx="1951265" cy="3145971"/>
            </a:xfrm>
            <a:prstGeom prst="roundRect">
              <a:avLst>
                <a:gd name="adj" fmla="val 4952"/>
              </a:avLst>
            </a:prstGeom>
            <a:solidFill>
              <a:sysClr val="window" lastClr="FFFFFF">
                <a:lumMod val="65000"/>
              </a:sys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00" name="Rectangle: Rounded Corners 99">
              <a:extLst>
                <a:ext uri="{FF2B5EF4-FFF2-40B4-BE49-F238E27FC236}">
                  <a16:creationId xmlns:a16="http://schemas.microsoft.com/office/drawing/2014/main" id="{624C18DD-A9DF-4469-A7B6-6C9AAA2D41F4}"/>
                </a:ext>
              </a:extLst>
            </p:cNvPr>
            <p:cNvSpPr/>
            <p:nvPr/>
          </p:nvSpPr>
          <p:spPr>
            <a:xfrm>
              <a:off x="6625597" y="2015558"/>
              <a:ext cx="1951265" cy="3145971"/>
            </a:xfrm>
            <a:prstGeom prst="roundRect">
              <a:avLst>
                <a:gd name="adj" fmla="val 4952"/>
              </a:avLst>
            </a:prstGeom>
            <a:solidFill>
              <a:sysClr val="window" lastClr="FFFFFF">
                <a:lumMod val="65000"/>
              </a:sys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01" name="Rectangle: Rounded Corners 100">
              <a:extLst>
                <a:ext uri="{FF2B5EF4-FFF2-40B4-BE49-F238E27FC236}">
                  <a16:creationId xmlns:a16="http://schemas.microsoft.com/office/drawing/2014/main" id="{F503AF90-BD38-48FC-8812-4FA3F25DB0E6}"/>
                </a:ext>
              </a:extLst>
            </p:cNvPr>
            <p:cNvSpPr/>
            <p:nvPr/>
          </p:nvSpPr>
          <p:spPr>
            <a:xfrm>
              <a:off x="685800" y="2015558"/>
              <a:ext cx="1951265" cy="3145971"/>
            </a:xfrm>
            <a:prstGeom prst="roundRect">
              <a:avLst>
                <a:gd name="adj" fmla="val 4952"/>
              </a:avLst>
            </a:prstGeom>
            <a:solidFill>
              <a:sysClr val="window" lastClr="FFFFFF">
                <a:lumMod val="65000"/>
              </a:sys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02" name="Frame 101">
              <a:extLst>
                <a:ext uri="{FF2B5EF4-FFF2-40B4-BE49-F238E27FC236}">
                  <a16:creationId xmlns:a16="http://schemas.microsoft.com/office/drawing/2014/main" id="{530C96A5-18F8-41CE-8FBF-056A3D32634C}"/>
                </a:ext>
              </a:extLst>
            </p:cNvPr>
            <p:cNvSpPr/>
            <p:nvPr/>
          </p:nvSpPr>
          <p:spPr>
            <a:xfrm>
              <a:off x="0" y="857250"/>
              <a:ext cx="9144000" cy="5143500"/>
            </a:xfrm>
            <a:prstGeom prst="frame">
              <a:avLst>
                <a:gd name="adj1" fmla="val 1053"/>
              </a:avLst>
            </a:prstGeom>
            <a:solidFill>
              <a:srgbClr val="44546A">
                <a:lumMod val="40000"/>
                <a:lumOff val="60000"/>
              </a:srgbClr>
            </a:solidFill>
            <a:ln w="12700" cap="flat" cmpd="sng" algn="ctr">
              <a:noFill/>
              <a:prstDash val="solid"/>
              <a:miter lim="800000"/>
            </a:ln>
            <a:effectLst/>
          </p:spPr>
          <p:txBody>
            <a:bodyPr rtlCol="0" anchor="ctr"/>
            <a:lstStyle/>
            <a:p>
              <a:pPr algn="ctr" defTabSz="685800">
                <a:defRPr/>
              </a:pPr>
              <a:endParaRPr lang="en-US" sz="1350" kern="0">
                <a:solidFill>
                  <a:prstClr val="black"/>
                </a:solidFill>
                <a:latin typeface="Calibri Light"/>
              </a:endParaRPr>
            </a:p>
          </p:txBody>
        </p:sp>
        <p:sp>
          <p:nvSpPr>
            <p:cNvPr id="103" name="Rectangle 102">
              <a:extLst>
                <a:ext uri="{FF2B5EF4-FFF2-40B4-BE49-F238E27FC236}">
                  <a16:creationId xmlns:a16="http://schemas.microsoft.com/office/drawing/2014/main" id="{D5A75610-4C9C-4007-86BE-0C93387BD4CC}"/>
                </a:ext>
              </a:extLst>
            </p:cNvPr>
            <p:cNvSpPr/>
            <p:nvPr/>
          </p:nvSpPr>
          <p:spPr>
            <a:xfrm>
              <a:off x="0" y="857250"/>
              <a:ext cx="336430" cy="336430"/>
            </a:xfrm>
            <a:prstGeom prst="rect">
              <a:avLst/>
            </a:prstGeom>
            <a:solidFill>
              <a:srgbClr val="AF5F6D"/>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04" name="Rectangle 103">
              <a:extLst>
                <a:ext uri="{FF2B5EF4-FFF2-40B4-BE49-F238E27FC236}">
                  <a16:creationId xmlns:a16="http://schemas.microsoft.com/office/drawing/2014/main" id="{88DED4A1-8837-48AC-9F2B-DE23F8D97ECB}"/>
                </a:ext>
              </a:extLst>
            </p:cNvPr>
            <p:cNvSpPr/>
            <p:nvPr/>
          </p:nvSpPr>
          <p:spPr>
            <a:xfrm>
              <a:off x="8807571" y="5664321"/>
              <a:ext cx="336430" cy="336430"/>
            </a:xfrm>
            <a:prstGeom prst="rect">
              <a:avLst/>
            </a:prstGeom>
            <a:solidFill>
              <a:srgbClr val="EB6B56"/>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18" name="Slide Number Placeholder 21">
              <a:extLst>
                <a:ext uri="{FF2B5EF4-FFF2-40B4-BE49-F238E27FC236}">
                  <a16:creationId xmlns:a16="http://schemas.microsoft.com/office/drawing/2014/main" id="{93A42D60-09D3-464C-9CEE-9793BC406A2C}"/>
                </a:ext>
              </a:extLst>
            </p:cNvPr>
            <p:cNvSpPr txBox="1">
              <a:spLocks/>
            </p:cNvSpPr>
            <p:nvPr/>
          </p:nvSpPr>
          <p:spPr>
            <a:xfrm>
              <a:off x="6457950" y="6356351"/>
              <a:ext cx="2057400" cy="365125"/>
            </a:xfrm>
            <a:prstGeom prst="rect">
              <a:avLst/>
            </a:prstGeom>
          </p:spPr>
          <p:txBody>
            <a:bodyPr vert="horz" lIns="91440" tIns="45720" rIns="91440" bIns="4572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fld id="{B9940D52-AD77-4C6A-9DCC-3EEF87AE9DF8}" type="slidenum">
                <a:rPr lang="en-US">
                  <a:solidFill>
                    <a:prstClr val="black">
                      <a:tint val="75000"/>
                    </a:prstClr>
                  </a:solidFill>
                  <a:latin typeface="Calibri Light"/>
                </a:rPr>
                <a:pPr defTabSz="685800"/>
                <a:t>66</a:t>
              </a:fld>
              <a:endParaRPr lang="en-US">
                <a:solidFill>
                  <a:prstClr val="black">
                    <a:tint val="75000"/>
                  </a:prstClr>
                </a:solidFill>
                <a:latin typeface="Calibri Light"/>
              </a:endParaRPr>
            </a:p>
          </p:txBody>
        </p:sp>
        <p:sp>
          <p:nvSpPr>
            <p:cNvPr id="119" name="Rectangle: Rounded Corners 118">
              <a:extLst>
                <a:ext uri="{FF2B5EF4-FFF2-40B4-BE49-F238E27FC236}">
                  <a16:creationId xmlns:a16="http://schemas.microsoft.com/office/drawing/2014/main" id="{A31B6B7F-B442-478B-AC83-5877659C504E}"/>
                </a:ext>
              </a:extLst>
            </p:cNvPr>
            <p:cNvSpPr/>
            <p:nvPr/>
          </p:nvSpPr>
          <p:spPr>
            <a:xfrm>
              <a:off x="628650" y="1951264"/>
              <a:ext cx="1951265" cy="3145971"/>
            </a:xfrm>
            <a:prstGeom prst="roundRect">
              <a:avLst>
                <a:gd name="adj" fmla="val 4952"/>
              </a:avLst>
            </a:prstGeom>
            <a:solidFill>
              <a:schemeClr val="accent2">
                <a:lumMod val="40000"/>
                <a:lumOff val="60000"/>
              </a:scheme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20" name="Rectangle: Rounded Corners 119">
              <a:extLst>
                <a:ext uri="{FF2B5EF4-FFF2-40B4-BE49-F238E27FC236}">
                  <a16:creationId xmlns:a16="http://schemas.microsoft.com/office/drawing/2014/main" id="{755AABF3-A803-4326-BD1C-065642A1AA83}"/>
                </a:ext>
              </a:extLst>
            </p:cNvPr>
            <p:cNvSpPr/>
            <p:nvPr/>
          </p:nvSpPr>
          <p:spPr>
            <a:xfrm>
              <a:off x="3596368" y="1951264"/>
              <a:ext cx="1951265" cy="3145971"/>
            </a:xfrm>
            <a:prstGeom prst="roundRect">
              <a:avLst>
                <a:gd name="adj" fmla="val 4952"/>
              </a:avLst>
            </a:prstGeom>
            <a:solidFill>
              <a:schemeClr val="accent3">
                <a:lumMod val="40000"/>
                <a:lumOff val="60000"/>
              </a:scheme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21" name="Rectangle: Rounded Corners 120">
              <a:extLst>
                <a:ext uri="{FF2B5EF4-FFF2-40B4-BE49-F238E27FC236}">
                  <a16:creationId xmlns:a16="http://schemas.microsoft.com/office/drawing/2014/main" id="{51F48CB3-9A91-4CD8-BAB4-372731EF5FB1}"/>
                </a:ext>
              </a:extLst>
            </p:cNvPr>
            <p:cNvSpPr/>
            <p:nvPr/>
          </p:nvSpPr>
          <p:spPr>
            <a:xfrm>
              <a:off x="6564085" y="1951264"/>
              <a:ext cx="1951265" cy="3145971"/>
            </a:xfrm>
            <a:prstGeom prst="roundRect">
              <a:avLst>
                <a:gd name="adj" fmla="val 4952"/>
              </a:avLst>
            </a:prstGeom>
            <a:solidFill>
              <a:schemeClr val="accent1">
                <a:lumMod val="40000"/>
                <a:lumOff val="60000"/>
              </a:scheme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grpSp>
          <p:nvGrpSpPr>
            <p:cNvPr id="122" name="Group 121">
              <a:extLst>
                <a:ext uri="{FF2B5EF4-FFF2-40B4-BE49-F238E27FC236}">
                  <a16:creationId xmlns:a16="http://schemas.microsoft.com/office/drawing/2014/main" id="{1D5F4261-1706-4F0E-8267-369D57C1FB88}"/>
                </a:ext>
              </a:extLst>
            </p:cNvPr>
            <p:cNvGrpSpPr/>
            <p:nvPr/>
          </p:nvGrpSpPr>
          <p:grpSpPr>
            <a:xfrm>
              <a:off x="2875574" y="3333082"/>
              <a:ext cx="425135" cy="382335"/>
              <a:chOff x="4854484" y="5910272"/>
              <a:chExt cx="283864" cy="255286"/>
            </a:xfrm>
            <a:solidFill>
              <a:srgbClr val="44546A"/>
            </a:solidFill>
          </p:grpSpPr>
          <p:sp>
            <p:nvSpPr>
              <p:cNvPr id="123" name="Freeform 251">
                <a:extLst>
                  <a:ext uri="{FF2B5EF4-FFF2-40B4-BE49-F238E27FC236}">
                    <a16:creationId xmlns:a16="http://schemas.microsoft.com/office/drawing/2014/main" id="{0C8CED70-9586-4725-ABB9-23097BB29906}"/>
                  </a:ext>
                </a:extLst>
              </p:cNvPr>
              <p:cNvSpPr>
                <a:spLocks/>
              </p:cNvSpPr>
              <p:nvPr/>
            </p:nvSpPr>
            <p:spPr bwMode="auto">
              <a:xfrm>
                <a:off x="4854484" y="5910272"/>
                <a:ext cx="165746" cy="255286"/>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sp>
            <p:nvSpPr>
              <p:cNvPr id="124" name="Freeform 252">
                <a:extLst>
                  <a:ext uri="{FF2B5EF4-FFF2-40B4-BE49-F238E27FC236}">
                    <a16:creationId xmlns:a16="http://schemas.microsoft.com/office/drawing/2014/main" id="{0F01F1D5-7465-4E64-9CCB-5C815BD8B5EC}"/>
                  </a:ext>
                </a:extLst>
              </p:cNvPr>
              <p:cNvSpPr>
                <a:spLocks/>
              </p:cNvSpPr>
              <p:nvPr/>
            </p:nvSpPr>
            <p:spPr bwMode="auto">
              <a:xfrm>
                <a:off x="4972602" y="5910272"/>
                <a:ext cx="165746" cy="255286"/>
              </a:xfrm>
              <a:custGeom>
                <a:avLst/>
                <a:gdLst>
                  <a:gd name="T0" fmla="*/ 344 w 348"/>
                  <a:gd name="T1" fmla="*/ 260 h 535"/>
                  <a:gd name="T2" fmla="*/ 86 w 348"/>
                  <a:gd name="T3" fmla="*/ 2 h 535"/>
                  <a:gd name="T4" fmla="*/ 83 w 348"/>
                  <a:gd name="T5" fmla="*/ 0 h 535"/>
                  <a:gd name="T6" fmla="*/ 80 w 348"/>
                  <a:gd name="T7" fmla="*/ 0 h 535"/>
                  <a:gd name="T8" fmla="*/ 75 w 348"/>
                  <a:gd name="T9" fmla="*/ 0 h 535"/>
                  <a:gd name="T10" fmla="*/ 72 w 348"/>
                  <a:gd name="T11" fmla="*/ 2 h 535"/>
                  <a:gd name="T12" fmla="*/ 3 w 348"/>
                  <a:gd name="T13" fmla="*/ 72 h 535"/>
                  <a:gd name="T14" fmla="*/ 1 w 348"/>
                  <a:gd name="T15" fmla="*/ 75 h 535"/>
                  <a:gd name="T16" fmla="*/ 0 w 348"/>
                  <a:gd name="T17" fmla="*/ 79 h 535"/>
                  <a:gd name="T18" fmla="*/ 1 w 348"/>
                  <a:gd name="T19" fmla="*/ 83 h 535"/>
                  <a:gd name="T20" fmla="*/ 3 w 348"/>
                  <a:gd name="T21" fmla="*/ 86 h 535"/>
                  <a:gd name="T22" fmla="*/ 185 w 348"/>
                  <a:gd name="T23" fmla="*/ 268 h 535"/>
                  <a:gd name="T24" fmla="*/ 3 w 348"/>
                  <a:gd name="T25" fmla="*/ 449 h 535"/>
                  <a:gd name="T26" fmla="*/ 1 w 348"/>
                  <a:gd name="T27" fmla="*/ 452 h 535"/>
                  <a:gd name="T28" fmla="*/ 0 w 348"/>
                  <a:gd name="T29" fmla="*/ 457 h 535"/>
                  <a:gd name="T30" fmla="*/ 1 w 348"/>
                  <a:gd name="T31" fmla="*/ 460 h 535"/>
                  <a:gd name="T32" fmla="*/ 3 w 348"/>
                  <a:gd name="T33" fmla="*/ 463 h 535"/>
                  <a:gd name="T34" fmla="*/ 72 w 348"/>
                  <a:gd name="T35" fmla="*/ 532 h 535"/>
                  <a:gd name="T36" fmla="*/ 75 w 348"/>
                  <a:gd name="T37" fmla="*/ 534 h 535"/>
                  <a:gd name="T38" fmla="*/ 80 w 348"/>
                  <a:gd name="T39" fmla="*/ 535 h 535"/>
                  <a:gd name="T40" fmla="*/ 83 w 348"/>
                  <a:gd name="T41" fmla="*/ 534 h 535"/>
                  <a:gd name="T42" fmla="*/ 86 w 348"/>
                  <a:gd name="T43" fmla="*/ 533 h 535"/>
                  <a:gd name="T44" fmla="*/ 344 w 348"/>
                  <a:gd name="T45" fmla="*/ 274 h 535"/>
                  <a:gd name="T46" fmla="*/ 347 w 348"/>
                  <a:gd name="T47" fmla="*/ 271 h 535"/>
                  <a:gd name="T48" fmla="*/ 348 w 348"/>
                  <a:gd name="T49" fmla="*/ 268 h 535"/>
                  <a:gd name="T50" fmla="*/ 347 w 348"/>
                  <a:gd name="T51" fmla="*/ 263 h 535"/>
                  <a:gd name="T52" fmla="*/ 344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4" y="260"/>
                    </a:moveTo>
                    <a:lnTo>
                      <a:pt x="86" y="2"/>
                    </a:lnTo>
                    <a:lnTo>
                      <a:pt x="83" y="0"/>
                    </a:lnTo>
                    <a:lnTo>
                      <a:pt x="80" y="0"/>
                    </a:lnTo>
                    <a:lnTo>
                      <a:pt x="75" y="0"/>
                    </a:lnTo>
                    <a:lnTo>
                      <a:pt x="72" y="2"/>
                    </a:lnTo>
                    <a:lnTo>
                      <a:pt x="3" y="72"/>
                    </a:lnTo>
                    <a:lnTo>
                      <a:pt x="1" y="75"/>
                    </a:lnTo>
                    <a:lnTo>
                      <a:pt x="0" y="79"/>
                    </a:lnTo>
                    <a:lnTo>
                      <a:pt x="1" y="83"/>
                    </a:lnTo>
                    <a:lnTo>
                      <a:pt x="3" y="86"/>
                    </a:lnTo>
                    <a:lnTo>
                      <a:pt x="185" y="268"/>
                    </a:lnTo>
                    <a:lnTo>
                      <a:pt x="3" y="449"/>
                    </a:lnTo>
                    <a:lnTo>
                      <a:pt x="1" y="452"/>
                    </a:lnTo>
                    <a:lnTo>
                      <a:pt x="0" y="457"/>
                    </a:lnTo>
                    <a:lnTo>
                      <a:pt x="1" y="460"/>
                    </a:lnTo>
                    <a:lnTo>
                      <a:pt x="3" y="463"/>
                    </a:lnTo>
                    <a:lnTo>
                      <a:pt x="72" y="532"/>
                    </a:lnTo>
                    <a:lnTo>
                      <a:pt x="75" y="534"/>
                    </a:lnTo>
                    <a:lnTo>
                      <a:pt x="80" y="535"/>
                    </a:lnTo>
                    <a:lnTo>
                      <a:pt x="83" y="534"/>
                    </a:lnTo>
                    <a:lnTo>
                      <a:pt x="86" y="533"/>
                    </a:lnTo>
                    <a:lnTo>
                      <a:pt x="344" y="274"/>
                    </a:lnTo>
                    <a:lnTo>
                      <a:pt x="347" y="271"/>
                    </a:lnTo>
                    <a:lnTo>
                      <a:pt x="348" y="268"/>
                    </a:lnTo>
                    <a:lnTo>
                      <a:pt x="347" y="263"/>
                    </a:lnTo>
                    <a:lnTo>
                      <a:pt x="344"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grpSp>
        <p:grpSp>
          <p:nvGrpSpPr>
            <p:cNvPr id="125" name="Group 124">
              <a:extLst>
                <a:ext uri="{FF2B5EF4-FFF2-40B4-BE49-F238E27FC236}">
                  <a16:creationId xmlns:a16="http://schemas.microsoft.com/office/drawing/2014/main" id="{819BCB2C-2594-4246-AF1C-54887570D1B2}"/>
                </a:ext>
              </a:extLst>
            </p:cNvPr>
            <p:cNvGrpSpPr/>
            <p:nvPr/>
          </p:nvGrpSpPr>
          <p:grpSpPr>
            <a:xfrm>
              <a:off x="5843292" y="3333082"/>
              <a:ext cx="425135" cy="382335"/>
              <a:chOff x="4854484" y="5910272"/>
              <a:chExt cx="283864" cy="255286"/>
            </a:xfrm>
            <a:solidFill>
              <a:srgbClr val="44546A"/>
            </a:solidFill>
          </p:grpSpPr>
          <p:sp>
            <p:nvSpPr>
              <p:cNvPr id="126" name="Freeform 251">
                <a:extLst>
                  <a:ext uri="{FF2B5EF4-FFF2-40B4-BE49-F238E27FC236}">
                    <a16:creationId xmlns:a16="http://schemas.microsoft.com/office/drawing/2014/main" id="{B4AFA590-489D-461F-87B5-31AA21C9CA6E}"/>
                  </a:ext>
                </a:extLst>
              </p:cNvPr>
              <p:cNvSpPr>
                <a:spLocks/>
              </p:cNvSpPr>
              <p:nvPr/>
            </p:nvSpPr>
            <p:spPr bwMode="auto">
              <a:xfrm>
                <a:off x="4854484" y="5910272"/>
                <a:ext cx="165746" cy="255286"/>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sp>
            <p:nvSpPr>
              <p:cNvPr id="127" name="Freeform 252">
                <a:extLst>
                  <a:ext uri="{FF2B5EF4-FFF2-40B4-BE49-F238E27FC236}">
                    <a16:creationId xmlns:a16="http://schemas.microsoft.com/office/drawing/2014/main" id="{686E9970-8B1D-4D78-8BC4-D6A0633DF381}"/>
                  </a:ext>
                </a:extLst>
              </p:cNvPr>
              <p:cNvSpPr>
                <a:spLocks/>
              </p:cNvSpPr>
              <p:nvPr/>
            </p:nvSpPr>
            <p:spPr bwMode="auto">
              <a:xfrm>
                <a:off x="4972602" y="5910272"/>
                <a:ext cx="165746" cy="255286"/>
              </a:xfrm>
              <a:custGeom>
                <a:avLst/>
                <a:gdLst>
                  <a:gd name="T0" fmla="*/ 344 w 348"/>
                  <a:gd name="T1" fmla="*/ 260 h 535"/>
                  <a:gd name="T2" fmla="*/ 86 w 348"/>
                  <a:gd name="T3" fmla="*/ 2 h 535"/>
                  <a:gd name="T4" fmla="*/ 83 w 348"/>
                  <a:gd name="T5" fmla="*/ 0 h 535"/>
                  <a:gd name="T6" fmla="*/ 80 w 348"/>
                  <a:gd name="T7" fmla="*/ 0 h 535"/>
                  <a:gd name="T8" fmla="*/ 75 w 348"/>
                  <a:gd name="T9" fmla="*/ 0 h 535"/>
                  <a:gd name="T10" fmla="*/ 72 w 348"/>
                  <a:gd name="T11" fmla="*/ 2 h 535"/>
                  <a:gd name="T12" fmla="*/ 3 w 348"/>
                  <a:gd name="T13" fmla="*/ 72 h 535"/>
                  <a:gd name="T14" fmla="*/ 1 w 348"/>
                  <a:gd name="T15" fmla="*/ 75 h 535"/>
                  <a:gd name="T16" fmla="*/ 0 w 348"/>
                  <a:gd name="T17" fmla="*/ 79 h 535"/>
                  <a:gd name="T18" fmla="*/ 1 w 348"/>
                  <a:gd name="T19" fmla="*/ 83 h 535"/>
                  <a:gd name="T20" fmla="*/ 3 w 348"/>
                  <a:gd name="T21" fmla="*/ 86 h 535"/>
                  <a:gd name="T22" fmla="*/ 185 w 348"/>
                  <a:gd name="T23" fmla="*/ 268 h 535"/>
                  <a:gd name="T24" fmla="*/ 3 w 348"/>
                  <a:gd name="T25" fmla="*/ 449 h 535"/>
                  <a:gd name="T26" fmla="*/ 1 w 348"/>
                  <a:gd name="T27" fmla="*/ 452 h 535"/>
                  <a:gd name="T28" fmla="*/ 0 w 348"/>
                  <a:gd name="T29" fmla="*/ 457 h 535"/>
                  <a:gd name="T30" fmla="*/ 1 w 348"/>
                  <a:gd name="T31" fmla="*/ 460 h 535"/>
                  <a:gd name="T32" fmla="*/ 3 w 348"/>
                  <a:gd name="T33" fmla="*/ 463 h 535"/>
                  <a:gd name="T34" fmla="*/ 72 w 348"/>
                  <a:gd name="T35" fmla="*/ 532 h 535"/>
                  <a:gd name="T36" fmla="*/ 75 w 348"/>
                  <a:gd name="T37" fmla="*/ 534 h 535"/>
                  <a:gd name="T38" fmla="*/ 80 w 348"/>
                  <a:gd name="T39" fmla="*/ 535 h 535"/>
                  <a:gd name="T40" fmla="*/ 83 w 348"/>
                  <a:gd name="T41" fmla="*/ 534 h 535"/>
                  <a:gd name="T42" fmla="*/ 86 w 348"/>
                  <a:gd name="T43" fmla="*/ 533 h 535"/>
                  <a:gd name="T44" fmla="*/ 344 w 348"/>
                  <a:gd name="T45" fmla="*/ 274 h 535"/>
                  <a:gd name="T46" fmla="*/ 347 w 348"/>
                  <a:gd name="T47" fmla="*/ 271 h 535"/>
                  <a:gd name="T48" fmla="*/ 348 w 348"/>
                  <a:gd name="T49" fmla="*/ 268 h 535"/>
                  <a:gd name="T50" fmla="*/ 347 w 348"/>
                  <a:gd name="T51" fmla="*/ 263 h 535"/>
                  <a:gd name="T52" fmla="*/ 344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4" y="260"/>
                    </a:moveTo>
                    <a:lnTo>
                      <a:pt x="86" y="2"/>
                    </a:lnTo>
                    <a:lnTo>
                      <a:pt x="83" y="0"/>
                    </a:lnTo>
                    <a:lnTo>
                      <a:pt x="80" y="0"/>
                    </a:lnTo>
                    <a:lnTo>
                      <a:pt x="75" y="0"/>
                    </a:lnTo>
                    <a:lnTo>
                      <a:pt x="72" y="2"/>
                    </a:lnTo>
                    <a:lnTo>
                      <a:pt x="3" y="72"/>
                    </a:lnTo>
                    <a:lnTo>
                      <a:pt x="1" y="75"/>
                    </a:lnTo>
                    <a:lnTo>
                      <a:pt x="0" y="79"/>
                    </a:lnTo>
                    <a:lnTo>
                      <a:pt x="1" y="83"/>
                    </a:lnTo>
                    <a:lnTo>
                      <a:pt x="3" y="86"/>
                    </a:lnTo>
                    <a:lnTo>
                      <a:pt x="185" y="268"/>
                    </a:lnTo>
                    <a:lnTo>
                      <a:pt x="3" y="449"/>
                    </a:lnTo>
                    <a:lnTo>
                      <a:pt x="1" y="452"/>
                    </a:lnTo>
                    <a:lnTo>
                      <a:pt x="0" y="457"/>
                    </a:lnTo>
                    <a:lnTo>
                      <a:pt x="1" y="460"/>
                    </a:lnTo>
                    <a:lnTo>
                      <a:pt x="3" y="463"/>
                    </a:lnTo>
                    <a:lnTo>
                      <a:pt x="72" y="532"/>
                    </a:lnTo>
                    <a:lnTo>
                      <a:pt x="75" y="534"/>
                    </a:lnTo>
                    <a:lnTo>
                      <a:pt x="80" y="535"/>
                    </a:lnTo>
                    <a:lnTo>
                      <a:pt x="83" y="534"/>
                    </a:lnTo>
                    <a:lnTo>
                      <a:pt x="86" y="533"/>
                    </a:lnTo>
                    <a:lnTo>
                      <a:pt x="344" y="274"/>
                    </a:lnTo>
                    <a:lnTo>
                      <a:pt x="347" y="271"/>
                    </a:lnTo>
                    <a:lnTo>
                      <a:pt x="348" y="268"/>
                    </a:lnTo>
                    <a:lnTo>
                      <a:pt x="347" y="263"/>
                    </a:lnTo>
                    <a:lnTo>
                      <a:pt x="344"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grpSp>
        <p:sp>
          <p:nvSpPr>
            <p:cNvPr id="137" name="TextBox 136">
              <a:extLst>
                <a:ext uri="{FF2B5EF4-FFF2-40B4-BE49-F238E27FC236}">
                  <a16:creationId xmlns:a16="http://schemas.microsoft.com/office/drawing/2014/main" id="{BD72369C-B18A-43FF-AFFB-FB7B6C1A5ABC}"/>
                </a:ext>
              </a:extLst>
            </p:cNvPr>
            <p:cNvSpPr txBox="1"/>
            <p:nvPr/>
          </p:nvSpPr>
          <p:spPr>
            <a:xfrm>
              <a:off x="861604" y="3340228"/>
              <a:ext cx="1500596" cy="509579"/>
            </a:xfrm>
            <a:prstGeom prst="rect">
              <a:avLst/>
            </a:prstGeom>
            <a:noFill/>
          </p:spPr>
          <p:txBody>
            <a:bodyPr wrap="square" lIns="0" tIns="0" rIns="0" bIns="0" rtlCol="0" anchor="ctr">
              <a:spAutoFit/>
            </a:bodyPr>
            <a:lstStyle/>
            <a:p>
              <a:pPr algn="ctr" defTabSz="685800"/>
              <a:r>
                <a:rPr lang="en-US" sz="1050" dirty="0">
                  <a:latin typeface="Calibri Light"/>
                </a:rPr>
                <a:t>Number of adults and children currently receiving antiretroviral therapy (ART)</a:t>
              </a:r>
            </a:p>
          </p:txBody>
        </p:sp>
        <p:sp>
          <p:nvSpPr>
            <p:cNvPr id="138" name="TextBox 137">
              <a:extLst>
                <a:ext uri="{FF2B5EF4-FFF2-40B4-BE49-F238E27FC236}">
                  <a16:creationId xmlns:a16="http://schemas.microsoft.com/office/drawing/2014/main" id="{29087046-24DC-401B-97BD-14EADBFCDAAD}"/>
                </a:ext>
              </a:extLst>
            </p:cNvPr>
            <p:cNvSpPr txBox="1"/>
            <p:nvPr/>
          </p:nvSpPr>
          <p:spPr>
            <a:xfrm>
              <a:off x="853984" y="2277218"/>
              <a:ext cx="1500596" cy="291188"/>
            </a:xfrm>
            <a:prstGeom prst="rect">
              <a:avLst/>
            </a:prstGeom>
            <a:noFill/>
          </p:spPr>
          <p:txBody>
            <a:bodyPr wrap="square" lIns="0" tIns="0" rIns="0" bIns="0" rtlCol="0" anchor="ctr">
              <a:spAutoFit/>
            </a:bodyPr>
            <a:lstStyle/>
            <a:p>
              <a:pPr algn="ctr" defTabSz="685800"/>
              <a:r>
                <a:rPr lang="en-US" b="1" dirty="0">
                  <a:latin typeface="Calibri Light"/>
                </a:rPr>
                <a:t>DESCRIPTION</a:t>
              </a:r>
            </a:p>
          </p:txBody>
        </p:sp>
        <p:sp>
          <p:nvSpPr>
            <p:cNvPr id="144" name="TextBox 143">
              <a:extLst>
                <a:ext uri="{FF2B5EF4-FFF2-40B4-BE49-F238E27FC236}">
                  <a16:creationId xmlns:a16="http://schemas.microsoft.com/office/drawing/2014/main" id="{C75D3502-2084-4D34-B7F6-EC24A147A540}"/>
                </a:ext>
              </a:extLst>
            </p:cNvPr>
            <p:cNvSpPr txBox="1"/>
            <p:nvPr/>
          </p:nvSpPr>
          <p:spPr>
            <a:xfrm>
              <a:off x="3681349" y="3260347"/>
              <a:ext cx="1794069" cy="509579"/>
            </a:xfrm>
            <a:prstGeom prst="rect">
              <a:avLst/>
            </a:prstGeom>
            <a:noFill/>
            <a:ln>
              <a:noFill/>
            </a:ln>
          </p:spPr>
          <p:txBody>
            <a:bodyPr wrap="square" lIns="0" tIns="0" rIns="0" bIns="0" rtlCol="0" anchor="ctr">
              <a:spAutoFit/>
            </a:bodyPr>
            <a:lstStyle/>
            <a:p>
              <a:pPr algn="ctr" defTabSz="685800"/>
              <a:r>
                <a:rPr lang="en-US" sz="1050" dirty="0">
                  <a:latin typeface="Calibri Light"/>
                </a:rPr>
                <a:t>Number of adults and children currently receiving antiretroviral therapy (ART)</a:t>
              </a:r>
            </a:p>
          </p:txBody>
        </p:sp>
        <p:sp>
          <p:nvSpPr>
            <p:cNvPr id="145" name="TextBox 144">
              <a:extLst>
                <a:ext uri="{FF2B5EF4-FFF2-40B4-BE49-F238E27FC236}">
                  <a16:creationId xmlns:a16="http://schemas.microsoft.com/office/drawing/2014/main" id="{4229BB9B-1E9C-4794-BD7E-31916C0D2655}"/>
                </a:ext>
              </a:extLst>
            </p:cNvPr>
            <p:cNvSpPr txBox="1"/>
            <p:nvPr/>
          </p:nvSpPr>
          <p:spPr>
            <a:xfrm>
              <a:off x="3698128" y="2257667"/>
              <a:ext cx="1729828" cy="291188"/>
            </a:xfrm>
            <a:prstGeom prst="rect">
              <a:avLst/>
            </a:prstGeom>
            <a:noFill/>
          </p:spPr>
          <p:txBody>
            <a:bodyPr wrap="square" lIns="0" tIns="0" rIns="0" bIns="0" rtlCol="0" anchor="ctr">
              <a:spAutoFit/>
            </a:bodyPr>
            <a:lstStyle/>
            <a:p>
              <a:pPr algn="ctr" defTabSz="685800"/>
              <a:r>
                <a:rPr lang="en-US" b="1" dirty="0">
                  <a:latin typeface="Calibri Light"/>
                </a:rPr>
                <a:t>NUMERATOR</a:t>
              </a:r>
            </a:p>
          </p:txBody>
        </p:sp>
        <p:sp>
          <p:nvSpPr>
            <p:cNvPr id="150" name="TextBox 149">
              <a:extLst>
                <a:ext uri="{FF2B5EF4-FFF2-40B4-BE49-F238E27FC236}">
                  <a16:creationId xmlns:a16="http://schemas.microsoft.com/office/drawing/2014/main" id="{A432B2BB-4C21-4AF1-9B8E-A30EC8F9E140}"/>
                </a:ext>
              </a:extLst>
            </p:cNvPr>
            <p:cNvSpPr txBox="1"/>
            <p:nvPr/>
          </p:nvSpPr>
          <p:spPr>
            <a:xfrm>
              <a:off x="6808655" y="3260347"/>
              <a:ext cx="1500596" cy="509579"/>
            </a:xfrm>
            <a:prstGeom prst="rect">
              <a:avLst/>
            </a:prstGeom>
            <a:noFill/>
          </p:spPr>
          <p:txBody>
            <a:bodyPr wrap="square" lIns="0" tIns="0" rIns="0" bIns="0" rtlCol="0" anchor="ctr">
              <a:spAutoFit/>
            </a:bodyPr>
            <a:lstStyle/>
            <a:p>
              <a:pPr marL="171450" indent="-171450" defTabSz="685800">
                <a:buFont typeface="Arial" panose="020B0604020202020204" pitchFamily="34" charset="0"/>
                <a:buChar char="•"/>
              </a:pPr>
              <a:r>
                <a:rPr lang="en-US" sz="1050" dirty="0">
                  <a:latin typeface="Calibri Light"/>
                </a:rPr>
                <a:t>National Data Repository (NDR)</a:t>
              </a:r>
            </a:p>
            <a:p>
              <a:pPr marL="171450" indent="-171450" defTabSz="685800">
                <a:buFont typeface="Arial" panose="020B0604020202020204" pitchFamily="34" charset="0"/>
                <a:buChar char="•"/>
              </a:pPr>
              <a:r>
                <a:rPr lang="en-US" sz="1050" dirty="0" err="1">
                  <a:latin typeface="Calibri Light"/>
                </a:rPr>
                <a:t>NigeriaMRS</a:t>
              </a:r>
              <a:endParaRPr lang="en-US" sz="1050" dirty="0">
                <a:latin typeface="Calibri Light"/>
              </a:endParaRPr>
            </a:p>
          </p:txBody>
        </p:sp>
        <p:sp>
          <p:nvSpPr>
            <p:cNvPr id="151" name="TextBox 150">
              <a:extLst>
                <a:ext uri="{FF2B5EF4-FFF2-40B4-BE49-F238E27FC236}">
                  <a16:creationId xmlns:a16="http://schemas.microsoft.com/office/drawing/2014/main" id="{269059BD-5BEF-4B22-9D87-AC985C86C7EA}"/>
                </a:ext>
              </a:extLst>
            </p:cNvPr>
            <p:cNvSpPr txBox="1"/>
            <p:nvPr/>
          </p:nvSpPr>
          <p:spPr>
            <a:xfrm>
              <a:off x="6789420" y="2277218"/>
              <a:ext cx="1500596" cy="291188"/>
            </a:xfrm>
            <a:prstGeom prst="rect">
              <a:avLst/>
            </a:prstGeom>
            <a:noFill/>
          </p:spPr>
          <p:txBody>
            <a:bodyPr wrap="square" lIns="0" tIns="0" rIns="0" bIns="0" rtlCol="0" anchor="ctr">
              <a:spAutoFit/>
            </a:bodyPr>
            <a:lstStyle/>
            <a:p>
              <a:pPr algn="ctr" defTabSz="685800"/>
              <a:r>
                <a:rPr lang="en-US" b="1" dirty="0">
                  <a:latin typeface="Calibri Light"/>
                </a:rPr>
                <a:t>DATA SOURCE</a:t>
              </a:r>
            </a:p>
          </p:txBody>
        </p:sp>
      </p:grpSp>
    </p:spTree>
    <p:extLst>
      <p:ext uri="{BB962C8B-B14F-4D97-AF65-F5344CB8AC3E}">
        <p14:creationId xmlns:p14="http://schemas.microsoft.com/office/powerpoint/2010/main" val="393535439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TextBox 133">
            <a:extLst>
              <a:ext uri="{FF2B5EF4-FFF2-40B4-BE49-F238E27FC236}">
                <a16:creationId xmlns:a16="http://schemas.microsoft.com/office/drawing/2014/main" id="{86E6788C-76AA-43BC-8B7F-196C83841096}"/>
              </a:ext>
            </a:extLst>
          </p:cNvPr>
          <p:cNvSpPr txBox="1"/>
          <p:nvPr/>
        </p:nvSpPr>
        <p:spPr>
          <a:xfrm>
            <a:off x="1847850" y="463992"/>
            <a:ext cx="8496300" cy="553998"/>
          </a:xfrm>
          <a:prstGeom prst="rect">
            <a:avLst/>
          </a:prstGeom>
          <a:noFill/>
        </p:spPr>
        <p:txBody>
          <a:bodyPr wrap="square" lIns="0" tIns="0" rIns="0" bIns="0" rtlCol="0" anchor="t">
            <a:spAutoFit/>
          </a:bodyPr>
          <a:lstStyle/>
          <a:p>
            <a:pPr algn="ctr" defTabSz="685800"/>
            <a:r>
              <a:rPr lang="en-US" sz="3600" dirty="0">
                <a:latin typeface="Corbel" panose="020B0503020204020204"/>
              </a:rPr>
              <a:t>TX_CURR</a:t>
            </a:r>
          </a:p>
        </p:txBody>
      </p:sp>
      <p:grpSp>
        <p:nvGrpSpPr>
          <p:cNvPr id="2" name="Group 1">
            <a:extLst>
              <a:ext uri="{FF2B5EF4-FFF2-40B4-BE49-F238E27FC236}">
                <a16:creationId xmlns:a16="http://schemas.microsoft.com/office/drawing/2014/main" id="{11383E8B-A9F5-4C59-A67A-3554539F5B7A}"/>
              </a:ext>
            </a:extLst>
          </p:cNvPr>
          <p:cNvGrpSpPr/>
          <p:nvPr/>
        </p:nvGrpSpPr>
        <p:grpSpPr>
          <a:xfrm>
            <a:off x="1524001" y="1143000"/>
            <a:ext cx="9144001" cy="5578476"/>
            <a:chOff x="0" y="857250"/>
            <a:chExt cx="9144001" cy="5864226"/>
          </a:xfrm>
        </p:grpSpPr>
        <p:sp>
          <p:nvSpPr>
            <p:cNvPr id="98" name="Rectangle 97">
              <a:extLst>
                <a:ext uri="{FF2B5EF4-FFF2-40B4-BE49-F238E27FC236}">
                  <a16:creationId xmlns:a16="http://schemas.microsoft.com/office/drawing/2014/main" id="{84CAA34D-CD75-45C6-B39E-7C242EB87261}"/>
                </a:ext>
              </a:extLst>
            </p:cNvPr>
            <p:cNvSpPr/>
            <p:nvPr/>
          </p:nvSpPr>
          <p:spPr>
            <a:xfrm>
              <a:off x="1" y="2871107"/>
              <a:ext cx="9144000" cy="1306286"/>
            </a:xfrm>
            <a:prstGeom prst="rect">
              <a:avLst/>
            </a:prstGeom>
            <a:solidFill>
              <a:srgbClr val="E7E6E6"/>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99" name="Rectangle: Rounded Corners 98">
              <a:extLst>
                <a:ext uri="{FF2B5EF4-FFF2-40B4-BE49-F238E27FC236}">
                  <a16:creationId xmlns:a16="http://schemas.microsoft.com/office/drawing/2014/main" id="{B79F2794-CAB0-4CBC-A170-CA7853D4B5E7}"/>
                </a:ext>
              </a:extLst>
            </p:cNvPr>
            <p:cNvSpPr/>
            <p:nvPr/>
          </p:nvSpPr>
          <p:spPr>
            <a:xfrm>
              <a:off x="3652410" y="2015558"/>
              <a:ext cx="1951265" cy="3145971"/>
            </a:xfrm>
            <a:prstGeom prst="roundRect">
              <a:avLst>
                <a:gd name="adj" fmla="val 4952"/>
              </a:avLst>
            </a:prstGeom>
            <a:solidFill>
              <a:sysClr val="window" lastClr="FFFFFF">
                <a:lumMod val="65000"/>
              </a:sys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00" name="Rectangle: Rounded Corners 99">
              <a:extLst>
                <a:ext uri="{FF2B5EF4-FFF2-40B4-BE49-F238E27FC236}">
                  <a16:creationId xmlns:a16="http://schemas.microsoft.com/office/drawing/2014/main" id="{624C18DD-A9DF-4469-A7B6-6C9AAA2D41F4}"/>
                </a:ext>
              </a:extLst>
            </p:cNvPr>
            <p:cNvSpPr/>
            <p:nvPr/>
          </p:nvSpPr>
          <p:spPr>
            <a:xfrm>
              <a:off x="6625597" y="2015558"/>
              <a:ext cx="1951265" cy="3145971"/>
            </a:xfrm>
            <a:prstGeom prst="roundRect">
              <a:avLst>
                <a:gd name="adj" fmla="val 4952"/>
              </a:avLst>
            </a:prstGeom>
            <a:solidFill>
              <a:sysClr val="window" lastClr="FFFFFF">
                <a:lumMod val="65000"/>
              </a:sys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01" name="Rectangle: Rounded Corners 100">
              <a:extLst>
                <a:ext uri="{FF2B5EF4-FFF2-40B4-BE49-F238E27FC236}">
                  <a16:creationId xmlns:a16="http://schemas.microsoft.com/office/drawing/2014/main" id="{F503AF90-BD38-48FC-8812-4FA3F25DB0E6}"/>
                </a:ext>
              </a:extLst>
            </p:cNvPr>
            <p:cNvSpPr/>
            <p:nvPr/>
          </p:nvSpPr>
          <p:spPr>
            <a:xfrm>
              <a:off x="685800" y="2015558"/>
              <a:ext cx="1951265" cy="3145971"/>
            </a:xfrm>
            <a:prstGeom prst="roundRect">
              <a:avLst>
                <a:gd name="adj" fmla="val 4952"/>
              </a:avLst>
            </a:prstGeom>
            <a:solidFill>
              <a:sysClr val="window" lastClr="FFFFFF">
                <a:lumMod val="65000"/>
              </a:sys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02" name="Frame 101">
              <a:extLst>
                <a:ext uri="{FF2B5EF4-FFF2-40B4-BE49-F238E27FC236}">
                  <a16:creationId xmlns:a16="http://schemas.microsoft.com/office/drawing/2014/main" id="{530C96A5-18F8-41CE-8FBF-056A3D32634C}"/>
                </a:ext>
              </a:extLst>
            </p:cNvPr>
            <p:cNvSpPr/>
            <p:nvPr/>
          </p:nvSpPr>
          <p:spPr>
            <a:xfrm>
              <a:off x="0" y="857250"/>
              <a:ext cx="9144000" cy="5143500"/>
            </a:xfrm>
            <a:prstGeom prst="frame">
              <a:avLst>
                <a:gd name="adj1" fmla="val 1053"/>
              </a:avLst>
            </a:prstGeom>
            <a:solidFill>
              <a:srgbClr val="44546A">
                <a:lumMod val="40000"/>
                <a:lumOff val="60000"/>
              </a:srgbClr>
            </a:solidFill>
            <a:ln w="12700" cap="flat" cmpd="sng" algn="ctr">
              <a:noFill/>
              <a:prstDash val="solid"/>
              <a:miter lim="800000"/>
            </a:ln>
            <a:effectLst/>
          </p:spPr>
          <p:txBody>
            <a:bodyPr rtlCol="0" anchor="ctr"/>
            <a:lstStyle/>
            <a:p>
              <a:pPr algn="ctr" defTabSz="685800">
                <a:defRPr/>
              </a:pPr>
              <a:endParaRPr lang="en-US" sz="1350" kern="0">
                <a:solidFill>
                  <a:prstClr val="black"/>
                </a:solidFill>
                <a:latin typeface="Calibri Light"/>
              </a:endParaRPr>
            </a:p>
          </p:txBody>
        </p:sp>
        <p:sp>
          <p:nvSpPr>
            <p:cNvPr id="103" name="Rectangle 102">
              <a:extLst>
                <a:ext uri="{FF2B5EF4-FFF2-40B4-BE49-F238E27FC236}">
                  <a16:creationId xmlns:a16="http://schemas.microsoft.com/office/drawing/2014/main" id="{D5A75610-4C9C-4007-86BE-0C93387BD4CC}"/>
                </a:ext>
              </a:extLst>
            </p:cNvPr>
            <p:cNvSpPr/>
            <p:nvPr/>
          </p:nvSpPr>
          <p:spPr>
            <a:xfrm>
              <a:off x="0" y="857250"/>
              <a:ext cx="336430" cy="336430"/>
            </a:xfrm>
            <a:prstGeom prst="rect">
              <a:avLst/>
            </a:prstGeom>
            <a:solidFill>
              <a:srgbClr val="AF5F6D"/>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04" name="Rectangle 103">
              <a:extLst>
                <a:ext uri="{FF2B5EF4-FFF2-40B4-BE49-F238E27FC236}">
                  <a16:creationId xmlns:a16="http://schemas.microsoft.com/office/drawing/2014/main" id="{88DED4A1-8837-48AC-9F2B-DE23F8D97ECB}"/>
                </a:ext>
              </a:extLst>
            </p:cNvPr>
            <p:cNvSpPr/>
            <p:nvPr/>
          </p:nvSpPr>
          <p:spPr>
            <a:xfrm>
              <a:off x="8807571" y="5664321"/>
              <a:ext cx="336430" cy="336430"/>
            </a:xfrm>
            <a:prstGeom prst="rect">
              <a:avLst/>
            </a:prstGeom>
            <a:solidFill>
              <a:srgbClr val="EB6B56"/>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18" name="Slide Number Placeholder 21">
              <a:extLst>
                <a:ext uri="{FF2B5EF4-FFF2-40B4-BE49-F238E27FC236}">
                  <a16:creationId xmlns:a16="http://schemas.microsoft.com/office/drawing/2014/main" id="{93A42D60-09D3-464C-9CEE-9793BC406A2C}"/>
                </a:ext>
              </a:extLst>
            </p:cNvPr>
            <p:cNvSpPr txBox="1">
              <a:spLocks/>
            </p:cNvSpPr>
            <p:nvPr/>
          </p:nvSpPr>
          <p:spPr>
            <a:xfrm>
              <a:off x="6457950" y="6356351"/>
              <a:ext cx="2057400" cy="365125"/>
            </a:xfrm>
            <a:prstGeom prst="rect">
              <a:avLst/>
            </a:prstGeom>
          </p:spPr>
          <p:txBody>
            <a:bodyPr vert="horz" lIns="91440" tIns="45720" rIns="91440" bIns="4572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fld id="{B9940D52-AD77-4C6A-9DCC-3EEF87AE9DF8}" type="slidenum">
                <a:rPr lang="en-US">
                  <a:solidFill>
                    <a:prstClr val="black">
                      <a:tint val="75000"/>
                    </a:prstClr>
                  </a:solidFill>
                  <a:latin typeface="Calibri Light"/>
                </a:rPr>
                <a:pPr defTabSz="685800"/>
                <a:t>67</a:t>
              </a:fld>
              <a:endParaRPr lang="en-US">
                <a:solidFill>
                  <a:prstClr val="black">
                    <a:tint val="75000"/>
                  </a:prstClr>
                </a:solidFill>
                <a:latin typeface="Calibri Light"/>
              </a:endParaRPr>
            </a:p>
          </p:txBody>
        </p:sp>
        <p:sp>
          <p:nvSpPr>
            <p:cNvPr id="119" name="Rectangle: Rounded Corners 118">
              <a:extLst>
                <a:ext uri="{FF2B5EF4-FFF2-40B4-BE49-F238E27FC236}">
                  <a16:creationId xmlns:a16="http://schemas.microsoft.com/office/drawing/2014/main" id="{A31B6B7F-B442-478B-AC83-5877659C504E}"/>
                </a:ext>
              </a:extLst>
            </p:cNvPr>
            <p:cNvSpPr/>
            <p:nvPr/>
          </p:nvSpPr>
          <p:spPr>
            <a:xfrm>
              <a:off x="628650" y="1951264"/>
              <a:ext cx="1951265" cy="3145971"/>
            </a:xfrm>
            <a:prstGeom prst="roundRect">
              <a:avLst>
                <a:gd name="adj" fmla="val 4952"/>
              </a:avLst>
            </a:prstGeom>
            <a:solidFill>
              <a:schemeClr val="accent4">
                <a:lumMod val="20000"/>
                <a:lumOff val="80000"/>
              </a:scheme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20" name="Rectangle: Rounded Corners 119">
              <a:extLst>
                <a:ext uri="{FF2B5EF4-FFF2-40B4-BE49-F238E27FC236}">
                  <a16:creationId xmlns:a16="http://schemas.microsoft.com/office/drawing/2014/main" id="{755AABF3-A803-4326-BD1C-065642A1AA83}"/>
                </a:ext>
              </a:extLst>
            </p:cNvPr>
            <p:cNvSpPr/>
            <p:nvPr/>
          </p:nvSpPr>
          <p:spPr>
            <a:xfrm>
              <a:off x="3596368" y="1951264"/>
              <a:ext cx="1951265" cy="3145971"/>
            </a:xfrm>
            <a:prstGeom prst="roundRect">
              <a:avLst>
                <a:gd name="adj" fmla="val 4952"/>
              </a:avLst>
            </a:prstGeom>
            <a:solidFill>
              <a:schemeClr val="bg1">
                <a:lumMod val="85000"/>
              </a:scheme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21" name="Rectangle: Rounded Corners 120">
              <a:extLst>
                <a:ext uri="{FF2B5EF4-FFF2-40B4-BE49-F238E27FC236}">
                  <a16:creationId xmlns:a16="http://schemas.microsoft.com/office/drawing/2014/main" id="{51F48CB3-9A91-4CD8-BAB4-372731EF5FB1}"/>
                </a:ext>
              </a:extLst>
            </p:cNvPr>
            <p:cNvSpPr/>
            <p:nvPr/>
          </p:nvSpPr>
          <p:spPr>
            <a:xfrm>
              <a:off x="6564085" y="1951264"/>
              <a:ext cx="1951265" cy="3145971"/>
            </a:xfrm>
            <a:prstGeom prst="roundRect">
              <a:avLst>
                <a:gd name="adj" fmla="val 4952"/>
              </a:avLst>
            </a:prstGeom>
            <a:solidFill>
              <a:schemeClr val="accent6">
                <a:lumMod val="20000"/>
                <a:lumOff val="80000"/>
              </a:scheme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grpSp>
          <p:nvGrpSpPr>
            <p:cNvPr id="122" name="Group 121">
              <a:extLst>
                <a:ext uri="{FF2B5EF4-FFF2-40B4-BE49-F238E27FC236}">
                  <a16:creationId xmlns:a16="http://schemas.microsoft.com/office/drawing/2014/main" id="{1D5F4261-1706-4F0E-8267-369D57C1FB88}"/>
                </a:ext>
              </a:extLst>
            </p:cNvPr>
            <p:cNvGrpSpPr/>
            <p:nvPr/>
          </p:nvGrpSpPr>
          <p:grpSpPr>
            <a:xfrm>
              <a:off x="2875574" y="3333082"/>
              <a:ext cx="425135" cy="382335"/>
              <a:chOff x="4854484" y="5910272"/>
              <a:chExt cx="283864" cy="255286"/>
            </a:xfrm>
            <a:solidFill>
              <a:srgbClr val="44546A"/>
            </a:solidFill>
          </p:grpSpPr>
          <p:sp>
            <p:nvSpPr>
              <p:cNvPr id="123" name="Freeform 251">
                <a:extLst>
                  <a:ext uri="{FF2B5EF4-FFF2-40B4-BE49-F238E27FC236}">
                    <a16:creationId xmlns:a16="http://schemas.microsoft.com/office/drawing/2014/main" id="{0C8CED70-9586-4725-ABB9-23097BB29906}"/>
                  </a:ext>
                </a:extLst>
              </p:cNvPr>
              <p:cNvSpPr>
                <a:spLocks/>
              </p:cNvSpPr>
              <p:nvPr/>
            </p:nvSpPr>
            <p:spPr bwMode="auto">
              <a:xfrm>
                <a:off x="4854484" y="5910272"/>
                <a:ext cx="165746" cy="255286"/>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sp>
            <p:nvSpPr>
              <p:cNvPr id="124" name="Freeform 252">
                <a:extLst>
                  <a:ext uri="{FF2B5EF4-FFF2-40B4-BE49-F238E27FC236}">
                    <a16:creationId xmlns:a16="http://schemas.microsoft.com/office/drawing/2014/main" id="{0F01F1D5-7465-4E64-9CCB-5C815BD8B5EC}"/>
                  </a:ext>
                </a:extLst>
              </p:cNvPr>
              <p:cNvSpPr>
                <a:spLocks/>
              </p:cNvSpPr>
              <p:nvPr/>
            </p:nvSpPr>
            <p:spPr bwMode="auto">
              <a:xfrm>
                <a:off x="4972602" y="5910272"/>
                <a:ext cx="165746" cy="255286"/>
              </a:xfrm>
              <a:custGeom>
                <a:avLst/>
                <a:gdLst>
                  <a:gd name="T0" fmla="*/ 344 w 348"/>
                  <a:gd name="T1" fmla="*/ 260 h 535"/>
                  <a:gd name="T2" fmla="*/ 86 w 348"/>
                  <a:gd name="T3" fmla="*/ 2 h 535"/>
                  <a:gd name="T4" fmla="*/ 83 w 348"/>
                  <a:gd name="T5" fmla="*/ 0 h 535"/>
                  <a:gd name="T6" fmla="*/ 80 w 348"/>
                  <a:gd name="T7" fmla="*/ 0 h 535"/>
                  <a:gd name="T8" fmla="*/ 75 w 348"/>
                  <a:gd name="T9" fmla="*/ 0 h 535"/>
                  <a:gd name="T10" fmla="*/ 72 w 348"/>
                  <a:gd name="T11" fmla="*/ 2 h 535"/>
                  <a:gd name="T12" fmla="*/ 3 w 348"/>
                  <a:gd name="T13" fmla="*/ 72 h 535"/>
                  <a:gd name="T14" fmla="*/ 1 w 348"/>
                  <a:gd name="T15" fmla="*/ 75 h 535"/>
                  <a:gd name="T16" fmla="*/ 0 w 348"/>
                  <a:gd name="T17" fmla="*/ 79 h 535"/>
                  <a:gd name="T18" fmla="*/ 1 w 348"/>
                  <a:gd name="T19" fmla="*/ 83 h 535"/>
                  <a:gd name="T20" fmla="*/ 3 w 348"/>
                  <a:gd name="T21" fmla="*/ 86 h 535"/>
                  <a:gd name="T22" fmla="*/ 185 w 348"/>
                  <a:gd name="T23" fmla="*/ 268 h 535"/>
                  <a:gd name="T24" fmla="*/ 3 w 348"/>
                  <a:gd name="T25" fmla="*/ 449 h 535"/>
                  <a:gd name="T26" fmla="*/ 1 w 348"/>
                  <a:gd name="T27" fmla="*/ 452 h 535"/>
                  <a:gd name="T28" fmla="*/ 0 w 348"/>
                  <a:gd name="T29" fmla="*/ 457 h 535"/>
                  <a:gd name="T30" fmla="*/ 1 w 348"/>
                  <a:gd name="T31" fmla="*/ 460 h 535"/>
                  <a:gd name="T32" fmla="*/ 3 w 348"/>
                  <a:gd name="T33" fmla="*/ 463 h 535"/>
                  <a:gd name="T34" fmla="*/ 72 w 348"/>
                  <a:gd name="T35" fmla="*/ 532 h 535"/>
                  <a:gd name="T36" fmla="*/ 75 w 348"/>
                  <a:gd name="T37" fmla="*/ 534 h 535"/>
                  <a:gd name="T38" fmla="*/ 80 w 348"/>
                  <a:gd name="T39" fmla="*/ 535 h 535"/>
                  <a:gd name="T40" fmla="*/ 83 w 348"/>
                  <a:gd name="T41" fmla="*/ 534 h 535"/>
                  <a:gd name="T42" fmla="*/ 86 w 348"/>
                  <a:gd name="T43" fmla="*/ 533 h 535"/>
                  <a:gd name="T44" fmla="*/ 344 w 348"/>
                  <a:gd name="T45" fmla="*/ 274 h 535"/>
                  <a:gd name="T46" fmla="*/ 347 w 348"/>
                  <a:gd name="T47" fmla="*/ 271 h 535"/>
                  <a:gd name="T48" fmla="*/ 348 w 348"/>
                  <a:gd name="T49" fmla="*/ 268 h 535"/>
                  <a:gd name="T50" fmla="*/ 347 w 348"/>
                  <a:gd name="T51" fmla="*/ 263 h 535"/>
                  <a:gd name="T52" fmla="*/ 344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4" y="260"/>
                    </a:moveTo>
                    <a:lnTo>
                      <a:pt x="86" y="2"/>
                    </a:lnTo>
                    <a:lnTo>
                      <a:pt x="83" y="0"/>
                    </a:lnTo>
                    <a:lnTo>
                      <a:pt x="80" y="0"/>
                    </a:lnTo>
                    <a:lnTo>
                      <a:pt x="75" y="0"/>
                    </a:lnTo>
                    <a:lnTo>
                      <a:pt x="72" y="2"/>
                    </a:lnTo>
                    <a:lnTo>
                      <a:pt x="3" y="72"/>
                    </a:lnTo>
                    <a:lnTo>
                      <a:pt x="1" y="75"/>
                    </a:lnTo>
                    <a:lnTo>
                      <a:pt x="0" y="79"/>
                    </a:lnTo>
                    <a:lnTo>
                      <a:pt x="1" y="83"/>
                    </a:lnTo>
                    <a:lnTo>
                      <a:pt x="3" y="86"/>
                    </a:lnTo>
                    <a:lnTo>
                      <a:pt x="185" y="268"/>
                    </a:lnTo>
                    <a:lnTo>
                      <a:pt x="3" y="449"/>
                    </a:lnTo>
                    <a:lnTo>
                      <a:pt x="1" y="452"/>
                    </a:lnTo>
                    <a:lnTo>
                      <a:pt x="0" y="457"/>
                    </a:lnTo>
                    <a:lnTo>
                      <a:pt x="1" y="460"/>
                    </a:lnTo>
                    <a:lnTo>
                      <a:pt x="3" y="463"/>
                    </a:lnTo>
                    <a:lnTo>
                      <a:pt x="72" y="532"/>
                    </a:lnTo>
                    <a:lnTo>
                      <a:pt x="75" y="534"/>
                    </a:lnTo>
                    <a:lnTo>
                      <a:pt x="80" y="535"/>
                    </a:lnTo>
                    <a:lnTo>
                      <a:pt x="83" y="534"/>
                    </a:lnTo>
                    <a:lnTo>
                      <a:pt x="86" y="533"/>
                    </a:lnTo>
                    <a:lnTo>
                      <a:pt x="344" y="274"/>
                    </a:lnTo>
                    <a:lnTo>
                      <a:pt x="347" y="271"/>
                    </a:lnTo>
                    <a:lnTo>
                      <a:pt x="348" y="268"/>
                    </a:lnTo>
                    <a:lnTo>
                      <a:pt x="347" y="263"/>
                    </a:lnTo>
                    <a:lnTo>
                      <a:pt x="344"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grpSp>
        <p:grpSp>
          <p:nvGrpSpPr>
            <p:cNvPr id="125" name="Group 124">
              <a:extLst>
                <a:ext uri="{FF2B5EF4-FFF2-40B4-BE49-F238E27FC236}">
                  <a16:creationId xmlns:a16="http://schemas.microsoft.com/office/drawing/2014/main" id="{819BCB2C-2594-4246-AF1C-54887570D1B2}"/>
                </a:ext>
              </a:extLst>
            </p:cNvPr>
            <p:cNvGrpSpPr/>
            <p:nvPr/>
          </p:nvGrpSpPr>
          <p:grpSpPr>
            <a:xfrm>
              <a:off x="5843292" y="3333082"/>
              <a:ext cx="425135" cy="382335"/>
              <a:chOff x="4854484" y="5910272"/>
              <a:chExt cx="283864" cy="255286"/>
            </a:xfrm>
            <a:solidFill>
              <a:srgbClr val="44546A"/>
            </a:solidFill>
          </p:grpSpPr>
          <p:sp>
            <p:nvSpPr>
              <p:cNvPr id="126" name="Freeform 251">
                <a:extLst>
                  <a:ext uri="{FF2B5EF4-FFF2-40B4-BE49-F238E27FC236}">
                    <a16:creationId xmlns:a16="http://schemas.microsoft.com/office/drawing/2014/main" id="{B4AFA590-489D-461F-87B5-31AA21C9CA6E}"/>
                  </a:ext>
                </a:extLst>
              </p:cNvPr>
              <p:cNvSpPr>
                <a:spLocks/>
              </p:cNvSpPr>
              <p:nvPr/>
            </p:nvSpPr>
            <p:spPr bwMode="auto">
              <a:xfrm>
                <a:off x="4854484" y="5910272"/>
                <a:ext cx="165746" cy="255286"/>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sp>
            <p:nvSpPr>
              <p:cNvPr id="127" name="Freeform 252">
                <a:extLst>
                  <a:ext uri="{FF2B5EF4-FFF2-40B4-BE49-F238E27FC236}">
                    <a16:creationId xmlns:a16="http://schemas.microsoft.com/office/drawing/2014/main" id="{686E9970-8B1D-4D78-8BC4-D6A0633DF381}"/>
                  </a:ext>
                </a:extLst>
              </p:cNvPr>
              <p:cNvSpPr>
                <a:spLocks/>
              </p:cNvSpPr>
              <p:nvPr/>
            </p:nvSpPr>
            <p:spPr bwMode="auto">
              <a:xfrm>
                <a:off x="4972602" y="5910272"/>
                <a:ext cx="165746" cy="255286"/>
              </a:xfrm>
              <a:custGeom>
                <a:avLst/>
                <a:gdLst>
                  <a:gd name="T0" fmla="*/ 344 w 348"/>
                  <a:gd name="T1" fmla="*/ 260 h 535"/>
                  <a:gd name="T2" fmla="*/ 86 w 348"/>
                  <a:gd name="T3" fmla="*/ 2 h 535"/>
                  <a:gd name="T4" fmla="*/ 83 w 348"/>
                  <a:gd name="T5" fmla="*/ 0 h 535"/>
                  <a:gd name="T6" fmla="*/ 80 w 348"/>
                  <a:gd name="T7" fmla="*/ 0 h 535"/>
                  <a:gd name="T8" fmla="*/ 75 w 348"/>
                  <a:gd name="T9" fmla="*/ 0 h 535"/>
                  <a:gd name="T10" fmla="*/ 72 w 348"/>
                  <a:gd name="T11" fmla="*/ 2 h 535"/>
                  <a:gd name="T12" fmla="*/ 3 w 348"/>
                  <a:gd name="T13" fmla="*/ 72 h 535"/>
                  <a:gd name="T14" fmla="*/ 1 w 348"/>
                  <a:gd name="T15" fmla="*/ 75 h 535"/>
                  <a:gd name="T16" fmla="*/ 0 w 348"/>
                  <a:gd name="T17" fmla="*/ 79 h 535"/>
                  <a:gd name="T18" fmla="*/ 1 w 348"/>
                  <a:gd name="T19" fmla="*/ 83 h 535"/>
                  <a:gd name="T20" fmla="*/ 3 w 348"/>
                  <a:gd name="T21" fmla="*/ 86 h 535"/>
                  <a:gd name="T22" fmla="*/ 185 w 348"/>
                  <a:gd name="T23" fmla="*/ 268 h 535"/>
                  <a:gd name="T24" fmla="*/ 3 w 348"/>
                  <a:gd name="T25" fmla="*/ 449 h 535"/>
                  <a:gd name="T26" fmla="*/ 1 w 348"/>
                  <a:gd name="T27" fmla="*/ 452 h 535"/>
                  <a:gd name="T28" fmla="*/ 0 w 348"/>
                  <a:gd name="T29" fmla="*/ 457 h 535"/>
                  <a:gd name="T30" fmla="*/ 1 w 348"/>
                  <a:gd name="T31" fmla="*/ 460 h 535"/>
                  <a:gd name="T32" fmla="*/ 3 w 348"/>
                  <a:gd name="T33" fmla="*/ 463 h 535"/>
                  <a:gd name="T34" fmla="*/ 72 w 348"/>
                  <a:gd name="T35" fmla="*/ 532 h 535"/>
                  <a:gd name="T36" fmla="*/ 75 w 348"/>
                  <a:gd name="T37" fmla="*/ 534 h 535"/>
                  <a:gd name="T38" fmla="*/ 80 w 348"/>
                  <a:gd name="T39" fmla="*/ 535 h 535"/>
                  <a:gd name="T40" fmla="*/ 83 w 348"/>
                  <a:gd name="T41" fmla="*/ 534 h 535"/>
                  <a:gd name="T42" fmla="*/ 86 w 348"/>
                  <a:gd name="T43" fmla="*/ 533 h 535"/>
                  <a:gd name="T44" fmla="*/ 344 w 348"/>
                  <a:gd name="T45" fmla="*/ 274 h 535"/>
                  <a:gd name="T46" fmla="*/ 347 w 348"/>
                  <a:gd name="T47" fmla="*/ 271 h 535"/>
                  <a:gd name="T48" fmla="*/ 348 w 348"/>
                  <a:gd name="T49" fmla="*/ 268 h 535"/>
                  <a:gd name="T50" fmla="*/ 347 w 348"/>
                  <a:gd name="T51" fmla="*/ 263 h 535"/>
                  <a:gd name="T52" fmla="*/ 344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4" y="260"/>
                    </a:moveTo>
                    <a:lnTo>
                      <a:pt x="86" y="2"/>
                    </a:lnTo>
                    <a:lnTo>
                      <a:pt x="83" y="0"/>
                    </a:lnTo>
                    <a:lnTo>
                      <a:pt x="80" y="0"/>
                    </a:lnTo>
                    <a:lnTo>
                      <a:pt x="75" y="0"/>
                    </a:lnTo>
                    <a:lnTo>
                      <a:pt x="72" y="2"/>
                    </a:lnTo>
                    <a:lnTo>
                      <a:pt x="3" y="72"/>
                    </a:lnTo>
                    <a:lnTo>
                      <a:pt x="1" y="75"/>
                    </a:lnTo>
                    <a:lnTo>
                      <a:pt x="0" y="79"/>
                    </a:lnTo>
                    <a:lnTo>
                      <a:pt x="1" y="83"/>
                    </a:lnTo>
                    <a:lnTo>
                      <a:pt x="3" y="86"/>
                    </a:lnTo>
                    <a:lnTo>
                      <a:pt x="185" y="268"/>
                    </a:lnTo>
                    <a:lnTo>
                      <a:pt x="3" y="449"/>
                    </a:lnTo>
                    <a:lnTo>
                      <a:pt x="1" y="452"/>
                    </a:lnTo>
                    <a:lnTo>
                      <a:pt x="0" y="457"/>
                    </a:lnTo>
                    <a:lnTo>
                      <a:pt x="1" y="460"/>
                    </a:lnTo>
                    <a:lnTo>
                      <a:pt x="3" y="463"/>
                    </a:lnTo>
                    <a:lnTo>
                      <a:pt x="72" y="532"/>
                    </a:lnTo>
                    <a:lnTo>
                      <a:pt x="75" y="534"/>
                    </a:lnTo>
                    <a:lnTo>
                      <a:pt x="80" y="535"/>
                    </a:lnTo>
                    <a:lnTo>
                      <a:pt x="83" y="534"/>
                    </a:lnTo>
                    <a:lnTo>
                      <a:pt x="86" y="533"/>
                    </a:lnTo>
                    <a:lnTo>
                      <a:pt x="344" y="274"/>
                    </a:lnTo>
                    <a:lnTo>
                      <a:pt x="347" y="271"/>
                    </a:lnTo>
                    <a:lnTo>
                      <a:pt x="348" y="268"/>
                    </a:lnTo>
                    <a:lnTo>
                      <a:pt x="347" y="263"/>
                    </a:lnTo>
                    <a:lnTo>
                      <a:pt x="344"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grpSp>
        <p:sp>
          <p:nvSpPr>
            <p:cNvPr id="137" name="TextBox 136">
              <a:extLst>
                <a:ext uri="{FF2B5EF4-FFF2-40B4-BE49-F238E27FC236}">
                  <a16:creationId xmlns:a16="http://schemas.microsoft.com/office/drawing/2014/main" id="{BD72369C-B18A-43FF-AFFB-FB7B6C1A5ABC}"/>
                </a:ext>
              </a:extLst>
            </p:cNvPr>
            <p:cNvSpPr txBox="1"/>
            <p:nvPr/>
          </p:nvSpPr>
          <p:spPr>
            <a:xfrm>
              <a:off x="762000" y="3041837"/>
              <a:ext cx="1697055" cy="1528736"/>
            </a:xfrm>
            <a:prstGeom prst="rect">
              <a:avLst/>
            </a:prstGeom>
            <a:noFill/>
            <a:ln>
              <a:noFill/>
            </a:ln>
          </p:spPr>
          <p:txBody>
            <a:bodyPr wrap="square" lIns="0" tIns="0" rIns="0" bIns="0" rtlCol="0" anchor="ctr">
              <a:spAutoFit/>
            </a:bodyPr>
            <a:lstStyle/>
            <a:p>
              <a:pPr marL="171450" indent="-171450" defTabSz="685800">
                <a:buFont typeface="Arial" panose="020B0604020202020204" pitchFamily="34" charset="0"/>
                <a:buChar char="•"/>
              </a:pPr>
              <a:r>
                <a:rPr lang="en-US" sz="1050" dirty="0">
                  <a:latin typeface="Calibri Light"/>
                </a:rPr>
                <a:t>Be on ART at the end of the reporting period</a:t>
              </a:r>
            </a:p>
            <a:p>
              <a:pPr marL="171450" indent="-171450" defTabSz="685800">
                <a:buFont typeface="Arial" panose="020B0604020202020204" pitchFamily="34" charset="0"/>
                <a:buChar char="•"/>
              </a:pPr>
              <a:r>
                <a:rPr lang="en-US" sz="1050" dirty="0">
                  <a:latin typeface="Calibri Light"/>
                </a:rPr>
                <a:t>New on ART or transferred-in</a:t>
              </a:r>
            </a:p>
            <a:p>
              <a:pPr marL="171450" indent="-171450" defTabSz="685800">
                <a:buFont typeface="Arial" panose="020B0604020202020204" pitchFamily="34" charset="0"/>
                <a:buChar char="•"/>
              </a:pPr>
              <a:r>
                <a:rPr lang="en-US" sz="1050" dirty="0">
                  <a:latin typeface="Calibri Light"/>
                </a:rPr>
                <a:t>Exclude patients who died, stopped treatment, transferred out, or experienced interruption in treatment (IIT). </a:t>
              </a:r>
            </a:p>
          </p:txBody>
        </p:sp>
        <p:sp>
          <p:nvSpPr>
            <p:cNvPr id="138" name="TextBox 137">
              <a:extLst>
                <a:ext uri="{FF2B5EF4-FFF2-40B4-BE49-F238E27FC236}">
                  <a16:creationId xmlns:a16="http://schemas.microsoft.com/office/drawing/2014/main" id="{29087046-24DC-401B-97BD-14EADBFCDAAD}"/>
                </a:ext>
              </a:extLst>
            </p:cNvPr>
            <p:cNvSpPr txBox="1"/>
            <p:nvPr/>
          </p:nvSpPr>
          <p:spPr>
            <a:xfrm>
              <a:off x="837156" y="2165660"/>
              <a:ext cx="1500596" cy="582376"/>
            </a:xfrm>
            <a:prstGeom prst="rect">
              <a:avLst/>
            </a:prstGeom>
            <a:noFill/>
          </p:spPr>
          <p:txBody>
            <a:bodyPr wrap="square" lIns="0" tIns="0" rIns="0" bIns="0" rtlCol="0" anchor="ctr">
              <a:spAutoFit/>
            </a:bodyPr>
            <a:lstStyle/>
            <a:p>
              <a:pPr algn="ctr" defTabSz="685800"/>
              <a:r>
                <a:rPr lang="en-US" b="1" dirty="0">
                  <a:latin typeface="Calibri Light"/>
                </a:rPr>
                <a:t>COLLECTION/</a:t>
              </a:r>
            </a:p>
            <a:p>
              <a:pPr algn="ctr" defTabSz="685800"/>
              <a:r>
                <a:rPr lang="en-US" b="1" dirty="0">
                  <a:latin typeface="Calibri Light"/>
                </a:rPr>
                <a:t>REPORTING</a:t>
              </a:r>
            </a:p>
          </p:txBody>
        </p:sp>
        <p:sp>
          <p:nvSpPr>
            <p:cNvPr id="144" name="TextBox 143">
              <a:extLst>
                <a:ext uri="{FF2B5EF4-FFF2-40B4-BE49-F238E27FC236}">
                  <a16:creationId xmlns:a16="http://schemas.microsoft.com/office/drawing/2014/main" id="{C75D3502-2084-4D34-B7F6-EC24A147A540}"/>
                </a:ext>
              </a:extLst>
            </p:cNvPr>
            <p:cNvSpPr txBox="1"/>
            <p:nvPr/>
          </p:nvSpPr>
          <p:spPr>
            <a:xfrm>
              <a:off x="3765213" y="3074416"/>
              <a:ext cx="1626331" cy="1189017"/>
            </a:xfrm>
            <a:prstGeom prst="rect">
              <a:avLst/>
            </a:prstGeom>
            <a:noFill/>
            <a:ln>
              <a:noFill/>
            </a:ln>
          </p:spPr>
          <p:txBody>
            <a:bodyPr wrap="square" lIns="0" tIns="0" rIns="0" bIns="0" rtlCol="0" anchor="ctr">
              <a:spAutoFit/>
            </a:bodyPr>
            <a:lstStyle>
              <a:defPPr>
                <a:defRPr lang="en-US"/>
              </a:defPPr>
              <a:lvl1pPr defTabSz="685800">
                <a:defRPr sz="1050" b="1">
                  <a:latin typeface="Calibri Light"/>
                </a:defRPr>
              </a:lvl1pPr>
            </a:lstStyle>
            <a:p>
              <a:pPr marL="171450" indent="-171450">
                <a:buFont typeface="Arial" panose="020B0604020202020204" pitchFamily="34" charset="0"/>
                <a:buChar char="•"/>
              </a:pPr>
              <a:r>
                <a:rPr lang="en-US" b="0" dirty="0"/>
                <a:t>Confirm that TX_CURR ≥ TX_NEW.</a:t>
              </a:r>
            </a:p>
            <a:p>
              <a:pPr marL="171450" indent="-171450">
                <a:buFont typeface="Arial" panose="020B0604020202020204" pitchFamily="34" charset="0"/>
                <a:buChar char="•"/>
              </a:pPr>
              <a:r>
                <a:rPr lang="en-US" b="0" dirty="0"/>
                <a:t>Confirm that TX_CURR ≥ TX_RTT.</a:t>
              </a:r>
            </a:p>
            <a:p>
              <a:pPr marL="171450" indent="-171450">
                <a:buFont typeface="Arial" panose="020B0604020202020204" pitchFamily="34" charset="0"/>
                <a:buChar char="•"/>
              </a:pPr>
              <a:r>
                <a:rPr lang="en-US" b="0" dirty="0"/>
                <a:t>Confirm that TX_CURR ≥ sub-total of each disaggregation.</a:t>
              </a:r>
            </a:p>
          </p:txBody>
        </p:sp>
        <p:sp>
          <p:nvSpPr>
            <p:cNvPr id="145" name="TextBox 144">
              <a:extLst>
                <a:ext uri="{FF2B5EF4-FFF2-40B4-BE49-F238E27FC236}">
                  <a16:creationId xmlns:a16="http://schemas.microsoft.com/office/drawing/2014/main" id="{4229BB9B-1E9C-4794-BD7E-31916C0D2655}"/>
                </a:ext>
              </a:extLst>
            </p:cNvPr>
            <p:cNvSpPr txBox="1"/>
            <p:nvPr/>
          </p:nvSpPr>
          <p:spPr>
            <a:xfrm>
              <a:off x="3787215" y="2276002"/>
              <a:ext cx="1569569" cy="291188"/>
            </a:xfrm>
            <a:prstGeom prst="rect">
              <a:avLst/>
            </a:prstGeom>
            <a:noFill/>
          </p:spPr>
          <p:txBody>
            <a:bodyPr wrap="square" lIns="0" tIns="0" rIns="0" bIns="0" rtlCol="0" anchor="ctr">
              <a:spAutoFit/>
            </a:bodyPr>
            <a:lstStyle/>
            <a:p>
              <a:pPr algn="ctr" defTabSz="685800"/>
              <a:r>
                <a:rPr lang="en-US" b="1" dirty="0">
                  <a:latin typeface="Calibri Light"/>
                </a:rPr>
                <a:t>DATA QUALITY</a:t>
              </a:r>
            </a:p>
          </p:txBody>
        </p:sp>
        <p:sp>
          <p:nvSpPr>
            <p:cNvPr id="150" name="TextBox 149">
              <a:extLst>
                <a:ext uri="{FF2B5EF4-FFF2-40B4-BE49-F238E27FC236}">
                  <a16:creationId xmlns:a16="http://schemas.microsoft.com/office/drawing/2014/main" id="{A432B2BB-4C21-4AF1-9B8E-A30EC8F9E140}"/>
                </a:ext>
              </a:extLst>
            </p:cNvPr>
            <p:cNvSpPr txBox="1"/>
            <p:nvPr/>
          </p:nvSpPr>
          <p:spPr>
            <a:xfrm>
              <a:off x="6785564" y="3100141"/>
              <a:ext cx="1592581" cy="849297"/>
            </a:xfrm>
            <a:prstGeom prst="rect">
              <a:avLst/>
            </a:prstGeom>
            <a:noFill/>
          </p:spPr>
          <p:txBody>
            <a:bodyPr wrap="square" lIns="0" tIns="0" rIns="0" bIns="0" rtlCol="0" anchor="ctr">
              <a:spAutoFit/>
            </a:bodyPr>
            <a:lstStyle/>
            <a:p>
              <a:pPr marL="171450" indent="-171450" defTabSz="685800">
                <a:buFont typeface="Arial" panose="020B0604020202020204" pitchFamily="34" charset="0"/>
                <a:buChar char="•"/>
              </a:pPr>
              <a:r>
                <a:rPr lang="en-US" sz="1050" dirty="0">
                  <a:latin typeface="Calibri Light"/>
                </a:rPr>
                <a:t>5-year Age Band</a:t>
              </a:r>
            </a:p>
            <a:p>
              <a:pPr marL="171450" indent="-171450" defTabSz="685800">
                <a:buFont typeface="Arial" panose="020B0604020202020204" pitchFamily="34" charset="0"/>
                <a:buChar char="•"/>
              </a:pPr>
              <a:r>
                <a:rPr lang="en-US" sz="1050" dirty="0">
                  <a:latin typeface="Calibri Light"/>
                </a:rPr>
                <a:t>Sex</a:t>
              </a:r>
            </a:p>
            <a:p>
              <a:pPr marL="171450" indent="-171450" defTabSz="685800">
                <a:buFont typeface="Arial" panose="020B0604020202020204" pitchFamily="34" charset="0"/>
                <a:buChar char="•"/>
              </a:pPr>
              <a:r>
                <a:rPr lang="en-US" sz="1050" dirty="0">
                  <a:latin typeface="Calibri Light"/>
                </a:rPr>
                <a:t>Key Population Type</a:t>
              </a:r>
            </a:p>
            <a:p>
              <a:pPr marL="171450" indent="-171450" defTabSz="685800">
                <a:buFont typeface="Arial" panose="020B0604020202020204" pitchFamily="34" charset="0"/>
                <a:buChar char="•"/>
              </a:pPr>
              <a:r>
                <a:rPr lang="en-US" sz="1050" dirty="0">
                  <a:latin typeface="Calibri Light"/>
                </a:rPr>
                <a:t>ARV Dispensing Quantity (&lt;3, 3-5, ≥6 months)</a:t>
              </a:r>
            </a:p>
          </p:txBody>
        </p:sp>
        <p:sp>
          <p:nvSpPr>
            <p:cNvPr id="151" name="TextBox 150">
              <a:extLst>
                <a:ext uri="{FF2B5EF4-FFF2-40B4-BE49-F238E27FC236}">
                  <a16:creationId xmlns:a16="http://schemas.microsoft.com/office/drawing/2014/main" id="{269059BD-5BEF-4B22-9D87-AC985C86C7EA}"/>
                </a:ext>
              </a:extLst>
            </p:cNvPr>
            <p:cNvSpPr txBox="1"/>
            <p:nvPr/>
          </p:nvSpPr>
          <p:spPr>
            <a:xfrm>
              <a:off x="6606468" y="2197851"/>
              <a:ext cx="1832066" cy="291188"/>
            </a:xfrm>
            <a:prstGeom prst="rect">
              <a:avLst/>
            </a:prstGeom>
            <a:noFill/>
          </p:spPr>
          <p:txBody>
            <a:bodyPr wrap="square" lIns="0" tIns="0" rIns="0" bIns="0" rtlCol="0" anchor="ctr">
              <a:spAutoFit/>
            </a:bodyPr>
            <a:lstStyle/>
            <a:p>
              <a:pPr algn="ctr" defTabSz="685800"/>
              <a:r>
                <a:rPr lang="en-US" b="1" dirty="0">
                  <a:latin typeface="Calibri Light"/>
                </a:rPr>
                <a:t>DISAGGREGATION</a:t>
              </a:r>
            </a:p>
          </p:txBody>
        </p:sp>
      </p:grpSp>
      <p:sp>
        <p:nvSpPr>
          <p:cNvPr id="27" name="TextBox 26">
            <a:extLst>
              <a:ext uri="{FF2B5EF4-FFF2-40B4-BE49-F238E27FC236}">
                <a16:creationId xmlns:a16="http://schemas.microsoft.com/office/drawing/2014/main" id="{B188F3EA-E4AE-F60B-AF0A-E6EB36435C29}"/>
              </a:ext>
            </a:extLst>
          </p:cNvPr>
          <p:cNvSpPr txBox="1"/>
          <p:nvPr/>
        </p:nvSpPr>
        <p:spPr>
          <a:xfrm>
            <a:off x="2325691" y="4766223"/>
            <a:ext cx="1719483" cy="161583"/>
          </a:xfrm>
          <a:prstGeom prst="rect">
            <a:avLst/>
          </a:prstGeom>
          <a:noFill/>
          <a:ln>
            <a:solidFill>
              <a:schemeClr val="bg1"/>
            </a:solidFill>
          </a:ln>
        </p:spPr>
        <p:txBody>
          <a:bodyPr wrap="square" lIns="0" tIns="0" rIns="0" bIns="0" rtlCol="0" anchor="ctr">
            <a:spAutoFit/>
          </a:bodyPr>
          <a:lstStyle/>
          <a:p>
            <a:pPr marL="171450" indent="-171450" defTabSz="685800">
              <a:buFont typeface="Arial" panose="020B0604020202020204" pitchFamily="34" charset="0"/>
              <a:buChar char="•"/>
            </a:pPr>
            <a:r>
              <a:rPr lang="en-US" sz="1050" dirty="0">
                <a:latin typeface="Calibri Light"/>
              </a:rPr>
              <a:t>Quarterly</a:t>
            </a:r>
          </a:p>
        </p:txBody>
      </p:sp>
    </p:spTree>
    <p:extLst>
      <p:ext uri="{BB962C8B-B14F-4D97-AF65-F5344CB8AC3E}">
        <p14:creationId xmlns:p14="http://schemas.microsoft.com/office/powerpoint/2010/main" val="409994321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TextBox 133">
            <a:extLst>
              <a:ext uri="{FF2B5EF4-FFF2-40B4-BE49-F238E27FC236}">
                <a16:creationId xmlns:a16="http://schemas.microsoft.com/office/drawing/2014/main" id="{86E6788C-76AA-43BC-8B7F-196C83841096}"/>
              </a:ext>
            </a:extLst>
          </p:cNvPr>
          <p:cNvSpPr txBox="1"/>
          <p:nvPr/>
        </p:nvSpPr>
        <p:spPr>
          <a:xfrm>
            <a:off x="1847850" y="463992"/>
            <a:ext cx="8496300" cy="553998"/>
          </a:xfrm>
          <a:prstGeom prst="rect">
            <a:avLst/>
          </a:prstGeom>
          <a:noFill/>
        </p:spPr>
        <p:txBody>
          <a:bodyPr wrap="square" lIns="0" tIns="0" rIns="0" bIns="0" rtlCol="0" anchor="t">
            <a:spAutoFit/>
          </a:bodyPr>
          <a:lstStyle/>
          <a:p>
            <a:pPr algn="ctr" defTabSz="685800"/>
            <a:r>
              <a:rPr lang="en-US" sz="3600" dirty="0">
                <a:latin typeface="Corbel" panose="020B0503020204020204"/>
              </a:rPr>
              <a:t>TX_NET_NEW</a:t>
            </a:r>
          </a:p>
        </p:txBody>
      </p:sp>
      <p:grpSp>
        <p:nvGrpSpPr>
          <p:cNvPr id="2" name="Group 1">
            <a:extLst>
              <a:ext uri="{FF2B5EF4-FFF2-40B4-BE49-F238E27FC236}">
                <a16:creationId xmlns:a16="http://schemas.microsoft.com/office/drawing/2014/main" id="{11383E8B-A9F5-4C59-A67A-3554539F5B7A}"/>
              </a:ext>
            </a:extLst>
          </p:cNvPr>
          <p:cNvGrpSpPr/>
          <p:nvPr/>
        </p:nvGrpSpPr>
        <p:grpSpPr>
          <a:xfrm>
            <a:off x="1524001" y="1143000"/>
            <a:ext cx="9144001" cy="5578476"/>
            <a:chOff x="0" y="857250"/>
            <a:chExt cx="9144001" cy="5864226"/>
          </a:xfrm>
        </p:grpSpPr>
        <p:sp>
          <p:nvSpPr>
            <p:cNvPr id="98" name="Rectangle 97">
              <a:extLst>
                <a:ext uri="{FF2B5EF4-FFF2-40B4-BE49-F238E27FC236}">
                  <a16:creationId xmlns:a16="http://schemas.microsoft.com/office/drawing/2014/main" id="{84CAA34D-CD75-45C6-B39E-7C242EB87261}"/>
                </a:ext>
              </a:extLst>
            </p:cNvPr>
            <p:cNvSpPr/>
            <p:nvPr/>
          </p:nvSpPr>
          <p:spPr>
            <a:xfrm>
              <a:off x="1" y="2871107"/>
              <a:ext cx="9144000" cy="1306286"/>
            </a:xfrm>
            <a:prstGeom prst="rect">
              <a:avLst/>
            </a:prstGeom>
            <a:solidFill>
              <a:srgbClr val="E7E6E6"/>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99" name="Rectangle: Rounded Corners 98">
              <a:extLst>
                <a:ext uri="{FF2B5EF4-FFF2-40B4-BE49-F238E27FC236}">
                  <a16:creationId xmlns:a16="http://schemas.microsoft.com/office/drawing/2014/main" id="{B79F2794-CAB0-4CBC-A170-CA7853D4B5E7}"/>
                </a:ext>
              </a:extLst>
            </p:cNvPr>
            <p:cNvSpPr/>
            <p:nvPr/>
          </p:nvSpPr>
          <p:spPr>
            <a:xfrm>
              <a:off x="3652410" y="2015558"/>
              <a:ext cx="1951265" cy="3145971"/>
            </a:xfrm>
            <a:prstGeom prst="roundRect">
              <a:avLst>
                <a:gd name="adj" fmla="val 4952"/>
              </a:avLst>
            </a:prstGeom>
            <a:solidFill>
              <a:sysClr val="window" lastClr="FFFFFF">
                <a:lumMod val="65000"/>
              </a:sys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00" name="Rectangle: Rounded Corners 99">
              <a:extLst>
                <a:ext uri="{FF2B5EF4-FFF2-40B4-BE49-F238E27FC236}">
                  <a16:creationId xmlns:a16="http://schemas.microsoft.com/office/drawing/2014/main" id="{624C18DD-A9DF-4469-A7B6-6C9AAA2D41F4}"/>
                </a:ext>
              </a:extLst>
            </p:cNvPr>
            <p:cNvSpPr/>
            <p:nvPr/>
          </p:nvSpPr>
          <p:spPr>
            <a:xfrm>
              <a:off x="6625597" y="2015558"/>
              <a:ext cx="1951265" cy="3145971"/>
            </a:xfrm>
            <a:prstGeom prst="roundRect">
              <a:avLst>
                <a:gd name="adj" fmla="val 4952"/>
              </a:avLst>
            </a:prstGeom>
            <a:solidFill>
              <a:sysClr val="window" lastClr="FFFFFF">
                <a:lumMod val="65000"/>
              </a:sys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01" name="Rectangle: Rounded Corners 100">
              <a:extLst>
                <a:ext uri="{FF2B5EF4-FFF2-40B4-BE49-F238E27FC236}">
                  <a16:creationId xmlns:a16="http://schemas.microsoft.com/office/drawing/2014/main" id="{F503AF90-BD38-48FC-8812-4FA3F25DB0E6}"/>
                </a:ext>
              </a:extLst>
            </p:cNvPr>
            <p:cNvSpPr/>
            <p:nvPr/>
          </p:nvSpPr>
          <p:spPr>
            <a:xfrm>
              <a:off x="685800" y="2015558"/>
              <a:ext cx="1951265" cy="3145971"/>
            </a:xfrm>
            <a:prstGeom prst="roundRect">
              <a:avLst>
                <a:gd name="adj" fmla="val 4952"/>
              </a:avLst>
            </a:prstGeom>
            <a:solidFill>
              <a:sysClr val="window" lastClr="FFFFFF">
                <a:lumMod val="65000"/>
              </a:sys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02" name="Frame 101">
              <a:extLst>
                <a:ext uri="{FF2B5EF4-FFF2-40B4-BE49-F238E27FC236}">
                  <a16:creationId xmlns:a16="http://schemas.microsoft.com/office/drawing/2014/main" id="{530C96A5-18F8-41CE-8FBF-056A3D32634C}"/>
                </a:ext>
              </a:extLst>
            </p:cNvPr>
            <p:cNvSpPr/>
            <p:nvPr/>
          </p:nvSpPr>
          <p:spPr>
            <a:xfrm>
              <a:off x="0" y="857250"/>
              <a:ext cx="9144000" cy="5143500"/>
            </a:xfrm>
            <a:prstGeom prst="frame">
              <a:avLst>
                <a:gd name="adj1" fmla="val 1053"/>
              </a:avLst>
            </a:prstGeom>
            <a:solidFill>
              <a:srgbClr val="44546A">
                <a:lumMod val="40000"/>
                <a:lumOff val="60000"/>
              </a:srgbClr>
            </a:solidFill>
            <a:ln w="12700" cap="flat" cmpd="sng" algn="ctr">
              <a:noFill/>
              <a:prstDash val="solid"/>
              <a:miter lim="800000"/>
            </a:ln>
            <a:effectLst/>
          </p:spPr>
          <p:txBody>
            <a:bodyPr rtlCol="0" anchor="ctr"/>
            <a:lstStyle/>
            <a:p>
              <a:pPr algn="ctr" defTabSz="685800">
                <a:defRPr/>
              </a:pPr>
              <a:endParaRPr lang="en-US" sz="1350" kern="0">
                <a:solidFill>
                  <a:prstClr val="black"/>
                </a:solidFill>
                <a:latin typeface="Calibri Light"/>
              </a:endParaRPr>
            </a:p>
          </p:txBody>
        </p:sp>
        <p:sp>
          <p:nvSpPr>
            <p:cNvPr id="103" name="Rectangle 102">
              <a:extLst>
                <a:ext uri="{FF2B5EF4-FFF2-40B4-BE49-F238E27FC236}">
                  <a16:creationId xmlns:a16="http://schemas.microsoft.com/office/drawing/2014/main" id="{D5A75610-4C9C-4007-86BE-0C93387BD4CC}"/>
                </a:ext>
              </a:extLst>
            </p:cNvPr>
            <p:cNvSpPr/>
            <p:nvPr/>
          </p:nvSpPr>
          <p:spPr>
            <a:xfrm>
              <a:off x="0" y="857250"/>
              <a:ext cx="336430" cy="336430"/>
            </a:xfrm>
            <a:prstGeom prst="rect">
              <a:avLst/>
            </a:prstGeom>
            <a:solidFill>
              <a:srgbClr val="AF5F6D"/>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04" name="Rectangle 103">
              <a:extLst>
                <a:ext uri="{FF2B5EF4-FFF2-40B4-BE49-F238E27FC236}">
                  <a16:creationId xmlns:a16="http://schemas.microsoft.com/office/drawing/2014/main" id="{88DED4A1-8837-48AC-9F2B-DE23F8D97ECB}"/>
                </a:ext>
              </a:extLst>
            </p:cNvPr>
            <p:cNvSpPr/>
            <p:nvPr/>
          </p:nvSpPr>
          <p:spPr>
            <a:xfrm>
              <a:off x="8807571" y="5664321"/>
              <a:ext cx="336430" cy="336430"/>
            </a:xfrm>
            <a:prstGeom prst="rect">
              <a:avLst/>
            </a:prstGeom>
            <a:solidFill>
              <a:srgbClr val="EB6B56"/>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18" name="Slide Number Placeholder 21">
              <a:extLst>
                <a:ext uri="{FF2B5EF4-FFF2-40B4-BE49-F238E27FC236}">
                  <a16:creationId xmlns:a16="http://schemas.microsoft.com/office/drawing/2014/main" id="{93A42D60-09D3-464C-9CEE-9793BC406A2C}"/>
                </a:ext>
              </a:extLst>
            </p:cNvPr>
            <p:cNvSpPr txBox="1">
              <a:spLocks/>
            </p:cNvSpPr>
            <p:nvPr/>
          </p:nvSpPr>
          <p:spPr>
            <a:xfrm>
              <a:off x="6457950" y="6356351"/>
              <a:ext cx="2057400" cy="365125"/>
            </a:xfrm>
            <a:prstGeom prst="rect">
              <a:avLst/>
            </a:prstGeom>
          </p:spPr>
          <p:txBody>
            <a:bodyPr vert="horz" lIns="91440" tIns="45720" rIns="91440" bIns="4572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fld id="{B9940D52-AD77-4C6A-9DCC-3EEF87AE9DF8}" type="slidenum">
                <a:rPr lang="en-US">
                  <a:solidFill>
                    <a:prstClr val="black">
                      <a:tint val="75000"/>
                    </a:prstClr>
                  </a:solidFill>
                  <a:latin typeface="Calibri Light"/>
                </a:rPr>
                <a:pPr defTabSz="685800"/>
                <a:t>68</a:t>
              </a:fld>
              <a:endParaRPr lang="en-US">
                <a:solidFill>
                  <a:prstClr val="black">
                    <a:tint val="75000"/>
                  </a:prstClr>
                </a:solidFill>
                <a:latin typeface="Calibri Light"/>
              </a:endParaRPr>
            </a:p>
          </p:txBody>
        </p:sp>
        <p:sp>
          <p:nvSpPr>
            <p:cNvPr id="119" name="Rectangle: Rounded Corners 118">
              <a:extLst>
                <a:ext uri="{FF2B5EF4-FFF2-40B4-BE49-F238E27FC236}">
                  <a16:creationId xmlns:a16="http://schemas.microsoft.com/office/drawing/2014/main" id="{A31B6B7F-B442-478B-AC83-5877659C504E}"/>
                </a:ext>
              </a:extLst>
            </p:cNvPr>
            <p:cNvSpPr/>
            <p:nvPr/>
          </p:nvSpPr>
          <p:spPr>
            <a:xfrm>
              <a:off x="628650" y="1951264"/>
              <a:ext cx="1951265" cy="3145971"/>
            </a:xfrm>
            <a:prstGeom prst="roundRect">
              <a:avLst>
                <a:gd name="adj" fmla="val 4952"/>
              </a:avLst>
            </a:prstGeom>
            <a:solidFill>
              <a:schemeClr val="accent4">
                <a:lumMod val="20000"/>
                <a:lumOff val="80000"/>
              </a:scheme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20" name="Rectangle: Rounded Corners 119">
              <a:extLst>
                <a:ext uri="{FF2B5EF4-FFF2-40B4-BE49-F238E27FC236}">
                  <a16:creationId xmlns:a16="http://schemas.microsoft.com/office/drawing/2014/main" id="{755AABF3-A803-4326-BD1C-065642A1AA83}"/>
                </a:ext>
              </a:extLst>
            </p:cNvPr>
            <p:cNvSpPr/>
            <p:nvPr/>
          </p:nvSpPr>
          <p:spPr>
            <a:xfrm>
              <a:off x="3596368" y="1951264"/>
              <a:ext cx="1951265" cy="3145971"/>
            </a:xfrm>
            <a:prstGeom prst="roundRect">
              <a:avLst>
                <a:gd name="adj" fmla="val 4952"/>
              </a:avLst>
            </a:prstGeom>
            <a:solidFill>
              <a:schemeClr val="bg1">
                <a:lumMod val="85000"/>
              </a:scheme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21" name="Rectangle: Rounded Corners 120">
              <a:extLst>
                <a:ext uri="{FF2B5EF4-FFF2-40B4-BE49-F238E27FC236}">
                  <a16:creationId xmlns:a16="http://schemas.microsoft.com/office/drawing/2014/main" id="{51F48CB3-9A91-4CD8-BAB4-372731EF5FB1}"/>
                </a:ext>
              </a:extLst>
            </p:cNvPr>
            <p:cNvSpPr/>
            <p:nvPr/>
          </p:nvSpPr>
          <p:spPr>
            <a:xfrm>
              <a:off x="6564085" y="1951264"/>
              <a:ext cx="1951265" cy="3145971"/>
            </a:xfrm>
            <a:prstGeom prst="roundRect">
              <a:avLst>
                <a:gd name="adj" fmla="val 4952"/>
              </a:avLst>
            </a:prstGeom>
            <a:solidFill>
              <a:schemeClr val="accent6">
                <a:lumMod val="20000"/>
                <a:lumOff val="80000"/>
              </a:scheme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grpSp>
          <p:nvGrpSpPr>
            <p:cNvPr id="122" name="Group 121">
              <a:extLst>
                <a:ext uri="{FF2B5EF4-FFF2-40B4-BE49-F238E27FC236}">
                  <a16:creationId xmlns:a16="http://schemas.microsoft.com/office/drawing/2014/main" id="{1D5F4261-1706-4F0E-8267-369D57C1FB88}"/>
                </a:ext>
              </a:extLst>
            </p:cNvPr>
            <p:cNvGrpSpPr/>
            <p:nvPr/>
          </p:nvGrpSpPr>
          <p:grpSpPr>
            <a:xfrm>
              <a:off x="2875574" y="3333082"/>
              <a:ext cx="425135" cy="382335"/>
              <a:chOff x="4854484" y="5910272"/>
              <a:chExt cx="283864" cy="255286"/>
            </a:xfrm>
            <a:solidFill>
              <a:srgbClr val="44546A"/>
            </a:solidFill>
          </p:grpSpPr>
          <p:sp>
            <p:nvSpPr>
              <p:cNvPr id="123" name="Freeform 251">
                <a:extLst>
                  <a:ext uri="{FF2B5EF4-FFF2-40B4-BE49-F238E27FC236}">
                    <a16:creationId xmlns:a16="http://schemas.microsoft.com/office/drawing/2014/main" id="{0C8CED70-9586-4725-ABB9-23097BB29906}"/>
                  </a:ext>
                </a:extLst>
              </p:cNvPr>
              <p:cNvSpPr>
                <a:spLocks/>
              </p:cNvSpPr>
              <p:nvPr/>
            </p:nvSpPr>
            <p:spPr bwMode="auto">
              <a:xfrm>
                <a:off x="4854484" y="5910272"/>
                <a:ext cx="165746" cy="255286"/>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sp>
            <p:nvSpPr>
              <p:cNvPr id="124" name="Freeform 252">
                <a:extLst>
                  <a:ext uri="{FF2B5EF4-FFF2-40B4-BE49-F238E27FC236}">
                    <a16:creationId xmlns:a16="http://schemas.microsoft.com/office/drawing/2014/main" id="{0F01F1D5-7465-4E64-9CCB-5C815BD8B5EC}"/>
                  </a:ext>
                </a:extLst>
              </p:cNvPr>
              <p:cNvSpPr>
                <a:spLocks/>
              </p:cNvSpPr>
              <p:nvPr/>
            </p:nvSpPr>
            <p:spPr bwMode="auto">
              <a:xfrm>
                <a:off x="4972602" y="5910272"/>
                <a:ext cx="165746" cy="255286"/>
              </a:xfrm>
              <a:custGeom>
                <a:avLst/>
                <a:gdLst>
                  <a:gd name="T0" fmla="*/ 344 w 348"/>
                  <a:gd name="T1" fmla="*/ 260 h 535"/>
                  <a:gd name="T2" fmla="*/ 86 w 348"/>
                  <a:gd name="T3" fmla="*/ 2 h 535"/>
                  <a:gd name="T4" fmla="*/ 83 w 348"/>
                  <a:gd name="T5" fmla="*/ 0 h 535"/>
                  <a:gd name="T6" fmla="*/ 80 w 348"/>
                  <a:gd name="T7" fmla="*/ 0 h 535"/>
                  <a:gd name="T8" fmla="*/ 75 w 348"/>
                  <a:gd name="T9" fmla="*/ 0 h 535"/>
                  <a:gd name="T10" fmla="*/ 72 w 348"/>
                  <a:gd name="T11" fmla="*/ 2 h 535"/>
                  <a:gd name="T12" fmla="*/ 3 w 348"/>
                  <a:gd name="T13" fmla="*/ 72 h 535"/>
                  <a:gd name="T14" fmla="*/ 1 w 348"/>
                  <a:gd name="T15" fmla="*/ 75 h 535"/>
                  <a:gd name="T16" fmla="*/ 0 w 348"/>
                  <a:gd name="T17" fmla="*/ 79 h 535"/>
                  <a:gd name="T18" fmla="*/ 1 w 348"/>
                  <a:gd name="T19" fmla="*/ 83 h 535"/>
                  <a:gd name="T20" fmla="*/ 3 w 348"/>
                  <a:gd name="T21" fmla="*/ 86 h 535"/>
                  <a:gd name="T22" fmla="*/ 185 w 348"/>
                  <a:gd name="T23" fmla="*/ 268 h 535"/>
                  <a:gd name="T24" fmla="*/ 3 w 348"/>
                  <a:gd name="T25" fmla="*/ 449 h 535"/>
                  <a:gd name="T26" fmla="*/ 1 w 348"/>
                  <a:gd name="T27" fmla="*/ 452 h 535"/>
                  <a:gd name="T28" fmla="*/ 0 w 348"/>
                  <a:gd name="T29" fmla="*/ 457 h 535"/>
                  <a:gd name="T30" fmla="*/ 1 w 348"/>
                  <a:gd name="T31" fmla="*/ 460 h 535"/>
                  <a:gd name="T32" fmla="*/ 3 w 348"/>
                  <a:gd name="T33" fmla="*/ 463 h 535"/>
                  <a:gd name="T34" fmla="*/ 72 w 348"/>
                  <a:gd name="T35" fmla="*/ 532 h 535"/>
                  <a:gd name="T36" fmla="*/ 75 w 348"/>
                  <a:gd name="T37" fmla="*/ 534 h 535"/>
                  <a:gd name="T38" fmla="*/ 80 w 348"/>
                  <a:gd name="T39" fmla="*/ 535 h 535"/>
                  <a:gd name="T40" fmla="*/ 83 w 348"/>
                  <a:gd name="T41" fmla="*/ 534 h 535"/>
                  <a:gd name="T42" fmla="*/ 86 w 348"/>
                  <a:gd name="T43" fmla="*/ 533 h 535"/>
                  <a:gd name="T44" fmla="*/ 344 w 348"/>
                  <a:gd name="T45" fmla="*/ 274 h 535"/>
                  <a:gd name="T46" fmla="*/ 347 w 348"/>
                  <a:gd name="T47" fmla="*/ 271 h 535"/>
                  <a:gd name="T48" fmla="*/ 348 w 348"/>
                  <a:gd name="T49" fmla="*/ 268 h 535"/>
                  <a:gd name="T50" fmla="*/ 347 w 348"/>
                  <a:gd name="T51" fmla="*/ 263 h 535"/>
                  <a:gd name="T52" fmla="*/ 344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4" y="260"/>
                    </a:moveTo>
                    <a:lnTo>
                      <a:pt x="86" y="2"/>
                    </a:lnTo>
                    <a:lnTo>
                      <a:pt x="83" y="0"/>
                    </a:lnTo>
                    <a:lnTo>
                      <a:pt x="80" y="0"/>
                    </a:lnTo>
                    <a:lnTo>
                      <a:pt x="75" y="0"/>
                    </a:lnTo>
                    <a:lnTo>
                      <a:pt x="72" y="2"/>
                    </a:lnTo>
                    <a:lnTo>
                      <a:pt x="3" y="72"/>
                    </a:lnTo>
                    <a:lnTo>
                      <a:pt x="1" y="75"/>
                    </a:lnTo>
                    <a:lnTo>
                      <a:pt x="0" y="79"/>
                    </a:lnTo>
                    <a:lnTo>
                      <a:pt x="1" y="83"/>
                    </a:lnTo>
                    <a:lnTo>
                      <a:pt x="3" y="86"/>
                    </a:lnTo>
                    <a:lnTo>
                      <a:pt x="185" y="268"/>
                    </a:lnTo>
                    <a:lnTo>
                      <a:pt x="3" y="449"/>
                    </a:lnTo>
                    <a:lnTo>
                      <a:pt x="1" y="452"/>
                    </a:lnTo>
                    <a:lnTo>
                      <a:pt x="0" y="457"/>
                    </a:lnTo>
                    <a:lnTo>
                      <a:pt x="1" y="460"/>
                    </a:lnTo>
                    <a:lnTo>
                      <a:pt x="3" y="463"/>
                    </a:lnTo>
                    <a:lnTo>
                      <a:pt x="72" y="532"/>
                    </a:lnTo>
                    <a:lnTo>
                      <a:pt x="75" y="534"/>
                    </a:lnTo>
                    <a:lnTo>
                      <a:pt x="80" y="535"/>
                    </a:lnTo>
                    <a:lnTo>
                      <a:pt x="83" y="534"/>
                    </a:lnTo>
                    <a:lnTo>
                      <a:pt x="86" y="533"/>
                    </a:lnTo>
                    <a:lnTo>
                      <a:pt x="344" y="274"/>
                    </a:lnTo>
                    <a:lnTo>
                      <a:pt x="347" y="271"/>
                    </a:lnTo>
                    <a:lnTo>
                      <a:pt x="348" y="268"/>
                    </a:lnTo>
                    <a:lnTo>
                      <a:pt x="347" y="263"/>
                    </a:lnTo>
                    <a:lnTo>
                      <a:pt x="344"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grpSp>
        <p:grpSp>
          <p:nvGrpSpPr>
            <p:cNvPr id="125" name="Group 124">
              <a:extLst>
                <a:ext uri="{FF2B5EF4-FFF2-40B4-BE49-F238E27FC236}">
                  <a16:creationId xmlns:a16="http://schemas.microsoft.com/office/drawing/2014/main" id="{819BCB2C-2594-4246-AF1C-54887570D1B2}"/>
                </a:ext>
              </a:extLst>
            </p:cNvPr>
            <p:cNvGrpSpPr/>
            <p:nvPr/>
          </p:nvGrpSpPr>
          <p:grpSpPr>
            <a:xfrm>
              <a:off x="5843292" y="3333082"/>
              <a:ext cx="425135" cy="382335"/>
              <a:chOff x="4854484" y="5910272"/>
              <a:chExt cx="283864" cy="255286"/>
            </a:xfrm>
            <a:solidFill>
              <a:srgbClr val="44546A"/>
            </a:solidFill>
          </p:grpSpPr>
          <p:sp>
            <p:nvSpPr>
              <p:cNvPr id="126" name="Freeform 251">
                <a:extLst>
                  <a:ext uri="{FF2B5EF4-FFF2-40B4-BE49-F238E27FC236}">
                    <a16:creationId xmlns:a16="http://schemas.microsoft.com/office/drawing/2014/main" id="{B4AFA590-489D-461F-87B5-31AA21C9CA6E}"/>
                  </a:ext>
                </a:extLst>
              </p:cNvPr>
              <p:cNvSpPr>
                <a:spLocks/>
              </p:cNvSpPr>
              <p:nvPr/>
            </p:nvSpPr>
            <p:spPr bwMode="auto">
              <a:xfrm>
                <a:off x="4854484" y="5910272"/>
                <a:ext cx="165746" cy="255286"/>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sp>
            <p:nvSpPr>
              <p:cNvPr id="127" name="Freeform 252">
                <a:extLst>
                  <a:ext uri="{FF2B5EF4-FFF2-40B4-BE49-F238E27FC236}">
                    <a16:creationId xmlns:a16="http://schemas.microsoft.com/office/drawing/2014/main" id="{686E9970-8B1D-4D78-8BC4-D6A0633DF381}"/>
                  </a:ext>
                </a:extLst>
              </p:cNvPr>
              <p:cNvSpPr>
                <a:spLocks/>
              </p:cNvSpPr>
              <p:nvPr/>
            </p:nvSpPr>
            <p:spPr bwMode="auto">
              <a:xfrm>
                <a:off x="4972602" y="5910272"/>
                <a:ext cx="165746" cy="255286"/>
              </a:xfrm>
              <a:custGeom>
                <a:avLst/>
                <a:gdLst>
                  <a:gd name="T0" fmla="*/ 344 w 348"/>
                  <a:gd name="T1" fmla="*/ 260 h 535"/>
                  <a:gd name="T2" fmla="*/ 86 w 348"/>
                  <a:gd name="T3" fmla="*/ 2 h 535"/>
                  <a:gd name="T4" fmla="*/ 83 w 348"/>
                  <a:gd name="T5" fmla="*/ 0 h 535"/>
                  <a:gd name="T6" fmla="*/ 80 w 348"/>
                  <a:gd name="T7" fmla="*/ 0 h 535"/>
                  <a:gd name="T8" fmla="*/ 75 w 348"/>
                  <a:gd name="T9" fmla="*/ 0 h 535"/>
                  <a:gd name="T10" fmla="*/ 72 w 348"/>
                  <a:gd name="T11" fmla="*/ 2 h 535"/>
                  <a:gd name="T12" fmla="*/ 3 w 348"/>
                  <a:gd name="T13" fmla="*/ 72 h 535"/>
                  <a:gd name="T14" fmla="*/ 1 w 348"/>
                  <a:gd name="T15" fmla="*/ 75 h 535"/>
                  <a:gd name="T16" fmla="*/ 0 w 348"/>
                  <a:gd name="T17" fmla="*/ 79 h 535"/>
                  <a:gd name="T18" fmla="*/ 1 w 348"/>
                  <a:gd name="T19" fmla="*/ 83 h 535"/>
                  <a:gd name="T20" fmla="*/ 3 w 348"/>
                  <a:gd name="T21" fmla="*/ 86 h 535"/>
                  <a:gd name="T22" fmla="*/ 185 w 348"/>
                  <a:gd name="T23" fmla="*/ 268 h 535"/>
                  <a:gd name="T24" fmla="*/ 3 w 348"/>
                  <a:gd name="T25" fmla="*/ 449 h 535"/>
                  <a:gd name="T26" fmla="*/ 1 w 348"/>
                  <a:gd name="T27" fmla="*/ 452 h 535"/>
                  <a:gd name="T28" fmla="*/ 0 w 348"/>
                  <a:gd name="T29" fmla="*/ 457 h 535"/>
                  <a:gd name="T30" fmla="*/ 1 w 348"/>
                  <a:gd name="T31" fmla="*/ 460 h 535"/>
                  <a:gd name="T32" fmla="*/ 3 w 348"/>
                  <a:gd name="T33" fmla="*/ 463 h 535"/>
                  <a:gd name="T34" fmla="*/ 72 w 348"/>
                  <a:gd name="T35" fmla="*/ 532 h 535"/>
                  <a:gd name="T36" fmla="*/ 75 w 348"/>
                  <a:gd name="T37" fmla="*/ 534 h 535"/>
                  <a:gd name="T38" fmla="*/ 80 w 348"/>
                  <a:gd name="T39" fmla="*/ 535 h 535"/>
                  <a:gd name="T40" fmla="*/ 83 w 348"/>
                  <a:gd name="T41" fmla="*/ 534 h 535"/>
                  <a:gd name="T42" fmla="*/ 86 w 348"/>
                  <a:gd name="T43" fmla="*/ 533 h 535"/>
                  <a:gd name="T44" fmla="*/ 344 w 348"/>
                  <a:gd name="T45" fmla="*/ 274 h 535"/>
                  <a:gd name="T46" fmla="*/ 347 w 348"/>
                  <a:gd name="T47" fmla="*/ 271 h 535"/>
                  <a:gd name="T48" fmla="*/ 348 w 348"/>
                  <a:gd name="T49" fmla="*/ 268 h 535"/>
                  <a:gd name="T50" fmla="*/ 347 w 348"/>
                  <a:gd name="T51" fmla="*/ 263 h 535"/>
                  <a:gd name="T52" fmla="*/ 344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4" y="260"/>
                    </a:moveTo>
                    <a:lnTo>
                      <a:pt x="86" y="2"/>
                    </a:lnTo>
                    <a:lnTo>
                      <a:pt x="83" y="0"/>
                    </a:lnTo>
                    <a:lnTo>
                      <a:pt x="80" y="0"/>
                    </a:lnTo>
                    <a:lnTo>
                      <a:pt x="75" y="0"/>
                    </a:lnTo>
                    <a:lnTo>
                      <a:pt x="72" y="2"/>
                    </a:lnTo>
                    <a:lnTo>
                      <a:pt x="3" y="72"/>
                    </a:lnTo>
                    <a:lnTo>
                      <a:pt x="1" y="75"/>
                    </a:lnTo>
                    <a:lnTo>
                      <a:pt x="0" y="79"/>
                    </a:lnTo>
                    <a:lnTo>
                      <a:pt x="1" y="83"/>
                    </a:lnTo>
                    <a:lnTo>
                      <a:pt x="3" y="86"/>
                    </a:lnTo>
                    <a:lnTo>
                      <a:pt x="185" y="268"/>
                    </a:lnTo>
                    <a:lnTo>
                      <a:pt x="3" y="449"/>
                    </a:lnTo>
                    <a:lnTo>
                      <a:pt x="1" y="452"/>
                    </a:lnTo>
                    <a:lnTo>
                      <a:pt x="0" y="457"/>
                    </a:lnTo>
                    <a:lnTo>
                      <a:pt x="1" y="460"/>
                    </a:lnTo>
                    <a:lnTo>
                      <a:pt x="3" y="463"/>
                    </a:lnTo>
                    <a:lnTo>
                      <a:pt x="72" y="532"/>
                    </a:lnTo>
                    <a:lnTo>
                      <a:pt x="75" y="534"/>
                    </a:lnTo>
                    <a:lnTo>
                      <a:pt x="80" y="535"/>
                    </a:lnTo>
                    <a:lnTo>
                      <a:pt x="83" y="534"/>
                    </a:lnTo>
                    <a:lnTo>
                      <a:pt x="86" y="533"/>
                    </a:lnTo>
                    <a:lnTo>
                      <a:pt x="344" y="274"/>
                    </a:lnTo>
                    <a:lnTo>
                      <a:pt x="347" y="271"/>
                    </a:lnTo>
                    <a:lnTo>
                      <a:pt x="348" y="268"/>
                    </a:lnTo>
                    <a:lnTo>
                      <a:pt x="347" y="263"/>
                    </a:lnTo>
                    <a:lnTo>
                      <a:pt x="344"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grpSp>
        <p:sp>
          <p:nvSpPr>
            <p:cNvPr id="137" name="TextBox 136">
              <a:extLst>
                <a:ext uri="{FF2B5EF4-FFF2-40B4-BE49-F238E27FC236}">
                  <a16:creationId xmlns:a16="http://schemas.microsoft.com/office/drawing/2014/main" id="{BD72369C-B18A-43FF-AFFB-FB7B6C1A5ABC}"/>
                </a:ext>
              </a:extLst>
            </p:cNvPr>
            <p:cNvSpPr txBox="1"/>
            <p:nvPr/>
          </p:nvSpPr>
          <p:spPr>
            <a:xfrm>
              <a:off x="757282" y="3405125"/>
              <a:ext cx="1719483" cy="339719"/>
            </a:xfrm>
            <a:prstGeom prst="rect">
              <a:avLst/>
            </a:prstGeom>
            <a:noFill/>
            <a:ln>
              <a:noFill/>
            </a:ln>
          </p:spPr>
          <p:txBody>
            <a:bodyPr wrap="square" lIns="0" tIns="0" rIns="0" bIns="0" rtlCol="0" anchor="ctr">
              <a:spAutoFit/>
            </a:bodyPr>
            <a:lstStyle/>
            <a:p>
              <a:pPr algn="ctr" defTabSz="685800"/>
              <a:r>
                <a:rPr lang="en-US" sz="1050" dirty="0">
                  <a:latin typeface="Calibri Light"/>
                </a:rPr>
                <a:t>The quarterly net increase or decrease in ART patients</a:t>
              </a:r>
            </a:p>
          </p:txBody>
        </p:sp>
        <p:sp>
          <p:nvSpPr>
            <p:cNvPr id="138" name="TextBox 137">
              <a:extLst>
                <a:ext uri="{FF2B5EF4-FFF2-40B4-BE49-F238E27FC236}">
                  <a16:creationId xmlns:a16="http://schemas.microsoft.com/office/drawing/2014/main" id="{29087046-24DC-401B-97BD-14EADBFCDAAD}"/>
                </a:ext>
              </a:extLst>
            </p:cNvPr>
            <p:cNvSpPr txBox="1"/>
            <p:nvPr/>
          </p:nvSpPr>
          <p:spPr>
            <a:xfrm>
              <a:off x="853984" y="2225223"/>
              <a:ext cx="1500596" cy="291188"/>
            </a:xfrm>
            <a:prstGeom prst="rect">
              <a:avLst/>
            </a:prstGeom>
            <a:noFill/>
          </p:spPr>
          <p:txBody>
            <a:bodyPr wrap="square" lIns="0" tIns="0" rIns="0" bIns="0" rtlCol="0" anchor="ctr">
              <a:spAutoFit/>
            </a:bodyPr>
            <a:lstStyle/>
            <a:p>
              <a:pPr algn="ctr" defTabSz="685800"/>
              <a:r>
                <a:rPr lang="en-US" b="1" dirty="0">
                  <a:latin typeface="Calibri Light"/>
                </a:rPr>
                <a:t>DEFINITION</a:t>
              </a:r>
            </a:p>
          </p:txBody>
        </p:sp>
        <p:sp>
          <p:nvSpPr>
            <p:cNvPr id="144" name="TextBox 143">
              <a:extLst>
                <a:ext uri="{FF2B5EF4-FFF2-40B4-BE49-F238E27FC236}">
                  <a16:creationId xmlns:a16="http://schemas.microsoft.com/office/drawing/2014/main" id="{C75D3502-2084-4D34-B7F6-EC24A147A540}"/>
                </a:ext>
              </a:extLst>
            </p:cNvPr>
            <p:cNvSpPr txBox="1"/>
            <p:nvPr/>
          </p:nvSpPr>
          <p:spPr>
            <a:xfrm>
              <a:off x="3759835" y="3298772"/>
              <a:ext cx="1626331" cy="339719"/>
            </a:xfrm>
            <a:prstGeom prst="rect">
              <a:avLst/>
            </a:prstGeom>
            <a:noFill/>
            <a:ln>
              <a:noFill/>
            </a:ln>
          </p:spPr>
          <p:txBody>
            <a:bodyPr wrap="square" lIns="0" tIns="0" rIns="0" bIns="0" rtlCol="0" anchor="ctr">
              <a:spAutoFit/>
            </a:bodyPr>
            <a:lstStyle>
              <a:defPPr>
                <a:defRPr lang="en-US"/>
              </a:defPPr>
              <a:lvl1pPr defTabSz="685800">
                <a:defRPr sz="1050" b="1">
                  <a:latin typeface="Calibri Light"/>
                </a:defRPr>
              </a:lvl1pPr>
            </a:lstStyle>
            <a:p>
              <a:pPr algn="ctr"/>
              <a:r>
                <a:rPr lang="en-US" b="0" dirty="0"/>
                <a:t>Current Quarter TX_CURR – Past Quarter TX_CURR</a:t>
              </a:r>
            </a:p>
          </p:txBody>
        </p:sp>
        <p:sp>
          <p:nvSpPr>
            <p:cNvPr id="145" name="TextBox 144">
              <a:extLst>
                <a:ext uri="{FF2B5EF4-FFF2-40B4-BE49-F238E27FC236}">
                  <a16:creationId xmlns:a16="http://schemas.microsoft.com/office/drawing/2014/main" id="{4229BB9B-1E9C-4794-BD7E-31916C0D2655}"/>
                </a:ext>
              </a:extLst>
            </p:cNvPr>
            <p:cNvSpPr txBox="1"/>
            <p:nvPr/>
          </p:nvSpPr>
          <p:spPr>
            <a:xfrm>
              <a:off x="3787215" y="2205409"/>
              <a:ext cx="1569569" cy="291188"/>
            </a:xfrm>
            <a:prstGeom prst="rect">
              <a:avLst/>
            </a:prstGeom>
            <a:noFill/>
          </p:spPr>
          <p:txBody>
            <a:bodyPr wrap="square" lIns="0" tIns="0" rIns="0" bIns="0" rtlCol="0" anchor="ctr">
              <a:spAutoFit/>
            </a:bodyPr>
            <a:lstStyle/>
            <a:p>
              <a:pPr algn="ctr" defTabSz="685800"/>
              <a:r>
                <a:rPr lang="en-US" b="1" dirty="0">
                  <a:latin typeface="Calibri Light"/>
                </a:rPr>
                <a:t>CALCULATION</a:t>
              </a:r>
            </a:p>
          </p:txBody>
        </p:sp>
        <p:sp>
          <p:nvSpPr>
            <p:cNvPr id="150" name="TextBox 149">
              <a:extLst>
                <a:ext uri="{FF2B5EF4-FFF2-40B4-BE49-F238E27FC236}">
                  <a16:creationId xmlns:a16="http://schemas.microsoft.com/office/drawing/2014/main" id="{A432B2BB-4C21-4AF1-9B8E-A30EC8F9E140}"/>
                </a:ext>
              </a:extLst>
            </p:cNvPr>
            <p:cNvSpPr txBox="1"/>
            <p:nvPr/>
          </p:nvSpPr>
          <p:spPr>
            <a:xfrm>
              <a:off x="6726210" y="2478797"/>
              <a:ext cx="1592581" cy="1698596"/>
            </a:xfrm>
            <a:prstGeom prst="rect">
              <a:avLst/>
            </a:prstGeom>
            <a:noFill/>
            <a:ln>
              <a:solidFill>
                <a:schemeClr val="bg1"/>
              </a:solidFill>
            </a:ln>
          </p:spPr>
          <p:txBody>
            <a:bodyPr wrap="square" lIns="0" tIns="0" rIns="0" bIns="0" rtlCol="0" anchor="ctr">
              <a:spAutoFit/>
            </a:bodyPr>
            <a:lstStyle/>
            <a:p>
              <a:pPr defTabSz="685800"/>
              <a:r>
                <a:rPr lang="en-US" sz="1050" b="1" dirty="0">
                  <a:latin typeface="Calibri Light"/>
                </a:rPr>
                <a:t>TX_CURR (FY22 Q2):</a:t>
              </a:r>
            </a:p>
            <a:p>
              <a:pPr marL="171450" indent="-171450" defTabSz="685800">
                <a:buFont typeface="Arial" panose="020B0604020202020204" pitchFamily="34" charset="0"/>
                <a:buChar char="•"/>
              </a:pPr>
              <a:r>
                <a:rPr lang="en-US" sz="1050" dirty="0">
                  <a:latin typeface="Calibri Light"/>
                </a:rPr>
                <a:t>FCT – 86,976</a:t>
              </a:r>
            </a:p>
            <a:p>
              <a:pPr marL="171450" indent="-171450" defTabSz="685800">
                <a:buFont typeface="Arial" panose="020B0604020202020204" pitchFamily="34" charset="0"/>
                <a:buChar char="•"/>
              </a:pPr>
              <a:r>
                <a:rPr lang="en-US" sz="1050" dirty="0">
                  <a:latin typeface="Calibri Light"/>
                </a:rPr>
                <a:t>Katsina – 14,563</a:t>
              </a:r>
            </a:p>
            <a:p>
              <a:pPr marL="171450" indent="-171450" defTabSz="685800">
                <a:buFont typeface="Arial" panose="020B0604020202020204" pitchFamily="34" charset="0"/>
                <a:buChar char="•"/>
              </a:pPr>
              <a:r>
                <a:rPr lang="en-US" sz="1050" dirty="0">
                  <a:latin typeface="Calibri Light"/>
                </a:rPr>
                <a:t>Nasarawa – 75,892</a:t>
              </a:r>
            </a:p>
            <a:p>
              <a:pPr marL="171450" indent="-171450" defTabSz="685800">
                <a:buFont typeface="Arial" panose="020B0604020202020204" pitchFamily="34" charset="0"/>
                <a:buChar char="•"/>
              </a:pPr>
              <a:r>
                <a:rPr lang="en-US" sz="1050" dirty="0">
                  <a:latin typeface="Calibri Light"/>
                </a:rPr>
                <a:t>Rivers – 185,363</a:t>
              </a:r>
            </a:p>
            <a:p>
              <a:pPr defTabSz="685800"/>
              <a:r>
                <a:rPr lang="en-US" sz="1050" b="1" dirty="0">
                  <a:latin typeface="Calibri Light"/>
                </a:rPr>
                <a:t>TX_CURR (FY22 Q1): </a:t>
              </a:r>
            </a:p>
            <a:p>
              <a:pPr marL="171450" indent="-171450" defTabSz="685800">
                <a:buFont typeface="Arial" panose="020B0604020202020204" pitchFamily="34" charset="0"/>
                <a:buChar char="•"/>
              </a:pPr>
              <a:r>
                <a:rPr lang="en-US" sz="1050" dirty="0">
                  <a:latin typeface="Calibri Light"/>
                </a:rPr>
                <a:t>FCT – 83,923</a:t>
              </a:r>
            </a:p>
            <a:p>
              <a:pPr marL="171450" indent="-171450" defTabSz="685800">
                <a:buFont typeface="Arial" panose="020B0604020202020204" pitchFamily="34" charset="0"/>
                <a:buChar char="•"/>
              </a:pPr>
              <a:r>
                <a:rPr lang="en-US" sz="1050" dirty="0">
                  <a:latin typeface="Calibri Light"/>
                </a:rPr>
                <a:t>Katsina – 13,884</a:t>
              </a:r>
            </a:p>
            <a:p>
              <a:pPr marL="171450" indent="-171450" defTabSz="685800">
                <a:buFont typeface="Arial" panose="020B0604020202020204" pitchFamily="34" charset="0"/>
                <a:buChar char="•"/>
              </a:pPr>
              <a:r>
                <a:rPr lang="en-US" sz="1050" dirty="0">
                  <a:latin typeface="Calibri Light"/>
                </a:rPr>
                <a:t>Nasarawa – 73,667</a:t>
              </a:r>
            </a:p>
            <a:p>
              <a:pPr marL="171450" indent="-171450" defTabSz="685800">
                <a:buFont typeface="Arial" panose="020B0604020202020204" pitchFamily="34" charset="0"/>
                <a:buChar char="•"/>
              </a:pPr>
              <a:r>
                <a:rPr lang="en-US" sz="1050" dirty="0">
                  <a:latin typeface="Calibri Light"/>
                </a:rPr>
                <a:t>Rivers – 179,434</a:t>
              </a:r>
            </a:p>
          </p:txBody>
        </p:sp>
        <p:sp>
          <p:nvSpPr>
            <p:cNvPr id="151" name="TextBox 150">
              <a:extLst>
                <a:ext uri="{FF2B5EF4-FFF2-40B4-BE49-F238E27FC236}">
                  <a16:creationId xmlns:a16="http://schemas.microsoft.com/office/drawing/2014/main" id="{269059BD-5BEF-4B22-9D87-AC985C86C7EA}"/>
                </a:ext>
              </a:extLst>
            </p:cNvPr>
            <p:cNvSpPr txBox="1"/>
            <p:nvPr/>
          </p:nvSpPr>
          <p:spPr>
            <a:xfrm>
              <a:off x="6606468" y="2197851"/>
              <a:ext cx="1832066" cy="291188"/>
            </a:xfrm>
            <a:prstGeom prst="rect">
              <a:avLst/>
            </a:prstGeom>
            <a:noFill/>
          </p:spPr>
          <p:txBody>
            <a:bodyPr wrap="square" lIns="0" tIns="0" rIns="0" bIns="0" rtlCol="0" anchor="ctr">
              <a:spAutoFit/>
            </a:bodyPr>
            <a:lstStyle/>
            <a:p>
              <a:pPr algn="ctr" defTabSz="685800"/>
              <a:r>
                <a:rPr lang="en-US" b="1" dirty="0">
                  <a:latin typeface="Calibri Light"/>
                </a:rPr>
                <a:t>EXAMPLE</a:t>
              </a:r>
            </a:p>
          </p:txBody>
        </p:sp>
        <p:sp>
          <p:nvSpPr>
            <p:cNvPr id="28" name="TextBox 27">
              <a:extLst>
                <a:ext uri="{FF2B5EF4-FFF2-40B4-BE49-F238E27FC236}">
                  <a16:creationId xmlns:a16="http://schemas.microsoft.com/office/drawing/2014/main" id="{BFD25879-A117-48BF-A116-CCC3F795F559}"/>
                </a:ext>
              </a:extLst>
            </p:cNvPr>
            <p:cNvSpPr txBox="1"/>
            <p:nvPr/>
          </p:nvSpPr>
          <p:spPr>
            <a:xfrm>
              <a:off x="6743426" y="4204502"/>
              <a:ext cx="1592581" cy="849297"/>
            </a:xfrm>
            <a:prstGeom prst="rect">
              <a:avLst/>
            </a:prstGeom>
            <a:noFill/>
            <a:ln>
              <a:solidFill>
                <a:schemeClr val="bg1"/>
              </a:solidFill>
            </a:ln>
          </p:spPr>
          <p:txBody>
            <a:bodyPr wrap="square" lIns="0" tIns="0" rIns="0" bIns="0" rtlCol="0" anchor="ctr">
              <a:spAutoFit/>
            </a:bodyPr>
            <a:lstStyle/>
            <a:p>
              <a:pPr defTabSz="685800"/>
              <a:r>
                <a:rPr lang="en-US" sz="1050" b="1" dirty="0">
                  <a:latin typeface="Calibri Light"/>
                </a:rPr>
                <a:t>TX_NET_NEW (FY22 Q2):</a:t>
              </a:r>
            </a:p>
            <a:p>
              <a:pPr marL="171450" indent="-171450" defTabSz="685800">
                <a:buFont typeface="Arial" panose="020B0604020202020204" pitchFamily="34" charset="0"/>
                <a:buChar char="•"/>
              </a:pPr>
              <a:r>
                <a:rPr lang="en-US" sz="1050" dirty="0">
                  <a:latin typeface="Calibri Light"/>
                </a:rPr>
                <a:t>FCT –  3,053</a:t>
              </a:r>
            </a:p>
            <a:p>
              <a:pPr marL="171450" indent="-171450" defTabSz="685800">
                <a:buFont typeface="Arial" panose="020B0604020202020204" pitchFamily="34" charset="0"/>
                <a:buChar char="•"/>
              </a:pPr>
              <a:r>
                <a:rPr lang="en-US" sz="1050" dirty="0">
                  <a:latin typeface="Calibri Light"/>
                </a:rPr>
                <a:t>Katsina - 679</a:t>
              </a:r>
            </a:p>
            <a:p>
              <a:pPr marL="171450" indent="-171450" defTabSz="685800">
                <a:buFont typeface="Arial" panose="020B0604020202020204" pitchFamily="34" charset="0"/>
                <a:buChar char="•"/>
              </a:pPr>
              <a:r>
                <a:rPr lang="en-US" sz="1050" dirty="0">
                  <a:latin typeface="Calibri Light"/>
                </a:rPr>
                <a:t>Nasarawa - 2,225</a:t>
              </a:r>
            </a:p>
            <a:p>
              <a:pPr marL="171450" indent="-171450" defTabSz="685800">
                <a:buFont typeface="Arial" panose="020B0604020202020204" pitchFamily="34" charset="0"/>
                <a:buChar char="•"/>
              </a:pPr>
              <a:r>
                <a:rPr lang="en-US" sz="1050" dirty="0">
                  <a:latin typeface="Calibri Light"/>
                </a:rPr>
                <a:t>Rivers – 5,929</a:t>
              </a:r>
            </a:p>
          </p:txBody>
        </p:sp>
      </p:grpSp>
    </p:spTree>
    <p:extLst>
      <p:ext uri="{BB962C8B-B14F-4D97-AF65-F5344CB8AC3E}">
        <p14:creationId xmlns:p14="http://schemas.microsoft.com/office/powerpoint/2010/main" val="105619668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TextBox 133">
            <a:extLst>
              <a:ext uri="{FF2B5EF4-FFF2-40B4-BE49-F238E27FC236}">
                <a16:creationId xmlns:a16="http://schemas.microsoft.com/office/drawing/2014/main" id="{86E6788C-76AA-43BC-8B7F-196C83841096}"/>
              </a:ext>
            </a:extLst>
          </p:cNvPr>
          <p:cNvSpPr txBox="1"/>
          <p:nvPr/>
        </p:nvSpPr>
        <p:spPr>
          <a:xfrm>
            <a:off x="1847850" y="463992"/>
            <a:ext cx="8496300" cy="553998"/>
          </a:xfrm>
          <a:prstGeom prst="rect">
            <a:avLst/>
          </a:prstGeom>
          <a:noFill/>
        </p:spPr>
        <p:txBody>
          <a:bodyPr wrap="square" lIns="0" tIns="0" rIns="0" bIns="0" rtlCol="0" anchor="t">
            <a:spAutoFit/>
          </a:bodyPr>
          <a:lstStyle/>
          <a:p>
            <a:pPr algn="ctr" defTabSz="685800"/>
            <a:r>
              <a:rPr lang="en-US" sz="3600" dirty="0">
                <a:latin typeface="Corbel" panose="020B0503020204020204"/>
              </a:rPr>
              <a:t>CONTINUITY OF TREATMENT</a:t>
            </a:r>
          </a:p>
        </p:txBody>
      </p:sp>
      <p:grpSp>
        <p:nvGrpSpPr>
          <p:cNvPr id="2" name="Group 1">
            <a:extLst>
              <a:ext uri="{FF2B5EF4-FFF2-40B4-BE49-F238E27FC236}">
                <a16:creationId xmlns:a16="http://schemas.microsoft.com/office/drawing/2014/main" id="{11383E8B-A9F5-4C59-A67A-3554539F5B7A}"/>
              </a:ext>
            </a:extLst>
          </p:cNvPr>
          <p:cNvGrpSpPr/>
          <p:nvPr/>
        </p:nvGrpSpPr>
        <p:grpSpPr>
          <a:xfrm>
            <a:off x="1524001" y="1143000"/>
            <a:ext cx="9144001" cy="5578476"/>
            <a:chOff x="0" y="857250"/>
            <a:chExt cx="9144001" cy="5864226"/>
          </a:xfrm>
        </p:grpSpPr>
        <p:sp>
          <p:nvSpPr>
            <p:cNvPr id="98" name="Rectangle 97">
              <a:extLst>
                <a:ext uri="{FF2B5EF4-FFF2-40B4-BE49-F238E27FC236}">
                  <a16:creationId xmlns:a16="http://schemas.microsoft.com/office/drawing/2014/main" id="{84CAA34D-CD75-45C6-B39E-7C242EB87261}"/>
                </a:ext>
              </a:extLst>
            </p:cNvPr>
            <p:cNvSpPr/>
            <p:nvPr/>
          </p:nvSpPr>
          <p:spPr>
            <a:xfrm>
              <a:off x="1" y="2871107"/>
              <a:ext cx="9144000" cy="1306286"/>
            </a:xfrm>
            <a:prstGeom prst="rect">
              <a:avLst/>
            </a:prstGeom>
            <a:solidFill>
              <a:srgbClr val="E7E6E6"/>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99" name="Rectangle: Rounded Corners 98">
              <a:extLst>
                <a:ext uri="{FF2B5EF4-FFF2-40B4-BE49-F238E27FC236}">
                  <a16:creationId xmlns:a16="http://schemas.microsoft.com/office/drawing/2014/main" id="{B79F2794-CAB0-4CBC-A170-CA7853D4B5E7}"/>
                </a:ext>
              </a:extLst>
            </p:cNvPr>
            <p:cNvSpPr/>
            <p:nvPr/>
          </p:nvSpPr>
          <p:spPr>
            <a:xfrm>
              <a:off x="3652410" y="2015558"/>
              <a:ext cx="1951265" cy="3145971"/>
            </a:xfrm>
            <a:prstGeom prst="roundRect">
              <a:avLst>
                <a:gd name="adj" fmla="val 4952"/>
              </a:avLst>
            </a:prstGeom>
            <a:solidFill>
              <a:sysClr val="window" lastClr="FFFFFF">
                <a:lumMod val="65000"/>
              </a:sys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00" name="Rectangle: Rounded Corners 99">
              <a:extLst>
                <a:ext uri="{FF2B5EF4-FFF2-40B4-BE49-F238E27FC236}">
                  <a16:creationId xmlns:a16="http://schemas.microsoft.com/office/drawing/2014/main" id="{624C18DD-A9DF-4469-A7B6-6C9AAA2D41F4}"/>
                </a:ext>
              </a:extLst>
            </p:cNvPr>
            <p:cNvSpPr/>
            <p:nvPr/>
          </p:nvSpPr>
          <p:spPr>
            <a:xfrm>
              <a:off x="6625597" y="2015558"/>
              <a:ext cx="1951265" cy="3145971"/>
            </a:xfrm>
            <a:prstGeom prst="roundRect">
              <a:avLst>
                <a:gd name="adj" fmla="val 4952"/>
              </a:avLst>
            </a:prstGeom>
            <a:solidFill>
              <a:sysClr val="window" lastClr="FFFFFF">
                <a:lumMod val="65000"/>
              </a:sys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01" name="Rectangle: Rounded Corners 100">
              <a:extLst>
                <a:ext uri="{FF2B5EF4-FFF2-40B4-BE49-F238E27FC236}">
                  <a16:creationId xmlns:a16="http://schemas.microsoft.com/office/drawing/2014/main" id="{F503AF90-BD38-48FC-8812-4FA3F25DB0E6}"/>
                </a:ext>
              </a:extLst>
            </p:cNvPr>
            <p:cNvSpPr/>
            <p:nvPr/>
          </p:nvSpPr>
          <p:spPr>
            <a:xfrm>
              <a:off x="685800" y="2015558"/>
              <a:ext cx="1951265" cy="3145971"/>
            </a:xfrm>
            <a:prstGeom prst="roundRect">
              <a:avLst>
                <a:gd name="adj" fmla="val 4952"/>
              </a:avLst>
            </a:prstGeom>
            <a:solidFill>
              <a:sysClr val="window" lastClr="FFFFFF">
                <a:lumMod val="65000"/>
              </a:sys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02" name="Frame 101">
              <a:extLst>
                <a:ext uri="{FF2B5EF4-FFF2-40B4-BE49-F238E27FC236}">
                  <a16:creationId xmlns:a16="http://schemas.microsoft.com/office/drawing/2014/main" id="{530C96A5-18F8-41CE-8FBF-056A3D32634C}"/>
                </a:ext>
              </a:extLst>
            </p:cNvPr>
            <p:cNvSpPr/>
            <p:nvPr/>
          </p:nvSpPr>
          <p:spPr>
            <a:xfrm>
              <a:off x="0" y="857250"/>
              <a:ext cx="9144000" cy="5143500"/>
            </a:xfrm>
            <a:prstGeom prst="frame">
              <a:avLst>
                <a:gd name="adj1" fmla="val 1053"/>
              </a:avLst>
            </a:prstGeom>
            <a:solidFill>
              <a:srgbClr val="44546A">
                <a:lumMod val="40000"/>
                <a:lumOff val="60000"/>
              </a:srgbClr>
            </a:solidFill>
            <a:ln w="12700" cap="flat" cmpd="sng" algn="ctr">
              <a:noFill/>
              <a:prstDash val="solid"/>
              <a:miter lim="800000"/>
            </a:ln>
            <a:effectLst/>
          </p:spPr>
          <p:txBody>
            <a:bodyPr rtlCol="0" anchor="ctr"/>
            <a:lstStyle/>
            <a:p>
              <a:pPr algn="ctr" defTabSz="685800">
                <a:defRPr/>
              </a:pPr>
              <a:endParaRPr lang="en-US" sz="1350" kern="0">
                <a:solidFill>
                  <a:prstClr val="black"/>
                </a:solidFill>
                <a:latin typeface="Calibri Light"/>
              </a:endParaRPr>
            </a:p>
          </p:txBody>
        </p:sp>
        <p:sp>
          <p:nvSpPr>
            <p:cNvPr id="103" name="Rectangle 102">
              <a:extLst>
                <a:ext uri="{FF2B5EF4-FFF2-40B4-BE49-F238E27FC236}">
                  <a16:creationId xmlns:a16="http://schemas.microsoft.com/office/drawing/2014/main" id="{D5A75610-4C9C-4007-86BE-0C93387BD4CC}"/>
                </a:ext>
              </a:extLst>
            </p:cNvPr>
            <p:cNvSpPr/>
            <p:nvPr/>
          </p:nvSpPr>
          <p:spPr>
            <a:xfrm>
              <a:off x="0" y="857250"/>
              <a:ext cx="336430" cy="336430"/>
            </a:xfrm>
            <a:prstGeom prst="rect">
              <a:avLst/>
            </a:prstGeom>
            <a:solidFill>
              <a:srgbClr val="AF5F6D"/>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04" name="Rectangle 103">
              <a:extLst>
                <a:ext uri="{FF2B5EF4-FFF2-40B4-BE49-F238E27FC236}">
                  <a16:creationId xmlns:a16="http://schemas.microsoft.com/office/drawing/2014/main" id="{88DED4A1-8837-48AC-9F2B-DE23F8D97ECB}"/>
                </a:ext>
              </a:extLst>
            </p:cNvPr>
            <p:cNvSpPr/>
            <p:nvPr/>
          </p:nvSpPr>
          <p:spPr>
            <a:xfrm>
              <a:off x="8807571" y="5664321"/>
              <a:ext cx="336430" cy="336430"/>
            </a:xfrm>
            <a:prstGeom prst="rect">
              <a:avLst/>
            </a:prstGeom>
            <a:solidFill>
              <a:srgbClr val="EB6B56"/>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18" name="Slide Number Placeholder 21">
              <a:extLst>
                <a:ext uri="{FF2B5EF4-FFF2-40B4-BE49-F238E27FC236}">
                  <a16:creationId xmlns:a16="http://schemas.microsoft.com/office/drawing/2014/main" id="{93A42D60-09D3-464C-9CEE-9793BC406A2C}"/>
                </a:ext>
              </a:extLst>
            </p:cNvPr>
            <p:cNvSpPr txBox="1">
              <a:spLocks/>
            </p:cNvSpPr>
            <p:nvPr/>
          </p:nvSpPr>
          <p:spPr>
            <a:xfrm>
              <a:off x="6457950" y="6356351"/>
              <a:ext cx="2057400" cy="365125"/>
            </a:xfrm>
            <a:prstGeom prst="rect">
              <a:avLst/>
            </a:prstGeom>
          </p:spPr>
          <p:txBody>
            <a:bodyPr vert="horz" lIns="91440" tIns="45720" rIns="91440" bIns="4572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fld id="{B9940D52-AD77-4C6A-9DCC-3EEF87AE9DF8}" type="slidenum">
                <a:rPr lang="en-US">
                  <a:solidFill>
                    <a:prstClr val="black">
                      <a:tint val="75000"/>
                    </a:prstClr>
                  </a:solidFill>
                  <a:latin typeface="Calibri Light"/>
                </a:rPr>
                <a:pPr defTabSz="685800"/>
                <a:t>69</a:t>
              </a:fld>
              <a:endParaRPr lang="en-US">
                <a:solidFill>
                  <a:prstClr val="black">
                    <a:tint val="75000"/>
                  </a:prstClr>
                </a:solidFill>
                <a:latin typeface="Calibri Light"/>
              </a:endParaRPr>
            </a:p>
          </p:txBody>
        </p:sp>
        <p:sp>
          <p:nvSpPr>
            <p:cNvPr id="119" name="Rectangle: Rounded Corners 118">
              <a:extLst>
                <a:ext uri="{FF2B5EF4-FFF2-40B4-BE49-F238E27FC236}">
                  <a16:creationId xmlns:a16="http://schemas.microsoft.com/office/drawing/2014/main" id="{A31B6B7F-B442-478B-AC83-5877659C504E}"/>
                </a:ext>
              </a:extLst>
            </p:cNvPr>
            <p:cNvSpPr/>
            <p:nvPr/>
          </p:nvSpPr>
          <p:spPr>
            <a:xfrm>
              <a:off x="628650" y="1951264"/>
              <a:ext cx="1951265" cy="3145971"/>
            </a:xfrm>
            <a:prstGeom prst="roundRect">
              <a:avLst>
                <a:gd name="adj" fmla="val 4952"/>
              </a:avLst>
            </a:prstGeom>
            <a:solidFill>
              <a:schemeClr val="accent4">
                <a:lumMod val="20000"/>
                <a:lumOff val="80000"/>
              </a:scheme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20" name="Rectangle: Rounded Corners 119">
              <a:extLst>
                <a:ext uri="{FF2B5EF4-FFF2-40B4-BE49-F238E27FC236}">
                  <a16:creationId xmlns:a16="http://schemas.microsoft.com/office/drawing/2014/main" id="{755AABF3-A803-4326-BD1C-065642A1AA83}"/>
                </a:ext>
              </a:extLst>
            </p:cNvPr>
            <p:cNvSpPr/>
            <p:nvPr/>
          </p:nvSpPr>
          <p:spPr>
            <a:xfrm>
              <a:off x="3596368" y="1951264"/>
              <a:ext cx="1951265" cy="3145971"/>
            </a:xfrm>
            <a:prstGeom prst="roundRect">
              <a:avLst>
                <a:gd name="adj" fmla="val 4952"/>
              </a:avLst>
            </a:prstGeom>
            <a:solidFill>
              <a:schemeClr val="bg1">
                <a:lumMod val="85000"/>
              </a:scheme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21" name="Rectangle: Rounded Corners 120">
              <a:extLst>
                <a:ext uri="{FF2B5EF4-FFF2-40B4-BE49-F238E27FC236}">
                  <a16:creationId xmlns:a16="http://schemas.microsoft.com/office/drawing/2014/main" id="{51F48CB3-9A91-4CD8-BAB4-372731EF5FB1}"/>
                </a:ext>
              </a:extLst>
            </p:cNvPr>
            <p:cNvSpPr/>
            <p:nvPr/>
          </p:nvSpPr>
          <p:spPr>
            <a:xfrm>
              <a:off x="6564085" y="1951264"/>
              <a:ext cx="1951265" cy="3145971"/>
            </a:xfrm>
            <a:prstGeom prst="roundRect">
              <a:avLst>
                <a:gd name="adj" fmla="val 4952"/>
              </a:avLst>
            </a:prstGeom>
            <a:solidFill>
              <a:schemeClr val="accent6">
                <a:lumMod val="20000"/>
                <a:lumOff val="80000"/>
              </a:scheme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grpSp>
          <p:nvGrpSpPr>
            <p:cNvPr id="122" name="Group 121">
              <a:extLst>
                <a:ext uri="{FF2B5EF4-FFF2-40B4-BE49-F238E27FC236}">
                  <a16:creationId xmlns:a16="http://schemas.microsoft.com/office/drawing/2014/main" id="{1D5F4261-1706-4F0E-8267-369D57C1FB88}"/>
                </a:ext>
              </a:extLst>
            </p:cNvPr>
            <p:cNvGrpSpPr/>
            <p:nvPr/>
          </p:nvGrpSpPr>
          <p:grpSpPr>
            <a:xfrm>
              <a:off x="2875574" y="3333082"/>
              <a:ext cx="425135" cy="382335"/>
              <a:chOff x="4854484" y="5910272"/>
              <a:chExt cx="283864" cy="255286"/>
            </a:xfrm>
            <a:solidFill>
              <a:srgbClr val="44546A"/>
            </a:solidFill>
          </p:grpSpPr>
          <p:sp>
            <p:nvSpPr>
              <p:cNvPr id="123" name="Freeform 251">
                <a:extLst>
                  <a:ext uri="{FF2B5EF4-FFF2-40B4-BE49-F238E27FC236}">
                    <a16:creationId xmlns:a16="http://schemas.microsoft.com/office/drawing/2014/main" id="{0C8CED70-9586-4725-ABB9-23097BB29906}"/>
                  </a:ext>
                </a:extLst>
              </p:cNvPr>
              <p:cNvSpPr>
                <a:spLocks/>
              </p:cNvSpPr>
              <p:nvPr/>
            </p:nvSpPr>
            <p:spPr bwMode="auto">
              <a:xfrm>
                <a:off x="4854484" y="5910272"/>
                <a:ext cx="165746" cy="255286"/>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sp>
            <p:nvSpPr>
              <p:cNvPr id="124" name="Freeform 252">
                <a:extLst>
                  <a:ext uri="{FF2B5EF4-FFF2-40B4-BE49-F238E27FC236}">
                    <a16:creationId xmlns:a16="http://schemas.microsoft.com/office/drawing/2014/main" id="{0F01F1D5-7465-4E64-9CCB-5C815BD8B5EC}"/>
                  </a:ext>
                </a:extLst>
              </p:cNvPr>
              <p:cNvSpPr>
                <a:spLocks/>
              </p:cNvSpPr>
              <p:nvPr/>
            </p:nvSpPr>
            <p:spPr bwMode="auto">
              <a:xfrm>
                <a:off x="4972602" y="5910272"/>
                <a:ext cx="165746" cy="255286"/>
              </a:xfrm>
              <a:custGeom>
                <a:avLst/>
                <a:gdLst>
                  <a:gd name="T0" fmla="*/ 344 w 348"/>
                  <a:gd name="T1" fmla="*/ 260 h 535"/>
                  <a:gd name="T2" fmla="*/ 86 w 348"/>
                  <a:gd name="T3" fmla="*/ 2 h 535"/>
                  <a:gd name="T4" fmla="*/ 83 w 348"/>
                  <a:gd name="T5" fmla="*/ 0 h 535"/>
                  <a:gd name="T6" fmla="*/ 80 w 348"/>
                  <a:gd name="T7" fmla="*/ 0 h 535"/>
                  <a:gd name="T8" fmla="*/ 75 w 348"/>
                  <a:gd name="T9" fmla="*/ 0 h 535"/>
                  <a:gd name="T10" fmla="*/ 72 w 348"/>
                  <a:gd name="T11" fmla="*/ 2 h 535"/>
                  <a:gd name="T12" fmla="*/ 3 w 348"/>
                  <a:gd name="T13" fmla="*/ 72 h 535"/>
                  <a:gd name="T14" fmla="*/ 1 w 348"/>
                  <a:gd name="T15" fmla="*/ 75 h 535"/>
                  <a:gd name="T16" fmla="*/ 0 w 348"/>
                  <a:gd name="T17" fmla="*/ 79 h 535"/>
                  <a:gd name="T18" fmla="*/ 1 w 348"/>
                  <a:gd name="T19" fmla="*/ 83 h 535"/>
                  <a:gd name="T20" fmla="*/ 3 w 348"/>
                  <a:gd name="T21" fmla="*/ 86 h 535"/>
                  <a:gd name="T22" fmla="*/ 185 w 348"/>
                  <a:gd name="T23" fmla="*/ 268 h 535"/>
                  <a:gd name="T24" fmla="*/ 3 w 348"/>
                  <a:gd name="T25" fmla="*/ 449 h 535"/>
                  <a:gd name="T26" fmla="*/ 1 w 348"/>
                  <a:gd name="T27" fmla="*/ 452 h 535"/>
                  <a:gd name="T28" fmla="*/ 0 w 348"/>
                  <a:gd name="T29" fmla="*/ 457 h 535"/>
                  <a:gd name="T30" fmla="*/ 1 w 348"/>
                  <a:gd name="T31" fmla="*/ 460 h 535"/>
                  <a:gd name="T32" fmla="*/ 3 w 348"/>
                  <a:gd name="T33" fmla="*/ 463 h 535"/>
                  <a:gd name="T34" fmla="*/ 72 w 348"/>
                  <a:gd name="T35" fmla="*/ 532 h 535"/>
                  <a:gd name="T36" fmla="*/ 75 w 348"/>
                  <a:gd name="T37" fmla="*/ 534 h 535"/>
                  <a:gd name="T38" fmla="*/ 80 w 348"/>
                  <a:gd name="T39" fmla="*/ 535 h 535"/>
                  <a:gd name="T40" fmla="*/ 83 w 348"/>
                  <a:gd name="T41" fmla="*/ 534 h 535"/>
                  <a:gd name="T42" fmla="*/ 86 w 348"/>
                  <a:gd name="T43" fmla="*/ 533 h 535"/>
                  <a:gd name="T44" fmla="*/ 344 w 348"/>
                  <a:gd name="T45" fmla="*/ 274 h 535"/>
                  <a:gd name="T46" fmla="*/ 347 w 348"/>
                  <a:gd name="T47" fmla="*/ 271 h 535"/>
                  <a:gd name="T48" fmla="*/ 348 w 348"/>
                  <a:gd name="T49" fmla="*/ 268 h 535"/>
                  <a:gd name="T50" fmla="*/ 347 w 348"/>
                  <a:gd name="T51" fmla="*/ 263 h 535"/>
                  <a:gd name="T52" fmla="*/ 344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4" y="260"/>
                    </a:moveTo>
                    <a:lnTo>
                      <a:pt x="86" y="2"/>
                    </a:lnTo>
                    <a:lnTo>
                      <a:pt x="83" y="0"/>
                    </a:lnTo>
                    <a:lnTo>
                      <a:pt x="80" y="0"/>
                    </a:lnTo>
                    <a:lnTo>
                      <a:pt x="75" y="0"/>
                    </a:lnTo>
                    <a:lnTo>
                      <a:pt x="72" y="2"/>
                    </a:lnTo>
                    <a:lnTo>
                      <a:pt x="3" y="72"/>
                    </a:lnTo>
                    <a:lnTo>
                      <a:pt x="1" y="75"/>
                    </a:lnTo>
                    <a:lnTo>
                      <a:pt x="0" y="79"/>
                    </a:lnTo>
                    <a:lnTo>
                      <a:pt x="1" y="83"/>
                    </a:lnTo>
                    <a:lnTo>
                      <a:pt x="3" y="86"/>
                    </a:lnTo>
                    <a:lnTo>
                      <a:pt x="185" y="268"/>
                    </a:lnTo>
                    <a:lnTo>
                      <a:pt x="3" y="449"/>
                    </a:lnTo>
                    <a:lnTo>
                      <a:pt x="1" y="452"/>
                    </a:lnTo>
                    <a:lnTo>
                      <a:pt x="0" y="457"/>
                    </a:lnTo>
                    <a:lnTo>
                      <a:pt x="1" y="460"/>
                    </a:lnTo>
                    <a:lnTo>
                      <a:pt x="3" y="463"/>
                    </a:lnTo>
                    <a:lnTo>
                      <a:pt x="72" y="532"/>
                    </a:lnTo>
                    <a:lnTo>
                      <a:pt x="75" y="534"/>
                    </a:lnTo>
                    <a:lnTo>
                      <a:pt x="80" y="535"/>
                    </a:lnTo>
                    <a:lnTo>
                      <a:pt x="83" y="534"/>
                    </a:lnTo>
                    <a:lnTo>
                      <a:pt x="86" y="533"/>
                    </a:lnTo>
                    <a:lnTo>
                      <a:pt x="344" y="274"/>
                    </a:lnTo>
                    <a:lnTo>
                      <a:pt x="347" y="271"/>
                    </a:lnTo>
                    <a:lnTo>
                      <a:pt x="348" y="268"/>
                    </a:lnTo>
                    <a:lnTo>
                      <a:pt x="347" y="263"/>
                    </a:lnTo>
                    <a:lnTo>
                      <a:pt x="344"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grpSp>
        <p:grpSp>
          <p:nvGrpSpPr>
            <p:cNvPr id="125" name="Group 124">
              <a:extLst>
                <a:ext uri="{FF2B5EF4-FFF2-40B4-BE49-F238E27FC236}">
                  <a16:creationId xmlns:a16="http://schemas.microsoft.com/office/drawing/2014/main" id="{819BCB2C-2594-4246-AF1C-54887570D1B2}"/>
                </a:ext>
              </a:extLst>
            </p:cNvPr>
            <p:cNvGrpSpPr/>
            <p:nvPr/>
          </p:nvGrpSpPr>
          <p:grpSpPr>
            <a:xfrm>
              <a:off x="5843292" y="3333082"/>
              <a:ext cx="425135" cy="382335"/>
              <a:chOff x="4854484" y="5910272"/>
              <a:chExt cx="283864" cy="255286"/>
            </a:xfrm>
            <a:solidFill>
              <a:srgbClr val="44546A"/>
            </a:solidFill>
          </p:grpSpPr>
          <p:sp>
            <p:nvSpPr>
              <p:cNvPr id="126" name="Freeform 251">
                <a:extLst>
                  <a:ext uri="{FF2B5EF4-FFF2-40B4-BE49-F238E27FC236}">
                    <a16:creationId xmlns:a16="http://schemas.microsoft.com/office/drawing/2014/main" id="{B4AFA590-489D-461F-87B5-31AA21C9CA6E}"/>
                  </a:ext>
                </a:extLst>
              </p:cNvPr>
              <p:cNvSpPr>
                <a:spLocks/>
              </p:cNvSpPr>
              <p:nvPr/>
            </p:nvSpPr>
            <p:spPr bwMode="auto">
              <a:xfrm>
                <a:off x="4854484" y="5910272"/>
                <a:ext cx="165746" cy="255286"/>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sp>
            <p:nvSpPr>
              <p:cNvPr id="127" name="Freeform 252">
                <a:extLst>
                  <a:ext uri="{FF2B5EF4-FFF2-40B4-BE49-F238E27FC236}">
                    <a16:creationId xmlns:a16="http://schemas.microsoft.com/office/drawing/2014/main" id="{686E9970-8B1D-4D78-8BC4-D6A0633DF381}"/>
                  </a:ext>
                </a:extLst>
              </p:cNvPr>
              <p:cNvSpPr>
                <a:spLocks/>
              </p:cNvSpPr>
              <p:nvPr/>
            </p:nvSpPr>
            <p:spPr bwMode="auto">
              <a:xfrm>
                <a:off x="4972602" y="5910272"/>
                <a:ext cx="165746" cy="255286"/>
              </a:xfrm>
              <a:custGeom>
                <a:avLst/>
                <a:gdLst>
                  <a:gd name="T0" fmla="*/ 344 w 348"/>
                  <a:gd name="T1" fmla="*/ 260 h 535"/>
                  <a:gd name="T2" fmla="*/ 86 w 348"/>
                  <a:gd name="T3" fmla="*/ 2 h 535"/>
                  <a:gd name="T4" fmla="*/ 83 w 348"/>
                  <a:gd name="T5" fmla="*/ 0 h 535"/>
                  <a:gd name="T6" fmla="*/ 80 w 348"/>
                  <a:gd name="T7" fmla="*/ 0 h 535"/>
                  <a:gd name="T8" fmla="*/ 75 w 348"/>
                  <a:gd name="T9" fmla="*/ 0 h 535"/>
                  <a:gd name="T10" fmla="*/ 72 w 348"/>
                  <a:gd name="T11" fmla="*/ 2 h 535"/>
                  <a:gd name="T12" fmla="*/ 3 w 348"/>
                  <a:gd name="T13" fmla="*/ 72 h 535"/>
                  <a:gd name="T14" fmla="*/ 1 w 348"/>
                  <a:gd name="T15" fmla="*/ 75 h 535"/>
                  <a:gd name="T16" fmla="*/ 0 w 348"/>
                  <a:gd name="T17" fmla="*/ 79 h 535"/>
                  <a:gd name="T18" fmla="*/ 1 w 348"/>
                  <a:gd name="T19" fmla="*/ 83 h 535"/>
                  <a:gd name="T20" fmla="*/ 3 w 348"/>
                  <a:gd name="T21" fmla="*/ 86 h 535"/>
                  <a:gd name="T22" fmla="*/ 185 w 348"/>
                  <a:gd name="T23" fmla="*/ 268 h 535"/>
                  <a:gd name="T24" fmla="*/ 3 w 348"/>
                  <a:gd name="T25" fmla="*/ 449 h 535"/>
                  <a:gd name="T26" fmla="*/ 1 w 348"/>
                  <a:gd name="T27" fmla="*/ 452 h 535"/>
                  <a:gd name="T28" fmla="*/ 0 w 348"/>
                  <a:gd name="T29" fmla="*/ 457 h 535"/>
                  <a:gd name="T30" fmla="*/ 1 w 348"/>
                  <a:gd name="T31" fmla="*/ 460 h 535"/>
                  <a:gd name="T32" fmla="*/ 3 w 348"/>
                  <a:gd name="T33" fmla="*/ 463 h 535"/>
                  <a:gd name="T34" fmla="*/ 72 w 348"/>
                  <a:gd name="T35" fmla="*/ 532 h 535"/>
                  <a:gd name="T36" fmla="*/ 75 w 348"/>
                  <a:gd name="T37" fmla="*/ 534 h 535"/>
                  <a:gd name="T38" fmla="*/ 80 w 348"/>
                  <a:gd name="T39" fmla="*/ 535 h 535"/>
                  <a:gd name="T40" fmla="*/ 83 w 348"/>
                  <a:gd name="T41" fmla="*/ 534 h 535"/>
                  <a:gd name="T42" fmla="*/ 86 w 348"/>
                  <a:gd name="T43" fmla="*/ 533 h 535"/>
                  <a:gd name="T44" fmla="*/ 344 w 348"/>
                  <a:gd name="T45" fmla="*/ 274 h 535"/>
                  <a:gd name="T46" fmla="*/ 347 w 348"/>
                  <a:gd name="T47" fmla="*/ 271 h 535"/>
                  <a:gd name="T48" fmla="*/ 348 w 348"/>
                  <a:gd name="T49" fmla="*/ 268 h 535"/>
                  <a:gd name="T50" fmla="*/ 347 w 348"/>
                  <a:gd name="T51" fmla="*/ 263 h 535"/>
                  <a:gd name="T52" fmla="*/ 344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4" y="260"/>
                    </a:moveTo>
                    <a:lnTo>
                      <a:pt x="86" y="2"/>
                    </a:lnTo>
                    <a:lnTo>
                      <a:pt x="83" y="0"/>
                    </a:lnTo>
                    <a:lnTo>
                      <a:pt x="80" y="0"/>
                    </a:lnTo>
                    <a:lnTo>
                      <a:pt x="75" y="0"/>
                    </a:lnTo>
                    <a:lnTo>
                      <a:pt x="72" y="2"/>
                    </a:lnTo>
                    <a:lnTo>
                      <a:pt x="3" y="72"/>
                    </a:lnTo>
                    <a:lnTo>
                      <a:pt x="1" y="75"/>
                    </a:lnTo>
                    <a:lnTo>
                      <a:pt x="0" y="79"/>
                    </a:lnTo>
                    <a:lnTo>
                      <a:pt x="1" y="83"/>
                    </a:lnTo>
                    <a:lnTo>
                      <a:pt x="3" y="86"/>
                    </a:lnTo>
                    <a:lnTo>
                      <a:pt x="185" y="268"/>
                    </a:lnTo>
                    <a:lnTo>
                      <a:pt x="3" y="449"/>
                    </a:lnTo>
                    <a:lnTo>
                      <a:pt x="1" y="452"/>
                    </a:lnTo>
                    <a:lnTo>
                      <a:pt x="0" y="457"/>
                    </a:lnTo>
                    <a:lnTo>
                      <a:pt x="1" y="460"/>
                    </a:lnTo>
                    <a:lnTo>
                      <a:pt x="3" y="463"/>
                    </a:lnTo>
                    <a:lnTo>
                      <a:pt x="72" y="532"/>
                    </a:lnTo>
                    <a:lnTo>
                      <a:pt x="75" y="534"/>
                    </a:lnTo>
                    <a:lnTo>
                      <a:pt x="80" y="535"/>
                    </a:lnTo>
                    <a:lnTo>
                      <a:pt x="83" y="534"/>
                    </a:lnTo>
                    <a:lnTo>
                      <a:pt x="86" y="533"/>
                    </a:lnTo>
                    <a:lnTo>
                      <a:pt x="344" y="274"/>
                    </a:lnTo>
                    <a:lnTo>
                      <a:pt x="347" y="271"/>
                    </a:lnTo>
                    <a:lnTo>
                      <a:pt x="348" y="268"/>
                    </a:lnTo>
                    <a:lnTo>
                      <a:pt x="347" y="263"/>
                    </a:lnTo>
                    <a:lnTo>
                      <a:pt x="344"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grpSp>
        <p:sp>
          <p:nvSpPr>
            <p:cNvPr id="137" name="TextBox 136">
              <a:extLst>
                <a:ext uri="{FF2B5EF4-FFF2-40B4-BE49-F238E27FC236}">
                  <a16:creationId xmlns:a16="http://schemas.microsoft.com/office/drawing/2014/main" id="{BD72369C-B18A-43FF-AFFB-FB7B6C1A5ABC}"/>
                </a:ext>
              </a:extLst>
            </p:cNvPr>
            <p:cNvSpPr txBox="1"/>
            <p:nvPr/>
          </p:nvSpPr>
          <p:spPr>
            <a:xfrm>
              <a:off x="757282" y="3180244"/>
              <a:ext cx="1719483" cy="679438"/>
            </a:xfrm>
            <a:prstGeom prst="rect">
              <a:avLst/>
            </a:prstGeom>
            <a:noFill/>
            <a:ln>
              <a:noFill/>
            </a:ln>
          </p:spPr>
          <p:txBody>
            <a:bodyPr wrap="square" lIns="0" tIns="0" rIns="0" bIns="0" rtlCol="0" anchor="ctr">
              <a:spAutoFit/>
            </a:bodyPr>
            <a:lstStyle/>
            <a:p>
              <a:pPr algn="ctr" defTabSz="685800"/>
              <a:r>
                <a:rPr lang="en-US" sz="1050" dirty="0">
                  <a:latin typeface="Calibri Light"/>
                </a:rPr>
                <a:t>A measure of the overall gain or loss in patients compared to the expected number of patients on treatment</a:t>
              </a:r>
            </a:p>
          </p:txBody>
        </p:sp>
        <p:sp>
          <p:nvSpPr>
            <p:cNvPr id="138" name="TextBox 137">
              <a:extLst>
                <a:ext uri="{FF2B5EF4-FFF2-40B4-BE49-F238E27FC236}">
                  <a16:creationId xmlns:a16="http://schemas.microsoft.com/office/drawing/2014/main" id="{29087046-24DC-401B-97BD-14EADBFCDAAD}"/>
                </a:ext>
              </a:extLst>
            </p:cNvPr>
            <p:cNvSpPr txBox="1"/>
            <p:nvPr/>
          </p:nvSpPr>
          <p:spPr>
            <a:xfrm>
              <a:off x="853984" y="2117324"/>
              <a:ext cx="1500596" cy="291188"/>
            </a:xfrm>
            <a:prstGeom prst="rect">
              <a:avLst/>
            </a:prstGeom>
            <a:noFill/>
          </p:spPr>
          <p:txBody>
            <a:bodyPr wrap="square" lIns="0" tIns="0" rIns="0" bIns="0" rtlCol="0" anchor="ctr">
              <a:spAutoFit/>
            </a:bodyPr>
            <a:lstStyle/>
            <a:p>
              <a:pPr algn="ctr" defTabSz="685800"/>
              <a:r>
                <a:rPr lang="en-US" b="1" dirty="0">
                  <a:latin typeface="Calibri Light"/>
                </a:rPr>
                <a:t>DEFINITION</a:t>
              </a:r>
            </a:p>
          </p:txBody>
        </p:sp>
        <p:sp>
          <p:nvSpPr>
            <p:cNvPr id="144" name="TextBox 143">
              <a:extLst>
                <a:ext uri="{FF2B5EF4-FFF2-40B4-BE49-F238E27FC236}">
                  <a16:creationId xmlns:a16="http://schemas.microsoft.com/office/drawing/2014/main" id="{C75D3502-2084-4D34-B7F6-EC24A147A540}"/>
                </a:ext>
              </a:extLst>
            </p:cNvPr>
            <p:cNvSpPr txBox="1"/>
            <p:nvPr/>
          </p:nvSpPr>
          <p:spPr>
            <a:xfrm>
              <a:off x="3759835" y="3128913"/>
              <a:ext cx="1626331" cy="679438"/>
            </a:xfrm>
            <a:prstGeom prst="rect">
              <a:avLst/>
            </a:prstGeom>
            <a:noFill/>
            <a:ln>
              <a:noFill/>
            </a:ln>
          </p:spPr>
          <p:txBody>
            <a:bodyPr wrap="square" lIns="0" tIns="0" rIns="0" bIns="0" rtlCol="0" anchor="ctr">
              <a:spAutoFit/>
            </a:bodyPr>
            <a:lstStyle>
              <a:defPPr>
                <a:defRPr lang="en-US"/>
              </a:defPPr>
              <a:lvl1pPr defTabSz="685800">
                <a:defRPr sz="1050" b="1">
                  <a:latin typeface="Calibri Light"/>
                </a:defRPr>
              </a:lvl1pPr>
            </a:lstStyle>
            <a:p>
              <a:pPr algn="ctr"/>
              <a:r>
                <a:rPr lang="en-US" b="0" dirty="0"/>
                <a:t>Current Quarter TX_CURR / Past Quarter TX_CURR + Current Quarter TX_NEW *100</a:t>
              </a:r>
            </a:p>
          </p:txBody>
        </p:sp>
        <p:sp>
          <p:nvSpPr>
            <p:cNvPr id="145" name="TextBox 144">
              <a:extLst>
                <a:ext uri="{FF2B5EF4-FFF2-40B4-BE49-F238E27FC236}">
                  <a16:creationId xmlns:a16="http://schemas.microsoft.com/office/drawing/2014/main" id="{4229BB9B-1E9C-4794-BD7E-31916C0D2655}"/>
                </a:ext>
              </a:extLst>
            </p:cNvPr>
            <p:cNvSpPr txBox="1"/>
            <p:nvPr/>
          </p:nvSpPr>
          <p:spPr>
            <a:xfrm>
              <a:off x="3787215" y="2107319"/>
              <a:ext cx="1569569" cy="291188"/>
            </a:xfrm>
            <a:prstGeom prst="rect">
              <a:avLst/>
            </a:prstGeom>
            <a:noFill/>
          </p:spPr>
          <p:txBody>
            <a:bodyPr wrap="square" lIns="0" tIns="0" rIns="0" bIns="0" rtlCol="0" anchor="ctr">
              <a:spAutoFit/>
            </a:bodyPr>
            <a:lstStyle/>
            <a:p>
              <a:pPr algn="ctr" defTabSz="685800"/>
              <a:r>
                <a:rPr lang="en-US" b="1" dirty="0">
                  <a:latin typeface="Calibri Light"/>
                </a:rPr>
                <a:t>CALCULATION</a:t>
              </a:r>
            </a:p>
          </p:txBody>
        </p:sp>
        <p:sp>
          <p:nvSpPr>
            <p:cNvPr id="150" name="TextBox 149">
              <a:extLst>
                <a:ext uri="{FF2B5EF4-FFF2-40B4-BE49-F238E27FC236}">
                  <a16:creationId xmlns:a16="http://schemas.microsoft.com/office/drawing/2014/main" id="{A432B2BB-4C21-4AF1-9B8E-A30EC8F9E140}"/>
                </a:ext>
              </a:extLst>
            </p:cNvPr>
            <p:cNvSpPr txBox="1"/>
            <p:nvPr/>
          </p:nvSpPr>
          <p:spPr>
            <a:xfrm>
              <a:off x="6726210" y="2374225"/>
              <a:ext cx="1712324" cy="1698596"/>
            </a:xfrm>
            <a:prstGeom prst="rect">
              <a:avLst/>
            </a:prstGeom>
            <a:noFill/>
            <a:ln>
              <a:solidFill>
                <a:schemeClr val="bg1"/>
              </a:solidFill>
            </a:ln>
          </p:spPr>
          <p:txBody>
            <a:bodyPr wrap="square" lIns="0" tIns="0" rIns="0" bIns="0" rtlCol="0" anchor="ctr">
              <a:spAutoFit/>
            </a:bodyPr>
            <a:lstStyle/>
            <a:p>
              <a:pPr defTabSz="685800"/>
              <a:r>
                <a:rPr lang="en-US" sz="1050" b="1" dirty="0">
                  <a:latin typeface="Calibri Light"/>
                </a:rPr>
                <a:t>TX_CURR (FY22 Q2):</a:t>
              </a:r>
            </a:p>
            <a:p>
              <a:pPr marL="171450" indent="-171450" defTabSz="685800">
                <a:buFont typeface="Arial" panose="020B0604020202020204" pitchFamily="34" charset="0"/>
                <a:buChar char="•"/>
              </a:pPr>
              <a:r>
                <a:rPr lang="en-US" sz="1050" dirty="0">
                  <a:latin typeface="Calibri Light"/>
                </a:rPr>
                <a:t>FCT – 86,976</a:t>
              </a:r>
            </a:p>
            <a:p>
              <a:pPr marL="171450" indent="-171450" defTabSz="685800">
                <a:buFont typeface="Arial" panose="020B0604020202020204" pitchFamily="34" charset="0"/>
                <a:buChar char="•"/>
              </a:pPr>
              <a:r>
                <a:rPr lang="en-US" sz="1050" dirty="0">
                  <a:latin typeface="Calibri Light"/>
                </a:rPr>
                <a:t>Katsina – 14,563</a:t>
              </a:r>
            </a:p>
            <a:p>
              <a:pPr marL="171450" indent="-171450" defTabSz="685800">
                <a:buFont typeface="Arial" panose="020B0604020202020204" pitchFamily="34" charset="0"/>
                <a:buChar char="•"/>
              </a:pPr>
              <a:r>
                <a:rPr lang="en-US" sz="1050" dirty="0">
                  <a:latin typeface="Calibri Light"/>
                </a:rPr>
                <a:t>Nasarawa – 75,892</a:t>
              </a:r>
            </a:p>
            <a:p>
              <a:pPr marL="171450" indent="-171450" defTabSz="685800">
                <a:buFont typeface="Arial" panose="020B0604020202020204" pitchFamily="34" charset="0"/>
                <a:buChar char="•"/>
              </a:pPr>
              <a:r>
                <a:rPr lang="en-US" sz="1050" dirty="0">
                  <a:latin typeface="Calibri Light"/>
                </a:rPr>
                <a:t>Rivers – 185,363</a:t>
              </a:r>
            </a:p>
            <a:p>
              <a:pPr defTabSz="685800"/>
              <a:r>
                <a:rPr lang="en-US" sz="1050" b="1" dirty="0">
                  <a:latin typeface="Calibri Light"/>
                </a:rPr>
                <a:t>TX_CURR (FY22 Q1): </a:t>
              </a:r>
            </a:p>
            <a:p>
              <a:pPr marL="171450" indent="-171450" defTabSz="685800">
                <a:buFont typeface="Arial" panose="020B0604020202020204" pitchFamily="34" charset="0"/>
                <a:buChar char="•"/>
              </a:pPr>
              <a:r>
                <a:rPr lang="en-US" sz="1050" dirty="0">
                  <a:latin typeface="Calibri Light"/>
                </a:rPr>
                <a:t>FCT – 83,923 + 2600</a:t>
              </a:r>
            </a:p>
            <a:p>
              <a:pPr marL="171450" indent="-171450" defTabSz="685800">
                <a:buFont typeface="Arial" panose="020B0604020202020204" pitchFamily="34" charset="0"/>
                <a:buChar char="•"/>
              </a:pPr>
              <a:r>
                <a:rPr lang="en-US" sz="1050" dirty="0">
                  <a:latin typeface="Calibri Light"/>
                </a:rPr>
                <a:t>Katsina - 13,884 + 855</a:t>
              </a:r>
            </a:p>
            <a:p>
              <a:pPr marL="171450" indent="-171450" defTabSz="685800">
                <a:buFont typeface="Arial" panose="020B0604020202020204" pitchFamily="34" charset="0"/>
                <a:buChar char="•"/>
              </a:pPr>
              <a:r>
                <a:rPr lang="en-US" sz="1050" dirty="0">
                  <a:latin typeface="Calibri Light"/>
                </a:rPr>
                <a:t>Nasarawa - 73,667 + 2,093</a:t>
              </a:r>
            </a:p>
            <a:p>
              <a:pPr marL="171450" indent="-171450" defTabSz="685800">
                <a:buFont typeface="Arial" panose="020B0604020202020204" pitchFamily="34" charset="0"/>
                <a:buChar char="•"/>
              </a:pPr>
              <a:r>
                <a:rPr lang="en-US" sz="1050" dirty="0">
                  <a:latin typeface="Calibri Light"/>
                </a:rPr>
                <a:t>Rivers 179,434 + 6,243</a:t>
              </a:r>
            </a:p>
          </p:txBody>
        </p:sp>
        <p:sp>
          <p:nvSpPr>
            <p:cNvPr id="151" name="TextBox 150">
              <a:extLst>
                <a:ext uri="{FF2B5EF4-FFF2-40B4-BE49-F238E27FC236}">
                  <a16:creationId xmlns:a16="http://schemas.microsoft.com/office/drawing/2014/main" id="{269059BD-5BEF-4B22-9D87-AC985C86C7EA}"/>
                </a:ext>
              </a:extLst>
            </p:cNvPr>
            <p:cNvSpPr txBox="1"/>
            <p:nvPr/>
          </p:nvSpPr>
          <p:spPr>
            <a:xfrm>
              <a:off x="6606468" y="2080145"/>
              <a:ext cx="1832066" cy="291188"/>
            </a:xfrm>
            <a:prstGeom prst="rect">
              <a:avLst/>
            </a:prstGeom>
            <a:noFill/>
          </p:spPr>
          <p:txBody>
            <a:bodyPr wrap="square" lIns="0" tIns="0" rIns="0" bIns="0" rtlCol="0" anchor="ctr">
              <a:spAutoFit/>
            </a:bodyPr>
            <a:lstStyle/>
            <a:p>
              <a:pPr algn="ctr" defTabSz="685800"/>
              <a:r>
                <a:rPr lang="en-US" b="1" dirty="0">
                  <a:latin typeface="Calibri Light"/>
                </a:rPr>
                <a:t>EXAMPLE</a:t>
              </a:r>
            </a:p>
          </p:txBody>
        </p:sp>
        <p:sp>
          <p:nvSpPr>
            <p:cNvPr id="28" name="TextBox 27">
              <a:extLst>
                <a:ext uri="{FF2B5EF4-FFF2-40B4-BE49-F238E27FC236}">
                  <a16:creationId xmlns:a16="http://schemas.microsoft.com/office/drawing/2014/main" id="{BFD25879-A117-48BF-A116-CCC3F795F559}"/>
                </a:ext>
              </a:extLst>
            </p:cNvPr>
            <p:cNvSpPr txBox="1"/>
            <p:nvPr/>
          </p:nvSpPr>
          <p:spPr>
            <a:xfrm>
              <a:off x="6726210" y="4080336"/>
              <a:ext cx="1712324" cy="1019157"/>
            </a:xfrm>
            <a:prstGeom prst="rect">
              <a:avLst/>
            </a:prstGeom>
            <a:noFill/>
            <a:ln>
              <a:solidFill>
                <a:schemeClr val="bg1"/>
              </a:solidFill>
            </a:ln>
          </p:spPr>
          <p:txBody>
            <a:bodyPr wrap="square" lIns="0" tIns="0" rIns="0" bIns="0" rtlCol="0" anchor="ctr">
              <a:spAutoFit/>
            </a:bodyPr>
            <a:lstStyle/>
            <a:p>
              <a:pPr defTabSz="685800"/>
              <a:r>
                <a:rPr lang="en-US" sz="1050" b="1" dirty="0">
                  <a:latin typeface="Calibri Light"/>
                </a:rPr>
                <a:t>CONTINUITY OF TREATMENT (FY22 Q2):</a:t>
              </a:r>
            </a:p>
            <a:p>
              <a:pPr marL="171450" indent="-171450" defTabSz="685800">
                <a:buFont typeface="Arial" panose="020B0604020202020204" pitchFamily="34" charset="0"/>
                <a:buChar char="•"/>
              </a:pPr>
              <a:r>
                <a:rPr lang="en-US" sz="1050" dirty="0">
                  <a:latin typeface="Calibri Light"/>
                </a:rPr>
                <a:t>FCT – 100%</a:t>
              </a:r>
            </a:p>
            <a:p>
              <a:pPr marL="171450" indent="-171450" defTabSz="685800">
                <a:buFont typeface="Arial" panose="020B0604020202020204" pitchFamily="34" charset="0"/>
                <a:buChar char="•"/>
              </a:pPr>
              <a:r>
                <a:rPr lang="en-US" sz="1050" dirty="0">
                  <a:latin typeface="Calibri Light"/>
                </a:rPr>
                <a:t>Katsina – 99%</a:t>
              </a:r>
            </a:p>
            <a:p>
              <a:pPr marL="171450" indent="-171450" defTabSz="685800">
                <a:buFont typeface="Arial" panose="020B0604020202020204" pitchFamily="34" charset="0"/>
                <a:buChar char="•"/>
              </a:pPr>
              <a:r>
                <a:rPr lang="en-US" sz="1050" dirty="0">
                  <a:latin typeface="Calibri Light"/>
                </a:rPr>
                <a:t>Nasarawa – 100%</a:t>
              </a:r>
            </a:p>
            <a:p>
              <a:pPr marL="171450" indent="-171450" defTabSz="685800">
                <a:buFont typeface="Arial" panose="020B0604020202020204" pitchFamily="34" charset="0"/>
                <a:buChar char="•"/>
              </a:pPr>
              <a:r>
                <a:rPr lang="en-US" sz="1050" dirty="0">
                  <a:latin typeface="Calibri Light"/>
                </a:rPr>
                <a:t>Rivers – 100%</a:t>
              </a:r>
            </a:p>
          </p:txBody>
        </p:sp>
      </p:grpSp>
    </p:spTree>
    <p:extLst>
      <p:ext uri="{BB962C8B-B14F-4D97-AF65-F5344CB8AC3E}">
        <p14:creationId xmlns:p14="http://schemas.microsoft.com/office/powerpoint/2010/main" val="31965458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1">
            <a:extLst>
              <a:ext uri="{FF2B5EF4-FFF2-40B4-BE49-F238E27FC236}">
                <a16:creationId xmlns:a16="http://schemas.microsoft.com/office/drawing/2014/main" id="{12085BD1-C941-C0CC-A5E8-F8025011F9A0}"/>
              </a:ext>
            </a:extLst>
          </p:cNvPr>
          <p:cNvSpPr>
            <a:spLocks noGrp="1"/>
          </p:cNvSpPr>
          <p:nvPr>
            <p:ph type="title"/>
          </p:nvPr>
        </p:nvSpPr>
        <p:spPr>
          <a:xfrm>
            <a:off x="481012" y="159573"/>
            <a:ext cx="10972800" cy="1143000"/>
          </a:xfrm>
        </p:spPr>
        <p:txBody>
          <a:bodyPr/>
          <a:lstStyle/>
          <a:p>
            <a:pPr algn="ctr" eaLnBrk="1" hangingPunct="1"/>
            <a:r>
              <a:rPr lang="en-US" altLang="en-US" sz="3600" b="1" dirty="0">
                <a:solidFill>
                  <a:srgbClr val="002060"/>
                </a:solidFill>
                <a:latin typeface="Poppins" panose="00000500000000000000" pitchFamily="2" charset="0"/>
                <a:cs typeface="Poppins" panose="00000500000000000000" pitchFamily="2" charset="0"/>
              </a:rPr>
              <a:t>Output</a:t>
            </a:r>
            <a:endParaRPr lang="en-US" altLang="en-US" sz="3600" dirty="0">
              <a:solidFill>
                <a:srgbClr val="002060"/>
              </a:solidFill>
              <a:latin typeface="Poppins" panose="00000500000000000000" pitchFamily="2" charset="0"/>
              <a:cs typeface="Poppins" panose="00000500000000000000" pitchFamily="2" charset="0"/>
            </a:endParaRPr>
          </a:p>
        </p:txBody>
      </p:sp>
      <p:sp>
        <p:nvSpPr>
          <p:cNvPr id="3" name="Content Placeholder 2">
            <a:extLst>
              <a:ext uri="{FF2B5EF4-FFF2-40B4-BE49-F238E27FC236}">
                <a16:creationId xmlns:a16="http://schemas.microsoft.com/office/drawing/2014/main" id="{972C4C8E-515C-2124-505E-390B1CA49A17}"/>
              </a:ext>
            </a:extLst>
          </p:cNvPr>
          <p:cNvSpPr>
            <a:spLocks noGrp="1"/>
          </p:cNvSpPr>
          <p:nvPr>
            <p:ph idx="1"/>
          </p:nvPr>
        </p:nvSpPr>
        <p:spPr>
          <a:xfrm>
            <a:off x="857096" y="1151115"/>
            <a:ext cx="10220633" cy="4525963"/>
          </a:xfrm>
        </p:spPr>
        <p:txBody>
          <a:bodyPr/>
          <a:lstStyle/>
          <a:p>
            <a:pPr marL="0" indent="0">
              <a:buNone/>
              <a:defRPr/>
            </a:pPr>
            <a:r>
              <a:rPr lang="en-US" sz="2800" b="1" i="1" dirty="0">
                <a:solidFill>
                  <a:srgbClr val="00B050"/>
                </a:solidFill>
                <a:latin typeface="Arial" charset="0"/>
              </a:rPr>
              <a:t>‘The final products, or goods and services produced for delivery.’</a:t>
            </a:r>
          </a:p>
          <a:p>
            <a:pPr eaLnBrk="1" hangingPunct="1">
              <a:defRPr/>
            </a:pPr>
            <a:r>
              <a:rPr lang="en-US" altLang="en-US" i="1" dirty="0"/>
              <a:t>Outputs describe ‘what we produce or deliver’.</a:t>
            </a:r>
          </a:p>
          <a:p>
            <a:pPr eaLnBrk="1" hangingPunct="1">
              <a:defRPr/>
            </a:pPr>
            <a:r>
              <a:rPr lang="en-US" altLang="en-US" i="1" dirty="0"/>
              <a:t>Short term, immediate results </a:t>
            </a:r>
          </a:p>
          <a:p>
            <a:pPr eaLnBrk="1" hangingPunct="1">
              <a:defRPr/>
            </a:pPr>
            <a:endParaRPr lang="en-US" b="1" dirty="0">
              <a:solidFill>
                <a:srgbClr val="00B050"/>
              </a:solidFill>
              <a:latin typeface="Arial" charset="0"/>
            </a:endParaRPr>
          </a:p>
          <a:p>
            <a:pPr eaLnBrk="1" hangingPunct="1">
              <a:defRPr/>
            </a:pPr>
            <a:endParaRPr lang="en-US" b="1" dirty="0">
              <a:solidFill>
                <a:srgbClr val="00B050"/>
              </a:solidFill>
              <a:latin typeface="Arial" charset="0"/>
            </a:endParaRPr>
          </a:p>
          <a:p>
            <a:pPr eaLnBrk="1" hangingPunct="1">
              <a:defRPr/>
            </a:pPr>
            <a:endParaRPr lang="en-US" dirty="0"/>
          </a:p>
        </p:txBody>
      </p:sp>
      <p:sp>
        <p:nvSpPr>
          <p:cNvPr id="4" name="Freeform: Shape 32">
            <a:extLst>
              <a:ext uri="{FF2B5EF4-FFF2-40B4-BE49-F238E27FC236}">
                <a16:creationId xmlns:a16="http://schemas.microsoft.com/office/drawing/2014/main" id="{4A5DCDBC-C6BF-0AFF-9308-27A592CAF142}"/>
              </a:ext>
            </a:extLst>
          </p:cNvPr>
          <p:cNvSpPr/>
          <p:nvPr/>
        </p:nvSpPr>
        <p:spPr>
          <a:xfrm>
            <a:off x="2740026" y="4676159"/>
            <a:ext cx="830263" cy="382588"/>
          </a:xfrm>
          <a:custGeom>
            <a:avLst/>
            <a:gdLst>
              <a:gd name="connsiteX0" fmla="*/ 0 w 1122012"/>
              <a:gd name="connsiteY0" fmla="*/ 0 h 473610"/>
              <a:gd name="connsiteX1" fmla="*/ 4 w 1122012"/>
              <a:gd name="connsiteY1" fmla="*/ 0 h 473610"/>
              <a:gd name="connsiteX2" fmla="*/ 158074 w 1122012"/>
              <a:gd name="connsiteY2" fmla="*/ 157870 h 473610"/>
              <a:gd name="connsiteX3" fmla="*/ 518035 w 1122012"/>
              <a:gd name="connsiteY3" fmla="*/ 157870 h 473610"/>
              <a:gd name="connsiteX4" fmla="*/ 873590 w 1122012"/>
              <a:gd name="connsiteY4" fmla="*/ 157870 h 473610"/>
              <a:gd name="connsiteX5" fmla="*/ 963942 w 1122012"/>
              <a:gd name="connsiteY5" fmla="*/ 157870 h 473610"/>
              <a:gd name="connsiteX6" fmla="*/ 1122012 w 1122012"/>
              <a:gd name="connsiteY6" fmla="*/ 315740 h 473610"/>
              <a:gd name="connsiteX7" fmla="*/ 963942 w 1122012"/>
              <a:gd name="connsiteY7" fmla="*/ 473610 h 473610"/>
              <a:gd name="connsiteX8" fmla="*/ 3 w 1122012"/>
              <a:gd name="connsiteY8" fmla="*/ 473610 h 473610"/>
              <a:gd name="connsiteX9" fmla="*/ 3 w 1122012"/>
              <a:gd name="connsiteY9" fmla="*/ 315740 h 473610"/>
              <a:gd name="connsiteX10" fmla="*/ 0 w 1122012"/>
              <a:gd name="connsiteY10" fmla="*/ 315740 h 473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22012" h="473610">
                <a:moveTo>
                  <a:pt x="0" y="0"/>
                </a:moveTo>
                <a:lnTo>
                  <a:pt x="4" y="0"/>
                </a:lnTo>
                <a:cubicBezTo>
                  <a:pt x="4" y="87189"/>
                  <a:pt x="70774" y="157870"/>
                  <a:pt x="158074" y="157870"/>
                </a:cubicBezTo>
                <a:lnTo>
                  <a:pt x="518035" y="157870"/>
                </a:lnTo>
                <a:lnTo>
                  <a:pt x="873590" y="157870"/>
                </a:lnTo>
                <a:lnTo>
                  <a:pt x="963942" y="157870"/>
                </a:lnTo>
                <a:cubicBezTo>
                  <a:pt x="1051242" y="157870"/>
                  <a:pt x="1122012" y="228551"/>
                  <a:pt x="1122012" y="315740"/>
                </a:cubicBezTo>
                <a:cubicBezTo>
                  <a:pt x="1122012" y="402929"/>
                  <a:pt x="1051242" y="473610"/>
                  <a:pt x="963942" y="473610"/>
                </a:cubicBezTo>
                <a:lnTo>
                  <a:pt x="3" y="473610"/>
                </a:lnTo>
                <a:lnTo>
                  <a:pt x="3" y="315740"/>
                </a:lnTo>
                <a:lnTo>
                  <a:pt x="0" y="315740"/>
                </a:lnTo>
                <a:close/>
              </a:path>
            </a:pathLst>
          </a:custGeom>
          <a:gradFill flip="none" rotWithShape="1">
            <a:gsLst>
              <a:gs pos="0">
                <a:schemeClr val="bg2">
                  <a:lumMod val="75000"/>
                </a:schemeClr>
              </a:gs>
              <a:gs pos="42000">
                <a:schemeClr val="bg1">
                  <a:lumMod val="85000"/>
                </a:schemeClr>
              </a:gs>
              <a:gs pos="100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en-US" sz="1350"/>
          </a:p>
        </p:txBody>
      </p:sp>
      <p:sp>
        <p:nvSpPr>
          <p:cNvPr id="5" name="Freeform: Shape 33">
            <a:extLst>
              <a:ext uri="{FF2B5EF4-FFF2-40B4-BE49-F238E27FC236}">
                <a16:creationId xmlns:a16="http://schemas.microsoft.com/office/drawing/2014/main" id="{C42C4742-B3F6-E6D6-F98B-49358ADB1F0E}"/>
              </a:ext>
            </a:extLst>
          </p:cNvPr>
          <p:cNvSpPr/>
          <p:nvPr/>
        </p:nvSpPr>
        <p:spPr>
          <a:xfrm flipH="1">
            <a:off x="2729144" y="4462908"/>
            <a:ext cx="2058639" cy="1512957"/>
          </a:xfrm>
          <a:custGeom>
            <a:avLst/>
            <a:gdLst>
              <a:gd name="connsiteX0" fmla="*/ 4 w 2779777"/>
              <a:gd name="connsiteY0" fmla="*/ 541 h 1879095"/>
              <a:gd name="connsiteX1" fmla="*/ 4 w 2779777"/>
              <a:gd name="connsiteY1" fmla="*/ 157870 h 1879095"/>
              <a:gd name="connsiteX2" fmla="*/ 3 w 2779777"/>
              <a:gd name="connsiteY2" fmla="*/ 157870 h 1879095"/>
              <a:gd name="connsiteX3" fmla="*/ 3 w 2779777"/>
              <a:gd name="connsiteY3" fmla="*/ 473610 h 1879095"/>
              <a:gd name="connsiteX4" fmla="*/ 1657768 w 2779777"/>
              <a:gd name="connsiteY4" fmla="*/ 473610 h 1879095"/>
              <a:gd name="connsiteX5" fmla="*/ 1657768 w 2779777"/>
              <a:gd name="connsiteY5" fmla="*/ 473611 h 1879095"/>
              <a:gd name="connsiteX6" fmla="*/ 0 w 2779777"/>
              <a:gd name="connsiteY6" fmla="*/ 473611 h 1879095"/>
              <a:gd name="connsiteX7" fmla="*/ 0 w 2779777"/>
              <a:gd name="connsiteY7" fmla="*/ 1637039 h 1879095"/>
              <a:gd name="connsiteX8" fmla="*/ 242363 w 2779777"/>
              <a:gd name="connsiteY8" fmla="*/ 1879095 h 1879095"/>
              <a:gd name="connsiteX9" fmla="*/ 1657768 w 2779777"/>
              <a:gd name="connsiteY9" fmla="*/ 1879095 h 1879095"/>
              <a:gd name="connsiteX10" fmla="*/ 1657768 w 2779777"/>
              <a:gd name="connsiteY10" fmla="*/ 910453 h 1879095"/>
              <a:gd name="connsiteX11" fmla="*/ 1657768 w 2779777"/>
              <a:gd name="connsiteY11" fmla="*/ 836121 h 1879095"/>
              <a:gd name="connsiteX12" fmla="*/ 1657768 w 2779777"/>
              <a:gd name="connsiteY12" fmla="*/ 789350 h 1879095"/>
              <a:gd name="connsiteX13" fmla="*/ 1657768 w 2779777"/>
              <a:gd name="connsiteY13" fmla="*/ 631480 h 1879095"/>
              <a:gd name="connsiteX14" fmla="*/ 1657769 w 2779777"/>
              <a:gd name="connsiteY14" fmla="*/ 631480 h 1879095"/>
              <a:gd name="connsiteX15" fmla="*/ 1815839 w 2779777"/>
              <a:gd name="connsiteY15" fmla="*/ 473610 h 1879095"/>
              <a:gd name="connsiteX16" fmla="*/ 1906191 w 2779777"/>
              <a:gd name="connsiteY16" fmla="*/ 473610 h 1879095"/>
              <a:gd name="connsiteX17" fmla="*/ 2261746 w 2779777"/>
              <a:gd name="connsiteY17" fmla="*/ 473610 h 1879095"/>
              <a:gd name="connsiteX18" fmla="*/ 2303383 w 2779777"/>
              <a:gd name="connsiteY18" fmla="*/ 473610 h 1879095"/>
              <a:gd name="connsiteX19" fmla="*/ 2621707 w 2779777"/>
              <a:gd name="connsiteY19" fmla="*/ 473610 h 1879095"/>
              <a:gd name="connsiteX20" fmla="*/ 2779777 w 2779777"/>
              <a:gd name="connsiteY20" fmla="*/ 315740 h 1879095"/>
              <a:gd name="connsiteX21" fmla="*/ 2621707 w 2779777"/>
              <a:gd name="connsiteY21" fmla="*/ 157870 h 1879095"/>
              <a:gd name="connsiteX22" fmla="*/ 1906191 w 2779777"/>
              <a:gd name="connsiteY22" fmla="*/ 157870 h 1879095"/>
              <a:gd name="connsiteX23" fmla="*/ 1657769 w 2779777"/>
              <a:gd name="connsiteY23" fmla="*/ 157870 h 1879095"/>
              <a:gd name="connsiteX24" fmla="*/ 1122013 w 2779777"/>
              <a:gd name="connsiteY24" fmla="*/ 157870 h 1879095"/>
              <a:gd name="connsiteX25" fmla="*/ 1122013 w 2779777"/>
              <a:gd name="connsiteY25" fmla="*/ 158411 h 1879095"/>
              <a:gd name="connsiteX26" fmla="*/ 158074 w 2779777"/>
              <a:gd name="connsiteY26" fmla="*/ 158411 h 1879095"/>
              <a:gd name="connsiteX27" fmla="*/ 4 w 2779777"/>
              <a:gd name="connsiteY27" fmla="*/ 541 h 1879095"/>
              <a:gd name="connsiteX28" fmla="*/ 114 w 2779777"/>
              <a:gd name="connsiteY28" fmla="*/ 0 h 1879095"/>
              <a:gd name="connsiteX29" fmla="*/ 4 w 2779777"/>
              <a:gd name="connsiteY29" fmla="*/ 0 h 1879095"/>
              <a:gd name="connsiteX30" fmla="*/ 4 w 2779777"/>
              <a:gd name="connsiteY30" fmla="*/ 541 h 1879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79777" h="1879095">
                <a:moveTo>
                  <a:pt x="4" y="541"/>
                </a:moveTo>
                <a:lnTo>
                  <a:pt x="4" y="157870"/>
                </a:lnTo>
                <a:lnTo>
                  <a:pt x="3" y="157870"/>
                </a:lnTo>
                <a:lnTo>
                  <a:pt x="3" y="473610"/>
                </a:lnTo>
                <a:lnTo>
                  <a:pt x="1657768" y="473610"/>
                </a:lnTo>
                <a:lnTo>
                  <a:pt x="1657768" y="473611"/>
                </a:lnTo>
                <a:lnTo>
                  <a:pt x="0" y="473611"/>
                </a:lnTo>
                <a:lnTo>
                  <a:pt x="0" y="1637039"/>
                </a:lnTo>
                <a:cubicBezTo>
                  <a:pt x="0" y="1770723"/>
                  <a:pt x="108510" y="1879095"/>
                  <a:pt x="242363" y="1879095"/>
                </a:cubicBezTo>
                <a:lnTo>
                  <a:pt x="1657768" y="1879095"/>
                </a:lnTo>
                <a:lnTo>
                  <a:pt x="1657768" y="910453"/>
                </a:lnTo>
                <a:lnTo>
                  <a:pt x="1657768" y="836121"/>
                </a:lnTo>
                <a:lnTo>
                  <a:pt x="1657768" y="789350"/>
                </a:lnTo>
                <a:lnTo>
                  <a:pt x="1657768" y="631480"/>
                </a:lnTo>
                <a:lnTo>
                  <a:pt x="1657769" y="631480"/>
                </a:lnTo>
                <a:cubicBezTo>
                  <a:pt x="1657769" y="544291"/>
                  <a:pt x="1728539" y="473610"/>
                  <a:pt x="1815839" y="473610"/>
                </a:cubicBezTo>
                <a:lnTo>
                  <a:pt x="1906191" y="473610"/>
                </a:lnTo>
                <a:lnTo>
                  <a:pt x="2261746" y="473610"/>
                </a:lnTo>
                <a:lnTo>
                  <a:pt x="2303383" y="473610"/>
                </a:lnTo>
                <a:lnTo>
                  <a:pt x="2621707" y="473610"/>
                </a:lnTo>
                <a:cubicBezTo>
                  <a:pt x="2709007" y="473610"/>
                  <a:pt x="2779777" y="402929"/>
                  <a:pt x="2779777" y="315740"/>
                </a:cubicBezTo>
                <a:cubicBezTo>
                  <a:pt x="2779777" y="228551"/>
                  <a:pt x="2709007" y="157870"/>
                  <a:pt x="2621707" y="157870"/>
                </a:cubicBezTo>
                <a:lnTo>
                  <a:pt x="1906191" y="157870"/>
                </a:lnTo>
                <a:lnTo>
                  <a:pt x="1657769" y="157870"/>
                </a:lnTo>
                <a:lnTo>
                  <a:pt x="1122013" y="157870"/>
                </a:lnTo>
                <a:lnTo>
                  <a:pt x="1122013" y="158411"/>
                </a:lnTo>
                <a:lnTo>
                  <a:pt x="158074" y="158411"/>
                </a:lnTo>
                <a:cubicBezTo>
                  <a:pt x="70774" y="158411"/>
                  <a:pt x="4" y="87730"/>
                  <a:pt x="4" y="541"/>
                </a:cubicBezTo>
                <a:close/>
                <a:moveTo>
                  <a:pt x="114" y="0"/>
                </a:moveTo>
                <a:lnTo>
                  <a:pt x="4" y="0"/>
                </a:lnTo>
                <a:lnTo>
                  <a:pt x="4" y="541"/>
                </a:lnTo>
                <a:close/>
              </a:path>
            </a:pathLst>
          </a:custGeom>
          <a:gradFill flip="none" rotWithShape="1">
            <a:gsLst>
              <a:gs pos="0">
                <a:schemeClr val="accent2">
                  <a:lumMod val="50000"/>
                </a:schemeClr>
              </a:gs>
              <a:gs pos="10000">
                <a:schemeClr val="accent2"/>
              </a:gs>
              <a:gs pos="90000">
                <a:schemeClr val="accent2"/>
              </a:gs>
              <a:gs pos="100000">
                <a:schemeClr val="accent2">
                  <a:lumMod val="50000"/>
                </a:schemeClr>
              </a:gs>
            </a:gsLst>
            <a:lin ang="21594000" scaled="0"/>
            <a:tileRect/>
          </a:gradFill>
          <a:ln>
            <a:noFill/>
          </a:ln>
          <a:effectLst>
            <a:reflection blurRad="6350" stA="30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en-US" sz="1350"/>
          </a:p>
        </p:txBody>
      </p:sp>
      <p:sp>
        <p:nvSpPr>
          <p:cNvPr id="6" name="Freeform: Shape 34">
            <a:extLst>
              <a:ext uri="{FF2B5EF4-FFF2-40B4-BE49-F238E27FC236}">
                <a16:creationId xmlns:a16="http://schemas.microsoft.com/office/drawing/2014/main" id="{D21D14ED-9D7E-2F3D-E802-42540F495DF2}"/>
              </a:ext>
            </a:extLst>
          </p:cNvPr>
          <p:cNvSpPr/>
          <p:nvPr/>
        </p:nvSpPr>
        <p:spPr>
          <a:xfrm>
            <a:off x="3957638" y="4222134"/>
            <a:ext cx="830262" cy="382588"/>
          </a:xfrm>
          <a:custGeom>
            <a:avLst/>
            <a:gdLst>
              <a:gd name="connsiteX0" fmla="*/ 0 w 1122012"/>
              <a:gd name="connsiteY0" fmla="*/ 0 h 473610"/>
              <a:gd name="connsiteX1" fmla="*/ 518035 w 1122012"/>
              <a:gd name="connsiteY1" fmla="*/ 0 h 473610"/>
              <a:gd name="connsiteX2" fmla="*/ 518035 w 1122012"/>
              <a:gd name="connsiteY2" fmla="*/ 157870 h 473610"/>
              <a:gd name="connsiteX3" fmla="*/ 963942 w 1122012"/>
              <a:gd name="connsiteY3" fmla="*/ 157870 h 473610"/>
              <a:gd name="connsiteX4" fmla="*/ 1122012 w 1122012"/>
              <a:gd name="connsiteY4" fmla="*/ 315740 h 473610"/>
              <a:gd name="connsiteX5" fmla="*/ 963942 w 1122012"/>
              <a:gd name="connsiteY5" fmla="*/ 473610 h 473610"/>
              <a:gd name="connsiteX6" fmla="*/ 3 w 1122012"/>
              <a:gd name="connsiteY6" fmla="*/ 473610 h 473610"/>
              <a:gd name="connsiteX7" fmla="*/ 3 w 1122012"/>
              <a:gd name="connsiteY7" fmla="*/ 315740 h 473610"/>
              <a:gd name="connsiteX8" fmla="*/ 0 w 1122012"/>
              <a:gd name="connsiteY8" fmla="*/ 315740 h 473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2012" h="473610">
                <a:moveTo>
                  <a:pt x="0" y="0"/>
                </a:moveTo>
                <a:lnTo>
                  <a:pt x="518035" y="0"/>
                </a:lnTo>
                <a:lnTo>
                  <a:pt x="518035" y="157870"/>
                </a:lnTo>
                <a:lnTo>
                  <a:pt x="963942" y="157870"/>
                </a:lnTo>
                <a:cubicBezTo>
                  <a:pt x="1051242" y="157870"/>
                  <a:pt x="1122012" y="228551"/>
                  <a:pt x="1122012" y="315740"/>
                </a:cubicBezTo>
                <a:cubicBezTo>
                  <a:pt x="1122012" y="402929"/>
                  <a:pt x="1051242" y="473610"/>
                  <a:pt x="963942" y="473610"/>
                </a:cubicBezTo>
                <a:lnTo>
                  <a:pt x="3" y="473610"/>
                </a:lnTo>
                <a:lnTo>
                  <a:pt x="3" y="315740"/>
                </a:lnTo>
                <a:lnTo>
                  <a:pt x="0" y="315740"/>
                </a:lnTo>
                <a:close/>
              </a:path>
            </a:pathLst>
          </a:custGeom>
          <a:gradFill flip="none" rotWithShape="1">
            <a:gsLst>
              <a:gs pos="0">
                <a:schemeClr val="bg2">
                  <a:lumMod val="75000"/>
                </a:schemeClr>
              </a:gs>
              <a:gs pos="42000">
                <a:schemeClr val="bg1">
                  <a:lumMod val="85000"/>
                </a:schemeClr>
              </a:gs>
              <a:gs pos="100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en-US" sz="1350"/>
          </a:p>
        </p:txBody>
      </p:sp>
      <p:sp>
        <p:nvSpPr>
          <p:cNvPr id="7" name="Freeform: Shape 35">
            <a:extLst>
              <a:ext uri="{FF2B5EF4-FFF2-40B4-BE49-F238E27FC236}">
                <a16:creationId xmlns:a16="http://schemas.microsoft.com/office/drawing/2014/main" id="{73AB711D-6CF1-E8DE-1BDF-856D675BE82B}"/>
              </a:ext>
            </a:extLst>
          </p:cNvPr>
          <p:cNvSpPr/>
          <p:nvPr/>
        </p:nvSpPr>
        <p:spPr>
          <a:xfrm flipH="1">
            <a:off x="3967993" y="4006082"/>
            <a:ext cx="2058639" cy="1512957"/>
          </a:xfrm>
          <a:custGeom>
            <a:avLst/>
            <a:gdLst>
              <a:gd name="connsiteX0" fmla="*/ 4 w 2779777"/>
              <a:gd name="connsiteY0" fmla="*/ 541 h 1879095"/>
              <a:gd name="connsiteX1" fmla="*/ 4 w 2779777"/>
              <a:gd name="connsiteY1" fmla="*/ 157870 h 1879095"/>
              <a:gd name="connsiteX2" fmla="*/ 3 w 2779777"/>
              <a:gd name="connsiteY2" fmla="*/ 157870 h 1879095"/>
              <a:gd name="connsiteX3" fmla="*/ 3 w 2779777"/>
              <a:gd name="connsiteY3" fmla="*/ 473610 h 1879095"/>
              <a:gd name="connsiteX4" fmla="*/ 1657768 w 2779777"/>
              <a:gd name="connsiteY4" fmla="*/ 473610 h 1879095"/>
              <a:gd name="connsiteX5" fmla="*/ 1657768 w 2779777"/>
              <a:gd name="connsiteY5" fmla="*/ 473611 h 1879095"/>
              <a:gd name="connsiteX6" fmla="*/ 0 w 2779777"/>
              <a:gd name="connsiteY6" fmla="*/ 473611 h 1879095"/>
              <a:gd name="connsiteX7" fmla="*/ 0 w 2779777"/>
              <a:gd name="connsiteY7" fmla="*/ 1637039 h 1879095"/>
              <a:gd name="connsiteX8" fmla="*/ 242363 w 2779777"/>
              <a:gd name="connsiteY8" fmla="*/ 1879095 h 1879095"/>
              <a:gd name="connsiteX9" fmla="*/ 1657768 w 2779777"/>
              <a:gd name="connsiteY9" fmla="*/ 1879095 h 1879095"/>
              <a:gd name="connsiteX10" fmla="*/ 1657768 w 2779777"/>
              <a:gd name="connsiteY10" fmla="*/ 910453 h 1879095"/>
              <a:gd name="connsiteX11" fmla="*/ 1657768 w 2779777"/>
              <a:gd name="connsiteY11" fmla="*/ 836121 h 1879095"/>
              <a:gd name="connsiteX12" fmla="*/ 1657768 w 2779777"/>
              <a:gd name="connsiteY12" fmla="*/ 789350 h 1879095"/>
              <a:gd name="connsiteX13" fmla="*/ 1657768 w 2779777"/>
              <a:gd name="connsiteY13" fmla="*/ 631480 h 1879095"/>
              <a:gd name="connsiteX14" fmla="*/ 1657769 w 2779777"/>
              <a:gd name="connsiteY14" fmla="*/ 631480 h 1879095"/>
              <a:gd name="connsiteX15" fmla="*/ 1815839 w 2779777"/>
              <a:gd name="connsiteY15" fmla="*/ 473610 h 1879095"/>
              <a:gd name="connsiteX16" fmla="*/ 1906191 w 2779777"/>
              <a:gd name="connsiteY16" fmla="*/ 473610 h 1879095"/>
              <a:gd name="connsiteX17" fmla="*/ 2261746 w 2779777"/>
              <a:gd name="connsiteY17" fmla="*/ 473610 h 1879095"/>
              <a:gd name="connsiteX18" fmla="*/ 2303383 w 2779777"/>
              <a:gd name="connsiteY18" fmla="*/ 473610 h 1879095"/>
              <a:gd name="connsiteX19" fmla="*/ 2621707 w 2779777"/>
              <a:gd name="connsiteY19" fmla="*/ 473610 h 1879095"/>
              <a:gd name="connsiteX20" fmla="*/ 2779777 w 2779777"/>
              <a:gd name="connsiteY20" fmla="*/ 315740 h 1879095"/>
              <a:gd name="connsiteX21" fmla="*/ 2621707 w 2779777"/>
              <a:gd name="connsiteY21" fmla="*/ 157870 h 1879095"/>
              <a:gd name="connsiteX22" fmla="*/ 1906191 w 2779777"/>
              <a:gd name="connsiteY22" fmla="*/ 157870 h 1879095"/>
              <a:gd name="connsiteX23" fmla="*/ 1657769 w 2779777"/>
              <a:gd name="connsiteY23" fmla="*/ 157870 h 1879095"/>
              <a:gd name="connsiteX24" fmla="*/ 1122013 w 2779777"/>
              <a:gd name="connsiteY24" fmla="*/ 157870 h 1879095"/>
              <a:gd name="connsiteX25" fmla="*/ 1122013 w 2779777"/>
              <a:gd name="connsiteY25" fmla="*/ 158411 h 1879095"/>
              <a:gd name="connsiteX26" fmla="*/ 158074 w 2779777"/>
              <a:gd name="connsiteY26" fmla="*/ 158411 h 1879095"/>
              <a:gd name="connsiteX27" fmla="*/ 4 w 2779777"/>
              <a:gd name="connsiteY27" fmla="*/ 541 h 1879095"/>
              <a:gd name="connsiteX28" fmla="*/ 114 w 2779777"/>
              <a:gd name="connsiteY28" fmla="*/ 0 h 1879095"/>
              <a:gd name="connsiteX29" fmla="*/ 4 w 2779777"/>
              <a:gd name="connsiteY29" fmla="*/ 0 h 1879095"/>
              <a:gd name="connsiteX30" fmla="*/ 4 w 2779777"/>
              <a:gd name="connsiteY30" fmla="*/ 541 h 1879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79777" h="1879095">
                <a:moveTo>
                  <a:pt x="4" y="541"/>
                </a:moveTo>
                <a:lnTo>
                  <a:pt x="4" y="157870"/>
                </a:lnTo>
                <a:lnTo>
                  <a:pt x="3" y="157870"/>
                </a:lnTo>
                <a:lnTo>
                  <a:pt x="3" y="473610"/>
                </a:lnTo>
                <a:lnTo>
                  <a:pt x="1657768" y="473610"/>
                </a:lnTo>
                <a:lnTo>
                  <a:pt x="1657768" y="473611"/>
                </a:lnTo>
                <a:lnTo>
                  <a:pt x="0" y="473611"/>
                </a:lnTo>
                <a:lnTo>
                  <a:pt x="0" y="1637039"/>
                </a:lnTo>
                <a:cubicBezTo>
                  <a:pt x="0" y="1770723"/>
                  <a:pt x="108510" y="1879095"/>
                  <a:pt x="242363" y="1879095"/>
                </a:cubicBezTo>
                <a:lnTo>
                  <a:pt x="1657768" y="1879095"/>
                </a:lnTo>
                <a:lnTo>
                  <a:pt x="1657768" y="910453"/>
                </a:lnTo>
                <a:lnTo>
                  <a:pt x="1657768" y="836121"/>
                </a:lnTo>
                <a:lnTo>
                  <a:pt x="1657768" y="789350"/>
                </a:lnTo>
                <a:lnTo>
                  <a:pt x="1657768" y="631480"/>
                </a:lnTo>
                <a:lnTo>
                  <a:pt x="1657769" y="631480"/>
                </a:lnTo>
                <a:cubicBezTo>
                  <a:pt x="1657769" y="544291"/>
                  <a:pt x="1728539" y="473610"/>
                  <a:pt x="1815839" y="473610"/>
                </a:cubicBezTo>
                <a:lnTo>
                  <a:pt x="1906191" y="473610"/>
                </a:lnTo>
                <a:lnTo>
                  <a:pt x="2261746" y="473610"/>
                </a:lnTo>
                <a:lnTo>
                  <a:pt x="2303383" y="473610"/>
                </a:lnTo>
                <a:lnTo>
                  <a:pt x="2621707" y="473610"/>
                </a:lnTo>
                <a:cubicBezTo>
                  <a:pt x="2709007" y="473610"/>
                  <a:pt x="2779777" y="402929"/>
                  <a:pt x="2779777" y="315740"/>
                </a:cubicBezTo>
                <a:cubicBezTo>
                  <a:pt x="2779777" y="228551"/>
                  <a:pt x="2709007" y="157870"/>
                  <a:pt x="2621707" y="157870"/>
                </a:cubicBezTo>
                <a:lnTo>
                  <a:pt x="1906191" y="157870"/>
                </a:lnTo>
                <a:lnTo>
                  <a:pt x="1657769" y="157870"/>
                </a:lnTo>
                <a:lnTo>
                  <a:pt x="1122013" y="157870"/>
                </a:lnTo>
                <a:lnTo>
                  <a:pt x="1122013" y="158411"/>
                </a:lnTo>
                <a:lnTo>
                  <a:pt x="158074" y="158411"/>
                </a:lnTo>
                <a:cubicBezTo>
                  <a:pt x="70774" y="158411"/>
                  <a:pt x="4" y="87730"/>
                  <a:pt x="4" y="541"/>
                </a:cubicBezTo>
                <a:close/>
                <a:moveTo>
                  <a:pt x="114" y="0"/>
                </a:moveTo>
                <a:lnTo>
                  <a:pt x="4" y="0"/>
                </a:lnTo>
                <a:lnTo>
                  <a:pt x="4" y="541"/>
                </a:lnTo>
                <a:close/>
              </a:path>
            </a:pathLst>
          </a:custGeom>
          <a:gradFill>
            <a:gsLst>
              <a:gs pos="0">
                <a:schemeClr val="accent6">
                  <a:lumMod val="50000"/>
                </a:schemeClr>
              </a:gs>
              <a:gs pos="10000">
                <a:schemeClr val="accent6"/>
              </a:gs>
              <a:gs pos="90000">
                <a:schemeClr val="accent6"/>
              </a:gs>
              <a:gs pos="100000">
                <a:schemeClr val="accent6">
                  <a:lumMod val="50000"/>
                </a:schemeClr>
              </a:gs>
            </a:gsLst>
            <a:lin ang="21594000" scaled="0"/>
          </a:gradFill>
          <a:ln>
            <a:noFill/>
          </a:ln>
          <a:effectLst>
            <a:reflection blurRad="6350" stA="30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en-US" sz="1350"/>
          </a:p>
        </p:txBody>
      </p:sp>
      <p:sp>
        <p:nvSpPr>
          <p:cNvPr id="8" name="Freeform: Shape 36">
            <a:extLst>
              <a:ext uri="{FF2B5EF4-FFF2-40B4-BE49-F238E27FC236}">
                <a16:creationId xmlns:a16="http://schemas.microsoft.com/office/drawing/2014/main" id="{E1F54B25-0FCE-E1AE-95A3-B4C06563E1E2}"/>
              </a:ext>
            </a:extLst>
          </p:cNvPr>
          <p:cNvSpPr/>
          <p:nvPr/>
        </p:nvSpPr>
        <p:spPr>
          <a:xfrm>
            <a:off x="6456363" y="3223597"/>
            <a:ext cx="830262" cy="381000"/>
          </a:xfrm>
          <a:custGeom>
            <a:avLst/>
            <a:gdLst>
              <a:gd name="connsiteX0" fmla="*/ 0 w 1122012"/>
              <a:gd name="connsiteY0" fmla="*/ 0 h 473610"/>
              <a:gd name="connsiteX1" fmla="*/ 518035 w 1122012"/>
              <a:gd name="connsiteY1" fmla="*/ 0 h 473610"/>
              <a:gd name="connsiteX2" fmla="*/ 518035 w 1122012"/>
              <a:gd name="connsiteY2" fmla="*/ 157870 h 473610"/>
              <a:gd name="connsiteX3" fmla="*/ 963942 w 1122012"/>
              <a:gd name="connsiteY3" fmla="*/ 157870 h 473610"/>
              <a:gd name="connsiteX4" fmla="*/ 1122012 w 1122012"/>
              <a:gd name="connsiteY4" fmla="*/ 315740 h 473610"/>
              <a:gd name="connsiteX5" fmla="*/ 963942 w 1122012"/>
              <a:gd name="connsiteY5" fmla="*/ 473610 h 473610"/>
              <a:gd name="connsiteX6" fmla="*/ 3 w 1122012"/>
              <a:gd name="connsiteY6" fmla="*/ 473610 h 473610"/>
              <a:gd name="connsiteX7" fmla="*/ 3 w 1122012"/>
              <a:gd name="connsiteY7" fmla="*/ 315740 h 473610"/>
              <a:gd name="connsiteX8" fmla="*/ 0 w 1122012"/>
              <a:gd name="connsiteY8" fmla="*/ 315740 h 473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2012" h="473610">
                <a:moveTo>
                  <a:pt x="0" y="0"/>
                </a:moveTo>
                <a:lnTo>
                  <a:pt x="518035" y="0"/>
                </a:lnTo>
                <a:lnTo>
                  <a:pt x="518035" y="157870"/>
                </a:lnTo>
                <a:lnTo>
                  <a:pt x="963942" y="157870"/>
                </a:lnTo>
                <a:cubicBezTo>
                  <a:pt x="1051242" y="157870"/>
                  <a:pt x="1122012" y="228551"/>
                  <a:pt x="1122012" y="315740"/>
                </a:cubicBezTo>
                <a:cubicBezTo>
                  <a:pt x="1122012" y="402929"/>
                  <a:pt x="1051242" y="473610"/>
                  <a:pt x="963942" y="473610"/>
                </a:cubicBezTo>
                <a:lnTo>
                  <a:pt x="3" y="473610"/>
                </a:lnTo>
                <a:lnTo>
                  <a:pt x="3" y="315740"/>
                </a:lnTo>
                <a:lnTo>
                  <a:pt x="0" y="315740"/>
                </a:lnTo>
                <a:close/>
              </a:path>
            </a:pathLst>
          </a:custGeom>
          <a:gradFill flip="none" rotWithShape="1">
            <a:gsLst>
              <a:gs pos="0">
                <a:schemeClr val="bg2">
                  <a:lumMod val="75000"/>
                </a:schemeClr>
              </a:gs>
              <a:gs pos="42000">
                <a:schemeClr val="bg1">
                  <a:lumMod val="85000"/>
                </a:schemeClr>
              </a:gs>
              <a:gs pos="100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en-US" sz="1350"/>
          </a:p>
        </p:txBody>
      </p:sp>
      <p:sp>
        <p:nvSpPr>
          <p:cNvPr id="9" name="Freeform: Shape 37">
            <a:extLst>
              <a:ext uri="{FF2B5EF4-FFF2-40B4-BE49-F238E27FC236}">
                <a16:creationId xmlns:a16="http://schemas.microsoft.com/office/drawing/2014/main" id="{BB7ADB3A-4FDB-F58D-4142-DD164990120C}"/>
              </a:ext>
            </a:extLst>
          </p:cNvPr>
          <p:cNvSpPr/>
          <p:nvPr/>
        </p:nvSpPr>
        <p:spPr>
          <a:xfrm flipH="1">
            <a:off x="5224725" y="3495710"/>
            <a:ext cx="2058639" cy="1512957"/>
          </a:xfrm>
          <a:custGeom>
            <a:avLst/>
            <a:gdLst>
              <a:gd name="connsiteX0" fmla="*/ 4 w 2779777"/>
              <a:gd name="connsiteY0" fmla="*/ 541 h 1879095"/>
              <a:gd name="connsiteX1" fmla="*/ 4 w 2779777"/>
              <a:gd name="connsiteY1" fmla="*/ 157870 h 1879095"/>
              <a:gd name="connsiteX2" fmla="*/ 3 w 2779777"/>
              <a:gd name="connsiteY2" fmla="*/ 157870 h 1879095"/>
              <a:gd name="connsiteX3" fmla="*/ 3 w 2779777"/>
              <a:gd name="connsiteY3" fmla="*/ 473610 h 1879095"/>
              <a:gd name="connsiteX4" fmla="*/ 1657768 w 2779777"/>
              <a:gd name="connsiteY4" fmla="*/ 473610 h 1879095"/>
              <a:gd name="connsiteX5" fmla="*/ 1657768 w 2779777"/>
              <a:gd name="connsiteY5" fmla="*/ 473611 h 1879095"/>
              <a:gd name="connsiteX6" fmla="*/ 0 w 2779777"/>
              <a:gd name="connsiteY6" fmla="*/ 473611 h 1879095"/>
              <a:gd name="connsiteX7" fmla="*/ 0 w 2779777"/>
              <a:gd name="connsiteY7" fmla="*/ 1637039 h 1879095"/>
              <a:gd name="connsiteX8" fmla="*/ 242363 w 2779777"/>
              <a:gd name="connsiteY8" fmla="*/ 1879095 h 1879095"/>
              <a:gd name="connsiteX9" fmla="*/ 1657768 w 2779777"/>
              <a:gd name="connsiteY9" fmla="*/ 1879095 h 1879095"/>
              <a:gd name="connsiteX10" fmla="*/ 1657768 w 2779777"/>
              <a:gd name="connsiteY10" fmla="*/ 910453 h 1879095"/>
              <a:gd name="connsiteX11" fmla="*/ 1657768 w 2779777"/>
              <a:gd name="connsiteY11" fmla="*/ 836121 h 1879095"/>
              <a:gd name="connsiteX12" fmla="*/ 1657768 w 2779777"/>
              <a:gd name="connsiteY12" fmla="*/ 789350 h 1879095"/>
              <a:gd name="connsiteX13" fmla="*/ 1657768 w 2779777"/>
              <a:gd name="connsiteY13" fmla="*/ 631480 h 1879095"/>
              <a:gd name="connsiteX14" fmla="*/ 1657769 w 2779777"/>
              <a:gd name="connsiteY14" fmla="*/ 631480 h 1879095"/>
              <a:gd name="connsiteX15" fmla="*/ 1815839 w 2779777"/>
              <a:gd name="connsiteY15" fmla="*/ 473610 h 1879095"/>
              <a:gd name="connsiteX16" fmla="*/ 1906191 w 2779777"/>
              <a:gd name="connsiteY16" fmla="*/ 473610 h 1879095"/>
              <a:gd name="connsiteX17" fmla="*/ 2261746 w 2779777"/>
              <a:gd name="connsiteY17" fmla="*/ 473610 h 1879095"/>
              <a:gd name="connsiteX18" fmla="*/ 2303383 w 2779777"/>
              <a:gd name="connsiteY18" fmla="*/ 473610 h 1879095"/>
              <a:gd name="connsiteX19" fmla="*/ 2621707 w 2779777"/>
              <a:gd name="connsiteY19" fmla="*/ 473610 h 1879095"/>
              <a:gd name="connsiteX20" fmla="*/ 2779777 w 2779777"/>
              <a:gd name="connsiteY20" fmla="*/ 315740 h 1879095"/>
              <a:gd name="connsiteX21" fmla="*/ 2621707 w 2779777"/>
              <a:gd name="connsiteY21" fmla="*/ 157870 h 1879095"/>
              <a:gd name="connsiteX22" fmla="*/ 1906191 w 2779777"/>
              <a:gd name="connsiteY22" fmla="*/ 157870 h 1879095"/>
              <a:gd name="connsiteX23" fmla="*/ 1657769 w 2779777"/>
              <a:gd name="connsiteY23" fmla="*/ 157870 h 1879095"/>
              <a:gd name="connsiteX24" fmla="*/ 1122013 w 2779777"/>
              <a:gd name="connsiteY24" fmla="*/ 157870 h 1879095"/>
              <a:gd name="connsiteX25" fmla="*/ 1122013 w 2779777"/>
              <a:gd name="connsiteY25" fmla="*/ 158411 h 1879095"/>
              <a:gd name="connsiteX26" fmla="*/ 158074 w 2779777"/>
              <a:gd name="connsiteY26" fmla="*/ 158411 h 1879095"/>
              <a:gd name="connsiteX27" fmla="*/ 4 w 2779777"/>
              <a:gd name="connsiteY27" fmla="*/ 541 h 1879095"/>
              <a:gd name="connsiteX28" fmla="*/ 114 w 2779777"/>
              <a:gd name="connsiteY28" fmla="*/ 0 h 1879095"/>
              <a:gd name="connsiteX29" fmla="*/ 4 w 2779777"/>
              <a:gd name="connsiteY29" fmla="*/ 0 h 1879095"/>
              <a:gd name="connsiteX30" fmla="*/ 4 w 2779777"/>
              <a:gd name="connsiteY30" fmla="*/ 541 h 1879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79777" h="1879095">
                <a:moveTo>
                  <a:pt x="4" y="541"/>
                </a:moveTo>
                <a:lnTo>
                  <a:pt x="4" y="157870"/>
                </a:lnTo>
                <a:lnTo>
                  <a:pt x="3" y="157870"/>
                </a:lnTo>
                <a:lnTo>
                  <a:pt x="3" y="473610"/>
                </a:lnTo>
                <a:lnTo>
                  <a:pt x="1657768" y="473610"/>
                </a:lnTo>
                <a:lnTo>
                  <a:pt x="1657768" y="473611"/>
                </a:lnTo>
                <a:lnTo>
                  <a:pt x="0" y="473611"/>
                </a:lnTo>
                <a:lnTo>
                  <a:pt x="0" y="1637039"/>
                </a:lnTo>
                <a:cubicBezTo>
                  <a:pt x="0" y="1770723"/>
                  <a:pt x="108510" y="1879095"/>
                  <a:pt x="242363" y="1879095"/>
                </a:cubicBezTo>
                <a:lnTo>
                  <a:pt x="1657768" y="1879095"/>
                </a:lnTo>
                <a:lnTo>
                  <a:pt x="1657768" y="910453"/>
                </a:lnTo>
                <a:lnTo>
                  <a:pt x="1657768" y="836121"/>
                </a:lnTo>
                <a:lnTo>
                  <a:pt x="1657768" y="789350"/>
                </a:lnTo>
                <a:lnTo>
                  <a:pt x="1657768" y="631480"/>
                </a:lnTo>
                <a:lnTo>
                  <a:pt x="1657769" y="631480"/>
                </a:lnTo>
                <a:cubicBezTo>
                  <a:pt x="1657769" y="544291"/>
                  <a:pt x="1728539" y="473610"/>
                  <a:pt x="1815839" y="473610"/>
                </a:cubicBezTo>
                <a:lnTo>
                  <a:pt x="1906191" y="473610"/>
                </a:lnTo>
                <a:lnTo>
                  <a:pt x="2261746" y="473610"/>
                </a:lnTo>
                <a:lnTo>
                  <a:pt x="2303383" y="473610"/>
                </a:lnTo>
                <a:lnTo>
                  <a:pt x="2621707" y="473610"/>
                </a:lnTo>
                <a:cubicBezTo>
                  <a:pt x="2709007" y="473610"/>
                  <a:pt x="2779777" y="402929"/>
                  <a:pt x="2779777" y="315740"/>
                </a:cubicBezTo>
                <a:cubicBezTo>
                  <a:pt x="2779777" y="228551"/>
                  <a:pt x="2709007" y="157870"/>
                  <a:pt x="2621707" y="157870"/>
                </a:cubicBezTo>
                <a:lnTo>
                  <a:pt x="1906191" y="157870"/>
                </a:lnTo>
                <a:lnTo>
                  <a:pt x="1657769" y="157870"/>
                </a:lnTo>
                <a:lnTo>
                  <a:pt x="1122013" y="157870"/>
                </a:lnTo>
                <a:lnTo>
                  <a:pt x="1122013" y="158411"/>
                </a:lnTo>
                <a:lnTo>
                  <a:pt x="158074" y="158411"/>
                </a:lnTo>
                <a:cubicBezTo>
                  <a:pt x="70774" y="158411"/>
                  <a:pt x="4" y="87730"/>
                  <a:pt x="4" y="541"/>
                </a:cubicBezTo>
                <a:close/>
                <a:moveTo>
                  <a:pt x="114" y="0"/>
                </a:moveTo>
                <a:lnTo>
                  <a:pt x="4" y="0"/>
                </a:lnTo>
                <a:lnTo>
                  <a:pt x="4" y="541"/>
                </a:lnTo>
                <a:close/>
              </a:path>
            </a:pathLst>
          </a:custGeom>
          <a:gradFill>
            <a:gsLst>
              <a:gs pos="0">
                <a:schemeClr val="accent3">
                  <a:lumMod val="50000"/>
                </a:schemeClr>
              </a:gs>
              <a:gs pos="10000">
                <a:schemeClr val="accent3"/>
              </a:gs>
              <a:gs pos="90000">
                <a:schemeClr val="accent3"/>
              </a:gs>
              <a:gs pos="100000">
                <a:schemeClr val="accent3">
                  <a:lumMod val="50000"/>
                </a:schemeClr>
              </a:gs>
            </a:gsLst>
            <a:lin ang="21594000" scaled="0"/>
          </a:gradFill>
          <a:ln>
            <a:noFill/>
          </a:ln>
          <a:effectLst>
            <a:reflection blurRad="6350" stA="30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en-US" sz="1350"/>
          </a:p>
        </p:txBody>
      </p:sp>
      <p:sp>
        <p:nvSpPr>
          <p:cNvPr id="10" name="Freeform: Shape 40">
            <a:extLst>
              <a:ext uri="{FF2B5EF4-FFF2-40B4-BE49-F238E27FC236}">
                <a16:creationId xmlns:a16="http://schemas.microsoft.com/office/drawing/2014/main" id="{FC8EC99D-B9F9-5CD2-B717-5D8D9CC990CB}"/>
              </a:ext>
            </a:extLst>
          </p:cNvPr>
          <p:cNvSpPr/>
          <p:nvPr/>
        </p:nvSpPr>
        <p:spPr>
          <a:xfrm>
            <a:off x="1535126" y="4894737"/>
            <a:ext cx="2056034" cy="1512957"/>
          </a:xfrm>
          <a:custGeom>
            <a:avLst/>
            <a:gdLst>
              <a:gd name="connsiteX0" fmla="*/ 2776257 w 2776258"/>
              <a:gd name="connsiteY0" fmla="*/ 0 h 1879094"/>
              <a:gd name="connsiteX1" fmla="*/ 2776258 w 2776258"/>
              <a:gd name="connsiteY1" fmla="*/ 0 h 1879094"/>
              <a:gd name="connsiteX2" fmla="*/ 2776258 w 2776258"/>
              <a:gd name="connsiteY2" fmla="*/ 157870 h 1879094"/>
              <a:gd name="connsiteX3" fmla="*/ 2776258 w 2776258"/>
              <a:gd name="connsiteY3" fmla="*/ 204641 h 1879094"/>
              <a:gd name="connsiteX4" fmla="*/ 2776258 w 2776258"/>
              <a:gd name="connsiteY4" fmla="*/ 278973 h 1879094"/>
              <a:gd name="connsiteX5" fmla="*/ 2776258 w 2776258"/>
              <a:gd name="connsiteY5" fmla="*/ 315740 h 1879094"/>
              <a:gd name="connsiteX6" fmla="*/ 2776258 w 2776258"/>
              <a:gd name="connsiteY6" fmla="*/ 473610 h 1879094"/>
              <a:gd name="connsiteX7" fmla="*/ 2776258 w 2776258"/>
              <a:gd name="connsiteY7" fmla="*/ 520381 h 1879094"/>
              <a:gd name="connsiteX8" fmla="*/ 2776258 w 2776258"/>
              <a:gd name="connsiteY8" fmla="*/ 594713 h 1879094"/>
              <a:gd name="connsiteX9" fmla="*/ 2776258 w 2776258"/>
              <a:gd name="connsiteY9" fmla="*/ 1321298 h 1879094"/>
              <a:gd name="connsiteX10" fmla="*/ 2776258 w 2776258"/>
              <a:gd name="connsiteY10" fmla="*/ 1637038 h 1879094"/>
              <a:gd name="connsiteX11" fmla="*/ 2534202 w 2776258"/>
              <a:gd name="connsiteY11" fmla="*/ 1879094 h 1879094"/>
              <a:gd name="connsiteX12" fmla="*/ 242056 w 2776258"/>
              <a:gd name="connsiteY12" fmla="*/ 1879094 h 1879094"/>
              <a:gd name="connsiteX13" fmla="*/ 0 w 2776258"/>
              <a:gd name="connsiteY13" fmla="*/ 1637038 h 1879094"/>
              <a:gd name="connsiteX14" fmla="*/ 0 w 2776258"/>
              <a:gd name="connsiteY14" fmla="*/ 1321298 h 1879094"/>
              <a:gd name="connsiteX15" fmla="*/ 0 w 2776258"/>
              <a:gd name="connsiteY15" fmla="*/ 631480 h 1879094"/>
              <a:gd name="connsiteX16" fmla="*/ 0 w 2776258"/>
              <a:gd name="connsiteY16" fmla="*/ 315740 h 1879094"/>
              <a:gd name="connsiteX17" fmla="*/ 157870 w 2776258"/>
              <a:gd name="connsiteY17" fmla="*/ 157870 h 1879094"/>
              <a:gd name="connsiteX18" fmla="*/ 1654248 w 2776258"/>
              <a:gd name="connsiteY18" fmla="*/ 157870 h 1879094"/>
              <a:gd name="connsiteX19" fmla="*/ 1655670 w 2776258"/>
              <a:gd name="connsiteY19" fmla="*/ 157870 h 1879094"/>
              <a:gd name="connsiteX20" fmla="*/ 2618187 w 2776258"/>
              <a:gd name="connsiteY20" fmla="*/ 157870 h 1879094"/>
              <a:gd name="connsiteX21" fmla="*/ 2776257 w 2776258"/>
              <a:gd name="connsiteY21" fmla="*/ 0 h 1879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76258" h="1879094">
                <a:moveTo>
                  <a:pt x="2776257" y="0"/>
                </a:moveTo>
                <a:lnTo>
                  <a:pt x="2776258" y="0"/>
                </a:lnTo>
                <a:lnTo>
                  <a:pt x="2776258" y="157870"/>
                </a:lnTo>
                <a:lnTo>
                  <a:pt x="2776258" y="204641"/>
                </a:lnTo>
                <a:lnTo>
                  <a:pt x="2776258" y="278973"/>
                </a:lnTo>
                <a:lnTo>
                  <a:pt x="2776258" y="315740"/>
                </a:lnTo>
                <a:lnTo>
                  <a:pt x="2776258" y="473610"/>
                </a:lnTo>
                <a:lnTo>
                  <a:pt x="2776258" y="520381"/>
                </a:lnTo>
                <a:lnTo>
                  <a:pt x="2776258" y="594713"/>
                </a:lnTo>
                <a:lnTo>
                  <a:pt x="2776258" y="1321298"/>
                </a:lnTo>
                <a:lnTo>
                  <a:pt x="2776258" y="1637038"/>
                </a:lnTo>
                <a:cubicBezTo>
                  <a:pt x="2776258" y="1770722"/>
                  <a:pt x="2667886" y="1879094"/>
                  <a:pt x="2534202" y="1879094"/>
                </a:cubicBezTo>
                <a:lnTo>
                  <a:pt x="242056" y="1879094"/>
                </a:lnTo>
                <a:cubicBezTo>
                  <a:pt x="108372" y="1879094"/>
                  <a:pt x="0" y="1770722"/>
                  <a:pt x="0" y="1637038"/>
                </a:cubicBezTo>
                <a:lnTo>
                  <a:pt x="0" y="1321298"/>
                </a:lnTo>
                <a:lnTo>
                  <a:pt x="0" y="631480"/>
                </a:lnTo>
                <a:lnTo>
                  <a:pt x="0" y="315740"/>
                </a:lnTo>
                <a:cubicBezTo>
                  <a:pt x="0" y="228551"/>
                  <a:pt x="70681" y="157870"/>
                  <a:pt x="157870" y="157870"/>
                </a:cubicBezTo>
                <a:lnTo>
                  <a:pt x="1654248" y="157870"/>
                </a:lnTo>
                <a:lnTo>
                  <a:pt x="1655670" y="157870"/>
                </a:lnTo>
                <a:lnTo>
                  <a:pt x="2618187" y="157870"/>
                </a:lnTo>
                <a:cubicBezTo>
                  <a:pt x="2705487" y="157870"/>
                  <a:pt x="2776257" y="87189"/>
                  <a:pt x="2776257" y="0"/>
                </a:cubicBezTo>
                <a:close/>
              </a:path>
            </a:pathLst>
          </a:custGeom>
          <a:gradFill flip="none" rotWithShape="1">
            <a:gsLst>
              <a:gs pos="0">
                <a:schemeClr val="accent1">
                  <a:lumMod val="75000"/>
                </a:schemeClr>
              </a:gs>
              <a:gs pos="10000">
                <a:schemeClr val="tx2"/>
              </a:gs>
              <a:gs pos="90000">
                <a:schemeClr val="tx2"/>
              </a:gs>
              <a:gs pos="100000">
                <a:schemeClr val="accent1">
                  <a:lumMod val="50000"/>
                </a:schemeClr>
              </a:gs>
            </a:gsLst>
            <a:lin ang="21594000" scaled="0"/>
            <a:tileRect/>
          </a:gradFill>
          <a:ln>
            <a:noFill/>
          </a:ln>
          <a:effectLst>
            <a:reflection blurRad="6350" stA="30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en-US" sz="1350"/>
          </a:p>
        </p:txBody>
      </p:sp>
      <p:sp>
        <p:nvSpPr>
          <p:cNvPr id="13323" name="TextBox 10">
            <a:extLst>
              <a:ext uri="{FF2B5EF4-FFF2-40B4-BE49-F238E27FC236}">
                <a16:creationId xmlns:a16="http://schemas.microsoft.com/office/drawing/2014/main" id="{4F37A88F-1684-56B4-2ADF-2182A8D906E4}"/>
              </a:ext>
            </a:extLst>
          </p:cNvPr>
          <p:cNvSpPr txBox="1">
            <a:spLocks noChangeArrowheads="1"/>
          </p:cNvSpPr>
          <p:nvPr/>
        </p:nvSpPr>
        <p:spPr bwMode="auto">
          <a:xfrm>
            <a:off x="1971675" y="5412759"/>
            <a:ext cx="12192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b">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en-US" sz="1600">
                <a:solidFill>
                  <a:schemeClr val="bg1"/>
                </a:solidFill>
              </a:rPr>
              <a:t>Condoms distributed</a:t>
            </a:r>
          </a:p>
        </p:txBody>
      </p:sp>
      <p:sp>
        <p:nvSpPr>
          <p:cNvPr id="13324" name="TextBox 11">
            <a:extLst>
              <a:ext uri="{FF2B5EF4-FFF2-40B4-BE49-F238E27FC236}">
                <a16:creationId xmlns:a16="http://schemas.microsoft.com/office/drawing/2014/main" id="{BADFE0DC-11F8-1880-B1C5-0C8AF778EE1B}"/>
              </a:ext>
            </a:extLst>
          </p:cNvPr>
          <p:cNvSpPr txBox="1">
            <a:spLocks noChangeArrowheads="1"/>
          </p:cNvSpPr>
          <p:nvPr/>
        </p:nvSpPr>
        <p:spPr bwMode="auto">
          <a:xfrm>
            <a:off x="3608651" y="4810472"/>
            <a:ext cx="1069975"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b">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en-US" sz="1200" dirty="0">
                <a:solidFill>
                  <a:schemeClr val="bg1"/>
                </a:solidFill>
              </a:rPr>
              <a:t>Clients receiving pre-test counseling, HIV tests, post-test counseling</a:t>
            </a:r>
          </a:p>
        </p:txBody>
      </p:sp>
      <p:sp>
        <p:nvSpPr>
          <p:cNvPr id="13325" name="TextBox 12">
            <a:extLst>
              <a:ext uri="{FF2B5EF4-FFF2-40B4-BE49-F238E27FC236}">
                <a16:creationId xmlns:a16="http://schemas.microsoft.com/office/drawing/2014/main" id="{899811A9-565E-917E-C75B-9DADB457605E}"/>
              </a:ext>
            </a:extLst>
          </p:cNvPr>
          <p:cNvSpPr txBox="1">
            <a:spLocks noChangeArrowheads="1"/>
          </p:cNvSpPr>
          <p:nvPr/>
        </p:nvSpPr>
        <p:spPr bwMode="auto">
          <a:xfrm>
            <a:off x="4857851" y="4279047"/>
            <a:ext cx="1123950" cy="1169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b">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en-US" sz="1400" dirty="0">
                <a:solidFill>
                  <a:schemeClr val="bg1"/>
                </a:solidFill>
              </a:rPr>
              <a:t>Materials distributed e.g. LLITNs for malaria prevention</a:t>
            </a:r>
          </a:p>
        </p:txBody>
      </p:sp>
      <p:sp>
        <p:nvSpPr>
          <p:cNvPr id="13326" name="TextBox 13">
            <a:extLst>
              <a:ext uri="{FF2B5EF4-FFF2-40B4-BE49-F238E27FC236}">
                <a16:creationId xmlns:a16="http://schemas.microsoft.com/office/drawing/2014/main" id="{82D9D674-FB64-C7E5-094B-E3D681436A5E}"/>
              </a:ext>
            </a:extLst>
          </p:cNvPr>
          <p:cNvSpPr txBox="1">
            <a:spLocks noChangeArrowheads="1"/>
          </p:cNvSpPr>
          <p:nvPr/>
        </p:nvSpPr>
        <p:spPr bwMode="auto">
          <a:xfrm>
            <a:off x="6139674" y="3860184"/>
            <a:ext cx="1195388"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b">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en-US" sz="1600" dirty="0">
                <a:solidFill>
                  <a:schemeClr val="bg1"/>
                </a:solidFill>
              </a:rPr>
              <a:t>People reached for services</a:t>
            </a:r>
          </a:p>
        </p:txBody>
      </p:sp>
      <p:sp>
        <p:nvSpPr>
          <p:cNvPr id="15" name="Freeform: Shape 72">
            <a:extLst>
              <a:ext uri="{FF2B5EF4-FFF2-40B4-BE49-F238E27FC236}">
                <a16:creationId xmlns:a16="http://schemas.microsoft.com/office/drawing/2014/main" id="{D3FF4A3A-482E-E5E7-E1AD-BFB81075C9DC}"/>
              </a:ext>
            </a:extLst>
          </p:cNvPr>
          <p:cNvSpPr/>
          <p:nvPr/>
        </p:nvSpPr>
        <p:spPr>
          <a:xfrm flipH="1">
            <a:off x="6456072" y="2927684"/>
            <a:ext cx="2960806" cy="1791432"/>
          </a:xfrm>
          <a:custGeom>
            <a:avLst/>
            <a:gdLst>
              <a:gd name="connsiteX0" fmla="*/ 2875963 w 3997972"/>
              <a:gd name="connsiteY0" fmla="*/ 567609 h 2224961"/>
              <a:gd name="connsiteX1" fmla="*/ 2875963 w 3997972"/>
              <a:gd name="connsiteY1" fmla="*/ 567610 h 2224961"/>
              <a:gd name="connsiteX2" fmla="*/ 1364887 w 3997972"/>
              <a:gd name="connsiteY2" fmla="*/ 567610 h 2224961"/>
              <a:gd name="connsiteX3" fmla="*/ 1364887 w 3997972"/>
              <a:gd name="connsiteY3" fmla="*/ 567609 h 2224961"/>
              <a:gd name="connsiteX4" fmla="*/ 1155513 w 3997972"/>
              <a:gd name="connsiteY4" fmla="*/ 0 h 2224961"/>
              <a:gd name="connsiteX5" fmla="*/ 1074015 w 3997972"/>
              <a:gd name="connsiteY5" fmla="*/ 16454 h 2224961"/>
              <a:gd name="connsiteX6" fmla="*/ 1015465 w 3997972"/>
              <a:gd name="connsiteY6" fmla="*/ 55928 h 2224961"/>
              <a:gd name="connsiteX7" fmla="*/ 1003232 w 3997972"/>
              <a:gd name="connsiteY7" fmla="*/ 67599 h 2224961"/>
              <a:gd name="connsiteX8" fmla="*/ 67496 w 3997972"/>
              <a:gd name="connsiteY8" fmla="*/ 960266 h 2224961"/>
              <a:gd name="connsiteX9" fmla="*/ 67493 w 3997972"/>
              <a:gd name="connsiteY9" fmla="*/ 960268 h 2224961"/>
              <a:gd name="connsiteX10" fmla="*/ 58063 w 3997972"/>
              <a:gd name="connsiteY10" fmla="*/ 969263 h 2224961"/>
              <a:gd name="connsiteX11" fmla="*/ 16454 w 3997972"/>
              <a:gd name="connsiteY11" fmla="*/ 1030980 h 2224961"/>
              <a:gd name="connsiteX12" fmla="*/ 0 w 3997972"/>
              <a:gd name="connsiteY12" fmla="*/ 1112478 h 2224961"/>
              <a:gd name="connsiteX13" fmla="*/ 16454 w 3997972"/>
              <a:gd name="connsiteY13" fmla="*/ 1193976 h 2224961"/>
              <a:gd name="connsiteX14" fmla="*/ 58063 w 3997972"/>
              <a:gd name="connsiteY14" fmla="*/ 1255692 h 2224961"/>
              <a:gd name="connsiteX15" fmla="*/ 67493 w 3997972"/>
              <a:gd name="connsiteY15" fmla="*/ 1264688 h 2224961"/>
              <a:gd name="connsiteX16" fmla="*/ 67496 w 3997972"/>
              <a:gd name="connsiteY16" fmla="*/ 1264690 h 2224961"/>
              <a:gd name="connsiteX17" fmla="*/ 1003215 w 3997972"/>
              <a:gd name="connsiteY17" fmla="*/ 2157340 h 2224961"/>
              <a:gd name="connsiteX18" fmla="*/ 1003217 w 3997972"/>
              <a:gd name="connsiteY18" fmla="*/ 2157343 h 2224961"/>
              <a:gd name="connsiteX19" fmla="*/ 1015487 w 3997972"/>
              <a:gd name="connsiteY19" fmla="*/ 2169049 h 2224961"/>
              <a:gd name="connsiteX20" fmla="*/ 1074013 w 3997972"/>
              <a:gd name="connsiteY20" fmla="*/ 2208507 h 2224961"/>
              <a:gd name="connsiteX21" fmla="*/ 1155511 w 3997972"/>
              <a:gd name="connsiteY21" fmla="*/ 2224961 h 2224961"/>
              <a:gd name="connsiteX22" fmla="*/ 1364886 w 3997972"/>
              <a:gd name="connsiteY22" fmla="*/ 2015586 h 2224961"/>
              <a:gd name="connsiteX23" fmla="*/ 1357249 w 3997972"/>
              <a:gd name="connsiteY23" fmla="*/ 1965065 h 2224961"/>
              <a:gd name="connsiteX24" fmla="*/ 1357249 w 3997972"/>
              <a:gd name="connsiteY24" fmla="*/ 1965065 h 2224961"/>
              <a:gd name="connsiteX25" fmla="*/ 1364887 w 3997972"/>
              <a:gd name="connsiteY25" fmla="*/ 2015586 h 2224961"/>
              <a:gd name="connsiteX26" fmla="*/ 1364887 w 3997972"/>
              <a:gd name="connsiteY26" fmla="*/ 1965065 h 2224961"/>
              <a:gd name="connsiteX27" fmla="*/ 1401677 w 3997972"/>
              <a:gd name="connsiteY27" fmla="*/ 1965065 h 2224961"/>
              <a:gd name="connsiteX28" fmla="*/ 1411713 w 3997972"/>
              <a:gd name="connsiteY28" fmla="*/ 1968176 h 2224961"/>
              <a:gd name="connsiteX29" fmla="*/ 1460558 w 3997972"/>
              <a:gd name="connsiteY29" fmla="*/ 1973094 h 2224961"/>
              <a:gd name="connsiteX30" fmla="*/ 2875963 w 3997972"/>
              <a:gd name="connsiteY30" fmla="*/ 1973094 h 2224961"/>
              <a:gd name="connsiteX31" fmla="*/ 2875963 w 3997972"/>
              <a:gd name="connsiteY31" fmla="*/ 1004452 h 2224961"/>
              <a:gd name="connsiteX32" fmla="*/ 2875963 w 3997972"/>
              <a:gd name="connsiteY32" fmla="*/ 930120 h 2224961"/>
              <a:gd name="connsiteX33" fmla="*/ 2875963 w 3997972"/>
              <a:gd name="connsiteY33" fmla="*/ 883349 h 2224961"/>
              <a:gd name="connsiteX34" fmla="*/ 2875963 w 3997972"/>
              <a:gd name="connsiteY34" fmla="*/ 725479 h 2224961"/>
              <a:gd name="connsiteX35" fmla="*/ 2875964 w 3997972"/>
              <a:gd name="connsiteY35" fmla="*/ 725479 h 2224961"/>
              <a:gd name="connsiteX36" fmla="*/ 3034034 w 3997972"/>
              <a:gd name="connsiteY36" fmla="*/ 567609 h 2224961"/>
              <a:gd name="connsiteX37" fmla="*/ 3124386 w 3997972"/>
              <a:gd name="connsiteY37" fmla="*/ 567609 h 2224961"/>
              <a:gd name="connsiteX38" fmla="*/ 3479941 w 3997972"/>
              <a:gd name="connsiteY38" fmla="*/ 567609 h 2224961"/>
              <a:gd name="connsiteX39" fmla="*/ 3521578 w 3997972"/>
              <a:gd name="connsiteY39" fmla="*/ 567609 h 2224961"/>
              <a:gd name="connsiteX40" fmla="*/ 3839902 w 3997972"/>
              <a:gd name="connsiteY40" fmla="*/ 567609 h 2224961"/>
              <a:gd name="connsiteX41" fmla="*/ 3997972 w 3997972"/>
              <a:gd name="connsiteY41" fmla="*/ 409739 h 2224961"/>
              <a:gd name="connsiteX42" fmla="*/ 3839902 w 3997972"/>
              <a:gd name="connsiteY42" fmla="*/ 251869 h 2224961"/>
              <a:gd name="connsiteX43" fmla="*/ 3124386 w 3997972"/>
              <a:gd name="connsiteY43" fmla="*/ 251869 h 2224961"/>
              <a:gd name="connsiteX44" fmla="*/ 2875964 w 3997972"/>
              <a:gd name="connsiteY44" fmla="*/ 251869 h 2224961"/>
              <a:gd name="connsiteX45" fmla="*/ 2340208 w 3997972"/>
              <a:gd name="connsiteY45" fmla="*/ 251869 h 2224961"/>
              <a:gd name="connsiteX46" fmla="*/ 2340208 w 3997972"/>
              <a:gd name="connsiteY46" fmla="*/ 252410 h 2224961"/>
              <a:gd name="connsiteX47" fmla="*/ 1376269 w 3997972"/>
              <a:gd name="connsiteY47" fmla="*/ 252410 h 2224961"/>
              <a:gd name="connsiteX48" fmla="*/ 1364887 w 3997972"/>
              <a:gd name="connsiteY48" fmla="*/ 252371 h 2224961"/>
              <a:gd name="connsiteX49" fmla="*/ 1364887 w 3997972"/>
              <a:gd name="connsiteY49" fmla="*/ 209385 h 2224961"/>
              <a:gd name="connsiteX50" fmla="*/ 1364887 w 3997972"/>
              <a:gd name="connsiteY50" fmla="*/ 209365 h 2224961"/>
              <a:gd name="connsiteX51" fmla="*/ 1360634 w 3997972"/>
              <a:gd name="connsiteY51" fmla="*/ 167179 h 2224961"/>
              <a:gd name="connsiteX52" fmla="*/ 1155513 w 3997972"/>
              <a:gd name="connsiteY52" fmla="*/ 0 h 2224961"/>
              <a:gd name="connsiteX0" fmla="*/ 2875963 w 3997972"/>
              <a:gd name="connsiteY0" fmla="*/ 567609 h 2224961"/>
              <a:gd name="connsiteX1" fmla="*/ 2875963 w 3997972"/>
              <a:gd name="connsiteY1" fmla="*/ 567610 h 2224961"/>
              <a:gd name="connsiteX2" fmla="*/ 1364887 w 3997972"/>
              <a:gd name="connsiteY2" fmla="*/ 567610 h 2224961"/>
              <a:gd name="connsiteX3" fmla="*/ 1364887 w 3997972"/>
              <a:gd name="connsiteY3" fmla="*/ 567609 h 2224961"/>
              <a:gd name="connsiteX4" fmla="*/ 2875963 w 3997972"/>
              <a:gd name="connsiteY4" fmla="*/ 567609 h 2224961"/>
              <a:gd name="connsiteX5" fmla="*/ 1155513 w 3997972"/>
              <a:gd name="connsiteY5" fmla="*/ 0 h 2224961"/>
              <a:gd name="connsiteX6" fmla="*/ 1074015 w 3997972"/>
              <a:gd name="connsiteY6" fmla="*/ 16454 h 2224961"/>
              <a:gd name="connsiteX7" fmla="*/ 1015465 w 3997972"/>
              <a:gd name="connsiteY7" fmla="*/ 55928 h 2224961"/>
              <a:gd name="connsiteX8" fmla="*/ 1003232 w 3997972"/>
              <a:gd name="connsiteY8" fmla="*/ 67599 h 2224961"/>
              <a:gd name="connsiteX9" fmla="*/ 67496 w 3997972"/>
              <a:gd name="connsiteY9" fmla="*/ 960266 h 2224961"/>
              <a:gd name="connsiteX10" fmla="*/ 67493 w 3997972"/>
              <a:gd name="connsiteY10" fmla="*/ 960268 h 2224961"/>
              <a:gd name="connsiteX11" fmla="*/ 58063 w 3997972"/>
              <a:gd name="connsiteY11" fmla="*/ 969263 h 2224961"/>
              <a:gd name="connsiteX12" fmla="*/ 16454 w 3997972"/>
              <a:gd name="connsiteY12" fmla="*/ 1030980 h 2224961"/>
              <a:gd name="connsiteX13" fmla="*/ 0 w 3997972"/>
              <a:gd name="connsiteY13" fmla="*/ 1112478 h 2224961"/>
              <a:gd name="connsiteX14" fmla="*/ 16454 w 3997972"/>
              <a:gd name="connsiteY14" fmla="*/ 1193976 h 2224961"/>
              <a:gd name="connsiteX15" fmla="*/ 58063 w 3997972"/>
              <a:gd name="connsiteY15" fmla="*/ 1255692 h 2224961"/>
              <a:gd name="connsiteX16" fmla="*/ 67493 w 3997972"/>
              <a:gd name="connsiteY16" fmla="*/ 1264688 h 2224961"/>
              <a:gd name="connsiteX17" fmla="*/ 67496 w 3997972"/>
              <a:gd name="connsiteY17" fmla="*/ 1264690 h 2224961"/>
              <a:gd name="connsiteX18" fmla="*/ 1003215 w 3997972"/>
              <a:gd name="connsiteY18" fmla="*/ 2157340 h 2224961"/>
              <a:gd name="connsiteX19" fmla="*/ 1003217 w 3997972"/>
              <a:gd name="connsiteY19" fmla="*/ 2157343 h 2224961"/>
              <a:gd name="connsiteX20" fmla="*/ 1015487 w 3997972"/>
              <a:gd name="connsiteY20" fmla="*/ 2169049 h 2224961"/>
              <a:gd name="connsiteX21" fmla="*/ 1074013 w 3997972"/>
              <a:gd name="connsiteY21" fmla="*/ 2208507 h 2224961"/>
              <a:gd name="connsiteX22" fmla="*/ 1155511 w 3997972"/>
              <a:gd name="connsiteY22" fmla="*/ 2224961 h 2224961"/>
              <a:gd name="connsiteX23" fmla="*/ 1364886 w 3997972"/>
              <a:gd name="connsiteY23" fmla="*/ 2015586 h 2224961"/>
              <a:gd name="connsiteX24" fmla="*/ 1357249 w 3997972"/>
              <a:gd name="connsiteY24" fmla="*/ 1965065 h 2224961"/>
              <a:gd name="connsiteX25" fmla="*/ 1357249 w 3997972"/>
              <a:gd name="connsiteY25" fmla="*/ 1965065 h 2224961"/>
              <a:gd name="connsiteX26" fmla="*/ 1364887 w 3997972"/>
              <a:gd name="connsiteY26" fmla="*/ 2015586 h 2224961"/>
              <a:gd name="connsiteX27" fmla="*/ 1364887 w 3997972"/>
              <a:gd name="connsiteY27" fmla="*/ 1965065 h 2224961"/>
              <a:gd name="connsiteX28" fmla="*/ 1401677 w 3997972"/>
              <a:gd name="connsiteY28" fmla="*/ 1965065 h 2224961"/>
              <a:gd name="connsiteX29" fmla="*/ 1460558 w 3997972"/>
              <a:gd name="connsiteY29" fmla="*/ 1973094 h 2224961"/>
              <a:gd name="connsiteX30" fmla="*/ 2875963 w 3997972"/>
              <a:gd name="connsiteY30" fmla="*/ 1973094 h 2224961"/>
              <a:gd name="connsiteX31" fmla="*/ 2875963 w 3997972"/>
              <a:gd name="connsiteY31" fmla="*/ 1004452 h 2224961"/>
              <a:gd name="connsiteX32" fmla="*/ 2875963 w 3997972"/>
              <a:gd name="connsiteY32" fmla="*/ 930120 h 2224961"/>
              <a:gd name="connsiteX33" fmla="*/ 2875963 w 3997972"/>
              <a:gd name="connsiteY33" fmla="*/ 883349 h 2224961"/>
              <a:gd name="connsiteX34" fmla="*/ 2875963 w 3997972"/>
              <a:gd name="connsiteY34" fmla="*/ 725479 h 2224961"/>
              <a:gd name="connsiteX35" fmla="*/ 2875964 w 3997972"/>
              <a:gd name="connsiteY35" fmla="*/ 725479 h 2224961"/>
              <a:gd name="connsiteX36" fmla="*/ 3034034 w 3997972"/>
              <a:gd name="connsiteY36" fmla="*/ 567609 h 2224961"/>
              <a:gd name="connsiteX37" fmla="*/ 3124386 w 3997972"/>
              <a:gd name="connsiteY37" fmla="*/ 567609 h 2224961"/>
              <a:gd name="connsiteX38" fmla="*/ 3479941 w 3997972"/>
              <a:gd name="connsiteY38" fmla="*/ 567609 h 2224961"/>
              <a:gd name="connsiteX39" fmla="*/ 3521578 w 3997972"/>
              <a:gd name="connsiteY39" fmla="*/ 567609 h 2224961"/>
              <a:gd name="connsiteX40" fmla="*/ 3839902 w 3997972"/>
              <a:gd name="connsiteY40" fmla="*/ 567609 h 2224961"/>
              <a:gd name="connsiteX41" fmla="*/ 3997972 w 3997972"/>
              <a:gd name="connsiteY41" fmla="*/ 409739 h 2224961"/>
              <a:gd name="connsiteX42" fmla="*/ 3839902 w 3997972"/>
              <a:gd name="connsiteY42" fmla="*/ 251869 h 2224961"/>
              <a:gd name="connsiteX43" fmla="*/ 3124386 w 3997972"/>
              <a:gd name="connsiteY43" fmla="*/ 251869 h 2224961"/>
              <a:gd name="connsiteX44" fmla="*/ 2875964 w 3997972"/>
              <a:gd name="connsiteY44" fmla="*/ 251869 h 2224961"/>
              <a:gd name="connsiteX45" fmla="*/ 2340208 w 3997972"/>
              <a:gd name="connsiteY45" fmla="*/ 251869 h 2224961"/>
              <a:gd name="connsiteX46" fmla="*/ 2340208 w 3997972"/>
              <a:gd name="connsiteY46" fmla="*/ 252410 h 2224961"/>
              <a:gd name="connsiteX47" fmla="*/ 1376269 w 3997972"/>
              <a:gd name="connsiteY47" fmla="*/ 252410 h 2224961"/>
              <a:gd name="connsiteX48" fmla="*/ 1364887 w 3997972"/>
              <a:gd name="connsiteY48" fmla="*/ 252371 h 2224961"/>
              <a:gd name="connsiteX49" fmla="*/ 1364887 w 3997972"/>
              <a:gd name="connsiteY49" fmla="*/ 209385 h 2224961"/>
              <a:gd name="connsiteX50" fmla="*/ 1364887 w 3997972"/>
              <a:gd name="connsiteY50" fmla="*/ 209365 h 2224961"/>
              <a:gd name="connsiteX51" fmla="*/ 1360634 w 3997972"/>
              <a:gd name="connsiteY51" fmla="*/ 167179 h 2224961"/>
              <a:gd name="connsiteX52" fmla="*/ 1155513 w 3997972"/>
              <a:gd name="connsiteY52" fmla="*/ 0 h 2224961"/>
              <a:gd name="connsiteX0" fmla="*/ 2875963 w 3997972"/>
              <a:gd name="connsiteY0" fmla="*/ 567609 h 2224961"/>
              <a:gd name="connsiteX1" fmla="*/ 2875963 w 3997972"/>
              <a:gd name="connsiteY1" fmla="*/ 567610 h 2224961"/>
              <a:gd name="connsiteX2" fmla="*/ 1364887 w 3997972"/>
              <a:gd name="connsiteY2" fmla="*/ 567610 h 2224961"/>
              <a:gd name="connsiteX3" fmla="*/ 1364887 w 3997972"/>
              <a:gd name="connsiteY3" fmla="*/ 567609 h 2224961"/>
              <a:gd name="connsiteX4" fmla="*/ 2875963 w 3997972"/>
              <a:gd name="connsiteY4" fmla="*/ 567609 h 2224961"/>
              <a:gd name="connsiteX5" fmla="*/ 1155513 w 3997972"/>
              <a:gd name="connsiteY5" fmla="*/ 0 h 2224961"/>
              <a:gd name="connsiteX6" fmla="*/ 1074015 w 3997972"/>
              <a:gd name="connsiteY6" fmla="*/ 16454 h 2224961"/>
              <a:gd name="connsiteX7" fmla="*/ 1015465 w 3997972"/>
              <a:gd name="connsiteY7" fmla="*/ 55928 h 2224961"/>
              <a:gd name="connsiteX8" fmla="*/ 1003232 w 3997972"/>
              <a:gd name="connsiteY8" fmla="*/ 67599 h 2224961"/>
              <a:gd name="connsiteX9" fmla="*/ 67496 w 3997972"/>
              <a:gd name="connsiteY9" fmla="*/ 960266 h 2224961"/>
              <a:gd name="connsiteX10" fmla="*/ 67493 w 3997972"/>
              <a:gd name="connsiteY10" fmla="*/ 960268 h 2224961"/>
              <a:gd name="connsiteX11" fmla="*/ 58063 w 3997972"/>
              <a:gd name="connsiteY11" fmla="*/ 969263 h 2224961"/>
              <a:gd name="connsiteX12" fmla="*/ 16454 w 3997972"/>
              <a:gd name="connsiteY12" fmla="*/ 1030980 h 2224961"/>
              <a:gd name="connsiteX13" fmla="*/ 0 w 3997972"/>
              <a:gd name="connsiteY13" fmla="*/ 1112478 h 2224961"/>
              <a:gd name="connsiteX14" fmla="*/ 16454 w 3997972"/>
              <a:gd name="connsiteY14" fmla="*/ 1193976 h 2224961"/>
              <a:gd name="connsiteX15" fmla="*/ 58063 w 3997972"/>
              <a:gd name="connsiteY15" fmla="*/ 1255692 h 2224961"/>
              <a:gd name="connsiteX16" fmla="*/ 67493 w 3997972"/>
              <a:gd name="connsiteY16" fmla="*/ 1264688 h 2224961"/>
              <a:gd name="connsiteX17" fmla="*/ 67496 w 3997972"/>
              <a:gd name="connsiteY17" fmla="*/ 1264690 h 2224961"/>
              <a:gd name="connsiteX18" fmla="*/ 1003215 w 3997972"/>
              <a:gd name="connsiteY18" fmla="*/ 2157340 h 2224961"/>
              <a:gd name="connsiteX19" fmla="*/ 1003217 w 3997972"/>
              <a:gd name="connsiteY19" fmla="*/ 2157343 h 2224961"/>
              <a:gd name="connsiteX20" fmla="*/ 1015487 w 3997972"/>
              <a:gd name="connsiteY20" fmla="*/ 2169049 h 2224961"/>
              <a:gd name="connsiteX21" fmla="*/ 1074013 w 3997972"/>
              <a:gd name="connsiteY21" fmla="*/ 2208507 h 2224961"/>
              <a:gd name="connsiteX22" fmla="*/ 1155511 w 3997972"/>
              <a:gd name="connsiteY22" fmla="*/ 2224961 h 2224961"/>
              <a:gd name="connsiteX23" fmla="*/ 1364886 w 3997972"/>
              <a:gd name="connsiteY23" fmla="*/ 2015586 h 2224961"/>
              <a:gd name="connsiteX24" fmla="*/ 1357249 w 3997972"/>
              <a:gd name="connsiteY24" fmla="*/ 1965065 h 2224961"/>
              <a:gd name="connsiteX25" fmla="*/ 1357249 w 3997972"/>
              <a:gd name="connsiteY25" fmla="*/ 1965065 h 2224961"/>
              <a:gd name="connsiteX26" fmla="*/ 1364887 w 3997972"/>
              <a:gd name="connsiteY26" fmla="*/ 2015586 h 2224961"/>
              <a:gd name="connsiteX27" fmla="*/ 1364887 w 3997972"/>
              <a:gd name="connsiteY27" fmla="*/ 1965065 h 2224961"/>
              <a:gd name="connsiteX28" fmla="*/ 1460558 w 3997972"/>
              <a:gd name="connsiteY28" fmla="*/ 1973094 h 2224961"/>
              <a:gd name="connsiteX29" fmla="*/ 2875963 w 3997972"/>
              <a:gd name="connsiteY29" fmla="*/ 1973094 h 2224961"/>
              <a:gd name="connsiteX30" fmla="*/ 2875963 w 3997972"/>
              <a:gd name="connsiteY30" fmla="*/ 1004452 h 2224961"/>
              <a:gd name="connsiteX31" fmla="*/ 2875963 w 3997972"/>
              <a:gd name="connsiteY31" fmla="*/ 930120 h 2224961"/>
              <a:gd name="connsiteX32" fmla="*/ 2875963 w 3997972"/>
              <a:gd name="connsiteY32" fmla="*/ 883349 h 2224961"/>
              <a:gd name="connsiteX33" fmla="*/ 2875963 w 3997972"/>
              <a:gd name="connsiteY33" fmla="*/ 725479 h 2224961"/>
              <a:gd name="connsiteX34" fmla="*/ 2875964 w 3997972"/>
              <a:gd name="connsiteY34" fmla="*/ 725479 h 2224961"/>
              <a:gd name="connsiteX35" fmla="*/ 3034034 w 3997972"/>
              <a:gd name="connsiteY35" fmla="*/ 567609 h 2224961"/>
              <a:gd name="connsiteX36" fmla="*/ 3124386 w 3997972"/>
              <a:gd name="connsiteY36" fmla="*/ 567609 h 2224961"/>
              <a:gd name="connsiteX37" fmla="*/ 3479941 w 3997972"/>
              <a:gd name="connsiteY37" fmla="*/ 567609 h 2224961"/>
              <a:gd name="connsiteX38" fmla="*/ 3521578 w 3997972"/>
              <a:gd name="connsiteY38" fmla="*/ 567609 h 2224961"/>
              <a:gd name="connsiteX39" fmla="*/ 3839902 w 3997972"/>
              <a:gd name="connsiteY39" fmla="*/ 567609 h 2224961"/>
              <a:gd name="connsiteX40" fmla="*/ 3997972 w 3997972"/>
              <a:gd name="connsiteY40" fmla="*/ 409739 h 2224961"/>
              <a:gd name="connsiteX41" fmla="*/ 3839902 w 3997972"/>
              <a:gd name="connsiteY41" fmla="*/ 251869 h 2224961"/>
              <a:gd name="connsiteX42" fmla="*/ 3124386 w 3997972"/>
              <a:gd name="connsiteY42" fmla="*/ 251869 h 2224961"/>
              <a:gd name="connsiteX43" fmla="*/ 2875964 w 3997972"/>
              <a:gd name="connsiteY43" fmla="*/ 251869 h 2224961"/>
              <a:gd name="connsiteX44" fmla="*/ 2340208 w 3997972"/>
              <a:gd name="connsiteY44" fmla="*/ 251869 h 2224961"/>
              <a:gd name="connsiteX45" fmla="*/ 2340208 w 3997972"/>
              <a:gd name="connsiteY45" fmla="*/ 252410 h 2224961"/>
              <a:gd name="connsiteX46" fmla="*/ 1376269 w 3997972"/>
              <a:gd name="connsiteY46" fmla="*/ 252410 h 2224961"/>
              <a:gd name="connsiteX47" fmla="*/ 1364887 w 3997972"/>
              <a:gd name="connsiteY47" fmla="*/ 252371 h 2224961"/>
              <a:gd name="connsiteX48" fmla="*/ 1364887 w 3997972"/>
              <a:gd name="connsiteY48" fmla="*/ 209385 h 2224961"/>
              <a:gd name="connsiteX49" fmla="*/ 1364887 w 3997972"/>
              <a:gd name="connsiteY49" fmla="*/ 209365 h 2224961"/>
              <a:gd name="connsiteX50" fmla="*/ 1360634 w 3997972"/>
              <a:gd name="connsiteY50" fmla="*/ 167179 h 2224961"/>
              <a:gd name="connsiteX51" fmla="*/ 1155513 w 3997972"/>
              <a:gd name="connsiteY51" fmla="*/ 0 h 2224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997972" h="2224961">
                <a:moveTo>
                  <a:pt x="2875963" y="567609"/>
                </a:moveTo>
                <a:lnTo>
                  <a:pt x="2875963" y="567610"/>
                </a:lnTo>
                <a:lnTo>
                  <a:pt x="1364887" y="567610"/>
                </a:lnTo>
                <a:lnTo>
                  <a:pt x="1364887" y="567609"/>
                </a:lnTo>
                <a:lnTo>
                  <a:pt x="2875963" y="567609"/>
                </a:lnTo>
                <a:close/>
                <a:moveTo>
                  <a:pt x="1155513" y="0"/>
                </a:moveTo>
                <a:cubicBezTo>
                  <a:pt x="1126604" y="0"/>
                  <a:pt x="1099064" y="5859"/>
                  <a:pt x="1074015" y="16454"/>
                </a:cubicBezTo>
                <a:lnTo>
                  <a:pt x="1015465" y="55928"/>
                </a:lnTo>
                <a:lnTo>
                  <a:pt x="1003232" y="67599"/>
                </a:lnTo>
                <a:lnTo>
                  <a:pt x="67496" y="960266"/>
                </a:lnTo>
                <a:cubicBezTo>
                  <a:pt x="67495" y="960267"/>
                  <a:pt x="67494" y="960267"/>
                  <a:pt x="67493" y="960268"/>
                </a:cubicBezTo>
                <a:lnTo>
                  <a:pt x="58063" y="969263"/>
                </a:lnTo>
                <a:lnTo>
                  <a:pt x="16454" y="1030980"/>
                </a:lnTo>
                <a:cubicBezTo>
                  <a:pt x="5859" y="1056029"/>
                  <a:pt x="0" y="1083569"/>
                  <a:pt x="0" y="1112478"/>
                </a:cubicBezTo>
                <a:cubicBezTo>
                  <a:pt x="0" y="1141387"/>
                  <a:pt x="5859" y="1168927"/>
                  <a:pt x="16454" y="1193976"/>
                </a:cubicBezTo>
                <a:lnTo>
                  <a:pt x="58063" y="1255692"/>
                </a:lnTo>
                <a:lnTo>
                  <a:pt x="67493" y="1264688"/>
                </a:lnTo>
                <a:cubicBezTo>
                  <a:pt x="67494" y="1264689"/>
                  <a:pt x="67495" y="1264689"/>
                  <a:pt x="67496" y="1264690"/>
                </a:cubicBezTo>
                <a:lnTo>
                  <a:pt x="1003215" y="2157340"/>
                </a:lnTo>
                <a:cubicBezTo>
                  <a:pt x="1003216" y="2157341"/>
                  <a:pt x="1003216" y="2157342"/>
                  <a:pt x="1003217" y="2157343"/>
                </a:cubicBezTo>
                <a:lnTo>
                  <a:pt x="1015487" y="2169049"/>
                </a:lnTo>
                <a:lnTo>
                  <a:pt x="1074013" y="2208507"/>
                </a:lnTo>
                <a:cubicBezTo>
                  <a:pt x="1099062" y="2219102"/>
                  <a:pt x="1126602" y="2224961"/>
                  <a:pt x="1155511" y="2224961"/>
                </a:cubicBezTo>
                <a:cubicBezTo>
                  <a:pt x="1271146" y="2224961"/>
                  <a:pt x="1364886" y="2131221"/>
                  <a:pt x="1364886" y="2015586"/>
                </a:cubicBezTo>
                <a:lnTo>
                  <a:pt x="1357249" y="1965065"/>
                </a:lnTo>
                <a:lnTo>
                  <a:pt x="1357249" y="1965065"/>
                </a:lnTo>
                <a:lnTo>
                  <a:pt x="1364887" y="2015586"/>
                </a:lnTo>
                <a:lnTo>
                  <a:pt x="1364887" y="1965065"/>
                </a:lnTo>
                <a:lnTo>
                  <a:pt x="1460558" y="1973094"/>
                </a:lnTo>
                <a:lnTo>
                  <a:pt x="2875963" y="1973094"/>
                </a:lnTo>
                <a:lnTo>
                  <a:pt x="2875963" y="1004452"/>
                </a:lnTo>
                <a:lnTo>
                  <a:pt x="2875963" y="930120"/>
                </a:lnTo>
                <a:lnTo>
                  <a:pt x="2875963" y="883349"/>
                </a:lnTo>
                <a:lnTo>
                  <a:pt x="2875963" y="725479"/>
                </a:lnTo>
                <a:lnTo>
                  <a:pt x="2875964" y="725479"/>
                </a:lnTo>
                <a:cubicBezTo>
                  <a:pt x="2875964" y="638290"/>
                  <a:pt x="2946734" y="567609"/>
                  <a:pt x="3034034" y="567609"/>
                </a:cubicBezTo>
                <a:lnTo>
                  <a:pt x="3124386" y="567609"/>
                </a:lnTo>
                <a:lnTo>
                  <a:pt x="3479941" y="567609"/>
                </a:lnTo>
                <a:lnTo>
                  <a:pt x="3521578" y="567609"/>
                </a:lnTo>
                <a:lnTo>
                  <a:pt x="3839902" y="567609"/>
                </a:lnTo>
                <a:cubicBezTo>
                  <a:pt x="3927202" y="567609"/>
                  <a:pt x="3997972" y="496928"/>
                  <a:pt x="3997972" y="409739"/>
                </a:cubicBezTo>
                <a:cubicBezTo>
                  <a:pt x="3997972" y="322550"/>
                  <a:pt x="3927202" y="251869"/>
                  <a:pt x="3839902" y="251869"/>
                </a:cubicBezTo>
                <a:lnTo>
                  <a:pt x="3124386" y="251869"/>
                </a:lnTo>
                <a:lnTo>
                  <a:pt x="2875964" y="251869"/>
                </a:lnTo>
                <a:lnTo>
                  <a:pt x="2340208" y="251869"/>
                </a:lnTo>
                <a:lnTo>
                  <a:pt x="2340208" y="252410"/>
                </a:lnTo>
                <a:lnTo>
                  <a:pt x="1376269" y="252410"/>
                </a:lnTo>
                <a:lnTo>
                  <a:pt x="1364887" y="252371"/>
                </a:lnTo>
                <a:lnTo>
                  <a:pt x="1364887" y="209385"/>
                </a:lnTo>
                <a:lnTo>
                  <a:pt x="1364887" y="209365"/>
                </a:lnTo>
                <a:lnTo>
                  <a:pt x="1360634" y="167179"/>
                </a:lnTo>
                <a:cubicBezTo>
                  <a:pt x="1341111" y="71770"/>
                  <a:pt x="1256694" y="0"/>
                  <a:pt x="1155513" y="0"/>
                </a:cubicBezTo>
                <a:close/>
              </a:path>
            </a:pathLst>
          </a:custGeom>
          <a:gradFill flip="none" rotWithShape="1">
            <a:gsLst>
              <a:gs pos="0">
                <a:schemeClr val="accent4">
                  <a:lumMod val="50000"/>
                </a:schemeClr>
              </a:gs>
              <a:gs pos="15000">
                <a:schemeClr val="accent4"/>
              </a:gs>
            </a:gsLst>
            <a:lin ang="10800000" scaled="1"/>
            <a:tileRect/>
          </a:gradFill>
          <a:ln>
            <a:noFill/>
          </a:ln>
          <a:effectLst>
            <a:reflection blurRad="6350" stA="30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en-US" sz="1350"/>
          </a:p>
        </p:txBody>
      </p:sp>
      <p:sp>
        <p:nvSpPr>
          <p:cNvPr id="13328" name="TextBox 15">
            <a:extLst>
              <a:ext uri="{FF2B5EF4-FFF2-40B4-BE49-F238E27FC236}">
                <a16:creationId xmlns:a16="http://schemas.microsoft.com/office/drawing/2014/main" id="{780C2F96-7913-B3ED-05F7-EF846953D4F6}"/>
              </a:ext>
            </a:extLst>
          </p:cNvPr>
          <p:cNvSpPr txBox="1">
            <a:spLocks noChangeArrowheads="1"/>
          </p:cNvSpPr>
          <p:nvPr/>
        </p:nvSpPr>
        <p:spPr bwMode="auto">
          <a:xfrm>
            <a:off x="7513639" y="3568084"/>
            <a:ext cx="1195387"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b">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en-US" sz="1600">
                <a:solidFill>
                  <a:schemeClr val="bg1"/>
                </a:solidFill>
              </a:rPr>
              <a:t>People counseled</a:t>
            </a:r>
          </a:p>
        </p:txBody>
      </p:sp>
      <p:sp>
        <p:nvSpPr>
          <p:cNvPr id="17" name="Freeform: Shape 34">
            <a:extLst>
              <a:ext uri="{FF2B5EF4-FFF2-40B4-BE49-F238E27FC236}">
                <a16:creationId xmlns:a16="http://schemas.microsoft.com/office/drawing/2014/main" id="{CA6D7E58-5BEA-544A-1206-0110A135CBD2}"/>
              </a:ext>
            </a:extLst>
          </p:cNvPr>
          <p:cNvSpPr/>
          <p:nvPr/>
        </p:nvSpPr>
        <p:spPr>
          <a:xfrm>
            <a:off x="5186363" y="3745884"/>
            <a:ext cx="831850" cy="382588"/>
          </a:xfrm>
          <a:custGeom>
            <a:avLst/>
            <a:gdLst>
              <a:gd name="connsiteX0" fmla="*/ 0 w 1122012"/>
              <a:gd name="connsiteY0" fmla="*/ 0 h 473610"/>
              <a:gd name="connsiteX1" fmla="*/ 518035 w 1122012"/>
              <a:gd name="connsiteY1" fmla="*/ 0 h 473610"/>
              <a:gd name="connsiteX2" fmla="*/ 518035 w 1122012"/>
              <a:gd name="connsiteY2" fmla="*/ 157870 h 473610"/>
              <a:gd name="connsiteX3" fmla="*/ 963942 w 1122012"/>
              <a:gd name="connsiteY3" fmla="*/ 157870 h 473610"/>
              <a:gd name="connsiteX4" fmla="*/ 1122012 w 1122012"/>
              <a:gd name="connsiteY4" fmla="*/ 315740 h 473610"/>
              <a:gd name="connsiteX5" fmla="*/ 963942 w 1122012"/>
              <a:gd name="connsiteY5" fmla="*/ 473610 h 473610"/>
              <a:gd name="connsiteX6" fmla="*/ 3 w 1122012"/>
              <a:gd name="connsiteY6" fmla="*/ 473610 h 473610"/>
              <a:gd name="connsiteX7" fmla="*/ 3 w 1122012"/>
              <a:gd name="connsiteY7" fmla="*/ 315740 h 473610"/>
              <a:gd name="connsiteX8" fmla="*/ 0 w 1122012"/>
              <a:gd name="connsiteY8" fmla="*/ 315740 h 473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2012" h="473610">
                <a:moveTo>
                  <a:pt x="0" y="0"/>
                </a:moveTo>
                <a:lnTo>
                  <a:pt x="518035" y="0"/>
                </a:lnTo>
                <a:lnTo>
                  <a:pt x="518035" y="157870"/>
                </a:lnTo>
                <a:lnTo>
                  <a:pt x="963942" y="157870"/>
                </a:lnTo>
                <a:cubicBezTo>
                  <a:pt x="1051242" y="157870"/>
                  <a:pt x="1122012" y="228551"/>
                  <a:pt x="1122012" y="315740"/>
                </a:cubicBezTo>
                <a:cubicBezTo>
                  <a:pt x="1122012" y="402929"/>
                  <a:pt x="1051242" y="473610"/>
                  <a:pt x="963942" y="473610"/>
                </a:cubicBezTo>
                <a:lnTo>
                  <a:pt x="3" y="473610"/>
                </a:lnTo>
                <a:lnTo>
                  <a:pt x="3" y="315740"/>
                </a:lnTo>
                <a:lnTo>
                  <a:pt x="0" y="315740"/>
                </a:lnTo>
                <a:close/>
              </a:path>
            </a:pathLst>
          </a:custGeom>
          <a:gradFill flip="none" rotWithShape="1">
            <a:gsLst>
              <a:gs pos="0">
                <a:schemeClr val="bg2">
                  <a:lumMod val="75000"/>
                </a:schemeClr>
              </a:gs>
              <a:gs pos="42000">
                <a:schemeClr val="bg1">
                  <a:lumMod val="85000"/>
                </a:schemeClr>
              </a:gs>
              <a:gs pos="100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en-US" sz="1350"/>
          </a:p>
        </p:txBody>
      </p:sp>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TextBox 133">
            <a:extLst>
              <a:ext uri="{FF2B5EF4-FFF2-40B4-BE49-F238E27FC236}">
                <a16:creationId xmlns:a16="http://schemas.microsoft.com/office/drawing/2014/main" id="{86E6788C-76AA-43BC-8B7F-196C83841096}"/>
              </a:ext>
            </a:extLst>
          </p:cNvPr>
          <p:cNvSpPr txBox="1"/>
          <p:nvPr/>
        </p:nvSpPr>
        <p:spPr>
          <a:xfrm>
            <a:off x="1847850" y="463992"/>
            <a:ext cx="8496300" cy="553998"/>
          </a:xfrm>
          <a:prstGeom prst="rect">
            <a:avLst/>
          </a:prstGeom>
          <a:noFill/>
        </p:spPr>
        <p:txBody>
          <a:bodyPr wrap="square" lIns="0" tIns="0" rIns="0" bIns="0" rtlCol="0" anchor="t">
            <a:spAutoFit/>
          </a:bodyPr>
          <a:lstStyle/>
          <a:p>
            <a:pPr algn="ctr" defTabSz="685800"/>
            <a:r>
              <a:rPr lang="en-US" sz="3600" dirty="0">
                <a:latin typeface="Corbel" panose="020B0503020204020204"/>
              </a:rPr>
              <a:t>TX_ML</a:t>
            </a:r>
          </a:p>
        </p:txBody>
      </p:sp>
      <p:grpSp>
        <p:nvGrpSpPr>
          <p:cNvPr id="2" name="Group 1">
            <a:extLst>
              <a:ext uri="{FF2B5EF4-FFF2-40B4-BE49-F238E27FC236}">
                <a16:creationId xmlns:a16="http://schemas.microsoft.com/office/drawing/2014/main" id="{11383E8B-A9F5-4C59-A67A-3554539F5B7A}"/>
              </a:ext>
            </a:extLst>
          </p:cNvPr>
          <p:cNvGrpSpPr/>
          <p:nvPr/>
        </p:nvGrpSpPr>
        <p:grpSpPr>
          <a:xfrm>
            <a:off x="1524001" y="1143000"/>
            <a:ext cx="9144001" cy="5578476"/>
            <a:chOff x="0" y="857250"/>
            <a:chExt cx="9144001" cy="5864226"/>
          </a:xfrm>
        </p:grpSpPr>
        <p:sp>
          <p:nvSpPr>
            <p:cNvPr id="98" name="Rectangle 97">
              <a:extLst>
                <a:ext uri="{FF2B5EF4-FFF2-40B4-BE49-F238E27FC236}">
                  <a16:creationId xmlns:a16="http://schemas.microsoft.com/office/drawing/2014/main" id="{84CAA34D-CD75-45C6-B39E-7C242EB87261}"/>
                </a:ext>
              </a:extLst>
            </p:cNvPr>
            <p:cNvSpPr/>
            <p:nvPr/>
          </p:nvSpPr>
          <p:spPr>
            <a:xfrm>
              <a:off x="1" y="2871107"/>
              <a:ext cx="9144000" cy="1306286"/>
            </a:xfrm>
            <a:prstGeom prst="rect">
              <a:avLst/>
            </a:prstGeom>
            <a:solidFill>
              <a:srgbClr val="E7E6E6"/>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99" name="Rectangle: Rounded Corners 98">
              <a:extLst>
                <a:ext uri="{FF2B5EF4-FFF2-40B4-BE49-F238E27FC236}">
                  <a16:creationId xmlns:a16="http://schemas.microsoft.com/office/drawing/2014/main" id="{B79F2794-CAB0-4CBC-A170-CA7853D4B5E7}"/>
                </a:ext>
              </a:extLst>
            </p:cNvPr>
            <p:cNvSpPr/>
            <p:nvPr/>
          </p:nvSpPr>
          <p:spPr>
            <a:xfrm>
              <a:off x="3652410" y="2015558"/>
              <a:ext cx="1951265" cy="3145971"/>
            </a:xfrm>
            <a:prstGeom prst="roundRect">
              <a:avLst>
                <a:gd name="adj" fmla="val 4952"/>
              </a:avLst>
            </a:prstGeom>
            <a:solidFill>
              <a:sysClr val="window" lastClr="FFFFFF">
                <a:lumMod val="65000"/>
              </a:sys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00" name="Rectangle: Rounded Corners 99">
              <a:extLst>
                <a:ext uri="{FF2B5EF4-FFF2-40B4-BE49-F238E27FC236}">
                  <a16:creationId xmlns:a16="http://schemas.microsoft.com/office/drawing/2014/main" id="{624C18DD-A9DF-4469-A7B6-6C9AAA2D41F4}"/>
                </a:ext>
              </a:extLst>
            </p:cNvPr>
            <p:cNvSpPr/>
            <p:nvPr/>
          </p:nvSpPr>
          <p:spPr>
            <a:xfrm>
              <a:off x="6625597" y="2015558"/>
              <a:ext cx="1951265" cy="3145971"/>
            </a:xfrm>
            <a:prstGeom prst="roundRect">
              <a:avLst>
                <a:gd name="adj" fmla="val 4952"/>
              </a:avLst>
            </a:prstGeom>
            <a:solidFill>
              <a:sysClr val="window" lastClr="FFFFFF">
                <a:lumMod val="65000"/>
              </a:sys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01" name="Rectangle: Rounded Corners 100">
              <a:extLst>
                <a:ext uri="{FF2B5EF4-FFF2-40B4-BE49-F238E27FC236}">
                  <a16:creationId xmlns:a16="http://schemas.microsoft.com/office/drawing/2014/main" id="{F503AF90-BD38-48FC-8812-4FA3F25DB0E6}"/>
                </a:ext>
              </a:extLst>
            </p:cNvPr>
            <p:cNvSpPr/>
            <p:nvPr/>
          </p:nvSpPr>
          <p:spPr>
            <a:xfrm>
              <a:off x="685800" y="2015558"/>
              <a:ext cx="1951265" cy="3145971"/>
            </a:xfrm>
            <a:prstGeom prst="roundRect">
              <a:avLst>
                <a:gd name="adj" fmla="val 4952"/>
              </a:avLst>
            </a:prstGeom>
            <a:solidFill>
              <a:sysClr val="window" lastClr="FFFFFF">
                <a:lumMod val="65000"/>
              </a:sys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02" name="Frame 101">
              <a:extLst>
                <a:ext uri="{FF2B5EF4-FFF2-40B4-BE49-F238E27FC236}">
                  <a16:creationId xmlns:a16="http://schemas.microsoft.com/office/drawing/2014/main" id="{530C96A5-18F8-41CE-8FBF-056A3D32634C}"/>
                </a:ext>
              </a:extLst>
            </p:cNvPr>
            <p:cNvSpPr/>
            <p:nvPr/>
          </p:nvSpPr>
          <p:spPr>
            <a:xfrm>
              <a:off x="0" y="857250"/>
              <a:ext cx="9144000" cy="5143500"/>
            </a:xfrm>
            <a:prstGeom prst="frame">
              <a:avLst>
                <a:gd name="adj1" fmla="val 1053"/>
              </a:avLst>
            </a:prstGeom>
            <a:solidFill>
              <a:srgbClr val="44546A">
                <a:lumMod val="40000"/>
                <a:lumOff val="60000"/>
              </a:srgbClr>
            </a:solidFill>
            <a:ln w="12700" cap="flat" cmpd="sng" algn="ctr">
              <a:noFill/>
              <a:prstDash val="solid"/>
              <a:miter lim="800000"/>
            </a:ln>
            <a:effectLst/>
          </p:spPr>
          <p:txBody>
            <a:bodyPr rtlCol="0" anchor="ctr"/>
            <a:lstStyle/>
            <a:p>
              <a:pPr algn="ctr" defTabSz="685800">
                <a:defRPr/>
              </a:pPr>
              <a:endParaRPr lang="en-US" sz="1350" kern="0">
                <a:solidFill>
                  <a:prstClr val="black"/>
                </a:solidFill>
                <a:latin typeface="Calibri Light"/>
              </a:endParaRPr>
            </a:p>
          </p:txBody>
        </p:sp>
        <p:sp>
          <p:nvSpPr>
            <p:cNvPr id="103" name="Rectangle 102">
              <a:extLst>
                <a:ext uri="{FF2B5EF4-FFF2-40B4-BE49-F238E27FC236}">
                  <a16:creationId xmlns:a16="http://schemas.microsoft.com/office/drawing/2014/main" id="{D5A75610-4C9C-4007-86BE-0C93387BD4CC}"/>
                </a:ext>
              </a:extLst>
            </p:cNvPr>
            <p:cNvSpPr/>
            <p:nvPr/>
          </p:nvSpPr>
          <p:spPr>
            <a:xfrm>
              <a:off x="0" y="857250"/>
              <a:ext cx="336430" cy="336430"/>
            </a:xfrm>
            <a:prstGeom prst="rect">
              <a:avLst/>
            </a:prstGeom>
            <a:solidFill>
              <a:srgbClr val="AF5F6D"/>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04" name="Rectangle 103">
              <a:extLst>
                <a:ext uri="{FF2B5EF4-FFF2-40B4-BE49-F238E27FC236}">
                  <a16:creationId xmlns:a16="http://schemas.microsoft.com/office/drawing/2014/main" id="{88DED4A1-8837-48AC-9F2B-DE23F8D97ECB}"/>
                </a:ext>
              </a:extLst>
            </p:cNvPr>
            <p:cNvSpPr/>
            <p:nvPr/>
          </p:nvSpPr>
          <p:spPr>
            <a:xfrm>
              <a:off x="8807571" y="5664321"/>
              <a:ext cx="336430" cy="336430"/>
            </a:xfrm>
            <a:prstGeom prst="rect">
              <a:avLst/>
            </a:prstGeom>
            <a:solidFill>
              <a:srgbClr val="EB6B56"/>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18" name="Slide Number Placeholder 21">
              <a:extLst>
                <a:ext uri="{FF2B5EF4-FFF2-40B4-BE49-F238E27FC236}">
                  <a16:creationId xmlns:a16="http://schemas.microsoft.com/office/drawing/2014/main" id="{93A42D60-09D3-464C-9CEE-9793BC406A2C}"/>
                </a:ext>
              </a:extLst>
            </p:cNvPr>
            <p:cNvSpPr txBox="1">
              <a:spLocks/>
            </p:cNvSpPr>
            <p:nvPr/>
          </p:nvSpPr>
          <p:spPr>
            <a:xfrm>
              <a:off x="6457950" y="6356351"/>
              <a:ext cx="2057400" cy="365125"/>
            </a:xfrm>
            <a:prstGeom prst="rect">
              <a:avLst/>
            </a:prstGeom>
          </p:spPr>
          <p:txBody>
            <a:bodyPr vert="horz" lIns="91440" tIns="45720" rIns="91440" bIns="4572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fld id="{B9940D52-AD77-4C6A-9DCC-3EEF87AE9DF8}" type="slidenum">
                <a:rPr lang="en-US">
                  <a:solidFill>
                    <a:prstClr val="black">
                      <a:tint val="75000"/>
                    </a:prstClr>
                  </a:solidFill>
                  <a:latin typeface="Calibri Light"/>
                </a:rPr>
                <a:pPr defTabSz="685800"/>
                <a:t>70</a:t>
              </a:fld>
              <a:endParaRPr lang="en-US">
                <a:solidFill>
                  <a:prstClr val="black">
                    <a:tint val="75000"/>
                  </a:prstClr>
                </a:solidFill>
                <a:latin typeface="Calibri Light"/>
              </a:endParaRPr>
            </a:p>
          </p:txBody>
        </p:sp>
        <p:sp>
          <p:nvSpPr>
            <p:cNvPr id="119" name="Rectangle: Rounded Corners 118">
              <a:extLst>
                <a:ext uri="{FF2B5EF4-FFF2-40B4-BE49-F238E27FC236}">
                  <a16:creationId xmlns:a16="http://schemas.microsoft.com/office/drawing/2014/main" id="{A31B6B7F-B442-478B-AC83-5877659C504E}"/>
                </a:ext>
              </a:extLst>
            </p:cNvPr>
            <p:cNvSpPr/>
            <p:nvPr/>
          </p:nvSpPr>
          <p:spPr>
            <a:xfrm>
              <a:off x="628650" y="1951264"/>
              <a:ext cx="1951265" cy="3145971"/>
            </a:xfrm>
            <a:prstGeom prst="roundRect">
              <a:avLst>
                <a:gd name="adj" fmla="val 4952"/>
              </a:avLst>
            </a:prstGeom>
            <a:solidFill>
              <a:schemeClr val="accent2">
                <a:lumMod val="40000"/>
                <a:lumOff val="60000"/>
              </a:scheme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20" name="Rectangle: Rounded Corners 119">
              <a:extLst>
                <a:ext uri="{FF2B5EF4-FFF2-40B4-BE49-F238E27FC236}">
                  <a16:creationId xmlns:a16="http://schemas.microsoft.com/office/drawing/2014/main" id="{755AABF3-A803-4326-BD1C-065642A1AA83}"/>
                </a:ext>
              </a:extLst>
            </p:cNvPr>
            <p:cNvSpPr/>
            <p:nvPr/>
          </p:nvSpPr>
          <p:spPr>
            <a:xfrm>
              <a:off x="3596368" y="1951264"/>
              <a:ext cx="1951265" cy="3145971"/>
            </a:xfrm>
            <a:prstGeom prst="roundRect">
              <a:avLst>
                <a:gd name="adj" fmla="val 4952"/>
              </a:avLst>
            </a:prstGeom>
            <a:solidFill>
              <a:schemeClr val="accent3">
                <a:lumMod val="40000"/>
                <a:lumOff val="60000"/>
              </a:scheme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21" name="Rectangle: Rounded Corners 120">
              <a:extLst>
                <a:ext uri="{FF2B5EF4-FFF2-40B4-BE49-F238E27FC236}">
                  <a16:creationId xmlns:a16="http://schemas.microsoft.com/office/drawing/2014/main" id="{51F48CB3-9A91-4CD8-BAB4-372731EF5FB1}"/>
                </a:ext>
              </a:extLst>
            </p:cNvPr>
            <p:cNvSpPr/>
            <p:nvPr/>
          </p:nvSpPr>
          <p:spPr>
            <a:xfrm>
              <a:off x="6564085" y="1951264"/>
              <a:ext cx="1951265" cy="3145971"/>
            </a:xfrm>
            <a:prstGeom prst="roundRect">
              <a:avLst>
                <a:gd name="adj" fmla="val 4952"/>
              </a:avLst>
            </a:prstGeom>
            <a:solidFill>
              <a:schemeClr val="accent1">
                <a:lumMod val="40000"/>
                <a:lumOff val="60000"/>
              </a:scheme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grpSp>
          <p:nvGrpSpPr>
            <p:cNvPr id="122" name="Group 121">
              <a:extLst>
                <a:ext uri="{FF2B5EF4-FFF2-40B4-BE49-F238E27FC236}">
                  <a16:creationId xmlns:a16="http://schemas.microsoft.com/office/drawing/2014/main" id="{1D5F4261-1706-4F0E-8267-369D57C1FB88}"/>
                </a:ext>
              </a:extLst>
            </p:cNvPr>
            <p:cNvGrpSpPr/>
            <p:nvPr/>
          </p:nvGrpSpPr>
          <p:grpSpPr>
            <a:xfrm>
              <a:off x="2875574" y="3333082"/>
              <a:ext cx="425135" cy="382335"/>
              <a:chOff x="4854484" y="5910272"/>
              <a:chExt cx="283864" cy="255286"/>
            </a:xfrm>
            <a:solidFill>
              <a:srgbClr val="44546A"/>
            </a:solidFill>
          </p:grpSpPr>
          <p:sp>
            <p:nvSpPr>
              <p:cNvPr id="123" name="Freeform 251">
                <a:extLst>
                  <a:ext uri="{FF2B5EF4-FFF2-40B4-BE49-F238E27FC236}">
                    <a16:creationId xmlns:a16="http://schemas.microsoft.com/office/drawing/2014/main" id="{0C8CED70-9586-4725-ABB9-23097BB29906}"/>
                  </a:ext>
                </a:extLst>
              </p:cNvPr>
              <p:cNvSpPr>
                <a:spLocks/>
              </p:cNvSpPr>
              <p:nvPr/>
            </p:nvSpPr>
            <p:spPr bwMode="auto">
              <a:xfrm>
                <a:off x="4854484" y="5910272"/>
                <a:ext cx="165746" cy="255286"/>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sp>
            <p:nvSpPr>
              <p:cNvPr id="124" name="Freeform 252">
                <a:extLst>
                  <a:ext uri="{FF2B5EF4-FFF2-40B4-BE49-F238E27FC236}">
                    <a16:creationId xmlns:a16="http://schemas.microsoft.com/office/drawing/2014/main" id="{0F01F1D5-7465-4E64-9CCB-5C815BD8B5EC}"/>
                  </a:ext>
                </a:extLst>
              </p:cNvPr>
              <p:cNvSpPr>
                <a:spLocks/>
              </p:cNvSpPr>
              <p:nvPr/>
            </p:nvSpPr>
            <p:spPr bwMode="auto">
              <a:xfrm>
                <a:off x="4972602" y="5910272"/>
                <a:ext cx="165746" cy="255286"/>
              </a:xfrm>
              <a:custGeom>
                <a:avLst/>
                <a:gdLst>
                  <a:gd name="T0" fmla="*/ 344 w 348"/>
                  <a:gd name="T1" fmla="*/ 260 h 535"/>
                  <a:gd name="T2" fmla="*/ 86 w 348"/>
                  <a:gd name="T3" fmla="*/ 2 h 535"/>
                  <a:gd name="T4" fmla="*/ 83 w 348"/>
                  <a:gd name="T5" fmla="*/ 0 h 535"/>
                  <a:gd name="T6" fmla="*/ 80 w 348"/>
                  <a:gd name="T7" fmla="*/ 0 h 535"/>
                  <a:gd name="T8" fmla="*/ 75 w 348"/>
                  <a:gd name="T9" fmla="*/ 0 h 535"/>
                  <a:gd name="T10" fmla="*/ 72 w 348"/>
                  <a:gd name="T11" fmla="*/ 2 h 535"/>
                  <a:gd name="T12" fmla="*/ 3 w 348"/>
                  <a:gd name="T13" fmla="*/ 72 h 535"/>
                  <a:gd name="T14" fmla="*/ 1 w 348"/>
                  <a:gd name="T15" fmla="*/ 75 h 535"/>
                  <a:gd name="T16" fmla="*/ 0 w 348"/>
                  <a:gd name="T17" fmla="*/ 79 h 535"/>
                  <a:gd name="T18" fmla="*/ 1 w 348"/>
                  <a:gd name="T19" fmla="*/ 83 h 535"/>
                  <a:gd name="T20" fmla="*/ 3 w 348"/>
                  <a:gd name="T21" fmla="*/ 86 h 535"/>
                  <a:gd name="T22" fmla="*/ 185 w 348"/>
                  <a:gd name="T23" fmla="*/ 268 h 535"/>
                  <a:gd name="T24" fmla="*/ 3 w 348"/>
                  <a:gd name="T25" fmla="*/ 449 h 535"/>
                  <a:gd name="T26" fmla="*/ 1 w 348"/>
                  <a:gd name="T27" fmla="*/ 452 h 535"/>
                  <a:gd name="T28" fmla="*/ 0 w 348"/>
                  <a:gd name="T29" fmla="*/ 457 h 535"/>
                  <a:gd name="T30" fmla="*/ 1 w 348"/>
                  <a:gd name="T31" fmla="*/ 460 h 535"/>
                  <a:gd name="T32" fmla="*/ 3 w 348"/>
                  <a:gd name="T33" fmla="*/ 463 h 535"/>
                  <a:gd name="T34" fmla="*/ 72 w 348"/>
                  <a:gd name="T35" fmla="*/ 532 h 535"/>
                  <a:gd name="T36" fmla="*/ 75 w 348"/>
                  <a:gd name="T37" fmla="*/ 534 h 535"/>
                  <a:gd name="T38" fmla="*/ 80 w 348"/>
                  <a:gd name="T39" fmla="*/ 535 h 535"/>
                  <a:gd name="T40" fmla="*/ 83 w 348"/>
                  <a:gd name="T41" fmla="*/ 534 h 535"/>
                  <a:gd name="T42" fmla="*/ 86 w 348"/>
                  <a:gd name="T43" fmla="*/ 533 h 535"/>
                  <a:gd name="T44" fmla="*/ 344 w 348"/>
                  <a:gd name="T45" fmla="*/ 274 h 535"/>
                  <a:gd name="T46" fmla="*/ 347 w 348"/>
                  <a:gd name="T47" fmla="*/ 271 h 535"/>
                  <a:gd name="T48" fmla="*/ 348 w 348"/>
                  <a:gd name="T49" fmla="*/ 268 h 535"/>
                  <a:gd name="T50" fmla="*/ 347 w 348"/>
                  <a:gd name="T51" fmla="*/ 263 h 535"/>
                  <a:gd name="T52" fmla="*/ 344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4" y="260"/>
                    </a:moveTo>
                    <a:lnTo>
                      <a:pt x="86" y="2"/>
                    </a:lnTo>
                    <a:lnTo>
                      <a:pt x="83" y="0"/>
                    </a:lnTo>
                    <a:lnTo>
                      <a:pt x="80" y="0"/>
                    </a:lnTo>
                    <a:lnTo>
                      <a:pt x="75" y="0"/>
                    </a:lnTo>
                    <a:lnTo>
                      <a:pt x="72" y="2"/>
                    </a:lnTo>
                    <a:lnTo>
                      <a:pt x="3" y="72"/>
                    </a:lnTo>
                    <a:lnTo>
                      <a:pt x="1" y="75"/>
                    </a:lnTo>
                    <a:lnTo>
                      <a:pt x="0" y="79"/>
                    </a:lnTo>
                    <a:lnTo>
                      <a:pt x="1" y="83"/>
                    </a:lnTo>
                    <a:lnTo>
                      <a:pt x="3" y="86"/>
                    </a:lnTo>
                    <a:lnTo>
                      <a:pt x="185" y="268"/>
                    </a:lnTo>
                    <a:lnTo>
                      <a:pt x="3" y="449"/>
                    </a:lnTo>
                    <a:lnTo>
                      <a:pt x="1" y="452"/>
                    </a:lnTo>
                    <a:lnTo>
                      <a:pt x="0" y="457"/>
                    </a:lnTo>
                    <a:lnTo>
                      <a:pt x="1" y="460"/>
                    </a:lnTo>
                    <a:lnTo>
                      <a:pt x="3" y="463"/>
                    </a:lnTo>
                    <a:lnTo>
                      <a:pt x="72" y="532"/>
                    </a:lnTo>
                    <a:lnTo>
                      <a:pt x="75" y="534"/>
                    </a:lnTo>
                    <a:lnTo>
                      <a:pt x="80" y="535"/>
                    </a:lnTo>
                    <a:lnTo>
                      <a:pt x="83" y="534"/>
                    </a:lnTo>
                    <a:lnTo>
                      <a:pt x="86" y="533"/>
                    </a:lnTo>
                    <a:lnTo>
                      <a:pt x="344" y="274"/>
                    </a:lnTo>
                    <a:lnTo>
                      <a:pt x="347" y="271"/>
                    </a:lnTo>
                    <a:lnTo>
                      <a:pt x="348" y="268"/>
                    </a:lnTo>
                    <a:lnTo>
                      <a:pt x="347" y="263"/>
                    </a:lnTo>
                    <a:lnTo>
                      <a:pt x="344"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grpSp>
        <p:grpSp>
          <p:nvGrpSpPr>
            <p:cNvPr id="125" name="Group 124">
              <a:extLst>
                <a:ext uri="{FF2B5EF4-FFF2-40B4-BE49-F238E27FC236}">
                  <a16:creationId xmlns:a16="http://schemas.microsoft.com/office/drawing/2014/main" id="{819BCB2C-2594-4246-AF1C-54887570D1B2}"/>
                </a:ext>
              </a:extLst>
            </p:cNvPr>
            <p:cNvGrpSpPr/>
            <p:nvPr/>
          </p:nvGrpSpPr>
          <p:grpSpPr>
            <a:xfrm>
              <a:off x="5843292" y="3333082"/>
              <a:ext cx="425135" cy="382335"/>
              <a:chOff x="4854484" y="5910272"/>
              <a:chExt cx="283864" cy="255286"/>
            </a:xfrm>
            <a:solidFill>
              <a:srgbClr val="44546A"/>
            </a:solidFill>
          </p:grpSpPr>
          <p:sp>
            <p:nvSpPr>
              <p:cNvPr id="126" name="Freeform 251">
                <a:extLst>
                  <a:ext uri="{FF2B5EF4-FFF2-40B4-BE49-F238E27FC236}">
                    <a16:creationId xmlns:a16="http://schemas.microsoft.com/office/drawing/2014/main" id="{B4AFA590-489D-461F-87B5-31AA21C9CA6E}"/>
                  </a:ext>
                </a:extLst>
              </p:cNvPr>
              <p:cNvSpPr>
                <a:spLocks/>
              </p:cNvSpPr>
              <p:nvPr/>
            </p:nvSpPr>
            <p:spPr bwMode="auto">
              <a:xfrm>
                <a:off x="4854484" y="5910272"/>
                <a:ext cx="165746" cy="255286"/>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sp>
            <p:nvSpPr>
              <p:cNvPr id="127" name="Freeform 252">
                <a:extLst>
                  <a:ext uri="{FF2B5EF4-FFF2-40B4-BE49-F238E27FC236}">
                    <a16:creationId xmlns:a16="http://schemas.microsoft.com/office/drawing/2014/main" id="{686E9970-8B1D-4D78-8BC4-D6A0633DF381}"/>
                  </a:ext>
                </a:extLst>
              </p:cNvPr>
              <p:cNvSpPr>
                <a:spLocks/>
              </p:cNvSpPr>
              <p:nvPr/>
            </p:nvSpPr>
            <p:spPr bwMode="auto">
              <a:xfrm>
                <a:off x="4972602" y="5910272"/>
                <a:ext cx="165746" cy="255286"/>
              </a:xfrm>
              <a:custGeom>
                <a:avLst/>
                <a:gdLst>
                  <a:gd name="T0" fmla="*/ 344 w 348"/>
                  <a:gd name="T1" fmla="*/ 260 h 535"/>
                  <a:gd name="T2" fmla="*/ 86 w 348"/>
                  <a:gd name="T3" fmla="*/ 2 h 535"/>
                  <a:gd name="T4" fmla="*/ 83 w 348"/>
                  <a:gd name="T5" fmla="*/ 0 h 535"/>
                  <a:gd name="T6" fmla="*/ 80 w 348"/>
                  <a:gd name="T7" fmla="*/ 0 h 535"/>
                  <a:gd name="T8" fmla="*/ 75 w 348"/>
                  <a:gd name="T9" fmla="*/ 0 h 535"/>
                  <a:gd name="T10" fmla="*/ 72 w 348"/>
                  <a:gd name="T11" fmla="*/ 2 h 535"/>
                  <a:gd name="T12" fmla="*/ 3 w 348"/>
                  <a:gd name="T13" fmla="*/ 72 h 535"/>
                  <a:gd name="T14" fmla="*/ 1 w 348"/>
                  <a:gd name="T15" fmla="*/ 75 h 535"/>
                  <a:gd name="T16" fmla="*/ 0 w 348"/>
                  <a:gd name="T17" fmla="*/ 79 h 535"/>
                  <a:gd name="T18" fmla="*/ 1 w 348"/>
                  <a:gd name="T19" fmla="*/ 83 h 535"/>
                  <a:gd name="T20" fmla="*/ 3 w 348"/>
                  <a:gd name="T21" fmla="*/ 86 h 535"/>
                  <a:gd name="T22" fmla="*/ 185 w 348"/>
                  <a:gd name="T23" fmla="*/ 268 h 535"/>
                  <a:gd name="T24" fmla="*/ 3 w 348"/>
                  <a:gd name="T25" fmla="*/ 449 h 535"/>
                  <a:gd name="T26" fmla="*/ 1 w 348"/>
                  <a:gd name="T27" fmla="*/ 452 h 535"/>
                  <a:gd name="T28" fmla="*/ 0 w 348"/>
                  <a:gd name="T29" fmla="*/ 457 h 535"/>
                  <a:gd name="T30" fmla="*/ 1 w 348"/>
                  <a:gd name="T31" fmla="*/ 460 h 535"/>
                  <a:gd name="T32" fmla="*/ 3 w 348"/>
                  <a:gd name="T33" fmla="*/ 463 h 535"/>
                  <a:gd name="T34" fmla="*/ 72 w 348"/>
                  <a:gd name="T35" fmla="*/ 532 h 535"/>
                  <a:gd name="T36" fmla="*/ 75 w 348"/>
                  <a:gd name="T37" fmla="*/ 534 h 535"/>
                  <a:gd name="T38" fmla="*/ 80 w 348"/>
                  <a:gd name="T39" fmla="*/ 535 h 535"/>
                  <a:gd name="T40" fmla="*/ 83 w 348"/>
                  <a:gd name="T41" fmla="*/ 534 h 535"/>
                  <a:gd name="T42" fmla="*/ 86 w 348"/>
                  <a:gd name="T43" fmla="*/ 533 h 535"/>
                  <a:gd name="T44" fmla="*/ 344 w 348"/>
                  <a:gd name="T45" fmla="*/ 274 h 535"/>
                  <a:gd name="T46" fmla="*/ 347 w 348"/>
                  <a:gd name="T47" fmla="*/ 271 h 535"/>
                  <a:gd name="T48" fmla="*/ 348 w 348"/>
                  <a:gd name="T49" fmla="*/ 268 h 535"/>
                  <a:gd name="T50" fmla="*/ 347 w 348"/>
                  <a:gd name="T51" fmla="*/ 263 h 535"/>
                  <a:gd name="T52" fmla="*/ 344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4" y="260"/>
                    </a:moveTo>
                    <a:lnTo>
                      <a:pt x="86" y="2"/>
                    </a:lnTo>
                    <a:lnTo>
                      <a:pt x="83" y="0"/>
                    </a:lnTo>
                    <a:lnTo>
                      <a:pt x="80" y="0"/>
                    </a:lnTo>
                    <a:lnTo>
                      <a:pt x="75" y="0"/>
                    </a:lnTo>
                    <a:lnTo>
                      <a:pt x="72" y="2"/>
                    </a:lnTo>
                    <a:lnTo>
                      <a:pt x="3" y="72"/>
                    </a:lnTo>
                    <a:lnTo>
                      <a:pt x="1" y="75"/>
                    </a:lnTo>
                    <a:lnTo>
                      <a:pt x="0" y="79"/>
                    </a:lnTo>
                    <a:lnTo>
                      <a:pt x="1" y="83"/>
                    </a:lnTo>
                    <a:lnTo>
                      <a:pt x="3" y="86"/>
                    </a:lnTo>
                    <a:lnTo>
                      <a:pt x="185" y="268"/>
                    </a:lnTo>
                    <a:lnTo>
                      <a:pt x="3" y="449"/>
                    </a:lnTo>
                    <a:lnTo>
                      <a:pt x="1" y="452"/>
                    </a:lnTo>
                    <a:lnTo>
                      <a:pt x="0" y="457"/>
                    </a:lnTo>
                    <a:lnTo>
                      <a:pt x="1" y="460"/>
                    </a:lnTo>
                    <a:lnTo>
                      <a:pt x="3" y="463"/>
                    </a:lnTo>
                    <a:lnTo>
                      <a:pt x="72" y="532"/>
                    </a:lnTo>
                    <a:lnTo>
                      <a:pt x="75" y="534"/>
                    </a:lnTo>
                    <a:lnTo>
                      <a:pt x="80" y="535"/>
                    </a:lnTo>
                    <a:lnTo>
                      <a:pt x="83" y="534"/>
                    </a:lnTo>
                    <a:lnTo>
                      <a:pt x="86" y="533"/>
                    </a:lnTo>
                    <a:lnTo>
                      <a:pt x="344" y="274"/>
                    </a:lnTo>
                    <a:lnTo>
                      <a:pt x="347" y="271"/>
                    </a:lnTo>
                    <a:lnTo>
                      <a:pt x="348" y="268"/>
                    </a:lnTo>
                    <a:lnTo>
                      <a:pt x="347" y="263"/>
                    </a:lnTo>
                    <a:lnTo>
                      <a:pt x="344"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grpSp>
        <p:sp>
          <p:nvSpPr>
            <p:cNvPr id="137" name="TextBox 136">
              <a:extLst>
                <a:ext uri="{FF2B5EF4-FFF2-40B4-BE49-F238E27FC236}">
                  <a16:creationId xmlns:a16="http://schemas.microsoft.com/office/drawing/2014/main" id="{BD72369C-B18A-43FF-AFFB-FB7B6C1A5ABC}"/>
                </a:ext>
              </a:extLst>
            </p:cNvPr>
            <p:cNvSpPr txBox="1"/>
            <p:nvPr/>
          </p:nvSpPr>
          <p:spPr>
            <a:xfrm>
              <a:off x="861604" y="2830649"/>
              <a:ext cx="1500596" cy="1528736"/>
            </a:xfrm>
            <a:prstGeom prst="rect">
              <a:avLst/>
            </a:prstGeom>
            <a:noFill/>
          </p:spPr>
          <p:txBody>
            <a:bodyPr wrap="square" lIns="0" tIns="0" rIns="0" bIns="0" rtlCol="0" anchor="ctr">
              <a:spAutoFit/>
            </a:bodyPr>
            <a:lstStyle/>
            <a:p>
              <a:pPr algn="ctr" defTabSz="685800"/>
              <a:r>
                <a:rPr lang="en-US" sz="1050" dirty="0">
                  <a:latin typeface="Calibri Light"/>
                </a:rPr>
                <a:t>Number of ART patients (who were on ART at the beginning of the quarterly reporting period or initiated treatment during the reporting period) and then had no clinical contact since their last expected contact</a:t>
              </a:r>
            </a:p>
          </p:txBody>
        </p:sp>
        <p:sp>
          <p:nvSpPr>
            <p:cNvPr id="138" name="TextBox 137">
              <a:extLst>
                <a:ext uri="{FF2B5EF4-FFF2-40B4-BE49-F238E27FC236}">
                  <a16:creationId xmlns:a16="http://schemas.microsoft.com/office/drawing/2014/main" id="{29087046-24DC-401B-97BD-14EADBFCDAAD}"/>
                </a:ext>
              </a:extLst>
            </p:cNvPr>
            <p:cNvSpPr txBox="1"/>
            <p:nvPr/>
          </p:nvSpPr>
          <p:spPr>
            <a:xfrm>
              <a:off x="853984" y="2277218"/>
              <a:ext cx="1500596" cy="291188"/>
            </a:xfrm>
            <a:prstGeom prst="rect">
              <a:avLst/>
            </a:prstGeom>
            <a:noFill/>
          </p:spPr>
          <p:txBody>
            <a:bodyPr wrap="square" lIns="0" tIns="0" rIns="0" bIns="0" rtlCol="0" anchor="ctr">
              <a:spAutoFit/>
            </a:bodyPr>
            <a:lstStyle/>
            <a:p>
              <a:pPr algn="ctr" defTabSz="685800"/>
              <a:r>
                <a:rPr lang="en-US" b="1" dirty="0">
                  <a:latin typeface="Calibri Light"/>
                </a:rPr>
                <a:t>DESCRIPTION</a:t>
              </a:r>
            </a:p>
          </p:txBody>
        </p:sp>
        <p:sp>
          <p:nvSpPr>
            <p:cNvPr id="144" name="TextBox 143">
              <a:extLst>
                <a:ext uri="{FF2B5EF4-FFF2-40B4-BE49-F238E27FC236}">
                  <a16:creationId xmlns:a16="http://schemas.microsoft.com/office/drawing/2014/main" id="{C75D3502-2084-4D34-B7F6-EC24A147A540}"/>
                </a:ext>
              </a:extLst>
            </p:cNvPr>
            <p:cNvSpPr txBox="1"/>
            <p:nvPr/>
          </p:nvSpPr>
          <p:spPr>
            <a:xfrm>
              <a:off x="3681349" y="3100141"/>
              <a:ext cx="1794069" cy="1019157"/>
            </a:xfrm>
            <a:prstGeom prst="rect">
              <a:avLst/>
            </a:prstGeom>
            <a:noFill/>
            <a:ln>
              <a:noFill/>
            </a:ln>
          </p:spPr>
          <p:txBody>
            <a:bodyPr wrap="square" lIns="0" tIns="0" rIns="0" bIns="0" rtlCol="0" anchor="ctr">
              <a:spAutoFit/>
            </a:bodyPr>
            <a:lstStyle/>
            <a:p>
              <a:pPr algn="ctr" defTabSz="685800"/>
              <a:r>
                <a:rPr lang="en-US" sz="1050" dirty="0">
                  <a:latin typeface="Calibri Light"/>
                </a:rPr>
                <a:t>Number of ART patients (currently on ART or newly initiating ART) with no clinical contact or ARV pick-up for &gt; 28 days since their last expected clinical contact or ARV pick-up</a:t>
              </a:r>
            </a:p>
          </p:txBody>
        </p:sp>
        <p:sp>
          <p:nvSpPr>
            <p:cNvPr id="145" name="TextBox 144">
              <a:extLst>
                <a:ext uri="{FF2B5EF4-FFF2-40B4-BE49-F238E27FC236}">
                  <a16:creationId xmlns:a16="http://schemas.microsoft.com/office/drawing/2014/main" id="{4229BB9B-1E9C-4794-BD7E-31916C0D2655}"/>
                </a:ext>
              </a:extLst>
            </p:cNvPr>
            <p:cNvSpPr txBox="1"/>
            <p:nvPr/>
          </p:nvSpPr>
          <p:spPr>
            <a:xfrm>
              <a:off x="3698128" y="2257667"/>
              <a:ext cx="1729828" cy="291188"/>
            </a:xfrm>
            <a:prstGeom prst="rect">
              <a:avLst/>
            </a:prstGeom>
            <a:noFill/>
          </p:spPr>
          <p:txBody>
            <a:bodyPr wrap="square" lIns="0" tIns="0" rIns="0" bIns="0" rtlCol="0" anchor="ctr">
              <a:spAutoFit/>
            </a:bodyPr>
            <a:lstStyle/>
            <a:p>
              <a:pPr algn="ctr" defTabSz="685800"/>
              <a:r>
                <a:rPr lang="en-US" b="1" dirty="0">
                  <a:latin typeface="Calibri Light"/>
                </a:rPr>
                <a:t>NUMERATOR</a:t>
              </a:r>
            </a:p>
          </p:txBody>
        </p:sp>
        <p:sp>
          <p:nvSpPr>
            <p:cNvPr id="150" name="TextBox 149">
              <a:extLst>
                <a:ext uri="{FF2B5EF4-FFF2-40B4-BE49-F238E27FC236}">
                  <a16:creationId xmlns:a16="http://schemas.microsoft.com/office/drawing/2014/main" id="{A432B2BB-4C21-4AF1-9B8E-A30EC8F9E140}"/>
                </a:ext>
              </a:extLst>
            </p:cNvPr>
            <p:cNvSpPr txBox="1"/>
            <p:nvPr/>
          </p:nvSpPr>
          <p:spPr>
            <a:xfrm>
              <a:off x="6808655" y="3316566"/>
              <a:ext cx="1500596" cy="509579"/>
            </a:xfrm>
            <a:prstGeom prst="rect">
              <a:avLst/>
            </a:prstGeom>
            <a:noFill/>
          </p:spPr>
          <p:txBody>
            <a:bodyPr wrap="square" lIns="0" tIns="0" rIns="0" bIns="0" rtlCol="0" anchor="ctr">
              <a:spAutoFit/>
            </a:bodyPr>
            <a:lstStyle/>
            <a:p>
              <a:pPr marL="171450" indent="-171450" defTabSz="685800">
                <a:buFont typeface="Arial" panose="020B0604020202020204" pitchFamily="34" charset="0"/>
                <a:buChar char="•"/>
              </a:pPr>
              <a:r>
                <a:rPr lang="en-US" sz="1050" dirty="0">
                  <a:latin typeface="Calibri Light"/>
                </a:rPr>
                <a:t>National Data Repository (NDR)</a:t>
              </a:r>
            </a:p>
            <a:p>
              <a:pPr marL="171450" indent="-171450" defTabSz="685800">
                <a:buFont typeface="Arial" panose="020B0604020202020204" pitchFamily="34" charset="0"/>
                <a:buChar char="•"/>
              </a:pPr>
              <a:r>
                <a:rPr lang="en-US" sz="1050" dirty="0" err="1">
                  <a:latin typeface="Calibri Light"/>
                </a:rPr>
                <a:t>NigeriaMRS</a:t>
              </a:r>
              <a:endParaRPr lang="en-US" sz="1050" dirty="0">
                <a:latin typeface="Calibri Light"/>
              </a:endParaRPr>
            </a:p>
          </p:txBody>
        </p:sp>
        <p:sp>
          <p:nvSpPr>
            <p:cNvPr id="151" name="TextBox 150">
              <a:extLst>
                <a:ext uri="{FF2B5EF4-FFF2-40B4-BE49-F238E27FC236}">
                  <a16:creationId xmlns:a16="http://schemas.microsoft.com/office/drawing/2014/main" id="{269059BD-5BEF-4B22-9D87-AC985C86C7EA}"/>
                </a:ext>
              </a:extLst>
            </p:cNvPr>
            <p:cNvSpPr txBox="1"/>
            <p:nvPr/>
          </p:nvSpPr>
          <p:spPr>
            <a:xfrm>
              <a:off x="6789420" y="2277218"/>
              <a:ext cx="1500596" cy="291188"/>
            </a:xfrm>
            <a:prstGeom prst="rect">
              <a:avLst/>
            </a:prstGeom>
            <a:noFill/>
          </p:spPr>
          <p:txBody>
            <a:bodyPr wrap="square" lIns="0" tIns="0" rIns="0" bIns="0" rtlCol="0" anchor="ctr">
              <a:spAutoFit/>
            </a:bodyPr>
            <a:lstStyle/>
            <a:p>
              <a:pPr algn="ctr" defTabSz="685800"/>
              <a:r>
                <a:rPr lang="en-US" b="1" dirty="0">
                  <a:latin typeface="Calibri Light"/>
                </a:rPr>
                <a:t>DATA SOURCE</a:t>
              </a:r>
            </a:p>
          </p:txBody>
        </p:sp>
      </p:grpSp>
    </p:spTree>
    <p:extLst>
      <p:ext uri="{BB962C8B-B14F-4D97-AF65-F5344CB8AC3E}">
        <p14:creationId xmlns:p14="http://schemas.microsoft.com/office/powerpoint/2010/main" val="331216682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TextBox 133">
            <a:extLst>
              <a:ext uri="{FF2B5EF4-FFF2-40B4-BE49-F238E27FC236}">
                <a16:creationId xmlns:a16="http://schemas.microsoft.com/office/drawing/2014/main" id="{86E6788C-76AA-43BC-8B7F-196C83841096}"/>
              </a:ext>
            </a:extLst>
          </p:cNvPr>
          <p:cNvSpPr txBox="1"/>
          <p:nvPr/>
        </p:nvSpPr>
        <p:spPr>
          <a:xfrm>
            <a:off x="1847850" y="463992"/>
            <a:ext cx="8496300" cy="553998"/>
          </a:xfrm>
          <a:prstGeom prst="rect">
            <a:avLst/>
          </a:prstGeom>
          <a:noFill/>
        </p:spPr>
        <p:txBody>
          <a:bodyPr wrap="square" lIns="0" tIns="0" rIns="0" bIns="0" rtlCol="0" anchor="t">
            <a:spAutoFit/>
          </a:bodyPr>
          <a:lstStyle/>
          <a:p>
            <a:pPr algn="ctr" defTabSz="685800"/>
            <a:r>
              <a:rPr lang="en-US" sz="3600" dirty="0">
                <a:latin typeface="Corbel" panose="020B0503020204020204"/>
              </a:rPr>
              <a:t>TX_ML</a:t>
            </a:r>
          </a:p>
        </p:txBody>
      </p:sp>
      <p:grpSp>
        <p:nvGrpSpPr>
          <p:cNvPr id="2" name="Group 1">
            <a:extLst>
              <a:ext uri="{FF2B5EF4-FFF2-40B4-BE49-F238E27FC236}">
                <a16:creationId xmlns:a16="http://schemas.microsoft.com/office/drawing/2014/main" id="{11383E8B-A9F5-4C59-A67A-3554539F5B7A}"/>
              </a:ext>
            </a:extLst>
          </p:cNvPr>
          <p:cNvGrpSpPr/>
          <p:nvPr/>
        </p:nvGrpSpPr>
        <p:grpSpPr>
          <a:xfrm>
            <a:off x="1524001" y="1143000"/>
            <a:ext cx="9144001" cy="5578476"/>
            <a:chOff x="0" y="857250"/>
            <a:chExt cx="9144001" cy="5864226"/>
          </a:xfrm>
        </p:grpSpPr>
        <p:sp>
          <p:nvSpPr>
            <p:cNvPr id="98" name="Rectangle 97">
              <a:extLst>
                <a:ext uri="{FF2B5EF4-FFF2-40B4-BE49-F238E27FC236}">
                  <a16:creationId xmlns:a16="http://schemas.microsoft.com/office/drawing/2014/main" id="{84CAA34D-CD75-45C6-B39E-7C242EB87261}"/>
                </a:ext>
              </a:extLst>
            </p:cNvPr>
            <p:cNvSpPr/>
            <p:nvPr/>
          </p:nvSpPr>
          <p:spPr>
            <a:xfrm>
              <a:off x="1" y="2871107"/>
              <a:ext cx="9144000" cy="1306286"/>
            </a:xfrm>
            <a:prstGeom prst="rect">
              <a:avLst/>
            </a:prstGeom>
            <a:solidFill>
              <a:srgbClr val="E7E6E6"/>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99" name="Rectangle: Rounded Corners 98">
              <a:extLst>
                <a:ext uri="{FF2B5EF4-FFF2-40B4-BE49-F238E27FC236}">
                  <a16:creationId xmlns:a16="http://schemas.microsoft.com/office/drawing/2014/main" id="{B79F2794-CAB0-4CBC-A170-CA7853D4B5E7}"/>
                </a:ext>
              </a:extLst>
            </p:cNvPr>
            <p:cNvSpPr/>
            <p:nvPr/>
          </p:nvSpPr>
          <p:spPr>
            <a:xfrm>
              <a:off x="3652410" y="2015558"/>
              <a:ext cx="1951265" cy="3145971"/>
            </a:xfrm>
            <a:prstGeom prst="roundRect">
              <a:avLst>
                <a:gd name="adj" fmla="val 4952"/>
              </a:avLst>
            </a:prstGeom>
            <a:solidFill>
              <a:sysClr val="window" lastClr="FFFFFF">
                <a:lumMod val="65000"/>
              </a:sys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00" name="Rectangle: Rounded Corners 99">
              <a:extLst>
                <a:ext uri="{FF2B5EF4-FFF2-40B4-BE49-F238E27FC236}">
                  <a16:creationId xmlns:a16="http://schemas.microsoft.com/office/drawing/2014/main" id="{624C18DD-A9DF-4469-A7B6-6C9AAA2D41F4}"/>
                </a:ext>
              </a:extLst>
            </p:cNvPr>
            <p:cNvSpPr/>
            <p:nvPr/>
          </p:nvSpPr>
          <p:spPr>
            <a:xfrm>
              <a:off x="6625597" y="2015558"/>
              <a:ext cx="1951265" cy="3145971"/>
            </a:xfrm>
            <a:prstGeom prst="roundRect">
              <a:avLst>
                <a:gd name="adj" fmla="val 4952"/>
              </a:avLst>
            </a:prstGeom>
            <a:solidFill>
              <a:sysClr val="window" lastClr="FFFFFF">
                <a:lumMod val="65000"/>
              </a:sys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01" name="Rectangle: Rounded Corners 100">
              <a:extLst>
                <a:ext uri="{FF2B5EF4-FFF2-40B4-BE49-F238E27FC236}">
                  <a16:creationId xmlns:a16="http://schemas.microsoft.com/office/drawing/2014/main" id="{F503AF90-BD38-48FC-8812-4FA3F25DB0E6}"/>
                </a:ext>
              </a:extLst>
            </p:cNvPr>
            <p:cNvSpPr/>
            <p:nvPr/>
          </p:nvSpPr>
          <p:spPr>
            <a:xfrm>
              <a:off x="685800" y="2015558"/>
              <a:ext cx="1951265" cy="3145971"/>
            </a:xfrm>
            <a:prstGeom prst="roundRect">
              <a:avLst>
                <a:gd name="adj" fmla="val 4952"/>
              </a:avLst>
            </a:prstGeom>
            <a:solidFill>
              <a:sysClr val="window" lastClr="FFFFFF">
                <a:lumMod val="65000"/>
              </a:sys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02" name="Frame 101">
              <a:extLst>
                <a:ext uri="{FF2B5EF4-FFF2-40B4-BE49-F238E27FC236}">
                  <a16:creationId xmlns:a16="http://schemas.microsoft.com/office/drawing/2014/main" id="{530C96A5-18F8-41CE-8FBF-056A3D32634C}"/>
                </a:ext>
              </a:extLst>
            </p:cNvPr>
            <p:cNvSpPr/>
            <p:nvPr/>
          </p:nvSpPr>
          <p:spPr>
            <a:xfrm>
              <a:off x="0" y="857250"/>
              <a:ext cx="9144000" cy="5143500"/>
            </a:xfrm>
            <a:prstGeom prst="frame">
              <a:avLst>
                <a:gd name="adj1" fmla="val 1053"/>
              </a:avLst>
            </a:prstGeom>
            <a:solidFill>
              <a:srgbClr val="44546A">
                <a:lumMod val="40000"/>
                <a:lumOff val="60000"/>
              </a:srgbClr>
            </a:solidFill>
            <a:ln w="12700" cap="flat" cmpd="sng" algn="ctr">
              <a:noFill/>
              <a:prstDash val="solid"/>
              <a:miter lim="800000"/>
            </a:ln>
            <a:effectLst/>
          </p:spPr>
          <p:txBody>
            <a:bodyPr rtlCol="0" anchor="ctr"/>
            <a:lstStyle/>
            <a:p>
              <a:pPr algn="ctr" defTabSz="685800">
                <a:defRPr/>
              </a:pPr>
              <a:endParaRPr lang="en-US" sz="1350" kern="0">
                <a:solidFill>
                  <a:prstClr val="black"/>
                </a:solidFill>
                <a:latin typeface="Calibri Light"/>
              </a:endParaRPr>
            </a:p>
          </p:txBody>
        </p:sp>
        <p:sp>
          <p:nvSpPr>
            <p:cNvPr id="103" name="Rectangle 102">
              <a:extLst>
                <a:ext uri="{FF2B5EF4-FFF2-40B4-BE49-F238E27FC236}">
                  <a16:creationId xmlns:a16="http://schemas.microsoft.com/office/drawing/2014/main" id="{D5A75610-4C9C-4007-86BE-0C93387BD4CC}"/>
                </a:ext>
              </a:extLst>
            </p:cNvPr>
            <p:cNvSpPr/>
            <p:nvPr/>
          </p:nvSpPr>
          <p:spPr>
            <a:xfrm>
              <a:off x="0" y="857250"/>
              <a:ext cx="336430" cy="336430"/>
            </a:xfrm>
            <a:prstGeom prst="rect">
              <a:avLst/>
            </a:prstGeom>
            <a:solidFill>
              <a:srgbClr val="AF5F6D"/>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04" name="Rectangle 103">
              <a:extLst>
                <a:ext uri="{FF2B5EF4-FFF2-40B4-BE49-F238E27FC236}">
                  <a16:creationId xmlns:a16="http://schemas.microsoft.com/office/drawing/2014/main" id="{88DED4A1-8837-48AC-9F2B-DE23F8D97ECB}"/>
                </a:ext>
              </a:extLst>
            </p:cNvPr>
            <p:cNvSpPr/>
            <p:nvPr/>
          </p:nvSpPr>
          <p:spPr>
            <a:xfrm>
              <a:off x="8807571" y="5664321"/>
              <a:ext cx="336430" cy="336430"/>
            </a:xfrm>
            <a:prstGeom prst="rect">
              <a:avLst/>
            </a:prstGeom>
            <a:solidFill>
              <a:srgbClr val="EB6B56"/>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18" name="Slide Number Placeholder 21">
              <a:extLst>
                <a:ext uri="{FF2B5EF4-FFF2-40B4-BE49-F238E27FC236}">
                  <a16:creationId xmlns:a16="http://schemas.microsoft.com/office/drawing/2014/main" id="{93A42D60-09D3-464C-9CEE-9793BC406A2C}"/>
                </a:ext>
              </a:extLst>
            </p:cNvPr>
            <p:cNvSpPr txBox="1">
              <a:spLocks/>
            </p:cNvSpPr>
            <p:nvPr/>
          </p:nvSpPr>
          <p:spPr>
            <a:xfrm>
              <a:off x="6457950" y="6356351"/>
              <a:ext cx="2057400" cy="365125"/>
            </a:xfrm>
            <a:prstGeom prst="rect">
              <a:avLst/>
            </a:prstGeom>
          </p:spPr>
          <p:txBody>
            <a:bodyPr vert="horz" lIns="91440" tIns="45720" rIns="91440" bIns="4572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fld id="{B9940D52-AD77-4C6A-9DCC-3EEF87AE9DF8}" type="slidenum">
                <a:rPr lang="en-US">
                  <a:solidFill>
                    <a:prstClr val="black">
                      <a:tint val="75000"/>
                    </a:prstClr>
                  </a:solidFill>
                  <a:latin typeface="Calibri Light"/>
                </a:rPr>
                <a:pPr defTabSz="685800"/>
                <a:t>71</a:t>
              </a:fld>
              <a:endParaRPr lang="en-US">
                <a:solidFill>
                  <a:prstClr val="black">
                    <a:tint val="75000"/>
                  </a:prstClr>
                </a:solidFill>
                <a:latin typeface="Calibri Light"/>
              </a:endParaRPr>
            </a:p>
          </p:txBody>
        </p:sp>
        <p:sp>
          <p:nvSpPr>
            <p:cNvPr id="119" name="Rectangle: Rounded Corners 118">
              <a:extLst>
                <a:ext uri="{FF2B5EF4-FFF2-40B4-BE49-F238E27FC236}">
                  <a16:creationId xmlns:a16="http://schemas.microsoft.com/office/drawing/2014/main" id="{A31B6B7F-B442-478B-AC83-5877659C504E}"/>
                </a:ext>
              </a:extLst>
            </p:cNvPr>
            <p:cNvSpPr/>
            <p:nvPr/>
          </p:nvSpPr>
          <p:spPr>
            <a:xfrm>
              <a:off x="628650" y="1951264"/>
              <a:ext cx="1951265" cy="3145971"/>
            </a:xfrm>
            <a:prstGeom prst="roundRect">
              <a:avLst>
                <a:gd name="adj" fmla="val 4952"/>
              </a:avLst>
            </a:prstGeom>
            <a:solidFill>
              <a:schemeClr val="accent4">
                <a:lumMod val="20000"/>
                <a:lumOff val="80000"/>
              </a:scheme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20" name="Rectangle: Rounded Corners 119">
              <a:extLst>
                <a:ext uri="{FF2B5EF4-FFF2-40B4-BE49-F238E27FC236}">
                  <a16:creationId xmlns:a16="http://schemas.microsoft.com/office/drawing/2014/main" id="{755AABF3-A803-4326-BD1C-065642A1AA83}"/>
                </a:ext>
              </a:extLst>
            </p:cNvPr>
            <p:cNvSpPr/>
            <p:nvPr/>
          </p:nvSpPr>
          <p:spPr>
            <a:xfrm>
              <a:off x="3596368" y="1951264"/>
              <a:ext cx="1951265" cy="3145971"/>
            </a:xfrm>
            <a:prstGeom prst="roundRect">
              <a:avLst>
                <a:gd name="adj" fmla="val 4952"/>
              </a:avLst>
            </a:prstGeom>
            <a:solidFill>
              <a:schemeClr val="bg1">
                <a:lumMod val="85000"/>
              </a:scheme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21" name="Rectangle: Rounded Corners 120">
              <a:extLst>
                <a:ext uri="{FF2B5EF4-FFF2-40B4-BE49-F238E27FC236}">
                  <a16:creationId xmlns:a16="http://schemas.microsoft.com/office/drawing/2014/main" id="{51F48CB3-9A91-4CD8-BAB4-372731EF5FB1}"/>
                </a:ext>
              </a:extLst>
            </p:cNvPr>
            <p:cNvSpPr/>
            <p:nvPr/>
          </p:nvSpPr>
          <p:spPr>
            <a:xfrm>
              <a:off x="6564085" y="1951264"/>
              <a:ext cx="1951265" cy="3145971"/>
            </a:xfrm>
            <a:prstGeom prst="roundRect">
              <a:avLst>
                <a:gd name="adj" fmla="val 4952"/>
              </a:avLst>
            </a:prstGeom>
            <a:solidFill>
              <a:schemeClr val="accent6">
                <a:lumMod val="20000"/>
                <a:lumOff val="80000"/>
              </a:scheme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grpSp>
          <p:nvGrpSpPr>
            <p:cNvPr id="122" name="Group 121">
              <a:extLst>
                <a:ext uri="{FF2B5EF4-FFF2-40B4-BE49-F238E27FC236}">
                  <a16:creationId xmlns:a16="http://schemas.microsoft.com/office/drawing/2014/main" id="{1D5F4261-1706-4F0E-8267-369D57C1FB88}"/>
                </a:ext>
              </a:extLst>
            </p:cNvPr>
            <p:cNvGrpSpPr/>
            <p:nvPr/>
          </p:nvGrpSpPr>
          <p:grpSpPr>
            <a:xfrm>
              <a:off x="2875574" y="3333082"/>
              <a:ext cx="425135" cy="382335"/>
              <a:chOff x="4854484" y="5910272"/>
              <a:chExt cx="283864" cy="255286"/>
            </a:xfrm>
            <a:solidFill>
              <a:srgbClr val="44546A"/>
            </a:solidFill>
          </p:grpSpPr>
          <p:sp>
            <p:nvSpPr>
              <p:cNvPr id="123" name="Freeform 251">
                <a:extLst>
                  <a:ext uri="{FF2B5EF4-FFF2-40B4-BE49-F238E27FC236}">
                    <a16:creationId xmlns:a16="http://schemas.microsoft.com/office/drawing/2014/main" id="{0C8CED70-9586-4725-ABB9-23097BB29906}"/>
                  </a:ext>
                </a:extLst>
              </p:cNvPr>
              <p:cNvSpPr>
                <a:spLocks/>
              </p:cNvSpPr>
              <p:nvPr/>
            </p:nvSpPr>
            <p:spPr bwMode="auto">
              <a:xfrm>
                <a:off x="4854484" y="5910272"/>
                <a:ext cx="165746" cy="255286"/>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sp>
            <p:nvSpPr>
              <p:cNvPr id="124" name="Freeform 252">
                <a:extLst>
                  <a:ext uri="{FF2B5EF4-FFF2-40B4-BE49-F238E27FC236}">
                    <a16:creationId xmlns:a16="http://schemas.microsoft.com/office/drawing/2014/main" id="{0F01F1D5-7465-4E64-9CCB-5C815BD8B5EC}"/>
                  </a:ext>
                </a:extLst>
              </p:cNvPr>
              <p:cNvSpPr>
                <a:spLocks/>
              </p:cNvSpPr>
              <p:nvPr/>
            </p:nvSpPr>
            <p:spPr bwMode="auto">
              <a:xfrm>
                <a:off x="4972602" y="5910272"/>
                <a:ext cx="165746" cy="255286"/>
              </a:xfrm>
              <a:custGeom>
                <a:avLst/>
                <a:gdLst>
                  <a:gd name="T0" fmla="*/ 344 w 348"/>
                  <a:gd name="T1" fmla="*/ 260 h 535"/>
                  <a:gd name="T2" fmla="*/ 86 w 348"/>
                  <a:gd name="T3" fmla="*/ 2 h 535"/>
                  <a:gd name="T4" fmla="*/ 83 w 348"/>
                  <a:gd name="T5" fmla="*/ 0 h 535"/>
                  <a:gd name="T6" fmla="*/ 80 w 348"/>
                  <a:gd name="T7" fmla="*/ 0 h 535"/>
                  <a:gd name="T8" fmla="*/ 75 w 348"/>
                  <a:gd name="T9" fmla="*/ 0 h 535"/>
                  <a:gd name="T10" fmla="*/ 72 w 348"/>
                  <a:gd name="T11" fmla="*/ 2 h 535"/>
                  <a:gd name="T12" fmla="*/ 3 w 348"/>
                  <a:gd name="T13" fmla="*/ 72 h 535"/>
                  <a:gd name="T14" fmla="*/ 1 w 348"/>
                  <a:gd name="T15" fmla="*/ 75 h 535"/>
                  <a:gd name="T16" fmla="*/ 0 w 348"/>
                  <a:gd name="T17" fmla="*/ 79 h 535"/>
                  <a:gd name="T18" fmla="*/ 1 w 348"/>
                  <a:gd name="T19" fmla="*/ 83 h 535"/>
                  <a:gd name="T20" fmla="*/ 3 w 348"/>
                  <a:gd name="T21" fmla="*/ 86 h 535"/>
                  <a:gd name="T22" fmla="*/ 185 w 348"/>
                  <a:gd name="T23" fmla="*/ 268 h 535"/>
                  <a:gd name="T24" fmla="*/ 3 w 348"/>
                  <a:gd name="T25" fmla="*/ 449 h 535"/>
                  <a:gd name="T26" fmla="*/ 1 w 348"/>
                  <a:gd name="T27" fmla="*/ 452 h 535"/>
                  <a:gd name="T28" fmla="*/ 0 w 348"/>
                  <a:gd name="T29" fmla="*/ 457 h 535"/>
                  <a:gd name="T30" fmla="*/ 1 w 348"/>
                  <a:gd name="T31" fmla="*/ 460 h 535"/>
                  <a:gd name="T32" fmla="*/ 3 w 348"/>
                  <a:gd name="T33" fmla="*/ 463 h 535"/>
                  <a:gd name="T34" fmla="*/ 72 w 348"/>
                  <a:gd name="T35" fmla="*/ 532 h 535"/>
                  <a:gd name="T36" fmla="*/ 75 w 348"/>
                  <a:gd name="T37" fmla="*/ 534 h 535"/>
                  <a:gd name="T38" fmla="*/ 80 w 348"/>
                  <a:gd name="T39" fmla="*/ 535 h 535"/>
                  <a:gd name="T40" fmla="*/ 83 w 348"/>
                  <a:gd name="T41" fmla="*/ 534 h 535"/>
                  <a:gd name="T42" fmla="*/ 86 w 348"/>
                  <a:gd name="T43" fmla="*/ 533 h 535"/>
                  <a:gd name="T44" fmla="*/ 344 w 348"/>
                  <a:gd name="T45" fmla="*/ 274 h 535"/>
                  <a:gd name="T46" fmla="*/ 347 w 348"/>
                  <a:gd name="T47" fmla="*/ 271 h 535"/>
                  <a:gd name="T48" fmla="*/ 348 w 348"/>
                  <a:gd name="T49" fmla="*/ 268 h 535"/>
                  <a:gd name="T50" fmla="*/ 347 w 348"/>
                  <a:gd name="T51" fmla="*/ 263 h 535"/>
                  <a:gd name="T52" fmla="*/ 344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4" y="260"/>
                    </a:moveTo>
                    <a:lnTo>
                      <a:pt x="86" y="2"/>
                    </a:lnTo>
                    <a:lnTo>
                      <a:pt x="83" y="0"/>
                    </a:lnTo>
                    <a:lnTo>
                      <a:pt x="80" y="0"/>
                    </a:lnTo>
                    <a:lnTo>
                      <a:pt x="75" y="0"/>
                    </a:lnTo>
                    <a:lnTo>
                      <a:pt x="72" y="2"/>
                    </a:lnTo>
                    <a:lnTo>
                      <a:pt x="3" y="72"/>
                    </a:lnTo>
                    <a:lnTo>
                      <a:pt x="1" y="75"/>
                    </a:lnTo>
                    <a:lnTo>
                      <a:pt x="0" y="79"/>
                    </a:lnTo>
                    <a:lnTo>
                      <a:pt x="1" y="83"/>
                    </a:lnTo>
                    <a:lnTo>
                      <a:pt x="3" y="86"/>
                    </a:lnTo>
                    <a:lnTo>
                      <a:pt x="185" y="268"/>
                    </a:lnTo>
                    <a:lnTo>
                      <a:pt x="3" y="449"/>
                    </a:lnTo>
                    <a:lnTo>
                      <a:pt x="1" y="452"/>
                    </a:lnTo>
                    <a:lnTo>
                      <a:pt x="0" y="457"/>
                    </a:lnTo>
                    <a:lnTo>
                      <a:pt x="1" y="460"/>
                    </a:lnTo>
                    <a:lnTo>
                      <a:pt x="3" y="463"/>
                    </a:lnTo>
                    <a:lnTo>
                      <a:pt x="72" y="532"/>
                    </a:lnTo>
                    <a:lnTo>
                      <a:pt x="75" y="534"/>
                    </a:lnTo>
                    <a:lnTo>
                      <a:pt x="80" y="535"/>
                    </a:lnTo>
                    <a:lnTo>
                      <a:pt x="83" y="534"/>
                    </a:lnTo>
                    <a:lnTo>
                      <a:pt x="86" y="533"/>
                    </a:lnTo>
                    <a:lnTo>
                      <a:pt x="344" y="274"/>
                    </a:lnTo>
                    <a:lnTo>
                      <a:pt x="347" y="271"/>
                    </a:lnTo>
                    <a:lnTo>
                      <a:pt x="348" y="268"/>
                    </a:lnTo>
                    <a:lnTo>
                      <a:pt x="347" y="263"/>
                    </a:lnTo>
                    <a:lnTo>
                      <a:pt x="344"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grpSp>
        <p:grpSp>
          <p:nvGrpSpPr>
            <p:cNvPr id="125" name="Group 124">
              <a:extLst>
                <a:ext uri="{FF2B5EF4-FFF2-40B4-BE49-F238E27FC236}">
                  <a16:creationId xmlns:a16="http://schemas.microsoft.com/office/drawing/2014/main" id="{819BCB2C-2594-4246-AF1C-54887570D1B2}"/>
                </a:ext>
              </a:extLst>
            </p:cNvPr>
            <p:cNvGrpSpPr/>
            <p:nvPr/>
          </p:nvGrpSpPr>
          <p:grpSpPr>
            <a:xfrm>
              <a:off x="5843292" y="3333082"/>
              <a:ext cx="425135" cy="382335"/>
              <a:chOff x="4854484" y="5910272"/>
              <a:chExt cx="283864" cy="255286"/>
            </a:xfrm>
            <a:solidFill>
              <a:srgbClr val="44546A"/>
            </a:solidFill>
          </p:grpSpPr>
          <p:sp>
            <p:nvSpPr>
              <p:cNvPr id="126" name="Freeform 251">
                <a:extLst>
                  <a:ext uri="{FF2B5EF4-FFF2-40B4-BE49-F238E27FC236}">
                    <a16:creationId xmlns:a16="http://schemas.microsoft.com/office/drawing/2014/main" id="{B4AFA590-489D-461F-87B5-31AA21C9CA6E}"/>
                  </a:ext>
                </a:extLst>
              </p:cNvPr>
              <p:cNvSpPr>
                <a:spLocks/>
              </p:cNvSpPr>
              <p:nvPr/>
            </p:nvSpPr>
            <p:spPr bwMode="auto">
              <a:xfrm>
                <a:off x="4854484" y="5910272"/>
                <a:ext cx="165746" cy="255286"/>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sp>
            <p:nvSpPr>
              <p:cNvPr id="127" name="Freeform 252">
                <a:extLst>
                  <a:ext uri="{FF2B5EF4-FFF2-40B4-BE49-F238E27FC236}">
                    <a16:creationId xmlns:a16="http://schemas.microsoft.com/office/drawing/2014/main" id="{686E9970-8B1D-4D78-8BC4-D6A0633DF381}"/>
                  </a:ext>
                </a:extLst>
              </p:cNvPr>
              <p:cNvSpPr>
                <a:spLocks/>
              </p:cNvSpPr>
              <p:nvPr/>
            </p:nvSpPr>
            <p:spPr bwMode="auto">
              <a:xfrm>
                <a:off x="4972602" y="5910272"/>
                <a:ext cx="165746" cy="255286"/>
              </a:xfrm>
              <a:custGeom>
                <a:avLst/>
                <a:gdLst>
                  <a:gd name="T0" fmla="*/ 344 w 348"/>
                  <a:gd name="T1" fmla="*/ 260 h 535"/>
                  <a:gd name="T2" fmla="*/ 86 w 348"/>
                  <a:gd name="T3" fmla="*/ 2 h 535"/>
                  <a:gd name="T4" fmla="*/ 83 w 348"/>
                  <a:gd name="T5" fmla="*/ 0 h 535"/>
                  <a:gd name="T6" fmla="*/ 80 w 348"/>
                  <a:gd name="T7" fmla="*/ 0 h 535"/>
                  <a:gd name="T8" fmla="*/ 75 w 348"/>
                  <a:gd name="T9" fmla="*/ 0 h 535"/>
                  <a:gd name="T10" fmla="*/ 72 w 348"/>
                  <a:gd name="T11" fmla="*/ 2 h 535"/>
                  <a:gd name="T12" fmla="*/ 3 w 348"/>
                  <a:gd name="T13" fmla="*/ 72 h 535"/>
                  <a:gd name="T14" fmla="*/ 1 w 348"/>
                  <a:gd name="T15" fmla="*/ 75 h 535"/>
                  <a:gd name="T16" fmla="*/ 0 w 348"/>
                  <a:gd name="T17" fmla="*/ 79 h 535"/>
                  <a:gd name="T18" fmla="*/ 1 w 348"/>
                  <a:gd name="T19" fmla="*/ 83 h 535"/>
                  <a:gd name="T20" fmla="*/ 3 w 348"/>
                  <a:gd name="T21" fmla="*/ 86 h 535"/>
                  <a:gd name="T22" fmla="*/ 185 w 348"/>
                  <a:gd name="T23" fmla="*/ 268 h 535"/>
                  <a:gd name="T24" fmla="*/ 3 w 348"/>
                  <a:gd name="T25" fmla="*/ 449 h 535"/>
                  <a:gd name="T26" fmla="*/ 1 w 348"/>
                  <a:gd name="T27" fmla="*/ 452 h 535"/>
                  <a:gd name="T28" fmla="*/ 0 w 348"/>
                  <a:gd name="T29" fmla="*/ 457 h 535"/>
                  <a:gd name="T30" fmla="*/ 1 w 348"/>
                  <a:gd name="T31" fmla="*/ 460 h 535"/>
                  <a:gd name="T32" fmla="*/ 3 w 348"/>
                  <a:gd name="T33" fmla="*/ 463 h 535"/>
                  <a:gd name="T34" fmla="*/ 72 w 348"/>
                  <a:gd name="T35" fmla="*/ 532 h 535"/>
                  <a:gd name="T36" fmla="*/ 75 w 348"/>
                  <a:gd name="T37" fmla="*/ 534 h 535"/>
                  <a:gd name="T38" fmla="*/ 80 w 348"/>
                  <a:gd name="T39" fmla="*/ 535 h 535"/>
                  <a:gd name="T40" fmla="*/ 83 w 348"/>
                  <a:gd name="T41" fmla="*/ 534 h 535"/>
                  <a:gd name="T42" fmla="*/ 86 w 348"/>
                  <a:gd name="T43" fmla="*/ 533 h 535"/>
                  <a:gd name="T44" fmla="*/ 344 w 348"/>
                  <a:gd name="T45" fmla="*/ 274 h 535"/>
                  <a:gd name="T46" fmla="*/ 347 w 348"/>
                  <a:gd name="T47" fmla="*/ 271 h 535"/>
                  <a:gd name="T48" fmla="*/ 348 w 348"/>
                  <a:gd name="T49" fmla="*/ 268 h 535"/>
                  <a:gd name="T50" fmla="*/ 347 w 348"/>
                  <a:gd name="T51" fmla="*/ 263 h 535"/>
                  <a:gd name="T52" fmla="*/ 344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4" y="260"/>
                    </a:moveTo>
                    <a:lnTo>
                      <a:pt x="86" y="2"/>
                    </a:lnTo>
                    <a:lnTo>
                      <a:pt x="83" y="0"/>
                    </a:lnTo>
                    <a:lnTo>
                      <a:pt x="80" y="0"/>
                    </a:lnTo>
                    <a:lnTo>
                      <a:pt x="75" y="0"/>
                    </a:lnTo>
                    <a:lnTo>
                      <a:pt x="72" y="2"/>
                    </a:lnTo>
                    <a:lnTo>
                      <a:pt x="3" y="72"/>
                    </a:lnTo>
                    <a:lnTo>
                      <a:pt x="1" y="75"/>
                    </a:lnTo>
                    <a:lnTo>
                      <a:pt x="0" y="79"/>
                    </a:lnTo>
                    <a:lnTo>
                      <a:pt x="1" y="83"/>
                    </a:lnTo>
                    <a:lnTo>
                      <a:pt x="3" y="86"/>
                    </a:lnTo>
                    <a:lnTo>
                      <a:pt x="185" y="268"/>
                    </a:lnTo>
                    <a:lnTo>
                      <a:pt x="3" y="449"/>
                    </a:lnTo>
                    <a:lnTo>
                      <a:pt x="1" y="452"/>
                    </a:lnTo>
                    <a:lnTo>
                      <a:pt x="0" y="457"/>
                    </a:lnTo>
                    <a:lnTo>
                      <a:pt x="1" y="460"/>
                    </a:lnTo>
                    <a:lnTo>
                      <a:pt x="3" y="463"/>
                    </a:lnTo>
                    <a:lnTo>
                      <a:pt x="72" y="532"/>
                    </a:lnTo>
                    <a:lnTo>
                      <a:pt x="75" y="534"/>
                    </a:lnTo>
                    <a:lnTo>
                      <a:pt x="80" y="535"/>
                    </a:lnTo>
                    <a:lnTo>
                      <a:pt x="83" y="534"/>
                    </a:lnTo>
                    <a:lnTo>
                      <a:pt x="86" y="533"/>
                    </a:lnTo>
                    <a:lnTo>
                      <a:pt x="344" y="274"/>
                    </a:lnTo>
                    <a:lnTo>
                      <a:pt x="347" y="271"/>
                    </a:lnTo>
                    <a:lnTo>
                      <a:pt x="348" y="268"/>
                    </a:lnTo>
                    <a:lnTo>
                      <a:pt x="347" y="263"/>
                    </a:lnTo>
                    <a:lnTo>
                      <a:pt x="344"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grpSp>
        <p:sp>
          <p:nvSpPr>
            <p:cNvPr id="137" name="TextBox 136">
              <a:extLst>
                <a:ext uri="{FF2B5EF4-FFF2-40B4-BE49-F238E27FC236}">
                  <a16:creationId xmlns:a16="http://schemas.microsoft.com/office/drawing/2014/main" id="{BD72369C-B18A-43FF-AFFB-FB7B6C1A5ABC}"/>
                </a:ext>
              </a:extLst>
            </p:cNvPr>
            <p:cNvSpPr txBox="1"/>
            <p:nvPr/>
          </p:nvSpPr>
          <p:spPr>
            <a:xfrm>
              <a:off x="749627" y="2526570"/>
              <a:ext cx="1735711" cy="2547893"/>
            </a:xfrm>
            <a:prstGeom prst="rect">
              <a:avLst/>
            </a:prstGeom>
            <a:noFill/>
            <a:ln>
              <a:noFill/>
            </a:ln>
          </p:spPr>
          <p:txBody>
            <a:bodyPr wrap="square" lIns="0" tIns="0" rIns="0" bIns="0" rtlCol="0" anchor="ctr">
              <a:spAutoFit/>
            </a:bodyPr>
            <a:lstStyle/>
            <a:p>
              <a:pPr marL="171450" indent="-171450" defTabSz="685800">
                <a:buFont typeface="Arial" panose="020B0604020202020204" pitchFamily="34" charset="0"/>
                <a:buChar char="•"/>
              </a:pPr>
              <a:r>
                <a:rPr lang="en-US" sz="1050" dirty="0">
                  <a:latin typeface="Calibri Light"/>
                </a:rPr>
                <a:t>Be part of TX_CURR at the beginning of the reporting period</a:t>
              </a:r>
            </a:p>
            <a:p>
              <a:pPr marL="171450" indent="-171450" defTabSz="685800">
                <a:buFont typeface="Arial" panose="020B0604020202020204" pitchFamily="34" charset="0"/>
                <a:buChar char="•"/>
              </a:pPr>
              <a:r>
                <a:rPr lang="en-US" sz="1050" dirty="0">
                  <a:latin typeface="Calibri Light"/>
                </a:rPr>
                <a:t>Had no clinical contact since their last expected contact</a:t>
              </a:r>
            </a:p>
            <a:p>
              <a:pPr marL="171450" indent="-171450" defTabSz="685800">
                <a:buFont typeface="Arial" panose="020B0604020202020204" pitchFamily="34" charset="0"/>
                <a:buChar char="•"/>
              </a:pPr>
              <a:r>
                <a:rPr lang="en-US" sz="1050" dirty="0">
                  <a:latin typeface="Calibri Light"/>
                </a:rPr>
                <a:t>Px that have died, Interruption in treatment (IIT) (on treatment for &lt;3 months when experienced IIT or on treatment for </a:t>
              </a:r>
              <a:r>
                <a:rPr lang="en-US" sz="1050" dirty="0"/>
                <a:t>≥3</a:t>
              </a:r>
              <a:r>
                <a:rPr lang="en-US" sz="1050" dirty="0">
                  <a:latin typeface="Calibri Light"/>
                </a:rPr>
                <a:t> months when experienced IIT), Transferred out or Refused (stopped) treatment</a:t>
              </a:r>
            </a:p>
            <a:p>
              <a:pPr marL="171450" indent="-171450" defTabSz="685800">
                <a:buFont typeface="Arial" panose="020B0604020202020204" pitchFamily="34" charset="0"/>
                <a:buChar char="•"/>
              </a:pPr>
              <a:endParaRPr lang="en-US" sz="1050" dirty="0">
                <a:latin typeface="Calibri Light"/>
              </a:endParaRPr>
            </a:p>
          </p:txBody>
        </p:sp>
        <p:sp>
          <p:nvSpPr>
            <p:cNvPr id="138" name="TextBox 137">
              <a:extLst>
                <a:ext uri="{FF2B5EF4-FFF2-40B4-BE49-F238E27FC236}">
                  <a16:creationId xmlns:a16="http://schemas.microsoft.com/office/drawing/2014/main" id="{29087046-24DC-401B-97BD-14EADBFCDAAD}"/>
                </a:ext>
              </a:extLst>
            </p:cNvPr>
            <p:cNvSpPr txBox="1"/>
            <p:nvPr/>
          </p:nvSpPr>
          <p:spPr>
            <a:xfrm>
              <a:off x="834513" y="2005698"/>
              <a:ext cx="1500596" cy="582376"/>
            </a:xfrm>
            <a:prstGeom prst="rect">
              <a:avLst/>
            </a:prstGeom>
            <a:noFill/>
          </p:spPr>
          <p:txBody>
            <a:bodyPr wrap="square" lIns="0" tIns="0" rIns="0" bIns="0" rtlCol="0" anchor="ctr">
              <a:spAutoFit/>
            </a:bodyPr>
            <a:lstStyle/>
            <a:p>
              <a:pPr algn="ctr" defTabSz="685800"/>
              <a:r>
                <a:rPr lang="en-US" b="1" dirty="0">
                  <a:latin typeface="Calibri Light"/>
                </a:rPr>
                <a:t>COLLECTION/</a:t>
              </a:r>
            </a:p>
            <a:p>
              <a:pPr algn="ctr" defTabSz="685800"/>
              <a:r>
                <a:rPr lang="en-US" b="1" dirty="0">
                  <a:latin typeface="Calibri Light"/>
                </a:rPr>
                <a:t>REPORTING</a:t>
              </a:r>
            </a:p>
          </p:txBody>
        </p:sp>
        <p:sp>
          <p:nvSpPr>
            <p:cNvPr id="144" name="TextBox 143">
              <a:extLst>
                <a:ext uri="{FF2B5EF4-FFF2-40B4-BE49-F238E27FC236}">
                  <a16:creationId xmlns:a16="http://schemas.microsoft.com/office/drawing/2014/main" id="{C75D3502-2084-4D34-B7F6-EC24A147A540}"/>
                </a:ext>
              </a:extLst>
            </p:cNvPr>
            <p:cNvSpPr txBox="1"/>
            <p:nvPr/>
          </p:nvSpPr>
          <p:spPr>
            <a:xfrm>
              <a:off x="3765213" y="3420554"/>
              <a:ext cx="1626331" cy="169860"/>
            </a:xfrm>
            <a:prstGeom prst="rect">
              <a:avLst/>
            </a:prstGeom>
            <a:noFill/>
            <a:ln>
              <a:noFill/>
            </a:ln>
          </p:spPr>
          <p:txBody>
            <a:bodyPr wrap="square" lIns="0" tIns="0" rIns="0" bIns="0" rtlCol="0" anchor="ctr">
              <a:spAutoFit/>
            </a:bodyPr>
            <a:lstStyle>
              <a:defPPr>
                <a:defRPr lang="en-US"/>
              </a:defPPr>
              <a:lvl1pPr defTabSz="685800">
                <a:defRPr sz="1050" b="1">
                  <a:latin typeface="Calibri Light"/>
                </a:defRPr>
              </a:lvl1pPr>
            </a:lstStyle>
            <a:p>
              <a:pPr algn="ctr"/>
              <a:r>
                <a:rPr lang="en-US" b="0" dirty="0"/>
                <a:t>N/A</a:t>
              </a:r>
            </a:p>
          </p:txBody>
        </p:sp>
        <p:sp>
          <p:nvSpPr>
            <p:cNvPr id="145" name="TextBox 144">
              <a:extLst>
                <a:ext uri="{FF2B5EF4-FFF2-40B4-BE49-F238E27FC236}">
                  <a16:creationId xmlns:a16="http://schemas.microsoft.com/office/drawing/2014/main" id="{4229BB9B-1E9C-4794-BD7E-31916C0D2655}"/>
                </a:ext>
              </a:extLst>
            </p:cNvPr>
            <p:cNvSpPr txBox="1"/>
            <p:nvPr/>
          </p:nvSpPr>
          <p:spPr>
            <a:xfrm>
              <a:off x="3787215" y="2276002"/>
              <a:ext cx="1569569" cy="291188"/>
            </a:xfrm>
            <a:prstGeom prst="rect">
              <a:avLst/>
            </a:prstGeom>
            <a:noFill/>
          </p:spPr>
          <p:txBody>
            <a:bodyPr wrap="square" lIns="0" tIns="0" rIns="0" bIns="0" rtlCol="0" anchor="ctr">
              <a:spAutoFit/>
            </a:bodyPr>
            <a:lstStyle/>
            <a:p>
              <a:pPr algn="ctr" defTabSz="685800"/>
              <a:r>
                <a:rPr lang="en-US" b="1" dirty="0">
                  <a:latin typeface="Calibri Light"/>
                </a:rPr>
                <a:t>DATA QUALITY</a:t>
              </a:r>
            </a:p>
          </p:txBody>
        </p:sp>
        <p:sp>
          <p:nvSpPr>
            <p:cNvPr id="150" name="TextBox 149">
              <a:extLst>
                <a:ext uri="{FF2B5EF4-FFF2-40B4-BE49-F238E27FC236}">
                  <a16:creationId xmlns:a16="http://schemas.microsoft.com/office/drawing/2014/main" id="{A432B2BB-4C21-4AF1-9B8E-A30EC8F9E140}"/>
                </a:ext>
              </a:extLst>
            </p:cNvPr>
            <p:cNvSpPr txBox="1"/>
            <p:nvPr/>
          </p:nvSpPr>
          <p:spPr>
            <a:xfrm>
              <a:off x="6785564" y="3092369"/>
              <a:ext cx="1592581" cy="1189017"/>
            </a:xfrm>
            <a:prstGeom prst="rect">
              <a:avLst/>
            </a:prstGeom>
            <a:noFill/>
          </p:spPr>
          <p:txBody>
            <a:bodyPr wrap="square" lIns="0" tIns="0" rIns="0" bIns="0" rtlCol="0" anchor="ctr">
              <a:spAutoFit/>
            </a:bodyPr>
            <a:lstStyle/>
            <a:p>
              <a:pPr marL="171450" indent="-171450" defTabSz="685800">
                <a:buFont typeface="Arial" panose="020B0604020202020204" pitchFamily="34" charset="0"/>
                <a:buChar char="•"/>
              </a:pPr>
              <a:r>
                <a:rPr lang="en-US" sz="1050" dirty="0">
                  <a:latin typeface="Calibri Light"/>
                </a:rPr>
                <a:t>5-year Age Band</a:t>
              </a:r>
            </a:p>
            <a:p>
              <a:pPr marL="171450" indent="-171450" defTabSz="685800">
                <a:buFont typeface="Arial" panose="020B0604020202020204" pitchFamily="34" charset="0"/>
                <a:buChar char="•"/>
              </a:pPr>
              <a:r>
                <a:rPr lang="en-US" sz="1050" dirty="0">
                  <a:latin typeface="Calibri Light"/>
                </a:rPr>
                <a:t>Sex</a:t>
              </a:r>
            </a:p>
            <a:p>
              <a:pPr marL="171450" indent="-171450" defTabSz="685800">
                <a:buFont typeface="Arial" panose="020B0604020202020204" pitchFamily="34" charset="0"/>
                <a:buChar char="•"/>
              </a:pPr>
              <a:r>
                <a:rPr lang="en-US" sz="1050" dirty="0">
                  <a:latin typeface="Calibri Light"/>
                </a:rPr>
                <a:t>Outcome (Died, Transferred Out, Interruption in treatment, Stopped</a:t>
              </a:r>
            </a:p>
            <a:p>
              <a:pPr marL="171450" indent="-171450" defTabSz="685800">
                <a:buFont typeface="Arial" panose="020B0604020202020204" pitchFamily="34" charset="0"/>
                <a:buChar char="•"/>
              </a:pPr>
              <a:r>
                <a:rPr lang="en-US" sz="1050" dirty="0">
                  <a:latin typeface="Calibri Light"/>
                </a:rPr>
                <a:t>Cause of Death</a:t>
              </a:r>
            </a:p>
          </p:txBody>
        </p:sp>
        <p:sp>
          <p:nvSpPr>
            <p:cNvPr id="151" name="TextBox 150">
              <a:extLst>
                <a:ext uri="{FF2B5EF4-FFF2-40B4-BE49-F238E27FC236}">
                  <a16:creationId xmlns:a16="http://schemas.microsoft.com/office/drawing/2014/main" id="{269059BD-5BEF-4B22-9D87-AC985C86C7EA}"/>
                </a:ext>
              </a:extLst>
            </p:cNvPr>
            <p:cNvSpPr txBox="1"/>
            <p:nvPr/>
          </p:nvSpPr>
          <p:spPr>
            <a:xfrm>
              <a:off x="6606468" y="2197851"/>
              <a:ext cx="1832066" cy="291188"/>
            </a:xfrm>
            <a:prstGeom prst="rect">
              <a:avLst/>
            </a:prstGeom>
            <a:noFill/>
          </p:spPr>
          <p:txBody>
            <a:bodyPr wrap="square" lIns="0" tIns="0" rIns="0" bIns="0" rtlCol="0" anchor="ctr">
              <a:spAutoFit/>
            </a:bodyPr>
            <a:lstStyle/>
            <a:p>
              <a:pPr algn="ctr" defTabSz="685800"/>
              <a:r>
                <a:rPr lang="en-US" b="1" dirty="0">
                  <a:latin typeface="Calibri Light"/>
                </a:rPr>
                <a:t>DISAGGREGATION</a:t>
              </a:r>
            </a:p>
          </p:txBody>
        </p:sp>
      </p:grpSp>
      <p:sp>
        <p:nvSpPr>
          <p:cNvPr id="27" name="TextBox 26">
            <a:extLst>
              <a:ext uri="{FF2B5EF4-FFF2-40B4-BE49-F238E27FC236}">
                <a16:creationId xmlns:a16="http://schemas.microsoft.com/office/drawing/2014/main" id="{AB79FA79-34F2-E6F2-BAC1-623164617928}"/>
              </a:ext>
            </a:extLst>
          </p:cNvPr>
          <p:cNvSpPr txBox="1"/>
          <p:nvPr/>
        </p:nvSpPr>
        <p:spPr>
          <a:xfrm>
            <a:off x="2304864" y="5014798"/>
            <a:ext cx="1719483" cy="161583"/>
          </a:xfrm>
          <a:prstGeom prst="rect">
            <a:avLst/>
          </a:prstGeom>
          <a:noFill/>
          <a:ln>
            <a:solidFill>
              <a:schemeClr val="bg1"/>
            </a:solidFill>
          </a:ln>
        </p:spPr>
        <p:txBody>
          <a:bodyPr wrap="square" lIns="0" tIns="0" rIns="0" bIns="0" rtlCol="0" anchor="ctr">
            <a:spAutoFit/>
          </a:bodyPr>
          <a:lstStyle/>
          <a:p>
            <a:pPr marL="171450" indent="-171450" defTabSz="685800">
              <a:buFont typeface="Arial" panose="020B0604020202020204" pitchFamily="34" charset="0"/>
              <a:buChar char="•"/>
            </a:pPr>
            <a:r>
              <a:rPr lang="en-US" sz="1050" dirty="0">
                <a:latin typeface="Calibri Light"/>
              </a:rPr>
              <a:t>Quarterly</a:t>
            </a:r>
          </a:p>
        </p:txBody>
      </p:sp>
    </p:spTree>
    <p:extLst>
      <p:ext uri="{BB962C8B-B14F-4D97-AF65-F5344CB8AC3E}">
        <p14:creationId xmlns:p14="http://schemas.microsoft.com/office/powerpoint/2010/main" val="317487355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TextBox 133">
            <a:extLst>
              <a:ext uri="{FF2B5EF4-FFF2-40B4-BE49-F238E27FC236}">
                <a16:creationId xmlns:a16="http://schemas.microsoft.com/office/drawing/2014/main" id="{86E6788C-76AA-43BC-8B7F-196C83841096}"/>
              </a:ext>
            </a:extLst>
          </p:cNvPr>
          <p:cNvSpPr txBox="1"/>
          <p:nvPr/>
        </p:nvSpPr>
        <p:spPr>
          <a:xfrm>
            <a:off x="1847850" y="463992"/>
            <a:ext cx="8496300" cy="553998"/>
          </a:xfrm>
          <a:prstGeom prst="rect">
            <a:avLst/>
          </a:prstGeom>
          <a:noFill/>
        </p:spPr>
        <p:txBody>
          <a:bodyPr wrap="square" lIns="0" tIns="0" rIns="0" bIns="0" rtlCol="0" anchor="t">
            <a:spAutoFit/>
          </a:bodyPr>
          <a:lstStyle/>
          <a:p>
            <a:pPr algn="ctr" defTabSz="685800"/>
            <a:r>
              <a:rPr lang="en-US" sz="3600" dirty="0">
                <a:latin typeface="Corbel" panose="020B0503020204020204"/>
              </a:rPr>
              <a:t>TX_RTT</a:t>
            </a:r>
          </a:p>
        </p:txBody>
      </p:sp>
      <p:grpSp>
        <p:nvGrpSpPr>
          <p:cNvPr id="2" name="Group 1">
            <a:extLst>
              <a:ext uri="{FF2B5EF4-FFF2-40B4-BE49-F238E27FC236}">
                <a16:creationId xmlns:a16="http://schemas.microsoft.com/office/drawing/2014/main" id="{11383E8B-A9F5-4C59-A67A-3554539F5B7A}"/>
              </a:ext>
            </a:extLst>
          </p:cNvPr>
          <p:cNvGrpSpPr/>
          <p:nvPr/>
        </p:nvGrpSpPr>
        <p:grpSpPr>
          <a:xfrm>
            <a:off x="1524001" y="1143000"/>
            <a:ext cx="9144001" cy="5578476"/>
            <a:chOff x="0" y="857250"/>
            <a:chExt cx="9144001" cy="5864226"/>
          </a:xfrm>
        </p:grpSpPr>
        <p:sp>
          <p:nvSpPr>
            <p:cNvPr id="98" name="Rectangle 97">
              <a:extLst>
                <a:ext uri="{FF2B5EF4-FFF2-40B4-BE49-F238E27FC236}">
                  <a16:creationId xmlns:a16="http://schemas.microsoft.com/office/drawing/2014/main" id="{84CAA34D-CD75-45C6-B39E-7C242EB87261}"/>
                </a:ext>
              </a:extLst>
            </p:cNvPr>
            <p:cNvSpPr/>
            <p:nvPr/>
          </p:nvSpPr>
          <p:spPr>
            <a:xfrm>
              <a:off x="1" y="2871107"/>
              <a:ext cx="9144000" cy="1306286"/>
            </a:xfrm>
            <a:prstGeom prst="rect">
              <a:avLst/>
            </a:prstGeom>
            <a:solidFill>
              <a:srgbClr val="E7E6E6"/>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99" name="Rectangle: Rounded Corners 98">
              <a:extLst>
                <a:ext uri="{FF2B5EF4-FFF2-40B4-BE49-F238E27FC236}">
                  <a16:creationId xmlns:a16="http://schemas.microsoft.com/office/drawing/2014/main" id="{B79F2794-CAB0-4CBC-A170-CA7853D4B5E7}"/>
                </a:ext>
              </a:extLst>
            </p:cNvPr>
            <p:cNvSpPr/>
            <p:nvPr/>
          </p:nvSpPr>
          <p:spPr>
            <a:xfrm>
              <a:off x="3652410" y="2015558"/>
              <a:ext cx="1951265" cy="3145971"/>
            </a:xfrm>
            <a:prstGeom prst="roundRect">
              <a:avLst>
                <a:gd name="adj" fmla="val 4952"/>
              </a:avLst>
            </a:prstGeom>
            <a:solidFill>
              <a:sysClr val="window" lastClr="FFFFFF">
                <a:lumMod val="65000"/>
              </a:sys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00" name="Rectangle: Rounded Corners 99">
              <a:extLst>
                <a:ext uri="{FF2B5EF4-FFF2-40B4-BE49-F238E27FC236}">
                  <a16:creationId xmlns:a16="http://schemas.microsoft.com/office/drawing/2014/main" id="{624C18DD-A9DF-4469-A7B6-6C9AAA2D41F4}"/>
                </a:ext>
              </a:extLst>
            </p:cNvPr>
            <p:cNvSpPr/>
            <p:nvPr/>
          </p:nvSpPr>
          <p:spPr>
            <a:xfrm>
              <a:off x="6625597" y="2015558"/>
              <a:ext cx="1951265" cy="3145971"/>
            </a:xfrm>
            <a:prstGeom prst="roundRect">
              <a:avLst>
                <a:gd name="adj" fmla="val 4952"/>
              </a:avLst>
            </a:prstGeom>
            <a:solidFill>
              <a:sysClr val="window" lastClr="FFFFFF">
                <a:lumMod val="65000"/>
              </a:sys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01" name="Rectangle: Rounded Corners 100">
              <a:extLst>
                <a:ext uri="{FF2B5EF4-FFF2-40B4-BE49-F238E27FC236}">
                  <a16:creationId xmlns:a16="http://schemas.microsoft.com/office/drawing/2014/main" id="{F503AF90-BD38-48FC-8812-4FA3F25DB0E6}"/>
                </a:ext>
              </a:extLst>
            </p:cNvPr>
            <p:cNvSpPr/>
            <p:nvPr/>
          </p:nvSpPr>
          <p:spPr>
            <a:xfrm>
              <a:off x="685800" y="2015558"/>
              <a:ext cx="1951265" cy="3145971"/>
            </a:xfrm>
            <a:prstGeom prst="roundRect">
              <a:avLst>
                <a:gd name="adj" fmla="val 4952"/>
              </a:avLst>
            </a:prstGeom>
            <a:solidFill>
              <a:sysClr val="window" lastClr="FFFFFF">
                <a:lumMod val="65000"/>
              </a:sys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02" name="Frame 101">
              <a:extLst>
                <a:ext uri="{FF2B5EF4-FFF2-40B4-BE49-F238E27FC236}">
                  <a16:creationId xmlns:a16="http://schemas.microsoft.com/office/drawing/2014/main" id="{530C96A5-18F8-41CE-8FBF-056A3D32634C}"/>
                </a:ext>
              </a:extLst>
            </p:cNvPr>
            <p:cNvSpPr/>
            <p:nvPr/>
          </p:nvSpPr>
          <p:spPr>
            <a:xfrm>
              <a:off x="0" y="857250"/>
              <a:ext cx="9144000" cy="5143500"/>
            </a:xfrm>
            <a:prstGeom prst="frame">
              <a:avLst>
                <a:gd name="adj1" fmla="val 1053"/>
              </a:avLst>
            </a:prstGeom>
            <a:solidFill>
              <a:srgbClr val="44546A">
                <a:lumMod val="40000"/>
                <a:lumOff val="60000"/>
              </a:srgbClr>
            </a:solidFill>
            <a:ln w="12700" cap="flat" cmpd="sng" algn="ctr">
              <a:noFill/>
              <a:prstDash val="solid"/>
              <a:miter lim="800000"/>
            </a:ln>
            <a:effectLst/>
          </p:spPr>
          <p:txBody>
            <a:bodyPr rtlCol="0" anchor="ctr"/>
            <a:lstStyle/>
            <a:p>
              <a:pPr algn="ctr" defTabSz="685800">
                <a:defRPr/>
              </a:pPr>
              <a:endParaRPr lang="en-US" sz="1350" kern="0">
                <a:solidFill>
                  <a:prstClr val="black"/>
                </a:solidFill>
                <a:latin typeface="Calibri Light"/>
              </a:endParaRPr>
            </a:p>
          </p:txBody>
        </p:sp>
        <p:sp>
          <p:nvSpPr>
            <p:cNvPr id="103" name="Rectangle 102">
              <a:extLst>
                <a:ext uri="{FF2B5EF4-FFF2-40B4-BE49-F238E27FC236}">
                  <a16:creationId xmlns:a16="http://schemas.microsoft.com/office/drawing/2014/main" id="{D5A75610-4C9C-4007-86BE-0C93387BD4CC}"/>
                </a:ext>
              </a:extLst>
            </p:cNvPr>
            <p:cNvSpPr/>
            <p:nvPr/>
          </p:nvSpPr>
          <p:spPr>
            <a:xfrm>
              <a:off x="0" y="857250"/>
              <a:ext cx="336430" cy="336430"/>
            </a:xfrm>
            <a:prstGeom prst="rect">
              <a:avLst/>
            </a:prstGeom>
            <a:solidFill>
              <a:srgbClr val="AF5F6D"/>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04" name="Rectangle 103">
              <a:extLst>
                <a:ext uri="{FF2B5EF4-FFF2-40B4-BE49-F238E27FC236}">
                  <a16:creationId xmlns:a16="http://schemas.microsoft.com/office/drawing/2014/main" id="{88DED4A1-8837-48AC-9F2B-DE23F8D97ECB}"/>
                </a:ext>
              </a:extLst>
            </p:cNvPr>
            <p:cNvSpPr/>
            <p:nvPr/>
          </p:nvSpPr>
          <p:spPr>
            <a:xfrm>
              <a:off x="8807571" y="5664321"/>
              <a:ext cx="336430" cy="336430"/>
            </a:xfrm>
            <a:prstGeom prst="rect">
              <a:avLst/>
            </a:prstGeom>
            <a:solidFill>
              <a:srgbClr val="EB6B56"/>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18" name="Slide Number Placeholder 21">
              <a:extLst>
                <a:ext uri="{FF2B5EF4-FFF2-40B4-BE49-F238E27FC236}">
                  <a16:creationId xmlns:a16="http://schemas.microsoft.com/office/drawing/2014/main" id="{93A42D60-09D3-464C-9CEE-9793BC406A2C}"/>
                </a:ext>
              </a:extLst>
            </p:cNvPr>
            <p:cNvSpPr txBox="1">
              <a:spLocks/>
            </p:cNvSpPr>
            <p:nvPr/>
          </p:nvSpPr>
          <p:spPr>
            <a:xfrm>
              <a:off x="6457950" y="6356351"/>
              <a:ext cx="2057400" cy="365125"/>
            </a:xfrm>
            <a:prstGeom prst="rect">
              <a:avLst/>
            </a:prstGeom>
          </p:spPr>
          <p:txBody>
            <a:bodyPr vert="horz" lIns="91440" tIns="45720" rIns="91440" bIns="4572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fld id="{B9940D52-AD77-4C6A-9DCC-3EEF87AE9DF8}" type="slidenum">
                <a:rPr lang="en-US">
                  <a:solidFill>
                    <a:prstClr val="black">
                      <a:tint val="75000"/>
                    </a:prstClr>
                  </a:solidFill>
                  <a:latin typeface="Calibri Light"/>
                </a:rPr>
                <a:pPr defTabSz="685800"/>
                <a:t>72</a:t>
              </a:fld>
              <a:endParaRPr lang="en-US">
                <a:solidFill>
                  <a:prstClr val="black">
                    <a:tint val="75000"/>
                  </a:prstClr>
                </a:solidFill>
                <a:latin typeface="Calibri Light"/>
              </a:endParaRPr>
            </a:p>
          </p:txBody>
        </p:sp>
        <p:sp>
          <p:nvSpPr>
            <p:cNvPr id="119" name="Rectangle: Rounded Corners 118">
              <a:extLst>
                <a:ext uri="{FF2B5EF4-FFF2-40B4-BE49-F238E27FC236}">
                  <a16:creationId xmlns:a16="http://schemas.microsoft.com/office/drawing/2014/main" id="{A31B6B7F-B442-478B-AC83-5877659C504E}"/>
                </a:ext>
              </a:extLst>
            </p:cNvPr>
            <p:cNvSpPr/>
            <p:nvPr/>
          </p:nvSpPr>
          <p:spPr>
            <a:xfrm>
              <a:off x="628650" y="1951264"/>
              <a:ext cx="1951265" cy="3145971"/>
            </a:xfrm>
            <a:prstGeom prst="roundRect">
              <a:avLst>
                <a:gd name="adj" fmla="val 4952"/>
              </a:avLst>
            </a:prstGeom>
            <a:solidFill>
              <a:schemeClr val="accent2">
                <a:lumMod val="40000"/>
                <a:lumOff val="60000"/>
              </a:scheme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20" name="Rectangle: Rounded Corners 119">
              <a:extLst>
                <a:ext uri="{FF2B5EF4-FFF2-40B4-BE49-F238E27FC236}">
                  <a16:creationId xmlns:a16="http://schemas.microsoft.com/office/drawing/2014/main" id="{755AABF3-A803-4326-BD1C-065642A1AA83}"/>
                </a:ext>
              </a:extLst>
            </p:cNvPr>
            <p:cNvSpPr/>
            <p:nvPr/>
          </p:nvSpPr>
          <p:spPr>
            <a:xfrm>
              <a:off x="3596368" y="1951264"/>
              <a:ext cx="1951265" cy="3145971"/>
            </a:xfrm>
            <a:prstGeom prst="roundRect">
              <a:avLst>
                <a:gd name="adj" fmla="val 4952"/>
              </a:avLst>
            </a:prstGeom>
            <a:solidFill>
              <a:schemeClr val="accent3">
                <a:lumMod val="40000"/>
                <a:lumOff val="60000"/>
              </a:scheme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21" name="Rectangle: Rounded Corners 120">
              <a:extLst>
                <a:ext uri="{FF2B5EF4-FFF2-40B4-BE49-F238E27FC236}">
                  <a16:creationId xmlns:a16="http://schemas.microsoft.com/office/drawing/2014/main" id="{51F48CB3-9A91-4CD8-BAB4-372731EF5FB1}"/>
                </a:ext>
              </a:extLst>
            </p:cNvPr>
            <p:cNvSpPr/>
            <p:nvPr/>
          </p:nvSpPr>
          <p:spPr>
            <a:xfrm>
              <a:off x="6564085" y="1951264"/>
              <a:ext cx="1951265" cy="3145971"/>
            </a:xfrm>
            <a:prstGeom prst="roundRect">
              <a:avLst>
                <a:gd name="adj" fmla="val 4952"/>
              </a:avLst>
            </a:prstGeom>
            <a:solidFill>
              <a:schemeClr val="accent1">
                <a:lumMod val="40000"/>
                <a:lumOff val="60000"/>
              </a:scheme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grpSp>
          <p:nvGrpSpPr>
            <p:cNvPr id="122" name="Group 121">
              <a:extLst>
                <a:ext uri="{FF2B5EF4-FFF2-40B4-BE49-F238E27FC236}">
                  <a16:creationId xmlns:a16="http://schemas.microsoft.com/office/drawing/2014/main" id="{1D5F4261-1706-4F0E-8267-369D57C1FB88}"/>
                </a:ext>
              </a:extLst>
            </p:cNvPr>
            <p:cNvGrpSpPr/>
            <p:nvPr/>
          </p:nvGrpSpPr>
          <p:grpSpPr>
            <a:xfrm>
              <a:off x="2875574" y="3333082"/>
              <a:ext cx="425135" cy="382335"/>
              <a:chOff x="4854484" y="5910272"/>
              <a:chExt cx="283864" cy="255286"/>
            </a:xfrm>
            <a:solidFill>
              <a:srgbClr val="44546A"/>
            </a:solidFill>
          </p:grpSpPr>
          <p:sp>
            <p:nvSpPr>
              <p:cNvPr id="123" name="Freeform 251">
                <a:extLst>
                  <a:ext uri="{FF2B5EF4-FFF2-40B4-BE49-F238E27FC236}">
                    <a16:creationId xmlns:a16="http://schemas.microsoft.com/office/drawing/2014/main" id="{0C8CED70-9586-4725-ABB9-23097BB29906}"/>
                  </a:ext>
                </a:extLst>
              </p:cNvPr>
              <p:cNvSpPr>
                <a:spLocks/>
              </p:cNvSpPr>
              <p:nvPr/>
            </p:nvSpPr>
            <p:spPr bwMode="auto">
              <a:xfrm>
                <a:off x="4854484" y="5910272"/>
                <a:ext cx="165746" cy="255286"/>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sp>
            <p:nvSpPr>
              <p:cNvPr id="124" name="Freeform 252">
                <a:extLst>
                  <a:ext uri="{FF2B5EF4-FFF2-40B4-BE49-F238E27FC236}">
                    <a16:creationId xmlns:a16="http://schemas.microsoft.com/office/drawing/2014/main" id="{0F01F1D5-7465-4E64-9CCB-5C815BD8B5EC}"/>
                  </a:ext>
                </a:extLst>
              </p:cNvPr>
              <p:cNvSpPr>
                <a:spLocks/>
              </p:cNvSpPr>
              <p:nvPr/>
            </p:nvSpPr>
            <p:spPr bwMode="auto">
              <a:xfrm>
                <a:off x="4972602" y="5910272"/>
                <a:ext cx="165746" cy="255286"/>
              </a:xfrm>
              <a:custGeom>
                <a:avLst/>
                <a:gdLst>
                  <a:gd name="T0" fmla="*/ 344 w 348"/>
                  <a:gd name="T1" fmla="*/ 260 h 535"/>
                  <a:gd name="T2" fmla="*/ 86 w 348"/>
                  <a:gd name="T3" fmla="*/ 2 h 535"/>
                  <a:gd name="T4" fmla="*/ 83 w 348"/>
                  <a:gd name="T5" fmla="*/ 0 h 535"/>
                  <a:gd name="T6" fmla="*/ 80 w 348"/>
                  <a:gd name="T7" fmla="*/ 0 h 535"/>
                  <a:gd name="T8" fmla="*/ 75 w 348"/>
                  <a:gd name="T9" fmla="*/ 0 h 535"/>
                  <a:gd name="T10" fmla="*/ 72 w 348"/>
                  <a:gd name="T11" fmla="*/ 2 h 535"/>
                  <a:gd name="T12" fmla="*/ 3 w 348"/>
                  <a:gd name="T13" fmla="*/ 72 h 535"/>
                  <a:gd name="T14" fmla="*/ 1 w 348"/>
                  <a:gd name="T15" fmla="*/ 75 h 535"/>
                  <a:gd name="T16" fmla="*/ 0 w 348"/>
                  <a:gd name="T17" fmla="*/ 79 h 535"/>
                  <a:gd name="T18" fmla="*/ 1 w 348"/>
                  <a:gd name="T19" fmla="*/ 83 h 535"/>
                  <a:gd name="T20" fmla="*/ 3 w 348"/>
                  <a:gd name="T21" fmla="*/ 86 h 535"/>
                  <a:gd name="T22" fmla="*/ 185 w 348"/>
                  <a:gd name="T23" fmla="*/ 268 h 535"/>
                  <a:gd name="T24" fmla="*/ 3 w 348"/>
                  <a:gd name="T25" fmla="*/ 449 h 535"/>
                  <a:gd name="T26" fmla="*/ 1 w 348"/>
                  <a:gd name="T27" fmla="*/ 452 h 535"/>
                  <a:gd name="T28" fmla="*/ 0 w 348"/>
                  <a:gd name="T29" fmla="*/ 457 h 535"/>
                  <a:gd name="T30" fmla="*/ 1 w 348"/>
                  <a:gd name="T31" fmla="*/ 460 h 535"/>
                  <a:gd name="T32" fmla="*/ 3 w 348"/>
                  <a:gd name="T33" fmla="*/ 463 h 535"/>
                  <a:gd name="T34" fmla="*/ 72 w 348"/>
                  <a:gd name="T35" fmla="*/ 532 h 535"/>
                  <a:gd name="T36" fmla="*/ 75 w 348"/>
                  <a:gd name="T37" fmla="*/ 534 h 535"/>
                  <a:gd name="T38" fmla="*/ 80 w 348"/>
                  <a:gd name="T39" fmla="*/ 535 h 535"/>
                  <a:gd name="T40" fmla="*/ 83 w 348"/>
                  <a:gd name="T41" fmla="*/ 534 h 535"/>
                  <a:gd name="T42" fmla="*/ 86 w 348"/>
                  <a:gd name="T43" fmla="*/ 533 h 535"/>
                  <a:gd name="T44" fmla="*/ 344 w 348"/>
                  <a:gd name="T45" fmla="*/ 274 h 535"/>
                  <a:gd name="T46" fmla="*/ 347 w 348"/>
                  <a:gd name="T47" fmla="*/ 271 h 535"/>
                  <a:gd name="T48" fmla="*/ 348 w 348"/>
                  <a:gd name="T49" fmla="*/ 268 h 535"/>
                  <a:gd name="T50" fmla="*/ 347 w 348"/>
                  <a:gd name="T51" fmla="*/ 263 h 535"/>
                  <a:gd name="T52" fmla="*/ 344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4" y="260"/>
                    </a:moveTo>
                    <a:lnTo>
                      <a:pt x="86" y="2"/>
                    </a:lnTo>
                    <a:lnTo>
                      <a:pt x="83" y="0"/>
                    </a:lnTo>
                    <a:lnTo>
                      <a:pt x="80" y="0"/>
                    </a:lnTo>
                    <a:lnTo>
                      <a:pt x="75" y="0"/>
                    </a:lnTo>
                    <a:lnTo>
                      <a:pt x="72" y="2"/>
                    </a:lnTo>
                    <a:lnTo>
                      <a:pt x="3" y="72"/>
                    </a:lnTo>
                    <a:lnTo>
                      <a:pt x="1" y="75"/>
                    </a:lnTo>
                    <a:lnTo>
                      <a:pt x="0" y="79"/>
                    </a:lnTo>
                    <a:lnTo>
                      <a:pt x="1" y="83"/>
                    </a:lnTo>
                    <a:lnTo>
                      <a:pt x="3" y="86"/>
                    </a:lnTo>
                    <a:lnTo>
                      <a:pt x="185" y="268"/>
                    </a:lnTo>
                    <a:lnTo>
                      <a:pt x="3" y="449"/>
                    </a:lnTo>
                    <a:lnTo>
                      <a:pt x="1" y="452"/>
                    </a:lnTo>
                    <a:lnTo>
                      <a:pt x="0" y="457"/>
                    </a:lnTo>
                    <a:lnTo>
                      <a:pt x="1" y="460"/>
                    </a:lnTo>
                    <a:lnTo>
                      <a:pt x="3" y="463"/>
                    </a:lnTo>
                    <a:lnTo>
                      <a:pt x="72" y="532"/>
                    </a:lnTo>
                    <a:lnTo>
                      <a:pt x="75" y="534"/>
                    </a:lnTo>
                    <a:lnTo>
                      <a:pt x="80" y="535"/>
                    </a:lnTo>
                    <a:lnTo>
                      <a:pt x="83" y="534"/>
                    </a:lnTo>
                    <a:lnTo>
                      <a:pt x="86" y="533"/>
                    </a:lnTo>
                    <a:lnTo>
                      <a:pt x="344" y="274"/>
                    </a:lnTo>
                    <a:lnTo>
                      <a:pt x="347" y="271"/>
                    </a:lnTo>
                    <a:lnTo>
                      <a:pt x="348" y="268"/>
                    </a:lnTo>
                    <a:lnTo>
                      <a:pt x="347" y="263"/>
                    </a:lnTo>
                    <a:lnTo>
                      <a:pt x="344"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grpSp>
        <p:grpSp>
          <p:nvGrpSpPr>
            <p:cNvPr id="125" name="Group 124">
              <a:extLst>
                <a:ext uri="{FF2B5EF4-FFF2-40B4-BE49-F238E27FC236}">
                  <a16:creationId xmlns:a16="http://schemas.microsoft.com/office/drawing/2014/main" id="{819BCB2C-2594-4246-AF1C-54887570D1B2}"/>
                </a:ext>
              </a:extLst>
            </p:cNvPr>
            <p:cNvGrpSpPr/>
            <p:nvPr/>
          </p:nvGrpSpPr>
          <p:grpSpPr>
            <a:xfrm>
              <a:off x="5843292" y="3333082"/>
              <a:ext cx="425135" cy="382335"/>
              <a:chOff x="4854484" y="5910272"/>
              <a:chExt cx="283864" cy="255286"/>
            </a:xfrm>
            <a:solidFill>
              <a:srgbClr val="44546A"/>
            </a:solidFill>
          </p:grpSpPr>
          <p:sp>
            <p:nvSpPr>
              <p:cNvPr id="126" name="Freeform 251">
                <a:extLst>
                  <a:ext uri="{FF2B5EF4-FFF2-40B4-BE49-F238E27FC236}">
                    <a16:creationId xmlns:a16="http://schemas.microsoft.com/office/drawing/2014/main" id="{B4AFA590-489D-461F-87B5-31AA21C9CA6E}"/>
                  </a:ext>
                </a:extLst>
              </p:cNvPr>
              <p:cNvSpPr>
                <a:spLocks/>
              </p:cNvSpPr>
              <p:nvPr/>
            </p:nvSpPr>
            <p:spPr bwMode="auto">
              <a:xfrm>
                <a:off x="4854484" y="5910272"/>
                <a:ext cx="165746" cy="255286"/>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sp>
            <p:nvSpPr>
              <p:cNvPr id="127" name="Freeform 252">
                <a:extLst>
                  <a:ext uri="{FF2B5EF4-FFF2-40B4-BE49-F238E27FC236}">
                    <a16:creationId xmlns:a16="http://schemas.microsoft.com/office/drawing/2014/main" id="{686E9970-8B1D-4D78-8BC4-D6A0633DF381}"/>
                  </a:ext>
                </a:extLst>
              </p:cNvPr>
              <p:cNvSpPr>
                <a:spLocks/>
              </p:cNvSpPr>
              <p:nvPr/>
            </p:nvSpPr>
            <p:spPr bwMode="auto">
              <a:xfrm>
                <a:off x="4972602" y="5910272"/>
                <a:ext cx="165746" cy="255286"/>
              </a:xfrm>
              <a:custGeom>
                <a:avLst/>
                <a:gdLst>
                  <a:gd name="T0" fmla="*/ 344 w 348"/>
                  <a:gd name="T1" fmla="*/ 260 h 535"/>
                  <a:gd name="T2" fmla="*/ 86 w 348"/>
                  <a:gd name="T3" fmla="*/ 2 h 535"/>
                  <a:gd name="T4" fmla="*/ 83 w 348"/>
                  <a:gd name="T5" fmla="*/ 0 h 535"/>
                  <a:gd name="T6" fmla="*/ 80 w 348"/>
                  <a:gd name="T7" fmla="*/ 0 h 535"/>
                  <a:gd name="T8" fmla="*/ 75 w 348"/>
                  <a:gd name="T9" fmla="*/ 0 h 535"/>
                  <a:gd name="T10" fmla="*/ 72 w 348"/>
                  <a:gd name="T11" fmla="*/ 2 h 535"/>
                  <a:gd name="T12" fmla="*/ 3 w 348"/>
                  <a:gd name="T13" fmla="*/ 72 h 535"/>
                  <a:gd name="T14" fmla="*/ 1 w 348"/>
                  <a:gd name="T15" fmla="*/ 75 h 535"/>
                  <a:gd name="T16" fmla="*/ 0 w 348"/>
                  <a:gd name="T17" fmla="*/ 79 h 535"/>
                  <a:gd name="T18" fmla="*/ 1 w 348"/>
                  <a:gd name="T19" fmla="*/ 83 h 535"/>
                  <a:gd name="T20" fmla="*/ 3 w 348"/>
                  <a:gd name="T21" fmla="*/ 86 h 535"/>
                  <a:gd name="T22" fmla="*/ 185 w 348"/>
                  <a:gd name="T23" fmla="*/ 268 h 535"/>
                  <a:gd name="T24" fmla="*/ 3 w 348"/>
                  <a:gd name="T25" fmla="*/ 449 h 535"/>
                  <a:gd name="T26" fmla="*/ 1 w 348"/>
                  <a:gd name="T27" fmla="*/ 452 h 535"/>
                  <a:gd name="T28" fmla="*/ 0 w 348"/>
                  <a:gd name="T29" fmla="*/ 457 h 535"/>
                  <a:gd name="T30" fmla="*/ 1 w 348"/>
                  <a:gd name="T31" fmla="*/ 460 h 535"/>
                  <a:gd name="T32" fmla="*/ 3 w 348"/>
                  <a:gd name="T33" fmla="*/ 463 h 535"/>
                  <a:gd name="T34" fmla="*/ 72 w 348"/>
                  <a:gd name="T35" fmla="*/ 532 h 535"/>
                  <a:gd name="T36" fmla="*/ 75 w 348"/>
                  <a:gd name="T37" fmla="*/ 534 h 535"/>
                  <a:gd name="T38" fmla="*/ 80 w 348"/>
                  <a:gd name="T39" fmla="*/ 535 h 535"/>
                  <a:gd name="T40" fmla="*/ 83 w 348"/>
                  <a:gd name="T41" fmla="*/ 534 h 535"/>
                  <a:gd name="T42" fmla="*/ 86 w 348"/>
                  <a:gd name="T43" fmla="*/ 533 h 535"/>
                  <a:gd name="T44" fmla="*/ 344 w 348"/>
                  <a:gd name="T45" fmla="*/ 274 h 535"/>
                  <a:gd name="T46" fmla="*/ 347 w 348"/>
                  <a:gd name="T47" fmla="*/ 271 h 535"/>
                  <a:gd name="T48" fmla="*/ 348 w 348"/>
                  <a:gd name="T49" fmla="*/ 268 h 535"/>
                  <a:gd name="T50" fmla="*/ 347 w 348"/>
                  <a:gd name="T51" fmla="*/ 263 h 535"/>
                  <a:gd name="T52" fmla="*/ 344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4" y="260"/>
                    </a:moveTo>
                    <a:lnTo>
                      <a:pt x="86" y="2"/>
                    </a:lnTo>
                    <a:lnTo>
                      <a:pt x="83" y="0"/>
                    </a:lnTo>
                    <a:lnTo>
                      <a:pt x="80" y="0"/>
                    </a:lnTo>
                    <a:lnTo>
                      <a:pt x="75" y="0"/>
                    </a:lnTo>
                    <a:lnTo>
                      <a:pt x="72" y="2"/>
                    </a:lnTo>
                    <a:lnTo>
                      <a:pt x="3" y="72"/>
                    </a:lnTo>
                    <a:lnTo>
                      <a:pt x="1" y="75"/>
                    </a:lnTo>
                    <a:lnTo>
                      <a:pt x="0" y="79"/>
                    </a:lnTo>
                    <a:lnTo>
                      <a:pt x="1" y="83"/>
                    </a:lnTo>
                    <a:lnTo>
                      <a:pt x="3" y="86"/>
                    </a:lnTo>
                    <a:lnTo>
                      <a:pt x="185" y="268"/>
                    </a:lnTo>
                    <a:lnTo>
                      <a:pt x="3" y="449"/>
                    </a:lnTo>
                    <a:lnTo>
                      <a:pt x="1" y="452"/>
                    </a:lnTo>
                    <a:lnTo>
                      <a:pt x="0" y="457"/>
                    </a:lnTo>
                    <a:lnTo>
                      <a:pt x="1" y="460"/>
                    </a:lnTo>
                    <a:lnTo>
                      <a:pt x="3" y="463"/>
                    </a:lnTo>
                    <a:lnTo>
                      <a:pt x="72" y="532"/>
                    </a:lnTo>
                    <a:lnTo>
                      <a:pt x="75" y="534"/>
                    </a:lnTo>
                    <a:lnTo>
                      <a:pt x="80" y="535"/>
                    </a:lnTo>
                    <a:lnTo>
                      <a:pt x="83" y="534"/>
                    </a:lnTo>
                    <a:lnTo>
                      <a:pt x="86" y="533"/>
                    </a:lnTo>
                    <a:lnTo>
                      <a:pt x="344" y="274"/>
                    </a:lnTo>
                    <a:lnTo>
                      <a:pt x="347" y="271"/>
                    </a:lnTo>
                    <a:lnTo>
                      <a:pt x="348" y="268"/>
                    </a:lnTo>
                    <a:lnTo>
                      <a:pt x="347" y="263"/>
                    </a:lnTo>
                    <a:lnTo>
                      <a:pt x="344"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grpSp>
        <p:sp>
          <p:nvSpPr>
            <p:cNvPr id="137" name="TextBox 136">
              <a:extLst>
                <a:ext uri="{FF2B5EF4-FFF2-40B4-BE49-F238E27FC236}">
                  <a16:creationId xmlns:a16="http://schemas.microsoft.com/office/drawing/2014/main" id="{BD72369C-B18A-43FF-AFFB-FB7B6C1A5ABC}"/>
                </a:ext>
              </a:extLst>
            </p:cNvPr>
            <p:cNvSpPr txBox="1"/>
            <p:nvPr/>
          </p:nvSpPr>
          <p:spPr>
            <a:xfrm>
              <a:off x="861604" y="2745720"/>
              <a:ext cx="1500596" cy="1698596"/>
            </a:xfrm>
            <a:prstGeom prst="rect">
              <a:avLst/>
            </a:prstGeom>
            <a:noFill/>
          </p:spPr>
          <p:txBody>
            <a:bodyPr wrap="square" lIns="0" tIns="0" rIns="0" bIns="0" rtlCol="0" anchor="ctr">
              <a:spAutoFit/>
            </a:bodyPr>
            <a:lstStyle/>
            <a:p>
              <a:pPr algn="ctr" defTabSz="685800"/>
              <a:r>
                <a:rPr lang="en-US" sz="1050" dirty="0">
                  <a:latin typeface="Calibri Light"/>
                </a:rPr>
                <a:t>Number of ART patients who experienced an interruption in treatment (IIT) during any previous reporting period, who successfully restarted ARVs within the reporting period and remained on treatment until the end of the reporting period</a:t>
              </a:r>
            </a:p>
          </p:txBody>
        </p:sp>
        <p:sp>
          <p:nvSpPr>
            <p:cNvPr id="138" name="TextBox 137">
              <a:extLst>
                <a:ext uri="{FF2B5EF4-FFF2-40B4-BE49-F238E27FC236}">
                  <a16:creationId xmlns:a16="http://schemas.microsoft.com/office/drawing/2014/main" id="{29087046-24DC-401B-97BD-14EADBFCDAAD}"/>
                </a:ext>
              </a:extLst>
            </p:cNvPr>
            <p:cNvSpPr txBox="1"/>
            <p:nvPr/>
          </p:nvSpPr>
          <p:spPr>
            <a:xfrm>
              <a:off x="853984" y="2277218"/>
              <a:ext cx="1500596" cy="291188"/>
            </a:xfrm>
            <a:prstGeom prst="rect">
              <a:avLst/>
            </a:prstGeom>
            <a:noFill/>
          </p:spPr>
          <p:txBody>
            <a:bodyPr wrap="square" lIns="0" tIns="0" rIns="0" bIns="0" rtlCol="0" anchor="ctr">
              <a:spAutoFit/>
            </a:bodyPr>
            <a:lstStyle/>
            <a:p>
              <a:pPr algn="ctr" defTabSz="685800"/>
              <a:r>
                <a:rPr lang="en-US" b="1" dirty="0">
                  <a:latin typeface="Calibri Light"/>
                </a:rPr>
                <a:t>DESCRIPTION</a:t>
              </a:r>
            </a:p>
          </p:txBody>
        </p:sp>
        <p:sp>
          <p:nvSpPr>
            <p:cNvPr id="144" name="TextBox 143">
              <a:extLst>
                <a:ext uri="{FF2B5EF4-FFF2-40B4-BE49-F238E27FC236}">
                  <a16:creationId xmlns:a16="http://schemas.microsoft.com/office/drawing/2014/main" id="{C75D3502-2084-4D34-B7F6-EC24A147A540}"/>
                </a:ext>
              </a:extLst>
            </p:cNvPr>
            <p:cNvSpPr txBox="1"/>
            <p:nvPr/>
          </p:nvSpPr>
          <p:spPr>
            <a:xfrm>
              <a:off x="3681349" y="3104967"/>
              <a:ext cx="1794069" cy="1189017"/>
            </a:xfrm>
            <a:prstGeom prst="rect">
              <a:avLst/>
            </a:prstGeom>
            <a:noFill/>
            <a:ln>
              <a:noFill/>
            </a:ln>
          </p:spPr>
          <p:txBody>
            <a:bodyPr wrap="square" lIns="0" tIns="0" rIns="0" bIns="0" rtlCol="0" anchor="ctr">
              <a:spAutoFit/>
            </a:bodyPr>
            <a:lstStyle/>
            <a:p>
              <a:pPr algn="ctr" defTabSz="685800"/>
              <a:r>
                <a:rPr lang="en-US" sz="1050" dirty="0"/>
                <a:t>Number of ART patients who experienced IIT during any previous reporting period, who successfully restarted ARVs within the reporting period and remained on treatment until the end of the reporting period</a:t>
              </a:r>
              <a:endParaRPr lang="en-US" sz="1050" dirty="0">
                <a:latin typeface="Calibri Light"/>
              </a:endParaRPr>
            </a:p>
          </p:txBody>
        </p:sp>
        <p:sp>
          <p:nvSpPr>
            <p:cNvPr id="145" name="TextBox 144">
              <a:extLst>
                <a:ext uri="{FF2B5EF4-FFF2-40B4-BE49-F238E27FC236}">
                  <a16:creationId xmlns:a16="http://schemas.microsoft.com/office/drawing/2014/main" id="{4229BB9B-1E9C-4794-BD7E-31916C0D2655}"/>
                </a:ext>
              </a:extLst>
            </p:cNvPr>
            <p:cNvSpPr txBox="1"/>
            <p:nvPr/>
          </p:nvSpPr>
          <p:spPr>
            <a:xfrm>
              <a:off x="3698128" y="2257667"/>
              <a:ext cx="1729828" cy="291188"/>
            </a:xfrm>
            <a:prstGeom prst="rect">
              <a:avLst/>
            </a:prstGeom>
            <a:noFill/>
          </p:spPr>
          <p:txBody>
            <a:bodyPr wrap="square" lIns="0" tIns="0" rIns="0" bIns="0" rtlCol="0" anchor="ctr">
              <a:spAutoFit/>
            </a:bodyPr>
            <a:lstStyle/>
            <a:p>
              <a:pPr algn="ctr" defTabSz="685800"/>
              <a:r>
                <a:rPr lang="en-US" b="1" dirty="0">
                  <a:latin typeface="Calibri Light"/>
                </a:rPr>
                <a:t>NUMERATOR</a:t>
              </a:r>
            </a:p>
          </p:txBody>
        </p:sp>
        <p:sp>
          <p:nvSpPr>
            <p:cNvPr id="150" name="TextBox 149">
              <a:extLst>
                <a:ext uri="{FF2B5EF4-FFF2-40B4-BE49-F238E27FC236}">
                  <a16:creationId xmlns:a16="http://schemas.microsoft.com/office/drawing/2014/main" id="{A432B2BB-4C21-4AF1-9B8E-A30EC8F9E140}"/>
                </a:ext>
              </a:extLst>
            </p:cNvPr>
            <p:cNvSpPr txBox="1"/>
            <p:nvPr/>
          </p:nvSpPr>
          <p:spPr>
            <a:xfrm>
              <a:off x="6808655" y="3316566"/>
              <a:ext cx="1500596" cy="509579"/>
            </a:xfrm>
            <a:prstGeom prst="rect">
              <a:avLst/>
            </a:prstGeom>
            <a:noFill/>
          </p:spPr>
          <p:txBody>
            <a:bodyPr wrap="square" lIns="0" tIns="0" rIns="0" bIns="0" rtlCol="0" anchor="ctr">
              <a:spAutoFit/>
            </a:bodyPr>
            <a:lstStyle/>
            <a:p>
              <a:pPr marL="171450" indent="-171450" defTabSz="685800">
                <a:buFont typeface="Arial" panose="020B0604020202020204" pitchFamily="34" charset="0"/>
                <a:buChar char="•"/>
              </a:pPr>
              <a:r>
                <a:rPr lang="en-US" sz="1050" dirty="0">
                  <a:latin typeface="Calibri Light"/>
                </a:rPr>
                <a:t>National Data Repository (NDR)</a:t>
              </a:r>
            </a:p>
            <a:p>
              <a:pPr marL="171450" indent="-171450" defTabSz="685800">
                <a:buFont typeface="Arial" panose="020B0604020202020204" pitchFamily="34" charset="0"/>
                <a:buChar char="•"/>
              </a:pPr>
              <a:r>
                <a:rPr lang="en-US" sz="1050" dirty="0" err="1">
                  <a:latin typeface="Calibri Light"/>
                </a:rPr>
                <a:t>NigeriaMRS</a:t>
              </a:r>
              <a:endParaRPr lang="en-US" sz="1050" dirty="0">
                <a:latin typeface="Calibri Light"/>
              </a:endParaRPr>
            </a:p>
          </p:txBody>
        </p:sp>
        <p:sp>
          <p:nvSpPr>
            <p:cNvPr id="151" name="TextBox 150">
              <a:extLst>
                <a:ext uri="{FF2B5EF4-FFF2-40B4-BE49-F238E27FC236}">
                  <a16:creationId xmlns:a16="http://schemas.microsoft.com/office/drawing/2014/main" id="{269059BD-5BEF-4B22-9D87-AC985C86C7EA}"/>
                </a:ext>
              </a:extLst>
            </p:cNvPr>
            <p:cNvSpPr txBox="1"/>
            <p:nvPr/>
          </p:nvSpPr>
          <p:spPr>
            <a:xfrm>
              <a:off x="6789420" y="2277218"/>
              <a:ext cx="1500596" cy="291188"/>
            </a:xfrm>
            <a:prstGeom prst="rect">
              <a:avLst/>
            </a:prstGeom>
            <a:noFill/>
          </p:spPr>
          <p:txBody>
            <a:bodyPr wrap="square" lIns="0" tIns="0" rIns="0" bIns="0" rtlCol="0" anchor="ctr">
              <a:spAutoFit/>
            </a:bodyPr>
            <a:lstStyle/>
            <a:p>
              <a:pPr algn="ctr" defTabSz="685800"/>
              <a:r>
                <a:rPr lang="en-US" b="1" dirty="0">
                  <a:latin typeface="Calibri Light"/>
                </a:rPr>
                <a:t>DATA SOURCE</a:t>
              </a:r>
            </a:p>
          </p:txBody>
        </p:sp>
      </p:grpSp>
    </p:spTree>
    <p:extLst>
      <p:ext uri="{BB962C8B-B14F-4D97-AF65-F5344CB8AC3E}">
        <p14:creationId xmlns:p14="http://schemas.microsoft.com/office/powerpoint/2010/main" val="417309325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TextBox 133">
            <a:extLst>
              <a:ext uri="{FF2B5EF4-FFF2-40B4-BE49-F238E27FC236}">
                <a16:creationId xmlns:a16="http://schemas.microsoft.com/office/drawing/2014/main" id="{86E6788C-76AA-43BC-8B7F-196C83841096}"/>
              </a:ext>
            </a:extLst>
          </p:cNvPr>
          <p:cNvSpPr txBox="1"/>
          <p:nvPr/>
        </p:nvSpPr>
        <p:spPr>
          <a:xfrm>
            <a:off x="1847850" y="463992"/>
            <a:ext cx="8496300" cy="553998"/>
          </a:xfrm>
          <a:prstGeom prst="rect">
            <a:avLst/>
          </a:prstGeom>
          <a:noFill/>
        </p:spPr>
        <p:txBody>
          <a:bodyPr wrap="square" lIns="0" tIns="0" rIns="0" bIns="0" rtlCol="0" anchor="t">
            <a:spAutoFit/>
          </a:bodyPr>
          <a:lstStyle/>
          <a:p>
            <a:pPr algn="ctr" defTabSz="685800"/>
            <a:r>
              <a:rPr lang="en-US" sz="3600" dirty="0">
                <a:latin typeface="Corbel" panose="020B0503020204020204"/>
              </a:rPr>
              <a:t>TX_RTT</a:t>
            </a:r>
          </a:p>
        </p:txBody>
      </p:sp>
      <p:grpSp>
        <p:nvGrpSpPr>
          <p:cNvPr id="2" name="Group 1">
            <a:extLst>
              <a:ext uri="{FF2B5EF4-FFF2-40B4-BE49-F238E27FC236}">
                <a16:creationId xmlns:a16="http://schemas.microsoft.com/office/drawing/2014/main" id="{11383E8B-A9F5-4C59-A67A-3554539F5B7A}"/>
              </a:ext>
            </a:extLst>
          </p:cNvPr>
          <p:cNvGrpSpPr/>
          <p:nvPr/>
        </p:nvGrpSpPr>
        <p:grpSpPr>
          <a:xfrm>
            <a:off x="1524001" y="1143000"/>
            <a:ext cx="9144001" cy="5578476"/>
            <a:chOff x="0" y="857250"/>
            <a:chExt cx="9144001" cy="5864226"/>
          </a:xfrm>
        </p:grpSpPr>
        <p:sp>
          <p:nvSpPr>
            <p:cNvPr id="98" name="Rectangle 97">
              <a:extLst>
                <a:ext uri="{FF2B5EF4-FFF2-40B4-BE49-F238E27FC236}">
                  <a16:creationId xmlns:a16="http://schemas.microsoft.com/office/drawing/2014/main" id="{84CAA34D-CD75-45C6-B39E-7C242EB87261}"/>
                </a:ext>
              </a:extLst>
            </p:cNvPr>
            <p:cNvSpPr/>
            <p:nvPr/>
          </p:nvSpPr>
          <p:spPr>
            <a:xfrm>
              <a:off x="1" y="2871107"/>
              <a:ext cx="9144000" cy="1306286"/>
            </a:xfrm>
            <a:prstGeom prst="rect">
              <a:avLst/>
            </a:prstGeom>
            <a:solidFill>
              <a:srgbClr val="E7E6E6"/>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99" name="Rectangle: Rounded Corners 98">
              <a:extLst>
                <a:ext uri="{FF2B5EF4-FFF2-40B4-BE49-F238E27FC236}">
                  <a16:creationId xmlns:a16="http://schemas.microsoft.com/office/drawing/2014/main" id="{B79F2794-CAB0-4CBC-A170-CA7853D4B5E7}"/>
                </a:ext>
              </a:extLst>
            </p:cNvPr>
            <p:cNvSpPr/>
            <p:nvPr/>
          </p:nvSpPr>
          <p:spPr>
            <a:xfrm>
              <a:off x="3652410" y="2015558"/>
              <a:ext cx="1951265" cy="3145971"/>
            </a:xfrm>
            <a:prstGeom prst="roundRect">
              <a:avLst>
                <a:gd name="adj" fmla="val 4952"/>
              </a:avLst>
            </a:prstGeom>
            <a:solidFill>
              <a:sysClr val="window" lastClr="FFFFFF">
                <a:lumMod val="65000"/>
              </a:sys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00" name="Rectangle: Rounded Corners 99">
              <a:extLst>
                <a:ext uri="{FF2B5EF4-FFF2-40B4-BE49-F238E27FC236}">
                  <a16:creationId xmlns:a16="http://schemas.microsoft.com/office/drawing/2014/main" id="{624C18DD-A9DF-4469-A7B6-6C9AAA2D41F4}"/>
                </a:ext>
              </a:extLst>
            </p:cNvPr>
            <p:cNvSpPr/>
            <p:nvPr/>
          </p:nvSpPr>
          <p:spPr>
            <a:xfrm>
              <a:off x="6625597" y="2015558"/>
              <a:ext cx="1951265" cy="3145971"/>
            </a:xfrm>
            <a:prstGeom prst="roundRect">
              <a:avLst>
                <a:gd name="adj" fmla="val 4952"/>
              </a:avLst>
            </a:prstGeom>
            <a:solidFill>
              <a:sysClr val="window" lastClr="FFFFFF">
                <a:lumMod val="65000"/>
              </a:sys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01" name="Rectangle: Rounded Corners 100">
              <a:extLst>
                <a:ext uri="{FF2B5EF4-FFF2-40B4-BE49-F238E27FC236}">
                  <a16:creationId xmlns:a16="http://schemas.microsoft.com/office/drawing/2014/main" id="{F503AF90-BD38-48FC-8812-4FA3F25DB0E6}"/>
                </a:ext>
              </a:extLst>
            </p:cNvPr>
            <p:cNvSpPr/>
            <p:nvPr/>
          </p:nvSpPr>
          <p:spPr>
            <a:xfrm>
              <a:off x="685800" y="2015558"/>
              <a:ext cx="1951265" cy="3145971"/>
            </a:xfrm>
            <a:prstGeom prst="roundRect">
              <a:avLst>
                <a:gd name="adj" fmla="val 4952"/>
              </a:avLst>
            </a:prstGeom>
            <a:solidFill>
              <a:sysClr val="window" lastClr="FFFFFF">
                <a:lumMod val="65000"/>
              </a:sys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02" name="Frame 101">
              <a:extLst>
                <a:ext uri="{FF2B5EF4-FFF2-40B4-BE49-F238E27FC236}">
                  <a16:creationId xmlns:a16="http://schemas.microsoft.com/office/drawing/2014/main" id="{530C96A5-18F8-41CE-8FBF-056A3D32634C}"/>
                </a:ext>
              </a:extLst>
            </p:cNvPr>
            <p:cNvSpPr/>
            <p:nvPr/>
          </p:nvSpPr>
          <p:spPr>
            <a:xfrm>
              <a:off x="0" y="857250"/>
              <a:ext cx="9144000" cy="5143500"/>
            </a:xfrm>
            <a:prstGeom prst="frame">
              <a:avLst>
                <a:gd name="adj1" fmla="val 1053"/>
              </a:avLst>
            </a:prstGeom>
            <a:solidFill>
              <a:srgbClr val="44546A">
                <a:lumMod val="40000"/>
                <a:lumOff val="60000"/>
              </a:srgbClr>
            </a:solidFill>
            <a:ln w="12700" cap="flat" cmpd="sng" algn="ctr">
              <a:noFill/>
              <a:prstDash val="solid"/>
              <a:miter lim="800000"/>
            </a:ln>
            <a:effectLst/>
          </p:spPr>
          <p:txBody>
            <a:bodyPr rtlCol="0" anchor="ctr"/>
            <a:lstStyle/>
            <a:p>
              <a:pPr algn="ctr" defTabSz="685800">
                <a:defRPr/>
              </a:pPr>
              <a:endParaRPr lang="en-US" sz="1350" kern="0">
                <a:solidFill>
                  <a:prstClr val="black"/>
                </a:solidFill>
                <a:latin typeface="Calibri Light"/>
              </a:endParaRPr>
            </a:p>
          </p:txBody>
        </p:sp>
        <p:sp>
          <p:nvSpPr>
            <p:cNvPr id="103" name="Rectangle 102">
              <a:extLst>
                <a:ext uri="{FF2B5EF4-FFF2-40B4-BE49-F238E27FC236}">
                  <a16:creationId xmlns:a16="http://schemas.microsoft.com/office/drawing/2014/main" id="{D5A75610-4C9C-4007-86BE-0C93387BD4CC}"/>
                </a:ext>
              </a:extLst>
            </p:cNvPr>
            <p:cNvSpPr/>
            <p:nvPr/>
          </p:nvSpPr>
          <p:spPr>
            <a:xfrm>
              <a:off x="0" y="857250"/>
              <a:ext cx="336430" cy="336430"/>
            </a:xfrm>
            <a:prstGeom prst="rect">
              <a:avLst/>
            </a:prstGeom>
            <a:solidFill>
              <a:srgbClr val="AF5F6D"/>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04" name="Rectangle 103">
              <a:extLst>
                <a:ext uri="{FF2B5EF4-FFF2-40B4-BE49-F238E27FC236}">
                  <a16:creationId xmlns:a16="http://schemas.microsoft.com/office/drawing/2014/main" id="{88DED4A1-8837-48AC-9F2B-DE23F8D97ECB}"/>
                </a:ext>
              </a:extLst>
            </p:cNvPr>
            <p:cNvSpPr/>
            <p:nvPr/>
          </p:nvSpPr>
          <p:spPr>
            <a:xfrm>
              <a:off x="8807571" y="5664321"/>
              <a:ext cx="336430" cy="336430"/>
            </a:xfrm>
            <a:prstGeom prst="rect">
              <a:avLst/>
            </a:prstGeom>
            <a:solidFill>
              <a:srgbClr val="EB6B56"/>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18" name="Slide Number Placeholder 21">
              <a:extLst>
                <a:ext uri="{FF2B5EF4-FFF2-40B4-BE49-F238E27FC236}">
                  <a16:creationId xmlns:a16="http://schemas.microsoft.com/office/drawing/2014/main" id="{93A42D60-09D3-464C-9CEE-9793BC406A2C}"/>
                </a:ext>
              </a:extLst>
            </p:cNvPr>
            <p:cNvSpPr txBox="1">
              <a:spLocks/>
            </p:cNvSpPr>
            <p:nvPr/>
          </p:nvSpPr>
          <p:spPr>
            <a:xfrm>
              <a:off x="6457950" y="6356351"/>
              <a:ext cx="2057400" cy="365125"/>
            </a:xfrm>
            <a:prstGeom prst="rect">
              <a:avLst/>
            </a:prstGeom>
          </p:spPr>
          <p:txBody>
            <a:bodyPr vert="horz" lIns="91440" tIns="45720" rIns="91440" bIns="4572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fld id="{B9940D52-AD77-4C6A-9DCC-3EEF87AE9DF8}" type="slidenum">
                <a:rPr lang="en-US">
                  <a:solidFill>
                    <a:prstClr val="black">
                      <a:tint val="75000"/>
                    </a:prstClr>
                  </a:solidFill>
                  <a:latin typeface="Calibri Light"/>
                </a:rPr>
                <a:pPr defTabSz="685800"/>
                <a:t>73</a:t>
              </a:fld>
              <a:endParaRPr lang="en-US">
                <a:solidFill>
                  <a:prstClr val="black">
                    <a:tint val="75000"/>
                  </a:prstClr>
                </a:solidFill>
                <a:latin typeface="Calibri Light"/>
              </a:endParaRPr>
            </a:p>
          </p:txBody>
        </p:sp>
        <p:sp>
          <p:nvSpPr>
            <p:cNvPr id="119" name="Rectangle: Rounded Corners 118">
              <a:extLst>
                <a:ext uri="{FF2B5EF4-FFF2-40B4-BE49-F238E27FC236}">
                  <a16:creationId xmlns:a16="http://schemas.microsoft.com/office/drawing/2014/main" id="{A31B6B7F-B442-478B-AC83-5877659C504E}"/>
                </a:ext>
              </a:extLst>
            </p:cNvPr>
            <p:cNvSpPr/>
            <p:nvPr/>
          </p:nvSpPr>
          <p:spPr>
            <a:xfrm>
              <a:off x="628650" y="1951264"/>
              <a:ext cx="1951265" cy="3145971"/>
            </a:xfrm>
            <a:prstGeom prst="roundRect">
              <a:avLst>
                <a:gd name="adj" fmla="val 4952"/>
              </a:avLst>
            </a:prstGeom>
            <a:solidFill>
              <a:schemeClr val="accent4">
                <a:lumMod val="20000"/>
                <a:lumOff val="80000"/>
              </a:scheme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20" name="Rectangle: Rounded Corners 119">
              <a:extLst>
                <a:ext uri="{FF2B5EF4-FFF2-40B4-BE49-F238E27FC236}">
                  <a16:creationId xmlns:a16="http://schemas.microsoft.com/office/drawing/2014/main" id="{755AABF3-A803-4326-BD1C-065642A1AA83}"/>
                </a:ext>
              </a:extLst>
            </p:cNvPr>
            <p:cNvSpPr/>
            <p:nvPr/>
          </p:nvSpPr>
          <p:spPr>
            <a:xfrm>
              <a:off x="3596368" y="1951264"/>
              <a:ext cx="1951265" cy="3145971"/>
            </a:xfrm>
            <a:prstGeom prst="roundRect">
              <a:avLst>
                <a:gd name="adj" fmla="val 4952"/>
              </a:avLst>
            </a:prstGeom>
            <a:solidFill>
              <a:schemeClr val="bg1">
                <a:lumMod val="85000"/>
              </a:scheme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21" name="Rectangle: Rounded Corners 120">
              <a:extLst>
                <a:ext uri="{FF2B5EF4-FFF2-40B4-BE49-F238E27FC236}">
                  <a16:creationId xmlns:a16="http://schemas.microsoft.com/office/drawing/2014/main" id="{51F48CB3-9A91-4CD8-BAB4-372731EF5FB1}"/>
                </a:ext>
              </a:extLst>
            </p:cNvPr>
            <p:cNvSpPr/>
            <p:nvPr/>
          </p:nvSpPr>
          <p:spPr>
            <a:xfrm>
              <a:off x="6564085" y="1951264"/>
              <a:ext cx="1951265" cy="3145971"/>
            </a:xfrm>
            <a:prstGeom prst="roundRect">
              <a:avLst>
                <a:gd name="adj" fmla="val 4952"/>
              </a:avLst>
            </a:prstGeom>
            <a:solidFill>
              <a:schemeClr val="accent6">
                <a:lumMod val="20000"/>
                <a:lumOff val="80000"/>
              </a:scheme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grpSp>
          <p:nvGrpSpPr>
            <p:cNvPr id="122" name="Group 121">
              <a:extLst>
                <a:ext uri="{FF2B5EF4-FFF2-40B4-BE49-F238E27FC236}">
                  <a16:creationId xmlns:a16="http://schemas.microsoft.com/office/drawing/2014/main" id="{1D5F4261-1706-4F0E-8267-369D57C1FB88}"/>
                </a:ext>
              </a:extLst>
            </p:cNvPr>
            <p:cNvGrpSpPr/>
            <p:nvPr/>
          </p:nvGrpSpPr>
          <p:grpSpPr>
            <a:xfrm>
              <a:off x="2875574" y="3333082"/>
              <a:ext cx="425135" cy="382335"/>
              <a:chOff x="4854484" y="5910272"/>
              <a:chExt cx="283864" cy="255286"/>
            </a:xfrm>
            <a:solidFill>
              <a:srgbClr val="44546A"/>
            </a:solidFill>
          </p:grpSpPr>
          <p:sp>
            <p:nvSpPr>
              <p:cNvPr id="123" name="Freeform 251">
                <a:extLst>
                  <a:ext uri="{FF2B5EF4-FFF2-40B4-BE49-F238E27FC236}">
                    <a16:creationId xmlns:a16="http://schemas.microsoft.com/office/drawing/2014/main" id="{0C8CED70-9586-4725-ABB9-23097BB29906}"/>
                  </a:ext>
                </a:extLst>
              </p:cNvPr>
              <p:cNvSpPr>
                <a:spLocks/>
              </p:cNvSpPr>
              <p:nvPr/>
            </p:nvSpPr>
            <p:spPr bwMode="auto">
              <a:xfrm>
                <a:off x="4854484" y="5910272"/>
                <a:ext cx="165746" cy="255286"/>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sp>
            <p:nvSpPr>
              <p:cNvPr id="124" name="Freeform 252">
                <a:extLst>
                  <a:ext uri="{FF2B5EF4-FFF2-40B4-BE49-F238E27FC236}">
                    <a16:creationId xmlns:a16="http://schemas.microsoft.com/office/drawing/2014/main" id="{0F01F1D5-7465-4E64-9CCB-5C815BD8B5EC}"/>
                  </a:ext>
                </a:extLst>
              </p:cNvPr>
              <p:cNvSpPr>
                <a:spLocks/>
              </p:cNvSpPr>
              <p:nvPr/>
            </p:nvSpPr>
            <p:spPr bwMode="auto">
              <a:xfrm>
                <a:off x="4972602" y="5910272"/>
                <a:ext cx="165746" cy="255286"/>
              </a:xfrm>
              <a:custGeom>
                <a:avLst/>
                <a:gdLst>
                  <a:gd name="T0" fmla="*/ 344 w 348"/>
                  <a:gd name="T1" fmla="*/ 260 h 535"/>
                  <a:gd name="T2" fmla="*/ 86 w 348"/>
                  <a:gd name="T3" fmla="*/ 2 h 535"/>
                  <a:gd name="T4" fmla="*/ 83 w 348"/>
                  <a:gd name="T5" fmla="*/ 0 h 535"/>
                  <a:gd name="T6" fmla="*/ 80 w 348"/>
                  <a:gd name="T7" fmla="*/ 0 h 535"/>
                  <a:gd name="T8" fmla="*/ 75 w 348"/>
                  <a:gd name="T9" fmla="*/ 0 h 535"/>
                  <a:gd name="T10" fmla="*/ 72 w 348"/>
                  <a:gd name="T11" fmla="*/ 2 h 535"/>
                  <a:gd name="T12" fmla="*/ 3 w 348"/>
                  <a:gd name="T13" fmla="*/ 72 h 535"/>
                  <a:gd name="T14" fmla="*/ 1 w 348"/>
                  <a:gd name="T15" fmla="*/ 75 h 535"/>
                  <a:gd name="T16" fmla="*/ 0 w 348"/>
                  <a:gd name="T17" fmla="*/ 79 h 535"/>
                  <a:gd name="T18" fmla="*/ 1 w 348"/>
                  <a:gd name="T19" fmla="*/ 83 h 535"/>
                  <a:gd name="T20" fmla="*/ 3 w 348"/>
                  <a:gd name="T21" fmla="*/ 86 h 535"/>
                  <a:gd name="T22" fmla="*/ 185 w 348"/>
                  <a:gd name="T23" fmla="*/ 268 h 535"/>
                  <a:gd name="T24" fmla="*/ 3 w 348"/>
                  <a:gd name="T25" fmla="*/ 449 h 535"/>
                  <a:gd name="T26" fmla="*/ 1 w 348"/>
                  <a:gd name="T27" fmla="*/ 452 h 535"/>
                  <a:gd name="T28" fmla="*/ 0 w 348"/>
                  <a:gd name="T29" fmla="*/ 457 h 535"/>
                  <a:gd name="T30" fmla="*/ 1 w 348"/>
                  <a:gd name="T31" fmla="*/ 460 h 535"/>
                  <a:gd name="T32" fmla="*/ 3 w 348"/>
                  <a:gd name="T33" fmla="*/ 463 h 535"/>
                  <a:gd name="T34" fmla="*/ 72 w 348"/>
                  <a:gd name="T35" fmla="*/ 532 h 535"/>
                  <a:gd name="T36" fmla="*/ 75 w 348"/>
                  <a:gd name="T37" fmla="*/ 534 h 535"/>
                  <a:gd name="T38" fmla="*/ 80 w 348"/>
                  <a:gd name="T39" fmla="*/ 535 h 535"/>
                  <a:gd name="T40" fmla="*/ 83 w 348"/>
                  <a:gd name="T41" fmla="*/ 534 h 535"/>
                  <a:gd name="T42" fmla="*/ 86 w 348"/>
                  <a:gd name="T43" fmla="*/ 533 h 535"/>
                  <a:gd name="T44" fmla="*/ 344 w 348"/>
                  <a:gd name="T45" fmla="*/ 274 h 535"/>
                  <a:gd name="T46" fmla="*/ 347 w 348"/>
                  <a:gd name="T47" fmla="*/ 271 h 535"/>
                  <a:gd name="T48" fmla="*/ 348 w 348"/>
                  <a:gd name="T49" fmla="*/ 268 h 535"/>
                  <a:gd name="T50" fmla="*/ 347 w 348"/>
                  <a:gd name="T51" fmla="*/ 263 h 535"/>
                  <a:gd name="T52" fmla="*/ 344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4" y="260"/>
                    </a:moveTo>
                    <a:lnTo>
                      <a:pt x="86" y="2"/>
                    </a:lnTo>
                    <a:lnTo>
                      <a:pt x="83" y="0"/>
                    </a:lnTo>
                    <a:lnTo>
                      <a:pt x="80" y="0"/>
                    </a:lnTo>
                    <a:lnTo>
                      <a:pt x="75" y="0"/>
                    </a:lnTo>
                    <a:lnTo>
                      <a:pt x="72" y="2"/>
                    </a:lnTo>
                    <a:lnTo>
                      <a:pt x="3" y="72"/>
                    </a:lnTo>
                    <a:lnTo>
                      <a:pt x="1" y="75"/>
                    </a:lnTo>
                    <a:lnTo>
                      <a:pt x="0" y="79"/>
                    </a:lnTo>
                    <a:lnTo>
                      <a:pt x="1" y="83"/>
                    </a:lnTo>
                    <a:lnTo>
                      <a:pt x="3" y="86"/>
                    </a:lnTo>
                    <a:lnTo>
                      <a:pt x="185" y="268"/>
                    </a:lnTo>
                    <a:lnTo>
                      <a:pt x="3" y="449"/>
                    </a:lnTo>
                    <a:lnTo>
                      <a:pt x="1" y="452"/>
                    </a:lnTo>
                    <a:lnTo>
                      <a:pt x="0" y="457"/>
                    </a:lnTo>
                    <a:lnTo>
                      <a:pt x="1" y="460"/>
                    </a:lnTo>
                    <a:lnTo>
                      <a:pt x="3" y="463"/>
                    </a:lnTo>
                    <a:lnTo>
                      <a:pt x="72" y="532"/>
                    </a:lnTo>
                    <a:lnTo>
                      <a:pt x="75" y="534"/>
                    </a:lnTo>
                    <a:lnTo>
                      <a:pt x="80" y="535"/>
                    </a:lnTo>
                    <a:lnTo>
                      <a:pt x="83" y="534"/>
                    </a:lnTo>
                    <a:lnTo>
                      <a:pt x="86" y="533"/>
                    </a:lnTo>
                    <a:lnTo>
                      <a:pt x="344" y="274"/>
                    </a:lnTo>
                    <a:lnTo>
                      <a:pt x="347" y="271"/>
                    </a:lnTo>
                    <a:lnTo>
                      <a:pt x="348" y="268"/>
                    </a:lnTo>
                    <a:lnTo>
                      <a:pt x="347" y="263"/>
                    </a:lnTo>
                    <a:lnTo>
                      <a:pt x="344"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grpSp>
        <p:grpSp>
          <p:nvGrpSpPr>
            <p:cNvPr id="125" name="Group 124">
              <a:extLst>
                <a:ext uri="{FF2B5EF4-FFF2-40B4-BE49-F238E27FC236}">
                  <a16:creationId xmlns:a16="http://schemas.microsoft.com/office/drawing/2014/main" id="{819BCB2C-2594-4246-AF1C-54887570D1B2}"/>
                </a:ext>
              </a:extLst>
            </p:cNvPr>
            <p:cNvGrpSpPr/>
            <p:nvPr/>
          </p:nvGrpSpPr>
          <p:grpSpPr>
            <a:xfrm>
              <a:off x="5843292" y="3333082"/>
              <a:ext cx="425135" cy="382335"/>
              <a:chOff x="4854484" y="5910272"/>
              <a:chExt cx="283864" cy="255286"/>
            </a:xfrm>
            <a:solidFill>
              <a:srgbClr val="44546A"/>
            </a:solidFill>
          </p:grpSpPr>
          <p:sp>
            <p:nvSpPr>
              <p:cNvPr id="126" name="Freeform 251">
                <a:extLst>
                  <a:ext uri="{FF2B5EF4-FFF2-40B4-BE49-F238E27FC236}">
                    <a16:creationId xmlns:a16="http://schemas.microsoft.com/office/drawing/2014/main" id="{B4AFA590-489D-461F-87B5-31AA21C9CA6E}"/>
                  </a:ext>
                </a:extLst>
              </p:cNvPr>
              <p:cNvSpPr>
                <a:spLocks/>
              </p:cNvSpPr>
              <p:nvPr/>
            </p:nvSpPr>
            <p:spPr bwMode="auto">
              <a:xfrm>
                <a:off x="4854484" y="5910272"/>
                <a:ext cx="165746" cy="255286"/>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sp>
            <p:nvSpPr>
              <p:cNvPr id="127" name="Freeform 252">
                <a:extLst>
                  <a:ext uri="{FF2B5EF4-FFF2-40B4-BE49-F238E27FC236}">
                    <a16:creationId xmlns:a16="http://schemas.microsoft.com/office/drawing/2014/main" id="{686E9970-8B1D-4D78-8BC4-D6A0633DF381}"/>
                  </a:ext>
                </a:extLst>
              </p:cNvPr>
              <p:cNvSpPr>
                <a:spLocks/>
              </p:cNvSpPr>
              <p:nvPr/>
            </p:nvSpPr>
            <p:spPr bwMode="auto">
              <a:xfrm>
                <a:off x="4972602" y="5910272"/>
                <a:ext cx="165746" cy="255286"/>
              </a:xfrm>
              <a:custGeom>
                <a:avLst/>
                <a:gdLst>
                  <a:gd name="T0" fmla="*/ 344 w 348"/>
                  <a:gd name="T1" fmla="*/ 260 h 535"/>
                  <a:gd name="T2" fmla="*/ 86 w 348"/>
                  <a:gd name="T3" fmla="*/ 2 h 535"/>
                  <a:gd name="T4" fmla="*/ 83 w 348"/>
                  <a:gd name="T5" fmla="*/ 0 h 535"/>
                  <a:gd name="T6" fmla="*/ 80 w 348"/>
                  <a:gd name="T7" fmla="*/ 0 h 535"/>
                  <a:gd name="T8" fmla="*/ 75 w 348"/>
                  <a:gd name="T9" fmla="*/ 0 h 535"/>
                  <a:gd name="T10" fmla="*/ 72 w 348"/>
                  <a:gd name="T11" fmla="*/ 2 h 535"/>
                  <a:gd name="T12" fmla="*/ 3 w 348"/>
                  <a:gd name="T13" fmla="*/ 72 h 535"/>
                  <a:gd name="T14" fmla="*/ 1 w 348"/>
                  <a:gd name="T15" fmla="*/ 75 h 535"/>
                  <a:gd name="T16" fmla="*/ 0 w 348"/>
                  <a:gd name="T17" fmla="*/ 79 h 535"/>
                  <a:gd name="T18" fmla="*/ 1 w 348"/>
                  <a:gd name="T19" fmla="*/ 83 h 535"/>
                  <a:gd name="T20" fmla="*/ 3 w 348"/>
                  <a:gd name="T21" fmla="*/ 86 h 535"/>
                  <a:gd name="T22" fmla="*/ 185 w 348"/>
                  <a:gd name="T23" fmla="*/ 268 h 535"/>
                  <a:gd name="T24" fmla="*/ 3 w 348"/>
                  <a:gd name="T25" fmla="*/ 449 h 535"/>
                  <a:gd name="T26" fmla="*/ 1 w 348"/>
                  <a:gd name="T27" fmla="*/ 452 h 535"/>
                  <a:gd name="T28" fmla="*/ 0 w 348"/>
                  <a:gd name="T29" fmla="*/ 457 h 535"/>
                  <a:gd name="T30" fmla="*/ 1 w 348"/>
                  <a:gd name="T31" fmla="*/ 460 h 535"/>
                  <a:gd name="T32" fmla="*/ 3 w 348"/>
                  <a:gd name="T33" fmla="*/ 463 h 535"/>
                  <a:gd name="T34" fmla="*/ 72 w 348"/>
                  <a:gd name="T35" fmla="*/ 532 h 535"/>
                  <a:gd name="T36" fmla="*/ 75 w 348"/>
                  <a:gd name="T37" fmla="*/ 534 h 535"/>
                  <a:gd name="T38" fmla="*/ 80 w 348"/>
                  <a:gd name="T39" fmla="*/ 535 h 535"/>
                  <a:gd name="T40" fmla="*/ 83 w 348"/>
                  <a:gd name="T41" fmla="*/ 534 h 535"/>
                  <a:gd name="T42" fmla="*/ 86 w 348"/>
                  <a:gd name="T43" fmla="*/ 533 h 535"/>
                  <a:gd name="T44" fmla="*/ 344 w 348"/>
                  <a:gd name="T45" fmla="*/ 274 h 535"/>
                  <a:gd name="T46" fmla="*/ 347 w 348"/>
                  <a:gd name="T47" fmla="*/ 271 h 535"/>
                  <a:gd name="T48" fmla="*/ 348 w 348"/>
                  <a:gd name="T49" fmla="*/ 268 h 535"/>
                  <a:gd name="T50" fmla="*/ 347 w 348"/>
                  <a:gd name="T51" fmla="*/ 263 h 535"/>
                  <a:gd name="T52" fmla="*/ 344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4" y="260"/>
                    </a:moveTo>
                    <a:lnTo>
                      <a:pt x="86" y="2"/>
                    </a:lnTo>
                    <a:lnTo>
                      <a:pt x="83" y="0"/>
                    </a:lnTo>
                    <a:lnTo>
                      <a:pt x="80" y="0"/>
                    </a:lnTo>
                    <a:lnTo>
                      <a:pt x="75" y="0"/>
                    </a:lnTo>
                    <a:lnTo>
                      <a:pt x="72" y="2"/>
                    </a:lnTo>
                    <a:lnTo>
                      <a:pt x="3" y="72"/>
                    </a:lnTo>
                    <a:lnTo>
                      <a:pt x="1" y="75"/>
                    </a:lnTo>
                    <a:lnTo>
                      <a:pt x="0" y="79"/>
                    </a:lnTo>
                    <a:lnTo>
                      <a:pt x="1" y="83"/>
                    </a:lnTo>
                    <a:lnTo>
                      <a:pt x="3" y="86"/>
                    </a:lnTo>
                    <a:lnTo>
                      <a:pt x="185" y="268"/>
                    </a:lnTo>
                    <a:lnTo>
                      <a:pt x="3" y="449"/>
                    </a:lnTo>
                    <a:lnTo>
                      <a:pt x="1" y="452"/>
                    </a:lnTo>
                    <a:lnTo>
                      <a:pt x="0" y="457"/>
                    </a:lnTo>
                    <a:lnTo>
                      <a:pt x="1" y="460"/>
                    </a:lnTo>
                    <a:lnTo>
                      <a:pt x="3" y="463"/>
                    </a:lnTo>
                    <a:lnTo>
                      <a:pt x="72" y="532"/>
                    </a:lnTo>
                    <a:lnTo>
                      <a:pt x="75" y="534"/>
                    </a:lnTo>
                    <a:lnTo>
                      <a:pt x="80" y="535"/>
                    </a:lnTo>
                    <a:lnTo>
                      <a:pt x="83" y="534"/>
                    </a:lnTo>
                    <a:lnTo>
                      <a:pt x="86" y="533"/>
                    </a:lnTo>
                    <a:lnTo>
                      <a:pt x="344" y="274"/>
                    </a:lnTo>
                    <a:lnTo>
                      <a:pt x="347" y="271"/>
                    </a:lnTo>
                    <a:lnTo>
                      <a:pt x="348" y="268"/>
                    </a:lnTo>
                    <a:lnTo>
                      <a:pt x="347" y="263"/>
                    </a:lnTo>
                    <a:lnTo>
                      <a:pt x="344"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grpSp>
        <p:sp>
          <p:nvSpPr>
            <p:cNvPr id="137" name="TextBox 136">
              <a:extLst>
                <a:ext uri="{FF2B5EF4-FFF2-40B4-BE49-F238E27FC236}">
                  <a16:creationId xmlns:a16="http://schemas.microsoft.com/office/drawing/2014/main" id="{BD72369C-B18A-43FF-AFFB-FB7B6C1A5ABC}"/>
                </a:ext>
              </a:extLst>
            </p:cNvPr>
            <p:cNvSpPr txBox="1"/>
            <p:nvPr/>
          </p:nvSpPr>
          <p:spPr>
            <a:xfrm>
              <a:off x="765855" y="2937986"/>
              <a:ext cx="1719483" cy="1358877"/>
            </a:xfrm>
            <a:prstGeom prst="rect">
              <a:avLst/>
            </a:prstGeom>
            <a:noFill/>
            <a:ln>
              <a:noFill/>
            </a:ln>
          </p:spPr>
          <p:txBody>
            <a:bodyPr wrap="square" lIns="0" tIns="0" rIns="0" bIns="0" rtlCol="0" anchor="ctr">
              <a:spAutoFit/>
            </a:bodyPr>
            <a:lstStyle/>
            <a:p>
              <a:pPr defTabSz="685800"/>
              <a:r>
                <a:rPr lang="en-US" sz="1050" dirty="0">
                  <a:latin typeface="Calibri Light"/>
                </a:rPr>
                <a:t>In the reporting period:</a:t>
              </a:r>
            </a:p>
            <a:p>
              <a:pPr marL="171450" indent="-171450" defTabSz="685800">
                <a:buFont typeface="Arial" panose="020B0604020202020204" pitchFamily="34" charset="0"/>
                <a:buChar char="•"/>
              </a:pPr>
              <a:r>
                <a:rPr lang="en-US" sz="1050" dirty="0">
                  <a:latin typeface="Calibri Light"/>
                </a:rPr>
                <a:t>Not new on ART</a:t>
              </a:r>
            </a:p>
            <a:p>
              <a:pPr marL="171450" indent="-171450" defTabSz="685800">
                <a:buFont typeface="Arial" panose="020B0604020202020204" pitchFamily="34" charset="0"/>
                <a:buChar char="•"/>
              </a:pPr>
              <a:r>
                <a:rPr lang="en-US" sz="1050" dirty="0">
                  <a:latin typeface="Calibri Light"/>
                </a:rPr>
                <a:t>Be counted in TX_RTT and TX_CURR</a:t>
              </a:r>
            </a:p>
            <a:p>
              <a:pPr marL="171450" indent="-171450" defTabSz="685800">
                <a:buFont typeface="Arial" panose="020B0604020202020204" pitchFamily="34" charset="0"/>
                <a:buChar char="•"/>
              </a:pPr>
              <a:r>
                <a:rPr lang="en-US" sz="1050" dirty="0">
                  <a:latin typeface="Calibri Light"/>
                </a:rPr>
                <a:t>Not counted as TX_ML</a:t>
              </a:r>
            </a:p>
            <a:p>
              <a:pPr marL="171450" indent="-171450" defTabSz="685800">
                <a:buFont typeface="Arial" panose="020B0604020202020204" pitchFamily="34" charset="0"/>
                <a:buChar char="•"/>
              </a:pPr>
              <a:r>
                <a:rPr lang="en-US" sz="1050" dirty="0">
                  <a:latin typeface="Calibri Light"/>
                </a:rPr>
                <a:t>Not part of TX_CURR at the beginning of the reporting period</a:t>
              </a:r>
            </a:p>
          </p:txBody>
        </p:sp>
        <p:sp>
          <p:nvSpPr>
            <p:cNvPr id="138" name="TextBox 137">
              <a:extLst>
                <a:ext uri="{FF2B5EF4-FFF2-40B4-BE49-F238E27FC236}">
                  <a16:creationId xmlns:a16="http://schemas.microsoft.com/office/drawing/2014/main" id="{29087046-24DC-401B-97BD-14EADBFCDAAD}"/>
                </a:ext>
              </a:extLst>
            </p:cNvPr>
            <p:cNvSpPr txBox="1"/>
            <p:nvPr/>
          </p:nvSpPr>
          <p:spPr>
            <a:xfrm>
              <a:off x="853984" y="2197851"/>
              <a:ext cx="1500596" cy="582376"/>
            </a:xfrm>
            <a:prstGeom prst="rect">
              <a:avLst/>
            </a:prstGeom>
            <a:noFill/>
          </p:spPr>
          <p:txBody>
            <a:bodyPr wrap="square" lIns="0" tIns="0" rIns="0" bIns="0" rtlCol="0" anchor="ctr">
              <a:spAutoFit/>
            </a:bodyPr>
            <a:lstStyle/>
            <a:p>
              <a:pPr algn="ctr" defTabSz="685800"/>
              <a:r>
                <a:rPr lang="en-US" b="1" dirty="0">
                  <a:latin typeface="Calibri Light"/>
                </a:rPr>
                <a:t>COLLECTION/</a:t>
              </a:r>
            </a:p>
            <a:p>
              <a:pPr algn="ctr" defTabSz="685800"/>
              <a:r>
                <a:rPr lang="en-US" b="1" dirty="0">
                  <a:latin typeface="Calibri Light"/>
                </a:rPr>
                <a:t>REPORTING</a:t>
              </a:r>
            </a:p>
          </p:txBody>
        </p:sp>
        <p:sp>
          <p:nvSpPr>
            <p:cNvPr id="144" name="TextBox 143">
              <a:extLst>
                <a:ext uri="{FF2B5EF4-FFF2-40B4-BE49-F238E27FC236}">
                  <a16:creationId xmlns:a16="http://schemas.microsoft.com/office/drawing/2014/main" id="{C75D3502-2084-4D34-B7F6-EC24A147A540}"/>
                </a:ext>
              </a:extLst>
            </p:cNvPr>
            <p:cNvSpPr txBox="1"/>
            <p:nvPr/>
          </p:nvSpPr>
          <p:spPr>
            <a:xfrm>
              <a:off x="3786469" y="3298772"/>
              <a:ext cx="1626331" cy="339719"/>
            </a:xfrm>
            <a:prstGeom prst="rect">
              <a:avLst/>
            </a:prstGeom>
            <a:noFill/>
            <a:ln>
              <a:noFill/>
            </a:ln>
          </p:spPr>
          <p:txBody>
            <a:bodyPr wrap="square" lIns="0" tIns="0" rIns="0" bIns="0" rtlCol="0" anchor="ctr">
              <a:spAutoFit/>
            </a:bodyPr>
            <a:lstStyle>
              <a:defPPr>
                <a:defRPr lang="en-US"/>
              </a:defPPr>
              <a:lvl1pPr defTabSz="685800">
                <a:defRPr sz="1050" b="1">
                  <a:latin typeface="Calibri Light"/>
                </a:defRPr>
              </a:lvl1pPr>
            </a:lstStyle>
            <a:p>
              <a:pPr algn="ctr"/>
              <a:r>
                <a:rPr lang="en-US" b="0" dirty="0"/>
                <a:t>Confirm that TX_CURR ≥ TX_RTT</a:t>
              </a:r>
            </a:p>
          </p:txBody>
        </p:sp>
        <p:sp>
          <p:nvSpPr>
            <p:cNvPr id="145" name="TextBox 144">
              <a:extLst>
                <a:ext uri="{FF2B5EF4-FFF2-40B4-BE49-F238E27FC236}">
                  <a16:creationId xmlns:a16="http://schemas.microsoft.com/office/drawing/2014/main" id="{4229BB9B-1E9C-4794-BD7E-31916C0D2655}"/>
                </a:ext>
              </a:extLst>
            </p:cNvPr>
            <p:cNvSpPr txBox="1"/>
            <p:nvPr/>
          </p:nvSpPr>
          <p:spPr>
            <a:xfrm>
              <a:off x="3787215" y="2276002"/>
              <a:ext cx="1569569" cy="291188"/>
            </a:xfrm>
            <a:prstGeom prst="rect">
              <a:avLst/>
            </a:prstGeom>
            <a:noFill/>
          </p:spPr>
          <p:txBody>
            <a:bodyPr wrap="square" lIns="0" tIns="0" rIns="0" bIns="0" rtlCol="0" anchor="ctr">
              <a:spAutoFit/>
            </a:bodyPr>
            <a:lstStyle/>
            <a:p>
              <a:pPr algn="ctr" defTabSz="685800"/>
              <a:r>
                <a:rPr lang="en-US" b="1" dirty="0">
                  <a:latin typeface="Calibri Light"/>
                </a:rPr>
                <a:t>DATA QUALITY</a:t>
              </a:r>
            </a:p>
          </p:txBody>
        </p:sp>
        <p:sp>
          <p:nvSpPr>
            <p:cNvPr id="150" name="TextBox 149">
              <a:extLst>
                <a:ext uri="{FF2B5EF4-FFF2-40B4-BE49-F238E27FC236}">
                  <a16:creationId xmlns:a16="http://schemas.microsoft.com/office/drawing/2014/main" id="{A432B2BB-4C21-4AF1-9B8E-A30EC8F9E140}"/>
                </a:ext>
              </a:extLst>
            </p:cNvPr>
            <p:cNvSpPr txBox="1"/>
            <p:nvPr/>
          </p:nvSpPr>
          <p:spPr>
            <a:xfrm>
              <a:off x="6785564" y="3340451"/>
              <a:ext cx="1592581" cy="509579"/>
            </a:xfrm>
            <a:prstGeom prst="rect">
              <a:avLst/>
            </a:prstGeom>
            <a:noFill/>
          </p:spPr>
          <p:txBody>
            <a:bodyPr wrap="square" lIns="0" tIns="0" rIns="0" bIns="0" rtlCol="0" anchor="ctr">
              <a:spAutoFit/>
            </a:bodyPr>
            <a:lstStyle/>
            <a:p>
              <a:pPr marL="171450" indent="-171450" defTabSz="685800">
                <a:buFont typeface="Arial" panose="020B0604020202020204" pitchFamily="34" charset="0"/>
                <a:buChar char="•"/>
              </a:pPr>
              <a:r>
                <a:rPr lang="en-US" sz="1050" dirty="0">
                  <a:latin typeface="Calibri Light"/>
                </a:rPr>
                <a:t>5-year Age Band</a:t>
              </a:r>
            </a:p>
            <a:p>
              <a:pPr marL="171450" indent="-171450" defTabSz="685800">
                <a:buFont typeface="Arial" panose="020B0604020202020204" pitchFamily="34" charset="0"/>
                <a:buChar char="•"/>
              </a:pPr>
              <a:r>
                <a:rPr lang="en-US" sz="1050" dirty="0">
                  <a:latin typeface="Calibri Light"/>
                </a:rPr>
                <a:t>Sex</a:t>
              </a:r>
            </a:p>
            <a:p>
              <a:pPr marL="171450" indent="-171450" defTabSz="685800">
                <a:buFont typeface="Arial" panose="020B0604020202020204" pitchFamily="34" charset="0"/>
                <a:buChar char="•"/>
              </a:pPr>
              <a:r>
                <a:rPr lang="en-US" sz="1050" dirty="0">
                  <a:latin typeface="Calibri Light"/>
                </a:rPr>
                <a:t>Key Population Type</a:t>
              </a:r>
            </a:p>
          </p:txBody>
        </p:sp>
        <p:sp>
          <p:nvSpPr>
            <p:cNvPr id="151" name="TextBox 150">
              <a:extLst>
                <a:ext uri="{FF2B5EF4-FFF2-40B4-BE49-F238E27FC236}">
                  <a16:creationId xmlns:a16="http://schemas.microsoft.com/office/drawing/2014/main" id="{269059BD-5BEF-4B22-9D87-AC985C86C7EA}"/>
                </a:ext>
              </a:extLst>
            </p:cNvPr>
            <p:cNvSpPr txBox="1"/>
            <p:nvPr/>
          </p:nvSpPr>
          <p:spPr>
            <a:xfrm>
              <a:off x="6606468" y="2197851"/>
              <a:ext cx="1832066" cy="291188"/>
            </a:xfrm>
            <a:prstGeom prst="rect">
              <a:avLst/>
            </a:prstGeom>
            <a:noFill/>
          </p:spPr>
          <p:txBody>
            <a:bodyPr wrap="square" lIns="0" tIns="0" rIns="0" bIns="0" rtlCol="0" anchor="ctr">
              <a:spAutoFit/>
            </a:bodyPr>
            <a:lstStyle/>
            <a:p>
              <a:pPr algn="ctr" defTabSz="685800"/>
              <a:r>
                <a:rPr lang="en-US" b="1" dirty="0">
                  <a:latin typeface="Calibri Light"/>
                </a:rPr>
                <a:t>DISAGGREGATION</a:t>
              </a:r>
            </a:p>
          </p:txBody>
        </p:sp>
      </p:grpSp>
      <p:sp>
        <p:nvSpPr>
          <p:cNvPr id="28" name="TextBox 27">
            <a:extLst>
              <a:ext uri="{FF2B5EF4-FFF2-40B4-BE49-F238E27FC236}">
                <a16:creationId xmlns:a16="http://schemas.microsoft.com/office/drawing/2014/main" id="{7A05550D-5C73-04EF-3A21-884DF0003F37}"/>
              </a:ext>
            </a:extLst>
          </p:cNvPr>
          <p:cNvSpPr txBox="1"/>
          <p:nvPr/>
        </p:nvSpPr>
        <p:spPr>
          <a:xfrm>
            <a:off x="2289855" y="4492186"/>
            <a:ext cx="1719483" cy="161583"/>
          </a:xfrm>
          <a:prstGeom prst="rect">
            <a:avLst/>
          </a:prstGeom>
          <a:noFill/>
          <a:ln>
            <a:solidFill>
              <a:schemeClr val="bg1"/>
            </a:solidFill>
          </a:ln>
        </p:spPr>
        <p:txBody>
          <a:bodyPr wrap="square" lIns="0" tIns="0" rIns="0" bIns="0" rtlCol="0" anchor="ctr">
            <a:spAutoFit/>
          </a:bodyPr>
          <a:lstStyle/>
          <a:p>
            <a:pPr marL="171450" indent="-171450" defTabSz="685800">
              <a:buFont typeface="Arial" panose="020B0604020202020204" pitchFamily="34" charset="0"/>
              <a:buChar char="•"/>
            </a:pPr>
            <a:r>
              <a:rPr lang="en-US" sz="1050" dirty="0">
                <a:latin typeface="Calibri Light"/>
              </a:rPr>
              <a:t>Quarterly</a:t>
            </a:r>
          </a:p>
        </p:txBody>
      </p:sp>
    </p:spTree>
    <p:extLst>
      <p:ext uri="{BB962C8B-B14F-4D97-AF65-F5344CB8AC3E}">
        <p14:creationId xmlns:p14="http://schemas.microsoft.com/office/powerpoint/2010/main" val="167150668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TextBox 133">
            <a:extLst>
              <a:ext uri="{FF2B5EF4-FFF2-40B4-BE49-F238E27FC236}">
                <a16:creationId xmlns:a16="http://schemas.microsoft.com/office/drawing/2014/main" id="{86E6788C-76AA-43BC-8B7F-196C83841096}"/>
              </a:ext>
            </a:extLst>
          </p:cNvPr>
          <p:cNvSpPr txBox="1"/>
          <p:nvPr/>
        </p:nvSpPr>
        <p:spPr>
          <a:xfrm>
            <a:off x="1847850" y="463992"/>
            <a:ext cx="8496300" cy="553998"/>
          </a:xfrm>
          <a:prstGeom prst="rect">
            <a:avLst/>
          </a:prstGeom>
          <a:noFill/>
        </p:spPr>
        <p:txBody>
          <a:bodyPr wrap="square" lIns="0" tIns="0" rIns="0" bIns="0" rtlCol="0" anchor="t">
            <a:spAutoFit/>
          </a:bodyPr>
          <a:lstStyle/>
          <a:p>
            <a:pPr algn="ctr" defTabSz="685800"/>
            <a:r>
              <a:rPr lang="en-US" sz="3600" dirty="0">
                <a:latin typeface="Corbel" panose="020B0503020204020204"/>
              </a:rPr>
              <a:t>TX_TB</a:t>
            </a:r>
          </a:p>
        </p:txBody>
      </p:sp>
      <p:grpSp>
        <p:nvGrpSpPr>
          <p:cNvPr id="2" name="Group 1">
            <a:extLst>
              <a:ext uri="{FF2B5EF4-FFF2-40B4-BE49-F238E27FC236}">
                <a16:creationId xmlns:a16="http://schemas.microsoft.com/office/drawing/2014/main" id="{11383E8B-A9F5-4C59-A67A-3554539F5B7A}"/>
              </a:ext>
            </a:extLst>
          </p:cNvPr>
          <p:cNvGrpSpPr/>
          <p:nvPr/>
        </p:nvGrpSpPr>
        <p:grpSpPr>
          <a:xfrm>
            <a:off x="1524001" y="1143000"/>
            <a:ext cx="9144001" cy="5578476"/>
            <a:chOff x="0" y="857250"/>
            <a:chExt cx="9144001" cy="5864226"/>
          </a:xfrm>
        </p:grpSpPr>
        <p:sp>
          <p:nvSpPr>
            <p:cNvPr id="98" name="Rectangle 97">
              <a:extLst>
                <a:ext uri="{FF2B5EF4-FFF2-40B4-BE49-F238E27FC236}">
                  <a16:creationId xmlns:a16="http://schemas.microsoft.com/office/drawing/2014/main" id="{84CAA34D-CD75-45C6-B39E-7C242EB87261}"/>
                </a:ext>
              </a:extLst>
            </p:cNvPr>
            <p:cNvSpPr/>
            <p:nvPr/>
          </p:nvSpPr>
          <p:spPr>
            <a:xfrm>
              <a:off x="1" y="2871107"/>
              <a:ext cx="9144000" cy="1306286"/>
            </a:xfrm>
            <a:prstGeom prst="rect">
              <a:avLst/>
            </a:prstGeom>
            <a:solidFill>
              <a:srgbClr val="E7E6E6"/>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99" name="Rectangle: Rounded Corners 98">
              <a:extLst>
                <a:ext uri="{FF2B5EF4-FFF2-40B4-BE49-F238E27FC236}">
                  <a16:creationId xmlns:a16="http://schemas.microsoft.com/office/drawing/2014/main" id="{B79F2794-CAB0-4CBC-A170-CA7853D4B5E7}"/>
                </a:ext>
              </a:extLst>
            </p:cNvPr>
            <p:cNvSpPr/>
            <p:nvPr/>
          </p:nvSpPr>
          <p:spPr>
            <a:xfrm>
              <a:off x="3652410" y="2015558"/>
              <a:ext cx="1951265" cy="3145971"/>
            </a:xfrm>
            <a:prstGeom prst="roundRect">
              <a:avLst>
                <a:gd name="adj" fmla="val 4952"/>
              </a:avLst>
            </a:prstGeom>
            <a:solidFill>
              <a:sysClr val="window" lastClr="FFFFFF">
                <a:lumMod val="65000"/>
              </a:sys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00" name="Rectangle: Rounded Corners 99">
              <a:extLst>
                <a:ext uri="{FF2B5EF4-FFF2-40B4-BE49-F238E27FC236}">
                  <a16:creationId xmlns:a16="http://schemas.microsoft.com/office/drawing/2014/main" id="{624C18DD-A9DF-4469-A7B6-6C9AAA2D41F4}"/>
                </a:ext>
              </a:extLst>
            </p:cNvPr>
            <p:cNvSpPr/>
            <p:nvPr/>
          </p:nvSpPr>
          <p:spPr>
            <a:xfrm>
              <a:off x="6625597" y="2015558"/>
              <a:ext cx="1951265" cy="3145971"/>
            </a:xfrm>
            <a:prstGeom prst="roundRect">
              <a:avLst>
                <a:gd name="adj" fmla="val 4952"/>
              </a:avLst>
            </a:prstGeom>
            <a:solidFill>
              <a:sysClr val="window" lastClr="FFFFFF">
                <a:lumMod val="65000"/>
              </a:sys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01" name="Rectangle: Rounded Corners 100">
              <a:extLst>
                <a:ext uri="{FF2B5EF4-FFF2-40B4-BE49-F238E27FC236}">
                  <a16:creationId xmlns:a16="http://schemas.microsoft.com/office/drawing/2014/main" id="{F503AF90-BD38-48FC-8812-4FA3F25DB0E6}"/>
                </a:ext>
              </a:extLst>
            </p:cNvPr>
            <p:cNvSpPr/>
            <p:nvPr/>
          </p:nvSpPr>
          <p:spPr>
            <a:xfrm>
              <a:off x="685800" y="2015558"/>
              <a:ext cx="1951265" cy="3145971"/>
            </a:xfrm>
            <a:prstGeom prst="roundRect">
              <a:avLst>
                <a:gd name="adj" fmla="val 4952"/>
              </a:avLst>
            </a:prstGeom>
            <a:solidFill>
              <a:sysClr val="window" lastClr="FFFFFF">
                <a:lumMod val="65000"/>
              </a:sys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02" name="Frame 101">
              <a:extLst>
                <a:ext uri="{FF2B5EF4-FFF2-40B4-BE49-F238E27FC236}">
                  <a16:creationId xmlns:a16="http://schemas.microsoft.com/office/drawing/2014/main" id="{530C96A5-18F8-41CE-8FBF-056A3D32634C}"/>
                </a:ext>
              </a:extLst>
            </p:cNvPr>
            <p:cNvSpPr/>
            <p:nvPr/>
          </p:nvSpPr>
          <p:spPr>
            <a:xfrm>
              <a:off x="0" y="857250"/>
              <a:ext cx="9144000" cy="5143500"/>
            </a:xfrm>
            <a:prstGeom prst="frame">
              <a:avLst>
                <a:gd name="adj1" fmla="val 1053"/>
              </a:avLst>
            </a:prstGeom>
            <a:solidFill>
              <a:srgbClr val="44546A">
                <a:lumMod val="40000"/>
                <a:lumOff val="60000"/>
              </a:srgbClr>
            </a:solidFill>
            <a:ln w="12700" cap="flat" cmpd="sng" algn="ctr">
              <a:noFill/>
              <a:prstDash val="solid"/>
              <a:miter lim="800000"/>
            </a:ln>
            <a:effectLst/>
          </p:spPr>
          <p:txBody>
            <a:bodyPr rtlCol="0" anchor="ctr"/>
            <a:lstStyle/>
            <a:p>
              <a:pPr algn="ctr" defTabSz="685800">
                <a:defRPr/>
              </a:pPr>
              <a:endParaRPr lang="en-US" sz="1350" kern="0">
                <a:solidFill>
                  <a:prstClr val="black"/>
                </a:solidFill>
                <a:latin typeface="Calibri Light"/>
              </a:endParaRPr>
            </a:p>
          </p:txBody>
        </p:sp>
        <p:sp>
          <p:nvSpPr>
            <p:cNvPr id="103" name="Rectangle 102">
              <a:extLst>
                <a:ext uri="{FF2B5EF4-FFF2-40B4-BE49-F238E27FC236}">
                  <a16:creationId xmlns:a16="http://schemas.microsoft.com/office/drawing/2014/main" id="{D5A75610-4C9C-4007-86BE-0C93387BD4CC}"/>
                </a:ext>
              </a:extLst>
            </p:cNvPr>
            <p:cNvSpPr/>
            <p:nvPr/>
          </p:nvSpPr>
          <p:spPr>
            <a:xfrm>
              <a:off x="0" y="857250"/>
              <a:ext cx="336430" cy="336430"/>
            </a:xfrm>
            <a:prstGeom prst="rect">
              <a:avLst/>
            </a:prstGeom>
            <a:solidFill>
              <a:srgbClr val="AF5F6D"/>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04" name="Rectangle 103">
              <a:extLst>
                <a:ext uri="{FF2B5EF4-FFF2-40B4-BE49-F238E27FC236}">
                  <a16:creationId xmlns:a16="http://schemas.microsoft.com/office/drawing/2014/main" id="{88DED4A1-8837-48AC-9F2B-DE23F8D97ECB}"/>
                </a:ext>
              </a:extLst>
            </p:cNvPr>
            <p:cNvSpPr/>
            <p:nvPr/>
          </p:nvSpPr>
          <p:spPr>
            <a:xfrm>
              <a:off x="8807571" y="5664321"/>
              <a:ext cx="336430" cy="336430"/>
            </a:xfrm>
            <a:prstGeom prst="rect">
              <a:avLst/>
            </a:prstGeom>
            <a:solidFill>
              <a:srgbClr val="EB6B56"/>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18" name="Slide Number Placeholder 21">
              <a:extLst>
                <a:ext uri="{FF2B5EF4-FFF2-40B4-BE49-F238E27FC236}">
                  <a16:creationId xmlns:a16="http://schemas.microsoft.com/office/drawing/2014/main" id="{93A42D60-09D3-464C-9CEE-9793BC406A2C}"/>
                </a:ext>
              </a:extLst>
            </p:cNvPr>
            <p:cNvSpPr txBox="1">
              <a:spLocks/>
            </p:cNvSpPr>
            <p:nvPr/>
          </p:nvSpPr>
          <p:spPr>
            <a:xfrm>
              <a:off x="6457950" y="6356351"/>
              <a:ext cx="2057400" cy="365125"/>
            </a:xfrm>
            <a:prstGeom prst="rect">
              <a:avLst/>
            </a:prstGeom>
          </p:spPr>
          <p:txBody>
            <a:bodyPr vert="horz" lIns="91440" tIns="45720" rIns="91440" bIns="4572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fld id="{B9940D52-AD77-4C6A-9DCC-3EEF87AE9DF8}" type="slidenum">
                <a:rPr lang="en-US">
                  <a:solidFill>
                    <a:prstClr val="black">
                      <a:tint val="75000"/>
                    </a:prstClr>
                  </a:solidFill>
                  <a:latin typeface="Calibri Light"/>
                </a:rPr>
                <a:pPr defTabSz="685800"/>
                <a:t>74</a:t>
              </a:fld>
              <a:endParaRPr lang="en-US">
                <a:solidFill>
                  <a:prstClr val="black">
                    <a:tint val="75000"/>
                  </a:prstClr>
                </a:solidFill>
                <a:latin typeface="Calibri Light"/>
              </a:endParaRPr>
            </a:p>
          </p:txBody>
        </p:sp>
        <p:sp>
          <p:nvSpPr>
            <p:cNvPr id="119" name="Rectangle: Rounded Corners 118">
              <a:extLst>
                <a:ext uri="{FF2B5EF4-FFF2-40B4-BE49-F238E27FC236}">
                  <a16:creationId xmlns:a16="http://schemas.microsoft.com/office/drawing/2014/main" id="{A31B6B7F-B442-478B-AC83-5877659C504E}"/>
                </a:ext>
              </a:extLst>
            </p:cNvPr>
            <p:cNvSpPr/>
            <p:nvPr/>
          </p:nvSpPr>
          <p:spPr>
            <a:xfrm>
              <a:off x="628650" y="1951264"/>
              <a:ext cx="1951265" cy="3145971"/>
            </a:xfrm>
            <a:prstGeom prst="roundRect">
              <a:avLst>
                <a:gd name="adj" fmla="val 4952"/>
              </a:avLst>
            </a:prstGeom>
            <a:solidFill>
              <a:schemeClr val="accent2">
                <a:lumMod val="40000"/>
                <a:lumOff val="60000"/>
              </a:scheme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20" name="Rectangle: Rounded Corners 119">
              <a:extLst>
                <a:ext uri="{FF2B5EF4-FFF2-40B4-BE49-F238E27FC236}">
                  <a16:creationId xmlns:a16="http://schemas.microsoft.com/office/drawing/2014/main" id="{755AABF3-A803-4326-BD1C-065642A1AA83}"/>
                </a:ext>
              </a:extLst>
            </p:cNvPr>
            <p:cNvSpPr/>
            <p:nvPr/>
          </p:nvSpPr>
          <p:spPr>
            <a:xfrm>
              <a:off x="3596368" y="1951264"/>
              <a:ext cx="1951265" cy="3145971"/>
            </a:xfrm>
            <a:prstGeom prst="roundRect">
              <a:avLst>
                <a:gd name="adj" fmla="val 4952"/>
              </a:avLst>
            </a:prstGeom>
            <a:solidFill>
              <a:schemeClr val="accent3">
                <a:lumMod val="40000"/>
                <a:lumOff val="60000"/>
              </a:scheme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21" name="Rectangle: Rounded Corners 120">
              <a:extLst>
                <a:ext uri="{FF2B5EF4-FFF2-40B4-BE49-F238E27FC236}">
                  <a16:creationId xmlns:a16="http://schemas.microsoft.com/office/drawing/2014/main" id="{51F48CB3-9A91-4CD8-BAB4-372731EF5FB1}"/>
                </a:ext>
              </a:extLst>
            </p:cNvPr>
            <p:cNvSpPr/>
            <p:nvPr/>
          </p:nvSpPr>
          <p:spPr>
            <a:xfrm>
              <a:off x="6564085" y="1951264"/>
              <a:ext cx="1951265" cy="3145971"/>
            </a:xfrm>
            <a:prstGeom prst="roundRect">
              <a:avLst>
                <a:gd name="adj" fmla="val 4952"/>
              </a:avLst>
            </a:prstGeom>
            <a:solidFill>
              <a:schemeClr val="accent1">
                <a:lumMod val="40000"/>
                <a:lumOff val="60000"/>
              </a:scheme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grpSp>
          <p:nvGrpSpPr>
            <p:cNvPr id="122" name="Group 121">
              <a:extLst>
                <a:ext uri="{FF2B5EF4-FFF2-40B4-BE49-F238E27FC236}">
                  <a16:creationId xmlns:a16="http://schemas.microsoft.com/office/drawing/2014/main" id="{1D5F4261-1706-4F0E-8267-369D57C1FB88}"/>
                </a:ext>
              </a:extLst>
            </p:cNvPr>
            <p:cNvGrpSpPr/>
            <p:nvPr/>
          </p:nvGrpSpPr>
          <p:grpSpPr>
            <a:xfrm>
              <a:off x="2875574" y="3333082"/>
              <a:ext cx="425135" cy="382335"/>
              <a:chOff x="4854484" y="5910272"/>
              <a:chExt cx="283864" cy="255286"/>
            </a:xfrm>
            <a:solidFill>
              <a:srgbClr val="44546A"/>
            </a:solidFill>
          </p:grpSpPr>
          <p:sp>
            <p:nvSpPr>
              <p:cNvPr id="123" name="Freeform 251">
                <a:extLst>
                  <a:ext uri="{FF2B5EF4-FFF2-40B4-BE49-F238E27FC236}">
                    <a16:creationId xmlns:a16="http://schemas.microsoft.com/office/drawing/2014/main" id="{0C8CED70-9586-4725-ABB9-23097BB29906}"/>
                  </a:ext>
                </a:extLst>
              </p:cNvPr>
              <p:cNvSpPr>
                <a:spLocks/>
              </p:cNvSpPr>
              <p:nvPr/>
            </p:nvSpPr>
            <p:spPr bwMode="auto">
              <a:xfrm>
                <a:off x="4854484" y="5910272"/>
                <a:ext cx="165746" cy="255286"/>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sp>
            <p:nvSpPr>
              <p:cNvPr id="124" name="Freeform 252">
                <a:extLst>
                  <a:ext uri="{FF2B5EF4-FFF2-40B4-BE49-F238E27FC236}">
                    <a16:creationId xmlns:a16="http://schemas.microsoft.com/office/drawing/2014/main" id="{0F01F1D5-7465-4E64-9CCB-5C815BD8B5EC}"/>
                  </a:ext>
                </a:extLst>
              </p:cNvPr>
              <p:cNvSpPr>
                <a:spLocks/>
              </p:cNvSpPr>
              <p:nvPr/>
            </p:nvSpPr>
            <p:spPr bwMode="auto">
              <a:xfrm>
                <a:off x="4972602" y="5910272"/>
                <a:ext cx="165746" cy="255286"/>
              </a:xfrm>
              <a:custGeom>
                <a:avLst/>
                <a:gdLst>
                  <a:gd name="T0" fmla="*/ 344 w 348"/>
                  <a:gd name="T1" fmla="*/ 260 h 535"/>
                  <a:gd name="T2" fmla="*/ 86 w 348"/>
                  <a:gd name="T3" fmla="*/ 2 h 535"/>
                  <a:gd name="T4" fmla="*/ 83 w 348"/>
                  <a:gd name="T5" fmla="*/ 0 h 535"/>
                  <a:gd name="T6" fmla="*/ 80 w 348"/>
                  <a:gd name="T7" fmla="*/ 0 h 535"/>
                  <a:gd name="T8" fmla="*/ 75 w 348"/>
                  <a:gd name="T9" fmla="*/ 0 h 535"/>
                  <a:gd name="T10" fmla="*/ 72 w 348"/>
                  <a:gd name="T11" fmla="*/ 2 h 535"/>
                  <a:gd name="T12" fmla="*/ 3 w 348"/>
                  <a:gd name="T13" fmla="*/ 72 h 535"/>
                  <a:gd name="T14" fmla="*/ 1 w 348"/>
                  <a:gd name="T15" fmla="*/ 75 h 535"/>
                  <a:gd name="T16" fmla="*/ 0 w 348"/>
                  <a:gd name="T17" fmla="*/ 79 h 535"/>
                  <a:gd name="T18" fmla="*/ 1 w 348"/>
                  <a:gd name="T19" fmla="*/ 83 h 535"/>
                  <a:gd name="T20" fmla="*/ 3 w 348"/>
                  <a:gd name="T21" fmla="*/ 86 h 535"/>
                  <a:gd name="T22" fmla="*/ 185 w 348"/>
                  <a:gd name="T23" fmla="*/ 268 h 535"/>
                  <a:gd name="T24" fmla="*/ 3 w 348"/>
                  <a:gd name="T25" fmla="*/ 449 h 535"/>
                  <a:gd name="T26" fmla="*/ 1 w 348"/>
                  <a:gd name="T27" fmla="*/ 452 h 535"/>
                  <a:gd name="T28" fmla="*/ 0 w 348"/>
                  <a:gd name="T29" fmla="*/ 457 h 535"/>
                  <a:gd name="T30" fmla="*/ 1 w 348"/>
                  <a:gd name="T31" fmla="*/ 460 h 535"/>
                  <a:gd name="T32" fmla="*/ 3 w 348"/>
                  <a:gd name="T33" fmla="*/ 463 h 535"/>
                  <a:gd name="T34" fmla="*/ 72 w 348"/>
                  <a:gd name="T35" fmla="*/ 532 h 535"/>
                  <a:gd name="T36" fmla="*/ 75 w 348"/>
                  <a:gd name="T37" fmla="*/ 534 h 535"/>
                  <a:gd name="T38" fmla="*/ 80 w 348"/>
                  <a:gd name="T39" fmla="*/ 535 h 535"/>
                  <a:gd name="T40" fmla="*/ 83 w 348"/>
                  <a:gd name="T41" fmla="*/ 534 h 535"/>
                  <a:gd name="T42" fmla="*/ 86 w 348"/>
                  <a:gd name="T43" fmla="*/ 533 h 535"/>
                  <a:gd name="T44" fmla="*/ 344 w 348"/>
                  <a:gd name="T45" fmla="*/ 274 h 535"/>
                  <a:gd name="T46" fmla="*/ 347 w 348"/>
                  <a:gd name="T47" fmla="*/ 271 h 535"/>
                  <a:gd name="T48" fmla="*/ 348 w 348"/>
                  <a:gd name="T49" fmla="*/ 268 h 535"/>
                  <a:gd name="T50" fmla="*/ 347 w 348"/>
                  <a:gd name="T51" fmla="*/ 263 h 535"/>
                  <a:gd name="T52" fmla="*/ 344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4" y="260"/>
                    </a:moveTo>
                    <a:lnTo>
                      <a:pt x="86" y="2"/>
                    </a:lnTo>
                    <a:lnTo>
                      <a:pt x="83" y="0"/>
                    </a:lnTo>
                    <a:lnTo>
                      <a:pt x="80" y="0"/>
                    </a:lnTo>
                    <a:lnTo>
                      <a:pt x="75" y="0"/>
                    </a:lnTo>
                    <a:lnTo>
                      <a:pt x="72" y="2"/>
                    </a:lnTo>
                    <a:lnTo>
                      <a:pt x="3" y="72"/>
                    </a:lnTo>
                    <a:lnTo>
                      <a:pt x="1" y="75"/>
                    </a:lnTo>
                    <a:lnTo>
                      <a:pt x="0" y="79"/>
                    </a:lnTo>
                    <a:lnTo>
                      <a:pt x="1" y="83"/>
                    </a:lnTo>
                    <a:lnTo>
                      <a:pt x="3" y="86"/>
                    </a:lnTo>
                    <a:lnTo>
                      <a:pt x="185" y="268"/>
                    </a:lnTo>
                    <a:lnTo>
                      <a:pt x="3" y="449"/>
                    </a:lnTo>
                    <a:lnTo>
                      <a:pt x="1" y="452"/>
                    </a:lnTo>
                    <a:lnTo>
                      <a:pt x="0" y="457"/>
                    </a:lnTo>
                    <a:lnTo>
                      <a:pt x="1" y="460"/>
                    </a:lnTo>
                    <a:lnTo>
                      <a:pt x="3" y="463"/>
                    </a:lnTo>
                    <a:lnTo>
                      <a:pt x="72" y="532"/>
                    </a:lnTo>
                    <a:lnTo>
                      <a:pt x="75" y="534"/>
                    </a:lnTo>
                    <a:lnTo>
                      <a:pt x="80" y="535"/>
                    </a:lnTo>
                    <a:lnTo>
                      <a:pt x="83" y="534"/>
                    </a:lnTo>
                    <a:lnTo>
                      <a:pt x="86" y="533"/>
                    </a:lnTo>
                    <a:lnTo>
                      <a:pt x="344" y="274"/>
                    </a:lnTo>
                    <a:lnTo>
                      <a:pt x="347" y="271"/>
                    </a:lnTo>
                    <a:lnTo>
                      <a:pt x="348" y="268"/>
                    </a:lnTo>
                    <a:lnTo>
                      <a:pt x="347" y="263"/>
                    </a:lnTo>
                    <a:lnTo>
                      <a:pt x="344"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grpSp>
        <p:grpSp>
          <p:nvGrpSpPr>
            <p:cNvPr id="125" name="Group 124">
              <a:extLst>
                <a:ext uri="{FF2B5EF4-FFF2-40B4-BE49-F238E27FC236}">
                  <a16:creationId xmlns:a16="http://schemas.microsoft.com/office/drawing/2014/main" id="{819BCB2C-2594-4246-AF1C-54887570D1B2}"/>
                </a:ext>
              </a:extLst>
            </p:cNvPr>
            <p:cNvGrpSpPr/>
            <p:nvPr/>
          </p:nvGrpSpPr>
          <p:grpSpPr>
            <a:xfrm>
              <a:off x="5843292" y="3333082"/>
              <a:ext cx="425135" cy="382335"/>
              <a:chOff x="4854484" y="5910272"/>
              <a:chExt cx="283864" cy="255286"/>
            </a:xfrm>
            <a:solidFill>
              <a:srgbClr val="44546A"/>
            </a:solidFill>
          </p:grpSpPr>
          <p:sp>
            <p:nvSpPr>
              <p:cNvPr id="126" name="Freeform 251">
                <a:extLst>
                  <a:ext uri="{FF2B5EF4-FFF2-40B4-BE49-F238E27FC236}">
                    <a16:creationId xmlns:a16="http://schemas.microsoft.com/office/drawing/2014/main" id="{B4AFA590-489D-461F-87B5-31AA21C9CA6E}"/>
                  </a:ext>
                </a:extLst>
              </p:cNvPr>
              <p:cNvSpPr>
                <a:spLocks/>
              </p:cNvSpPr>
              <p:nvPr/>
            </p:nvSpPr>
            <p:spPr bwMode="auto">
              <a:xfrm>
                <a:off x="4854484" y="5910272"/>
                <a:ext cx="165746" cy="255286"/>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sp>
            <p:nvSpPr>
              <p:cNvPr id="127" name="Freeform 252">
                <a:extLst>
                  <a:ext uri="{FF2B5EF4-FFF2-40B4-BE49-F238E27FC236}">
                    <a16:creationId xmlns:a16="http://schemas.microsoft.com/office/drawing/2014/main" id="{686E9970-8B1D-4D78-8BC4-D6A0633DF381}"/>
                  </a:ext>
                </a:extLst>
              </p:cNvPr>
              <p:cNvSpPr>
                <a:spLocks/>
              </p:cNvSpPr>
              <p:nvPr/>
            </p:nvSpPr>
            <p:spPr bwMode="auto">
              <a:xfrm>
                <a:off x="4972602" y="5910272"/>
                <a:ext cx="165746" cy="255286"/>
              </a:xfrm>
              <a:custGeom>
                <a:avLst/>
                <a:gdLst>
                  <a:gd name="T0" fmla="*/ 344 w 348"/>
                  <a:gd name="T1" fmla="*/ 260 h 535"/>
                  <a:gd name="T2" fmla="*/ 86 w 348"/>
                  <a:gd name="T3" fmla="*/ 2 h 535"/>
                  <a:gd name="T4" fmla="*/ 83 w 348"/>
                  <a:gd name="T5" fmla="*/ 0 h 535"/>
                  <a:gd name="T6" fmla="*/ 80 w 348"/>
                  <a:gd name="T7" fmla="*/ 0 h 535"/>
                  <a:gd name="T8" fmla="*/ 75 w 348"/>
                  <a:gd name="T9" fmla="*/ 0 h 535"/>
                  <a:gd name="T10" fmla="*/ 72 w 348"/>
                  <a:gd name="T11" fmla="*/ 2 h 535"/>
                  <a:gd name="T12" fmla="*/ 3 w 348"/>
                  <a:gd name="T13" fmla="*/ 72 h 535"/>
                  <a:gd name="T14" fmla="*/ 1 w 348"/>
                  <a:gd name="T15" fmla="*/ 75 h 535"/>
                  <a:gd name="T16" fmla="*/ 0 w 348"/>
                  <a:gd name="T17" fmla="*/ 79 h 535"/>
                  <a:gd name="T18" fmla="*/ 1 w 348"/>
                  <a:gd name="T19" fmla="*/ 83 h 535"/>
                  <a:gd name="T20" fmla="*/ 3 w 348"/>
                  <a:gd name="T21" fmla="*/ 86 h 535"/>
                  <a:gd name="T22" fmla="*/ 185 w 348"/>
                  <a:gd name="T23" fmla="*/ 268 h 535"/>
                  <a:gd name="T24" fmla="*/ 3 w 348"/>
                  <a:gd name="T25" fmla="*/ 449 h 535"/>
                  <a:gd name="T26" fmla="*/ 1 w 348"/>
                  <a:gd name="T27" fmla="*/ 452 h 535"/>
                  <a:gd name="T28" fmla="*/ 0 w 348"/>
                  <a:gd name="T29" fmla="*/ 457 h 535"/>
                  <a:gd name="T30" fmla="*/ 1 w 348"/>
                  <a:gd name="T31" fmla="*/ 460 h 535"/>
                  <a:gd name="T32" fmla="*/ 3 w 348"/>
                  <a:gd name="T33" fmla="*/ 463 h 535"/>
                  <a:gd name="T34" fmla="*/ 72 w 348"/>
                  <a:gd name="T35" fmla="*/ 532 h 535"/>
                  <a:gd name="T36" fmla="*/ 75 w 348"/>
                  <a:gd name="T37" fmla="*/ 534 h 535"/>
                  <a:gd name="T38" fmla="*/ 80 w 348"/>
                  <a:gd name="T39" fmla="*/ 535 h 535"/>
                  <a:gd name="T40" fmla="*/ 83 w 348"/>
                  <a:gd name="T41" fmla="*/ 534 h 535"/>
                  <a:gd name="T42" fmla="*/ 86 w 348"/>
                  <a:gd name="T43" fmla="*/ 533 h 535"/>
                  <a:gd name="T44" fmla="*/ 344 w 348"/>
                  <a:gd name="T45" fmla="*/ 274 h 535"/>
                  <a:gd name="T46" fmla="*/ 347 w 348"/>
                  <a:gd name="T47" fmla="*/ 271 h 535"/>
                  <a:gd name="T48" fmla="*/ 348 w 348"/>
                  <a:gd name="T49" fmla="*/ 268 h 535"/>
                  <a:gd name="T50" fmla="*/ 347 w 348"/>
                  <a:gd name="T51" fmla="*/ 263 h 535"/>
                  <a:gd name="T52" fmla="*/ 344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4" y="260"/>
                    </a:moveTo>
                    <a:lnTo>
                      <a:pt x="86" y="2"/>
                    </a:lnTo>
                    <a:lnTo>
                      <a:pt x="83" y="0"/>
                    </a:lnTo>
                    <a:lnTo>
                      <a:pt x="80" y="0"/>
                    </a:lnTo>
                    <a:lnTo>
                      <a:pt x="75" y="0"/>
                    </a:lnTo>
                    <a:lnTo>
                      <a:pt x="72" y="2"/>
                    </a:lnTo>
                    <a:lnTo>
                      <a:pt x="3" y="72"/>
                    </a:lnTo>
                    <a:lnTo>
                      <a:pt x="1" y="75"/>
                    </a:lnTo>
                    <a:lnTo>
                      <a:pt x="0" y="79"/>
                    </a:lnTo>
                    <a:lnTo>
                      <a:pt x="1" y="83"/>
                    </a:lnTo>
                    <a:lnTo>
                      <a:pt x="3" y="86"/>
                    </a:lnTo>
                    <a:lnTo>
                      <a:pt x="185" y="268"/>
                    </a:lnTo>
                    <a:lnTo>
                      <a:pt x="3" y="449"/>
                    </a:lnTo>
                    <a:lnTo>
                      <a:pt x="1" y="452"/>
                    </a:lnTo>
                    <a:lnTo>
                      <a:pt x="0" y="457"/>
                    </a:lnTo>
                    <a:lnTo>
                      <a:pt x="1" y="460"/>
                    </a:lnTo>
                    <a:lnTo>
                      <a:pt x="3" y="463"/>
                    </a:lnTo>
                    <a:lnTo>
                      <a:pt x="72" y="532"/>
                    </a:lnTo>
                    <a:lnTo>
                      <a:pt x="75" y="534"/>
                    </a:lnTo>
                    <a:lnTo>
                      <a:pt x="80" y="535"/>
                    </a:lnTo>
                    <a:lnTo>
                      <a:pt x="83" y="534"/>
                    </a:lnTo>
                    <a:lnTo>
                      <a:pt x="86" y="533"/>
                    </a:lnTo>
                    <a:lnTo>
                      <a:pt x="344" y="274"/>
                    </a:lnTo>
                    <a:lnTo>
                      <a:pt x="347" y="271"/>
                    </a:lnTo>
                    <a:lnTo>
                      <a:pt x="348" y="268"/>
                    </a:lnTo>
                    <a:lnTo>
                      <a:pt x="347" y="263"/>
                    </a:lnTo>
                    <a:lnTo>
                      <a:pt x="344"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grpSp>
        <p:sp>
          <p:nvSpPr>
            <p:cNvPr id="137" name="TextBox 136">
              <a:extLst>
                <a:ext uri="{FF2B5EF4-FFF2-40B4-BE49-F238E27FC236}">
                  <a16:creationId xmlns:a16="http://schemas.microsoft.com/office/drawing/2014/main" id="{BD72369C-B18A-43FF-AFFB-FB7B6C1A5ABC}"/>
                </a:ext>
              </a:extLst>
            </p:cNvPr>
            <p:cNvSpPr txBox="1"/>
            <p:nvPr/>
          </p:nvSpPr>
          <p:spPr>
            <a:xfrm>
              <a:off x="861604" y="3170369"/>
              <a:ext cx="1500596" cy="849297"/>
            </a:xfrm>
            <a:prstGeom prst="rect">
              <a:avLst/>
            </a:prstGeom>
            <a:noFill/>
          </p:spPr>
          <p:txBody>
            <a:bodyPr wrap="square" lIns="0" tIns="0" rIns="0" bIns="0" rtlCol="0" anchor="ctr">
              <a:spAutoFit/>
            </a:bodyPr>
            <a:lstStyle/>
            <a:p>
              <a:pPr algn="ctr" defTabSz="685800"/>
              <a:r>
                <a:rPr lang="en-US" sz="1050" dirty="0">
                  <a:latin typeface="Calibri Light"/>
                </a:rPr>
                <a:t>Proportion of ART patients screened for TB in the semiannual reporting period who start TB treatment</a:t>
              </a:r>
            </a:p>
          </p:txBody>
        </p:sp>
        <p:sp>
          <p:nvSpPr>
            <p:cNvPr id="138" name="TextBox 137">
              <a:extLst>
                <a:ext uri="{FF2B5EF4-FFF2-40B4-BE49-F238E27FC236}">
                  <a16:creationId xmlns:a16="http://schemas.microsoft.com/office/drawing/2014/main" id="{29087046-24DC-401B-97BD-14EADBFCDAAD}"/>
                </a:ext>
              </a:extLst>
            </p:cNvPr>
            <p:cNvSpPr txBox="1"/>
            <p:nvPr/>
          </p:nvSpPr>
          <p:spPr>
            <a:xfrm>
              <a:off x="853984" y="2277218"/>
              <a:ext cx="1500596" cy="291188"/>
            </a:xfrm>
            <a:prstGeom prst="rect">
              <a:avLst/>
            </a:prstGeom>
            <a:noFill/>
          </p:spPr>
          <p:txBody>
            <a:bodyPr wrap="square" lIns="0" tIns="0" rIns="0" bIns="0" rtlCol="0" anchor="ctr">
              <a:spAutoFit/>
            </a:bodyPr>
            <a:lstStyle/>
            <a:p>
              <a:pPr algn="ctr" defTabSz="685800"/>
              <a:r>
                <a:rPr lang="en-US" b="1" dirty="0">
                  <a:latin typeface="Calibri Light"/>
                </a:rPr>
                <a:t>DESCRIPTION</a:t>
              </a:r>
            </a:p>
          </p:txBody>
        </p:sp>
        <p:sp>
          <p:nvSpPr>
            <p:cNvPr id="144" name="TextBox 143">
              <a:extLst>
                <a:ext uri="{FF2B5EF4-FFF2-40B4-BE49-F238E27FC236}">
                  <a16:creationId xmlns:a16="http://schemas.microsoft.com/office/drawing/2014/main" id="{C75D3502-2084-4D34-B7F6-EC24A147A540}"/>
                </a:ext>
              </a:extLst>
            </p:cNvPr>
            <p:cNvSpPr txBox="1"/>
            <p:nvPr/>
          </p:nvSpPr>
          <p:spPr>
            <a:xfrm>
              <a:off x="3671495" y="3754658"/>
              <a:ext cx="1794069" cy="1189017"/>
            </a:xfrm>
            <a:prstGeom prst="rect">
              <a:avLst/>
            </a:prstGeom>
            <a:noFill/>
            <a:ln>
              <a:solidFill>
                <a:schemeClr val="bg1"/>
              </a:solidFill>
            </a:ln>
          </p:spPr>
          <p:txBody>
            <a:bodyPr wrap="square" lIns="0" tIns="0" rIns="0" bIns="0" rtlCol="0" anchor="ctr">
              <a:spAutoFit/>
            </a:bodyPr>
            <a:lstStyle/>
            <a:p>
              <a:pPr algn="ctr" defTabSz="685800"/>
              <a:r>
                <a:rPr lang="en-US" sz="1050" b="1" dirty="0">
                  <a:latin typeface="Calibri Light" panose="020F0302020204030204" pitchFamily="34" charset="0"/>
                  <a:cs typeface="Calibri Light" panose="020F0302020204030204" pitchFamily="34" charset="0"/>
                </a:rPr>
                <a:t>Numerator:</a:t>
              </a:r>
            </a:p>
            <a:p>
              <a:pPr algn="ctr" defTabSz="685800"/>
              <a:r>
                <a:rPr lang="en-US" sz="1050" dirty="0">
                  <a:latin typeface="Calibri Light" panose="020F0302020204030204" pitchFamily="34" charset="0"/>
                  <a:cs typeface="Calibri Light" panose="020F0302020204030204" pitchFamily="34" charset="0"/>
                </a:rPr>
                <a:t>Number of ART patients who were screened for TB and diagnosed with TB and </a:t>
              </a:r>
            </a:p>
            <a:p>
              <a:pPr algn="ctr" defTabSz="685800"/>
              <a:r>
                <a:rPr lang="en-US" sz="1050" dirty="0">
                  <a:latin typeface="Calibri Light" panose="020F0302020204030204" pitchFamily="34" charset="0"/>
                  <a:cs typeface="Calibri Light" panose="020F0302020204030204" pitchFamily="34" charset="0"/>
                </a:rPr>
                <a:t>started on anti-TB therapy during the </a:t>
              </a:r>
            </a:p>
            <a:p>
              <a:pPr algn="ctr" defTabSz="685800"/>
              <a:r>
                <a:rPr lang="en-US" sz="1050" dirty="0">
                  <a:latin typeface="Calibri Light" panose="020F0302020204030204" pitchFamily="34" charset="0"/>
                  <a:cs typeface="Calibri Light" panose="020F0302020204030204" pitchFamily="34" charset="0"/>
                </a:rPr>
                <a:t>reporting period</a:t>
              </a:r>
            </a:p>
          </p:txBody>
        </p:sp>
        <p:sp>
          <p:nvSpPr>
            <p:cNvPr id="145" name="TextBox 144">
              <a:extLst>
                <a:ext uri="{FF2B5EF4-FFF2-40B4-BE49-F238E27FC236}">
                  <a16:creationId xmlns:a16="http://schemas.microsoft.com/office/drawing/2014/main" id="{4229BB9B-1E9C-4794-BD7E-31916C0D2655}"/>
                </a:ext>
              </a:extLst>
            </p:cNvPr>
            <p:cNvSpPr txBox="1"/>
            <p:nvPr/>
          </p:nvSpPr>
          <p:spPr>
            <a:xfrm>
              <a:off x="3698128" y="2112074"/>
              <a:ext cx="1729828" cy="582376"/>
            </a:xfrm>
            <a:prstGeom prst="rect">
              <a:avLst/>
            </a:prstGeom>
            <a:noFill/>
          </p:spPr>
          <p:txBody>
            <a:bodyPr wrap="square" lIns="0" tIns="0" rIns="0" bIns="0" rtlCol="0" anchor="ctr">
              <a:spAutoFit/>
            </a:bodyPr>
            <a:lstStyle/>
            <a:p>
              <a:pPr algn="ctr" defTabSz="685800"/>
              <a:r>
                <a:rPr lang="en-US" b="1" dirty="0">
                  <a:latin typeface="Calibri Light"/>
                </a:rPr>
                <a:t>DENOMINATOR/</a:t>
              </a:r>
            </a:p>
            <a:p>
              <a:pPr algn="ctr" defTabSz="685800"/>
              <a:r>
                <a:rPr lang="en-US" b="1" dirty="0">
                  <a:latin typeface="Calibri Light"/>
                </a:rPr>
                <a:t>NUMERATOR</a:t>
              </a:r>
            </a:p>
          </p:txBody>
        </p:sp>
        <p:sp>
          <p:nvSpPr>
            <p:cNvPr id="150" name="TextBox 149">
              <a:extLst>
                <a:ext uri="{FF2B5EF4-FFF2-40B4-BE49-F238E27FC236}">
                  <a16:creationId xmlns:a16="http://schemas.microsoft.com/office/drawing/2014/main" id="{A432B2BB-4C21-4AF1-9B8E-A30EC8F9E140}"/>
                </a:ext>
              </a:extLst>
            </p:cNvPr>
            <p:cNvSpPr txBox="1"/>
            <p:nvPr/>
          </p:nvSpPr>
          <p:spPr>
            <a:xfrm>
              <a:off x="6808655" y="3061777"/>
              <a:ext cx="1500596" cy="1019157"/>
            </a:xfrm>
            <a:prstGeom prst="rect">
              <a:avLst/>
            </a:prstGeom>
            <a:noFill/>
          </p:spPr>
          <p:txBody>
            <a:bodyPr wrap="square" lIns="0" tIns="0" rIns="0" bIns="0" rtlCol="0" anchor="ctr">
              <a:spAutoFit/>
            </a:bodyPr>
            <a:lstStyle/>
            <a:p>
              <a:pPr marL="171450" indent="-171450" defTabSz="685800">
                <a:buFont typeface="Arial" panose="020B0604020202020204" pitchFamily="34" charset="0"/>
                <a:buChar char="•"/>
              </a:pPr>
              <a:r>
                <a:rPr lang="en-US" sz="1050" dirty="0">
                  <a:latin typeface="Calibri Light"/>
                </a:rPr>
                <a:t>National Data Repository (NDR)</a:t>
              </a:r>
            </a:p>
            <a:p>
              <a:pPr marL="171450" indent="-171450" defTabSz="685800">
                <a:buFont typeface="Arial" panose="020B0604020202020204" pitchFamily="34" charset="0"/>
                <a:buChar char="•"/>
              </a:pPr>
              <a:r>
                <a:rPr lang="en-US" sz="1050" dirty="0" err="1">
                  <a:latin typeface="Calibri Light"/>
                </a:rPr>
                <a:t>NigeriaMRS</a:t>
              </a:r>
              <a:endParaRPr lang="en-US" sz="1050" dirty="0">
                <a:latin typeface="Calibri Light"/>
              </a:endParaRPr>
            </a:p>
            <a:p>
              <a:pPr marL="171450" indent="-171450" defTabSz="685800">
                <a:buFont typeface="Arial" panose="020B0604020202020204" pitchFamily="34" charset="0"/>
                <a:buChar char="•"/>
              </a:pPr>
              <a:r>
                <a:rPr lang="en-US" sz="1050" dirty="0">
                  <a:latin typeface="Calibri Light"/>
                </a:rPr>
                <a:t>PLHIV Presumptive TB diagnostic evaluation and treatment register</a:t>
              </a:r>
            </a:p>
          </p:txBody>
        </p:sp>
        <p:sp>
          <p:nvSpPr>
            <p:cNvPr id="151" name="TextBox 150">
              <a:extLst>
                <a:ext uri="{FF2B5EF4-FFF2-40B4-BE49-F238E27FC236}">
                  <a16:creationId xmlns:a16="http://schemas.microsoft.com/office/drawing/2014/main" id="{269059BD-5BEF-4B22-9D87-AC985C86C7EA}"/>
                </a:ext>
              </a:extLst>
            </p:cNvPr>
            <p:cNvSpPr txBox="1"/>
            <p:nvPr/>
          </p:nvSpPr>
          <p:spPr>
            <a:xfrm>
              <a:off x="6789420" y="2277218"/>
              <a:ext cx="1500596" cy="291188"/>
            </a:xfrm>
            <a:prstGeom prst="rect">
              <a:avLst/>
            </a:prstGeom>
            <a:noFill/>
          </p:spPr>
          <p:txBody>
            <a:bodyPr wrap="square" lIns="0" tIns="0" rIns="0" bIns="0" rtlCol="0" anchor="ctr">
              <a:spAutoFit/>
            </a:bodyPr>
            <a:lstStyle/>
            <a:p>
              <a:pPr algn="ctr" defTabSz="685800"/>
              <a:r>
                <a:rPr lang="en-US" b="1" dirty="0">
                  <a:latin typeface="Calibri Light"/>
                </a:rPr>
                <a:t>DATA SOURCE</a:t>
              </a:r>
            </a:p>
          </p:txBody>
        </p:sp>
      </p:grpSp>
      <p:sp>
        <p:nvSpPr>
          <p:cNvPr id="152" name="TextBox 151">
            <a:extLst>
              <a:ext uri="{FF2B5EF4-FFF2-40B4-BE49-F238E27FC236}">
                <a16:creationId xmlns:a16="http://schemas.microsoft.com/office/drawing/2014/main" id="{2EC71C8B-DBC5-4A1C-AC97-A55392EFF4D4}"/>
              </a:ext>
            </a:extLst>
          </p:cNvPr>
          <p:cNvSpPr txBox="1"/>
          <p:nvPr/>
        </p:nvSpPr>
        <p:spPr>
          <a:xfrm>
            <a:off x="5195496" y="2917567"/>
            <a:ext cx="1794069" cy="807913"/>
          </a:xfrm>
          <a:prstGeom prst="rect">
            <a:avLst/>
          </a:prstGeom>
          <a:noFill/>
          <a:ln>
            <a:solidFill>
              <a:schemeClr val="bg1"/>
            </a:solidFill>
          </a:ln>
        </p:spPr>
        <p:txBody>
          <a:bodyPr wrap="square" lIns="0" tIns="0" rIns="0" bIns="0" rtlCol="0" anchor="ctr">
            <a:spAutoFit/>
          </a:bodyPr>
          <a:lstStyle/>
          <a:p>
            <a:pPr algn="ctr" defTabSz="685800"/>
            <a:r>
              <a:rPr lang="en-US" sz="1050" b="1" dirty="0">
                <a:latin typeface="Calibri Light"/>
              </a:rPr>
              <a:t>Denominator:</a:t>
            </a:r>
          </a:p>
          <a:p>
            <a:pPr algn="ctr" defTabSz="685800"/>
            <a:r>
              <a:rPr lang="en-US" sz="1050" dirty="0">
                <a:latin typeface="Calibri Light"/>
              </a:rPr>
              <a:t>Number of ART patients who were screened for TB at least once during the semiannual reporting period</a:t>
            </a:r>
          </a:p>
        </p:txBody>
      </p:sp>
    </p:spTree>
    <p:extLst>
      <p:ext uri="{BB962C8B-B14F-4D97-AF65-F5344CB8AC3E}">
        <p14:creationId xmlns:p14="http://schemas.microsoft.com/office/powerpoint/2010/main" val="401347888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TextBox 133">
            <a:extLst>
              <a:ext uri="{FF2B5EF4-FFF2-40B4-BE49-F238E27FC236}">
                <a16:creationId xmlns:a16="http://schemas.microsoft.com/office/drawing/2014/main" id="{86E6788C-76AA-43BC-8B7F-196C83841096}"/>
              </a:ext>
            </a:extLst>
          </p:cNvPr>
          <p:cNvSpPr txBox="1"/>
          <p:nvPr/>
        </p:nvSpPr>
        <p:spPr>
          <a:xfrm>
            <a:off x="1847850" y="463992"/>
            <a:ext cx="8496300" cy="553998"/>
          </a:xfrm>
          <a:prstGeom prst="rect">
            <a:avLst/>
          </a:prstGeom>
          <a:noFill/>
        </p:spPr>
        <p:txBody>
          <a:bodyPr wrap="square" lIns="0" tIns="0" rIns="0" bIns="0" rtlCol="0" anchor="t">
            <a:spAutoFit/>
          </a:bodyPr>
          <a:lstStyle/>
          <a:p>
            <a:pPr algn="ctr" defTabSz="685800"/>
            <a:r>
              <a:rPr lang="en-US" sz="3600" dirty="0">
                <a:latin typeface="Corbel" panose="020B0503020204020204"/>
              </a:rPr>
              <a:t>TX_TB</a:t>
            </a:r>
          </a:p>
        </p:txBody>
      </p:sp>
      <p:grpSp>
        <p:nvGrpSpPr>
          <p:cNvPr id="2" name="Group 1">
            <a:extLst>
              <a:ext uri="{FF2B5EF4-FFF2-40B4-BE49-F238E27FC236}">
                <a16:creationId xmlns:a16="http://schemas.microsoft.com/office/drawing/2014/main" id="{11383E8B-A9F5-4C59-A67A-3554539F5B7A}"/>
              </a:ext>
            </a:extLst>
          </p:cNvPr>
          <p:cNvGrpSpPr/>
          <p:nvPr/>
        </p:nvGrpSpPr>
        <p:grpSpPr>
          <a:xfrm>
            <a:off x="1524001" y="1143000"/>
            <a:ext cx="9144001" cy="5578476"/>
            <a:chOff x="0" y="857250"/>
            <a:chExt cx="9144001" cy="5864226"/>
          </a:xfrm>
        </p:grpSpPr>
        <p:sp>
          <p:nvSpPr>
            <p:cNvPr id="98" name="Rectangle 97">
              <a:extLst>
                <a:ext uri="{FF2B5EF4-FFF2-40B4-BE49-F238E27FC236}">
                  <a16:creationId xmlns:a16="http://schemas.microsoft.com/office/drawing/2014/main" id="{84CAA34D-CD75-45C6-B39E-7C242EB87261}"/>
                </a:ext>
              </a:extLst>
            </p:cNvPr>
            <p:cNvSpPr/>
            <p:nvPr/>
          </p:nvSpPr>
          <p:spPr>
            <a:xfrm>
              <a:off x="1" y="2871107"/>
              <a:ext cx="9144000" cy="1306286"/>
            </a:xfrm>
            <a:prstGeom prst="rect">
              <a:avLst/>
            </a:prstGeom>
            <a:solidFill>
              <a:srgbClr val="E7E6E6"/>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99" name="Rectangle: Rounded Corners 98">
              <a:extLst>
                <a:ext uri="{FF2B5EF4-FFF2-40B4-BE49-F238E27FC236}">
                  <a16:creationId xmlns:a16="http://schemas.microsoft.com/office/drawing/2014/main" id="{B79F2794-CAB0-4CBC-A170-CA7853D4B5E7}"/>
                </a:ext>
              </a:extLst>
            </p:cNvPr>
            <p:cNvSpPr/>
            <p:nvPr/>
          </p:nvSpPr>
          <p:spPr>
            <a:xfrm>
              <a:off x="3652410" y="2015558"/>
              <a:ext cx="1951265" cy="3145971"/>
            </a:xfrm>
            <a:prstGeom prst="roundRect">
              <a:avLst>
                <a:gd name="adj" fmla="val 4952"/>
              </a:avLst>
            </a:prstGeom>
            <a:solidFill>
              <a:sysClr val="window" lastClr="FFFFFF">
                <a:lumMod val="65000"/>
              </a:sys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00" name="Rectangle: Rounded Corners 99">
              <a:extLst>
                <a:ext uri="{FF2B5EF4-FFF2-40B4-BE49-F238E27FC236}">
                  <a16:creationId xmlns:a16="http://schemas.microsoft.com/office/drawing/2014/main" id="{624C18DD-A9DF-4469-A7B6-6C9AAA2D41F4}"/>
                </a:ext>
              </a:extLst>
            </p:cNvPr>
            <p:cNvSpPr/>
            <p:nvPr/>
          </p:nvSpPr>
          <p:spPr>
            <a:xfrm>
              <a:off x="6625597" y="2015558"/>
              <a:ext cx="1951265" cy="3145971"/>
            </a:xfrm>
            <a:prstGeom prst="roundRect">
              <a:avLst>
                <a:gd name="adj" fmla="val 4952"/>
              </a:avLst>
            </a:prstGeom>
            <a:solidFill>
              <a:sysClr val="window" lastClr="FFFFFF">
                <a:lumMod val="65000"/>
              </a:sys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01" name="Rectangle: Rounded Corners 100">
              <a:extLst>
                <a:ext uri="{FF2B5EF4-FFF2-40B4-BE49-F238E27FC236}">
                  <a16:creationId xmlns:a16="http://schemas.microsoft.com/office/drawing/2014/main" id="{F503AF90-BD38-48FC-8812-4FA3F25DB0E6}"/>
                </a:ext>
              </a:extLst>
            </p:cNvPr>
            <p:cNvSpPr/>
            <p:nvPr/>
          </p:nvSpPr>
          <p:spPr>
            <a:xfrm>
              <a:off x="685800" y="2015558"/>
              <a:ext cx="1951265" cy="3145971"/>
            </a:xfrm>
            <a:prstGeom prst="roundRect">
              <a:avLst>
                <a:gd name="adj" fmla="val 4952"/>
              </a:avLst>
            </a:prstGeom>
            <a:solidFill>
              <a:sysClr val="window" lastClr="FFFFFF">
                <a:lumMod val="65000"/>
              </a:sys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02" name="Frame 101">
              <a:extLst>
                <a:ext uri="{FF2B5EF4-FFF2-40B4-BE49-F238E27FC236}">
                  <a16:creationId xmlns:a16="http://schemas.microsoft.com/office/drawing/2014/main" id="{530C96A5-18F8-41CE-8FBF-056A3D32634C}"/>
                </a:ext>
              </a:extLst>
            </p:cNvPr>
            <p:cNvSpPr/>
            <p:nvPr/>
          </p:nvSpPr>
          <p:spPr>
            <a:xfrm>
              <a:off x="0" y="857250"/>
              <a:ext cx="9144000" cy="5143500"/>
            </a:xfrm>
            <a:prstGeom prst="frame">
              <a:avLst>
                <a:gd name="adj1" fmla="val 1053"/>
              </a:avLst>
            </a:prstGeom>
            <a:solidFill>
              <a:srgbClr val="44546A">
                <a:lumMod val="40000"/>
                <a:lumOff val="60000"/>
              </a:srgbClr>
            </a:solidFill>
            <a:ln w="12700" cap="flat" cmpd="sng" algn="ctr">
              <a:noFill/>
              <a:prstDash val="solid"/>
              <a:miter lim="800000"/>
            </a:ln>
            <a:effectLst/>
          </p:spPr>
          <p:txBody>
            <a:bodyPr rtlCol="0" anchor="ctr"/>
            <a:lstStyle/>
            <a:p>
              <a:pPr algn="ctr" defTabSz="685800">
                <a:defRPr/>
              </a:pPr>
              <a:endParaRPr lang="en-US" sz="1350" kern="0">
                <a:solidFill>
                  <a:prstClr val="black"/>
                </a:solidFill>
                <a:latin typeface="Calibri Light"/>
              </a:endParaRPr>
            </a:p>
          </p:txBody>
        </p:sp>
        <p:sp>
          <p:nvSpPr>
            <p:cNvPr id="103" name="Rectangle 102">
              <a:extLst>
                <a:ext uri="{FF2B5EF4-FFF2-40B4-BE49-F238E27FC236}">
                  <a16:creationId xmlns:a16="http://schemas.microsoft.com/office/drawing/2014/main" id="{D5A75610-4C9C-4007-86BE-0C93387BD4CC}"/>
                </a:ext>
              </a:extLst>
            </p:cNvPr>
            <p:cNvSpPr/>
            <p:nvPr/>
          </p:nvSpPr>
          <p:spPr>
            <a:xfrm>
              <a:off x="0" y="857250"/>
              <a:ext cx="336430" cy="336430"/>
            </a:xfrm>
            <a:prstGeom prst="rect">
              <a:avLst/>
            </a:prstGeom>
            <a:solidFill>
              <a:srgbClr val="AF5F6D"/>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04" name="Rectangle 103">
              <a:extLst>
                <a:ext uri="{FF2B5EF4-FFF2-40B4-BE49-F238E27FC236}">
                  <a16:creationId xmlns:a16="http://schemas.microsoft.com/office/drawing/2014/main" id="{88DED4A1-8837-48AC-9F2B-DE23F8D97ECB}"/>
                </a:ext>
              </a:extLst>
            </p:cNvPr>
            <p:cNvSpPr/>
            <p:nvPr/>
          </p:nvSpPr>
          <p:spPr>
            <a:xfrm>
              <a:off x="8807571" y="5664321"/>
              <a:ext cx="336430" cy="336430"/>
            </a:xfrm>
            <a:prstGeom prst="rect">
              <a:avLst/>
            </a:prstGeom>
            <a:solidFill>
              <a:srgbClr val="EB6B56"/>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18" name="Slide Number Placeholder 21">
              <a:extLst>
                <a:ext uri="{FF2B5EF4-FFF2-40B4-BE49-F238E27FC236}">
                  <a16:creationId xmlns:a16="http://schemas.microsoft.com/office/drawing/2014/main" id="{93A42D60-09D3-464C-9CEE-9793BC406A2C}"/>
                </a:ext>
              </a:extLst>
            </p:cNvPr>
            <p:cNvSpPr txBox="1">
              <a:spLocks/>
            </p:cNvSpPr>
            <p:nvPr/>
          </p:nvSpPr>
          <p:spPr>
            <a:xfrm>
              <a:off x="6457950" y="6356351"/>
              <a:ext cx="2057400" cy="365125"/>
            </a:xfrm>
            <a:prstGeom prst="rect">
              <a:avLst/>
            </a:prstGeom>
          </p:spPr>
          <p:txBody>
            <a:bodyPr vert="horz" lIns="91440" tIns="45720" rIns="91440" bIns="4572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fld id="{B9940D52-AD77-4C6A-9DCC-3EEF87AE9DF8}" type="slidenum">
                <a:rPr lang="en-US">
                  <a:solidFill>
                    <a:prstClr val="black">
                      <a:tint val="75000"/>
                    </a:prstClr>
                  </a:solidFill>
                  <a:latin typeface="Calibri Light"/>
                </a:rPr>
                <a:pPr defTabSz="685800"/>
                <a:t>75</a:t>
              </a:fld>
              <a:endParaRPr lang="en-US">
                <a:solidFill>
                  <a:prstClr val="black">
                    <a:tint val="75000"/>
                  </a:prstClr>
                </a:solidFill>
                <a:latin typeface="Calibri Light"/>
              </a:endParaRPr>
            </a:p>
          </p:txBody>
        </p:sp>
        <p:sp>
          <p:nvSpPr>
            <p:cNvPr id="119" name="Rectangle: Rounded Corners 118">
              <a:extLst>
                <a:ext uri="{FF2B5EF4-FFF2-40B4-BE49-F238E27FC236}">
                  <a16:creationId xmlns:a16="http://schemas.microsoft.com/office/drawing/2014/main" id="{A31B6B7F-B442-478B-AC83-5877659C504E}"/>
                </a:ext>
              </a:extLst>
            </p:cNvPr>
            <p:cNvSpPr/>
            <p:nvPr/>
          </p:nvSpPr>
          <p:spPr>
            <a:xfrm>
              <a:off x="628650" y="1951264"/>
              <a:ext cx="1951265" cy="3145971"/>
            </a:xfrm>
            <a:prstGeom prst="roundRect">
              <a:avLst>
                <a:gd name="adj" fmla="val 4952"/>
              </a:avLst>
            </a:prstGeom>
            <a:solidFill>
              <a:schemeClr val="accent4">
                <a:lumMod val="20000"/>
                <a:lumOff val="80000"/>
              </a:scheme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20" name="Rectangle: Rounded Corners 119">
              <a:extLst>
                <a:ext uri="{FF2B5EF4-FFF2-40B4-BE49-F238E27FC236}">
                  <a16:creationId xmlns:a16="http://schemas.microsoft.com/office/drawing/2014/main" id="{755AABF3-A803-4326-BD1C-065642A1AA83}"/>
                </a:ext>
              </a:extLst>
            </p:cNvPr>
            <p:cNvSpPr/>
            <p:nvPr/>
          </p:nvSpPr>
          <p:spPr>
            <a:xfrm>
              <a:off x="3596368" y="1951264"/>
              <a:ext cx="1951265" cy="3145971"/>
            </a:xfrm>
            <a:prstGeom prst="roundRect">
              <a:avLst>
                <a:gd name="adj" fmla="val 4952"/>
              </a:avLst>
            </a:prstGeom>
            <a:solidFill>
              <a:schemeClr val="bg1">
                <a:lumMod val="85000"/>
              </a:scheme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21" name="Rectangle: Rounded Corners 120">
              <a:extLst>
                <a:ext uri="{FF2B5EF4-FFF2-40B4-BE49-F238E27FC236}">
                  <a16:creationId xmlns:a16="http://schemas.microsoft.com/office/drawing/2014/main" id="{51F48CB3-9A91-4CD8-BAB4-372731EF5FB1}"/>
                </a:ext>
              </a:extLst>
            </p:cNvPr>
            <p:cNvSpPr/>
            <p:nvPr/>
          </p:nvSpPr>
          <p:spPr>
            <a:xfrm>
              <a:off x="6564085" y="1951264"/>
              <a:ext cx="1951265" cy="3145971"/>
            </a:xfrm>
            <a:prstGeom prst="roundRect">
              <a:avLst>
                <a:gd name="adj" fmla="val 4952"/>
              </a:avLst>
            </a:prstGeom>
            <a:solidFill>
              <a:schemeClr val="accent6">
                <a:lumMod val="20000"/>
                <a:lumOff val="80000"/>
              </a:scheme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grpSp>
          <p:nvGrpSpPr>
            <p:cNvPr id="122" name="Group 121">
              <a:extLst>
                <a:ext uri="{FF2B5EF4-FFF2-40B4-BE49-F238E27FC236}">
                  <a16:creationId xmlns:a16="http://schemas.microsoft.com/office/drawing/2014/main" id="{1D5F4261-1706-4F0E-8267-369D57C1FB88}"/>
                </a:ext>
              </a:extLst>
            </p:cNvPr>
            <p:cNvGrpSpPr/>
            <p:nvPr/>
          </p:nvGrpSpPr>
          <p:grpSpPr>
            <a:xfrm>
              <a:off x="2875574" y="3333082"/>
              <a:ext cx="425135" cy="382335"/>
              <a:chOff x="4854484" y="5910272"/>
              <a:chExt cx="283864" cy="255286"/>
            </a:xfrm>
            <a:solidFill>
              <a:srgbClr val="44546A"/>
            </a:solidFill>
          </p:grpSpPr>
          <p:sp>
            <p:nvSpPr>
              <p:cNvPr id="123" name="Freeform 251">
                <a:extLst>
                  <a:ext uri="{FF2B5EF4-FFF2-40B4-BE49-F238E27FC236}">
                    <a16:creationId xmlns:a16="http://schemas.microsoft.com/office/drawing/2014/main" id="{0C8CED70-9586-4725-ABB9-23097BB29906}"/>
                  </a:ext>
                </a:extLst>
              </p:cNvPr>
              <p:cNvSpPr>
                <a:spLocks/>
              </p:cNvSpPr>
              <p:nvPr/>
            </p:nvSpPr>
            <p:spPr bwMode="auto">
              <a:xfrm>
                <a:off x="4854484" y="5910272"/>
                <a:ext cx="165746" cy="255286"/>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sp>
            <p:nvSpPr>
              <p:cNvPr id="124" name="Freeform 252">
                <a:extLst>
                  <a:ext uri="{FF2B5EF4-FFF2-40B4-BE49-F238E27FC236}">
                    <a16:creationId xmlns:a16="http://schemas.microsoft.com/office/drawing/2014/main" id="{0F01F1D5-7465-4E64-9CCB-5C815BD8B5EC}"/>
                  </a:ext>
                </a:extLst>
              </p:cNvPr>
              <p:cNvSpPr>
                <a:spLocks/>
              </p:cNvSpPr>
              <p:nvPr/>
            </p:nvSpPr>
            <p:spPr bwMode="auto">
              <a:xfrm>
                <a:off x="4972602" y="5910272"/>
                <a:ext cx="165746" cy="255286"/>
              </a:xfrm>
              <a:custGeom>
                <a:avLst/>
                <a:gdLst>
                  <a:gd name="T0" fmla="*/ 344 w 348"/>
                  <a:gd name="T1" fmla="*/ 260 h 535"/>
                  <a:gd name="T2" fmla="*/ 86 w 348"/>
                  <a:gd name="T3" fmla="*/ 2 h 535"/>
                  <a:gd name="T4" fmla="*/ 83 w 348"/>
                  <a:gd name="T5" fmla="*/ 0 h 535"/>
                  <a:gd name="T6" fmla="*/ 80 w 348"/>
                  <a:gd name="T7" fmla="*/ 0 h 535"/>
                  <a:gd name="T8" fmla="*/ 75 w 348"/>
                  <a:gd name="T9" fmla="*/ 0 h 535"/>
                  <a:gd name="T10" fmla="*/ 72 w 348"/>
                  <a:gd name="T11" fmla="*/ 2 h 535"/>
                  <a:gd name="T12" fmla="*/ 3 w 348"/>
                  <a:gd name="T13" fmla="*/ 72 h 535"/>
                  <a:gd name="T14" fmla="*/ 1 w 348"/>
                  <a:gd name="T15" fmla="*/ 75 h 535"/>
                  <a:gd name="T16" fmla="*/ 0 w 348"/>
                  <a:gd name="T17" fmla="*/ 79 h 535"/>
                  <a:gd name="T18" fmla="*/ 1 w 348"/>
                  <a:gd name="T19" fmla="*/ 83 h 535"/>
                  <a:gd name="T20" fmla="*/ 3 w 348"/>
                  <a:gd name="T21" fmla="*/ 86 h 535"/>
                  <a:gd name="T22" fmla="*/ 185 w 348"/>
                  <a:gd name="T23" fmla="*/ 268 h 535"/>
                  <a:gd name="T24" fmla="*/ 3 w 348"/>
                  <a:gd name="T25" fmla="*/ 449 h 535"/>
                  <a:gd name="T26" fmla="*/ 1 w 348"/>
                  <a:gd name="T27" fmla="*/ 452 h 535"/>
                  <a:gd name="T28" fmla="*/ 0 w 348"/>
                  <a:gd name="T29" fmla="*/ 457 h 535"/>
                  <a:gd name="T30" fmla="*/ 1 w 348"/>
                  <a:gd name="T31" fmla="*/ 460 h 535"/>
                  <a:gd name="T32" fmla="*/ 3 w 348"/>
                  <a:gd name="T33" fmla="*/ 463 h 535"/>
                  <a:gd name="T34" fmla="*/ 72 w 348"/>
                  <a:gd name="T35" fmla="*/ 532 h 535"/>
                  <a:gd name="T36" fmla="*/ 75 w 348"/>
                  <a:gd name="T37" fmla="*/ 534 h 535"/>
                  <a:gd name="T38" fmla="*/ 80 w 348"/>
                  <a:gd name="T39" fmla="*/ 535 h 535"/>
                  <a:gd name="T40" fmla="*/ 83 w 348"/>
                  <a:gd name="T41" fmla="*/ 534 h 535"/>
                  <a:gd name="T42" fmla="*/ 86 w 348"/>
                  <a:gd name="T43" fmla="*/ 533 h 535"/>
                  <a:gd name="T44" fmla="*/ 344 w 348"/>
                  <a:gd name="T45" fmla="*/ 274 h 535"/>
                  <a:gd name="T46" fmla="*/ 347 w 348"/>
                  <a:gd name="T47" fmla="*/ 271 h 535"/>
                  <a:gd name="T48" fmla="*/ 348 w 348"/>
                  <a:gd name="T49" fmla="*/ 268 h 535"/>
                  <a:gd name="T50" fmla="*/ 347 w 348"/>
                  <a:gd name="T51" fmla="*/ 263 h 535"/>
                  <a:gd name="T52" fmla="*/ 344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4" y="260"/>
                    </a:moveTo>
                    <a:lnTo>
                      <a:pt x="86" y="2"/>
                    </a:lnTo>
                    <a:lnTo>
                      <a:pt x="83" y="0"/>
                    </a:lnTo>
                    <a:lnTo>
                      <a:pt x="80" y="0"/>
                    </a:lnTo>
                    <a:lnTo>
                      <a:pt x="75" y="0"/>
                    </a:lnTo>
                    <a:lnTo>
                      <a:pt x="72" y="2"/>
                    </a:lnTo>
                    <a:lnTo>
                      <a:pt x="3" y="72"/>
                    </a:lnTo>
                    <a:lnTo>
                      <a:pt x="1" y="75"/>
                    </a:lnTo>
                    <a:lnTo>
                      <a:pt x="0" y="79"/>
                    </a:lnTo>
                    <a:lnTo>
                      <a:pt x="1" y="83"/>
                    </a:lnTo>
                    <a:lnTo>
                      <a:pt x="3" y="86"/>
                    </a:lnTo>
                    <a:lnTo>
                      <a:pt x="185" y="268"/>
                    </a:lnTo>
                    <a:lnTo>
                      <a:pt x="3" y="449"/>
                    </a:lnTo>
                    <a:lnTo>
                      <a:pt x="1" y="452"/>
                    </a:lnTo>
                    <a:lnTo>
                      <a:pt x="0" y="457"/>
                    </a:lnTo>
                    <a:lnTo>
                      <a:pt x="1" y="460"/>
                    </a:lnTo>
                    <a:lnTo>
                      <a:pt x="3" y="463"/>
                    </a:lnTo>
                    <a:lnTo>
                      <a:pt x="72" y="532"/>
                    </a:lnTo>
                    <a:lnTo>
                      <a:pt x="75" y="534"/>
                    </a:lnTo>
                    <a:lnTo>
                      <a:pt x="80" y="535"/>
                    </a:lnTo>
                    <a:lnTo>
                      <a:pt x="83" y="534"/>
                    </a:lnTo>
                    <a:lnTo>
                      <a:pt x="86" y="533"/>
                    </a:lnTo>
                    <a:lnTo>
                      <a:pt x="344" y="274"/>
                    </a:lnTo>
                    <a:lnTo>
                      <a:pt x="347" y="271"/>
                    </a:lnTo>
                    <a:lnTo>
                      <a:pt x="348" y="268"/>
                    </a:lnTo>
                    <a:lnTo>
                      <a:pt x="347" y="263"/>
                    </a:lnTo>
                    <a:lnTo>
                      <a:pt x="344"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grpSp>
        <p:grpSp>
          <p:nvGrpSpPr>
            <p:cNvPr id="125" name="Group 124">
              <a:extLst>
                <a:ext uri="{FF2B5EF4-FFF2-40B4-BE49-F238E27FC236}">
                  <a16:creationId xmlns:a16="http://schemas.microsoft.com/office/drawing/2014/main" id="{819BCB2C-2594-4246-AF1C-54887570D1B2}"/>
                </a:ext>
              </a:extLst>
            </p:cNvPr>
            <p:cNvGrpSpPr/>
            <p:nvPr/>
          </p:nvGrpSpPr>
          <p:grpSpPr>
            <a:xfrm>
              <a:off x="5843292" y="3333082"/>
              <a:ext cx="425135" cy="382335"/>
              <a:chOff x="4854484" y="5910272"/>
              <a:chExt cx="283864" cy="255286"/>
            </a:xfrm>
            <a:solidFill>
              <a:srgbClr val="44546A"/>
            </a:solidFill>
          </p:grpSpPr>
          <p:sp>
            <p:nvSpPr>
              <p:cNvPr id="126" name="Freeform 251">
                <a:extLst>
                  <a:ext uri="{FF2B5EF4-FFF2-40B4-BE49-F238E27FC236}">
                    <a16:creationId xmlns:a16="http://schemas.microsoft.com/office/drawing/2014/main" id="{B4AFA590-489D-461F-87B5-31AA21C9CA6E}"/>
                  </a:ext>
                </a:extLst>
              </p:cNvPr>
              <p:cNvSpPr>
                <a:spLocks/>
              </p:cNvSpPr>
              <p:nvPr/>
            </p:nvSpPr>
            <p:spPr bwMode="auto">
              <a:xfrm>
                <a:off x="4854484" y="5910272"/>
                <a:ext cx="165746" cy="255286"/>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sp>
            <p:nvSpPr>
              <p:cNvPr id="127" name="Freeform 252">
                <a:extLst>
                  <a:ext uri="{FF2B5EF4-FFF2-40B4-BE49-F238E27FC236}">
                    <a16:creationId xmlns:a16="http://schemas.microsoft.com/office/drawing/2014/main" id="{686E9970-8B1D-4D78-8BC4-D6A0633DF381}"/>
                  </a:ext>
                </a:extLst>
              </p:cNvPr>
              <p:cNvSpPr>
                <a:spLocks/>
              </p:cNvSpPr>
              <p:nvPr/>
            </p:nvSpPr>
            <p:spPr bwMode="auto">
              <a:xfrm>
                <a:off x="4972602" y="5910272"/>
                <a:ext cx="165746" cy="255286"/>
              </a:xfrm>
              <a:custGeom>
                <a:avLst/>
                <a:gdLst>
                  <a:gd name="T0" fmla="*/ 344 w 348"/>
                  <a:gd name="T1" fmla="*/ 260 h 535"/>
                  <a:gd name="T2" fmla="*/ 86 w 348"/>
                  <a:gd name="T3" fmla="*/ 2 h 535"/>
                  <a:gd name="T4" fmla="*/ 83 w 348"/>
                  <a:gd name="T5" fmla="*/ 0 h 535"/>
                  <a:gd name="T6" fmla="*/ 80 w 348"/>
                  <a:gd name="T7" fmla="*/ 0 h 535"/>
                  <a:gd name="T8" fmla="*/ 75 w 348"/>
                  <a:gd name="T9" fmla="*/ 0 h 535"/>
                  <a:gd name="T10" fmla="*/ 72 w 348"/>
                  <a:gd name="T11" fmla="*/ 2 h 535"/>
                  <a:gd name="T12" fmla="*/ 3 w 348"/>
                  <a:gd name="T13" fmla="*/ 72 h 535"/>
                  <a:gd name="T14" fmla="*/ 1 w 348"/>
                  <a:gd name="T15" fmla="*/ 75 h 535"/>
                  <a:gd name="T16" fmla="*/ 0 w 348"/>
                  <a:gd name="T17" fmla="*/ 79 h 535"/>
                  <a:gd name="T18" fmla="*/ 1 w 348"/>
                  <a:gd name="T19" fmla="*/ 83 h 535"/>
                  <a:gd name="T20" fmla="*/ 3 w 348"/>
                  <a:gd name="T21" fmla="*/ 86 h 535"/>
                  <a:gd name="T22" fmla="*/ 185 w 348"/>
                  <a:gd name="T23" fmla="*/ 268 h 535"/>
                  <a:gd name="T24" fmla="*/ 3 w 348"/>
                  <a:gd name="T25" fmla="*/ 449 h 535"/>
                  <a:gd name="T26" fmla="*/ 1 w 348"/>
                  <a:gd name="T27" fmla="*/ 452 h 535"/>
                  <a:gd name="T28" fmla="*/ 0 w 348"/>
                  <a:gd name="T29" fmla="*/ 457 h 535"/>
                  <a:gd name="T30" fmla="*/ 1 w 348"/>
                  <a:gd name="T31" fmla="*/ 460 h 535"/>
                  <a:gd name="T32" fmla="*/ 3 w 348"/>
                  <a:gd name="T33" fmla="*/ 463 h 535"/>
                  <a:gd name="T34" fmla="*/ 72 w 348"/>
                  <a:gd name="T35" fmla="*/ 532 h 535"/>
                  <a:gd name="T36" fmla="*/ 75 w 348"/>
                  <a:gd name="T37" fmla="*/ 534 h 535"/>
                  <a:gd name="T38" fmla="*/ 80 w 348"/>
                  <a:gd name="T39" fmla="*/ 535 h 535"/>
                  <a:gd name="T40" fmla="*/ 83 w 348"/>
                  <a:gd name="T41" fmla="*/ 534 h 535"/>
                  <a:gd name="T42" fmla="*/ 86 w 348"/>
                  <a:gd name="T43" fmla="*/ 533 h 535"/>
                  <a:gd name="T44" fmla="*/ 344 w 348"/>
                  <a:gd name="T45" fmla="*/ 274 h 535"/>
                  <a:gd name="T46" fmla="*/ 347 w 348"/>
                  <a:gd name="T47" fmla="*/ 271 h 535"/>
                  <a:gd name="T48" fmla="*/ 348 w 348"/>
                  <a:gd name="T49" fmla="*/ 268 h 535"/>
                  <a:gd name="T50" fmla="*/ 347 w 348"/>
                  <a:gd name="T51" fmla="*/ 263 h 535"/>
                  <a:gd name="T52" fmla="*/ 344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4" y="260"/>
                    </a:moveTo>
                    <a:lnTo>
                      <a:pt x="86" y="2"/>
                    </a:lnTo>
                    <a:lnTo>
                      <a:pt x="83" y="0"/>
                    </a:lnTo>
                    <a:lnTo>
                      <a:pt x="80" y="0"/>
                    </a:lnTo>
                    <a:lnTo>
                      <a:pt x="75" y="0"/>
                    </a:lnTo>
                    <a:lnTo>
                      <a:pt x="72" y="2"/>
                    </a:lnTo>
                    <a:lnTo>
                      <a:pt x="3" y="72"/>
                    </a:lnTo>
                    <a:lnTo>
                      <a:pt x="1" y="75"/>
                    </a:lnTo>
                    <a:lnTo>
                      <a:pt x="0" y="79"/>
                    </a:lnTo>
                    <a:lnTo>
                      <a:pt x="1" y="83"/>
                    </a:lnTo>
                    <a:lnTo>
                      <a:pt x="3" y="86"/>
                    </a:lnTo>
                    <a:lnTo>
                      <a:pt x="185" y="268"/>
                    </a:lnTo>
                    <a:lnTo>
                      <a:pt x="3" y="449"/>
                    </a:lnTo>
                    <a:lnTo>
                      <a:pt x="1" y="452"/>
                    </a:lnTo>
                    <a:lnTo>
                      <a:pt x="0" y="457"/>
                    </a:lnTo>
                    <a:lnTo>
                      <a:pt x="1" y="460"/>
                    </a:lnTo>
                    <a:lnTo>
                      <a:pt x="3" y="463"/>
                    </a:lnTo>
                    <a:lnTo>
                      <a:pt x="72" y="532"/>
                    </a:lnTo>
                    <a:lnTo>
                      <a:pt x="75" y="534"/>
                    </a:lnTo>
                    <a:lnTo>
                      <a:pt x="80" y="535"/>
                    </a:lnTo>
                    <a:lnTo>
                      <a:pt x="83" y="534"/>
                    </a:lnTo>
                    <a:lnTo>
                      <a:pt x="86" y="533"/>
                    </a:lnTo>
                    <a:lnTo>
                      <a:pt x="344" y="274"/>
                    </a:lnTo>
                    <a:lnTo>
                      <a:pt x="347" y="271"/>
                    </a:lnTo>
                    <a:lnTo>
                      <a:pt x="348" y="268"/>
                    </a:lnTo>
                    <a:lnTo>
                      <a:pt x="347" y="263"/>
                    </a:lnTo>
                    <a:lnTo>
                      <a:pt x="344"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grpSp>
        <p:sp>
          <p:nvSpPr>
            <p:cNvPr id="137" name="TextBox 136">
              <a:extLst>
                <a:ext uri="{FF2B5EF4-FFF2-40B4-BE49-F238E27FC236}">
                  <a16:creationId xmlns:a16="http://schemas.microsoft.com/office/drawing/2014/main" id="{BD72369C-B18A-43FF-AFFB-FB7B6C1A5ABC}"/>
                </a:ext>
              </a:extLst>
            </p:cNvPr>
            <p:cNvSpPr txBox="1"/>
            <p:nvPr/>
          </p:nvSpPr>
          <p:spPr>
            <a:xfrm>
              <a:off x="739572" y="2898796"/>
              <a:ext cx="1719483" cy="509579"/>
            </a:xfrm>
            <a:prstGeom prst="rect">
              <a:avLst/>
            </a:prstGeom>
            <a:noFill/>
            <a:ln>
              <a:solidFill>
                <a:schemeClr val="bg1"/>
              </a:solidFill>
            </a:ln>
          </p:spPr>
          <p:txBody>
            <a:bodyPr wrap="square" lIns="0" tIns="0" rIns="0" bIns="0" rtlCol="0" anchor="ctr">
              <a:spAutoFit/>
            </a:bodyPr>
            <a:lstStyle/>
            <a:p>
              <a:pPr marL="171450" indent="-171450" defTabSz="685800">
                <a:buFont typeface="Arial" panose="020B0604020202020204" pitchFamily="34" charset="0"/>
                <a:buChar char="•"/>
              </a:pPr>
              <a:r>
                <a:rPr lang="en-US" sz="1050" dirty="0">
                  <a:latin typeface="Calibri Light"/>
                </a:rPr>
                <a:t>On ART</a:t>
              </a:r>
            </a:p>
            <a:p>
              <a:pPr marL="171450" indent="-171450" defTabSz="685800">
                <a:buFont typeface="Arial" panose="020B0604020202020204" pitchFamily="34" charset="0"/>
                <a:buChar char="•"/>
              </a:pPr>
              <a:r>
                <a:rPr lang="en-US" sz="1050" dirty="0">
                  <a:latin typeface="Calibri Light"/>
                </a:rPr>
                <a:t>Screened for TB symptoms at least once</a:t>
              </a:r>
            </a:p>
          </p:txBody>
        </p:sp>
        <p:sp>
          <p:nvSpPr>
            <p:cNvPr id="138" name="TextBox 137">
              <a:extLst>
                <a:ext uri="{FF2B5EF4-FFF2-40B4-BE49-F238E27FC236}">
                  <a16:creationId xmlns:a16="http://schemas.microsoft.com/office/drawing/2014/main" id="{29087046-24DC-401B-97BD-14EADBFCDAAD}"/>
                </a:ext>
              </a:extLst>
            </p:cNvPr>
            <p:cNvSpPr txBox="1"/>
            <p:nvPr/>
          </p:nvSpPr>
          <p:spPr>
            <a:xfrm>
              <a:off x="853984" y="2197851"/>
              <a:ext cx="1500596" cy="582376"/>
            </a:xfrm>
            <a:prstGeom prst="rect">
              <a:avLst/>
            </a:prstGeom>
            <a:noFill/>
          </p:spPr>
          <p:txBody>
            <a:bodyPr wrap="square" lIns="0" tIns="0" rIns="0" bIns="0" rtlCol="0" anchor="ctr">
              <a:spAutoFit/>
            </a:bodyPr>
            <a:lstStyle/>
            <a:p>
              <a:pPr algn="ctr" defTabSz="685800"/>
              <a:r>
                <a:rPr lang="en-US" b="1" dirty="0">
                  <a:latin typeface="Calibri Light"/>
                </a:rPr>
                <a:t>COLLECTION/</a:t>
              </a:r>
            </a:p>
            <a:p>
              <a:pPr algn="ctr" defTabSz="685800"/>
              <a:r>
                <a:rPr lang="en-US" b="1" dirty="0">
                  <a:latin typeface="Calibri Light"/>
                </a:rPr>
                <a:t>REPORTING</a:t>
              </a:r>
            </a:p>
          </p:txBody>
        </p:sp>
        <p:sp>
          <p:nvSpPr>
            <p:cNvPr id="144" name="TextBox 143">
              <a:extLst>
                <a:ext uri="{FF2B5EF4-FFF2-40B4-BE49-F238E27FC236}">
                  <a16:creationId xmlns:a16="http://schemas.microsoft.com/office/drawing/2014/main" id="{C75D3502-2084-4D34-B7F6-EC24A147A540}"/>
                </a:ext>
              </a:extLst>
            </p:cNvPr>
            <p:cNvSpPr txBox="1"/>
            <p:nvPr/>
          </p:nvSpPr>
          <p:spPr>
            <a:xfrm>
              <a:off x="3759835" y="3298772"/>
              <a:ext cx="1626331" cy="339719"/>
            </a:xfrm>
            <a:prstGeom prst="rect">
              <a:avLst/>
            </a:prstGeom>
            <a:noFill/>
            <a:ln>
              <a:noFill/>
            </a:ln>
          </p:spPr>
          <p:txBody>
            <a:bodyPr wrap="square" lIns="0" tIns="0" rIns="0" bIns="0" rtlCol="0" anchor="ctr">
              <a:spAutoFit/>
            </a:bodyPr>
            <a:lstStyle>
              <a:defPPr>
                <a:defRPr lang="en-US"/>
              </a:defPPr>
              <a:lvl1pPr defTabSz="685800">
                <a:defRPr sz="1050" b="1">
                  <a:latin typeface="Calibri Light"/>
                </a:defRPr>
              </a:lvl1pPr>
            </a:lstStyle>
            <a:p>
              <a:pPr algn="ctr"/>
              <a:r>
                <a:rPr lang="en-US" b="0" dirty="0"/>
                <a:t>Numerator ≥ subtotal of each of the disaggregation</a:t>
              </a:r>
            </a:p>
          </p:txBody>
        </p:sp>
        <p:sp>
          <p:nvSpPr>
            <p:cNvPr id="145" name="TextBox 144">
              <a:extLst>
                <a:ext uri="{FF2B5EF4-FFF2-40B4-BE49-F238E27FC236}">
                  <a16:creationId xmlns:a16="http://schemas.microsoft.com/office/drawing/2014/main" id="{4229BB9B-1E9C-4794-BD7E-31916C0D2655}"/>
                </a:ext>
              </a:extLst>
            </p:cNvPr>
            <p:cNvSpPr txBox="1"/>
            <p:nvPr/>
          </p:nvSpPr>
          <p:spPr>
            <a:xfrm>
              <a:off x="3787215" y="2276002"/>
              <a:ext cx="1569569" cy="291188"/>
            </a:xfrm>
            <a:prstGeom prst="rect">
              <a:avLst/>
            </a:prstGeom>
            <a:noFill/>
          </p:spPr>
          <p:txBody>
            <a:bodyPr wrap="square" lIns="0" tIns="0" rIns="0" bIns="0" rtlCol="0" anchor="ctr">
              <a:spAutoFit/>
            </a:bodyPr>
            <a:lstStyle/>
            <a:p>
              <a:pPr algn="ctr" defTabSz="685800"/>
              <a:r>
                <a:rPr lang="en-US" b="1" dirty="0">
                  <a:latin typeface="Calibri Light"/>
                </a:rPr>
                <a:t>DATA QUALITY</a:t>
              </a:r>
            </a:p>
          </p:txBody>
        </p:sp>
        <p:sp>
          <p:nvSpPr>
            <p:cNvPr id="150" name="TextBox 149">
              <a:extLst>
                <a:ext uri="{FF2B5EF4-FFF2-40B4-BE49-F238E27FC236}">
                  <a16:creationId xmlns:a16="http://schemas.microsoft.com/office/drawing/2014/main" id="{A432B2BB-4C21-4AF1-9B8E-A30EC8F9E140}"/>
                </a:ext>
              </a:extLst>
            </p:cNvPr>
            <p:cNvSpPr txBox="1"/>
            <p:nvPr/>
          </p:nvSpPr>
          <p:spPr>
            <a:xfrm>
              <a:off x="6740987" y="2743829"/>
              <a:ext cx="1592581" cy="2038314"/>
            </a:xfrm>
            <a:prstGeom prst="rect">
              <a:avLst/>
            </a:prstGeom>
            <a:noFill/>
          </p:spPr>
          <p:txBody>
            <a:bodyPr wrap="square" lIns="0" tIns="0" rIns="0" bIns="0" rtlCol="0" anchor="ctr">
              <a:spAutoFit/>
            </a:bodyPr>
            <a:lstStyle/>
            <a:p>
              <a:pPr defTabSz="685800"/>
              <a:r>
                <a:rPr lang="en-US" sz="1050" b="1" dirty="0">
                  <a:latin typeface="Calibri Light"/>
                </a:rPr>
                <a:t>Denominator:</a:t>
              </a:r>
            </a:p>
            <a:p>
              <a:pPr marL="171450" indent="-171450" defTabSz="685800">
                <a:buFont typeface="Arial" panose="020B0604020202020204" pitchFamily="34" charset="0"/>
                <a:buChar char="•"/>
              </a:pPr>
              <a:r>
                <a:rPr lang="en-US" sz="1050" dirty="0">
                  <a:latin typeface="Calibri Light"/>
                </a:rPr>
                <a:t>Age: &lt;15, ≥15</a:t>
              </a:r>
            </a:p>
            <a:p>
              <a:pPr marL="171450" indent="-171450" defTabSz="685800">
                <a:buFont typeface="Arial" panose="020B0604020202020204" pitchFamily="34" charset="0"/>
                <a:buChar char="•"/>
              </a:pPr>
              <a:r>
                <a:rPr lang="en-US" sz="1050" dirty="0">
                  <a:latin typeface="Calibri Light"/>
                </a:rPr>
                <a:t>Sex</a:t>
              </a:r>
            </a:p>
            <a:p>
              <a:pPr marL="171450" indent="-171450" defTabSz="685800">
                <a:buFont typeface="Arial" panose="020B0604020202020204" pitchFamily="34" charset="0"/>
                <a:buChar char="•"/>
              </a:pPr>
              <a:r>
                <a:rPr lang="en-US" sz="1050" dirty="0">
                  <a:latin typeface="Calibri Light"/>
                </a:rPr>
                <a:t>Screen Result</a:t>
              </a:r>
            </a:p>
            <a:p>
              <a:pPr marL="171450" indent="-171450" defTabSz="685800">
                <a:buFont typeface="Arial" panose="020B0604020202020204" pitchFamily="34" charset="0"/>
                <a:buChar char="•"/>
              </a:pPr>
              <a:r>
                <a:rPr lang="en-US" sz="1050" dirty="0">
                  <a:latin typeface="Calibri Light"/>
                </a:rPr>
                <a:t>Start of ART</a:t>
              </a:r>
            </a:p>
            <a:p>
              <a:pPr defTabSz="685800"/>
              <a:r>
                <a:rPr lang="en-US" sz="1050" b="1" dirty="0">
                  <a:latin typeface="Calibri Light"/>
                </a:rPr>
                <a:t>Numerator: </a:t>
              </a:r>
            </a:p>
            <a:p>
              <a:pPr marL="171450" indent="-171450" defTabSz="685800">
                <a:buFont typeface="Arial" panose="020B0604020202020204" pitchFamily="34" charset="0"/>
                <a:buChar char="•"/>
              </a:pPr>
              <a:r>
                <a:rPr lang="en-US" sz="1050" dirty="0">
                  <a:latin typeface="Calibri Light"/>
                </a:rPr>
                <a:t>Age: &lt;15, ≥15</a:t>
              </a:r>
            </a:p>
            <a:p>
              <a:pPr marL="171450" indent="-171450" defTabSz="685800">
                <a:buFont typeface="Arial" panose="020B0604020202020204" pitchFamily="34" charset="0"/>
                <a:buChar char="•"/>
              </a:pPr>
              <a:r>
                <a:rPr lang="en-US" sz="1050" dirty="0">
                  <a:latin typeface="Calibri Light"/>
                </a:rPr>
                <a:t>Sex</a:t>
              </a:r>
            </a:p>
            <a:p>
              <a:pPr marL="171450" indent="-171450" defTabSz="685800">
                <a:buFont typeface="Arial" panose="020B0604020202020204" pitchFamily="34" charset="0"/>
                <a:buChar char="•"/>
              </a:pPr>
              <a:r>
                <a:rPr lang="en-US" sz="1050" dirty="0">
                  <a:latin typeface="Calibri Light"/>
                </a:rPr>
                <a:t>ART Status</a:t>
              </a:r>
            </a:p>
            <a:p>
              <a:pPr defTabSz="685800"/>
              <a:r>
                <a:rPr lang="en-US" sz="1050" dirty="0">
                  <a:latin typeface="Calibri Light"/>
                </a:rPr>
                <a:t>Specimen Sent (Diagnostic Test)</a:t>
              </a:r>
            </a:p>
            <a:p>
              <a:pPr defTabSz="685800"/>
              <a:r>
                <a:rPr lang="en-US" sz="1050" dirty="0">
                  <a:latin typeface="Calibri Light"/>
                </a:rPr>
                <a:t>Positive Result Returned </a:t>
              </a:r>
            </a:p>
          </p:txBody>
        </p:sp>
        <p:sp>
          <p:nvSpPr>
            <p:cNvPr id="151" name="TextBox 150">
              <a:extLst>
                <a:ext uri="{FF2B5EF4-FFF2-40B4-BE49-F238E27FC236}">
                  <a16:creationId xmlns:a16="http://schemas.microsoft.com/office/drawing/2014/main" id="{269059BD-5BEF-4B22-9D87-AC985C86C7EA}"/>
                </a:ext>
              </a:extLst>
            </p:cNvPr>
            <p:cNvSpPr txBox="1"/>
            <p:nvPr/>
          </p:nvSpPr>
          <p:spPr>
            <a:xfrm>
              <a:off x="6606468" y="2197851"/>
              <a:ext cx="1832066" cy="291188"/>
            </a:xfrm>
            <a:prstGeom prst="rect">
              <a:avLst/>
            </a:prstGeom>
            <a:noFill/>
          </p:spPr>
          <p:txBody>
            <a:bodyPr wrap="square" lIns="0" tIns="0" rIns="0" bIns="0" rtlCol="0" anchor="ctr">
              <a:spAutoFit/>
            </a:bodyPr>
            <a:lstStyle/>
            <a:p>
              <a:pPr algn="ctr" defTabSz="685800"/>
              <a:r>
                <a:rPr lang="en-US" b="1" dirty="0">
                  <a:latin typeface="Calibri Light"/>
                </a:rPr>
                <a:t>DISAGGREGATION</a:t>
              </a:r>
            </a:p>
          </p:txBody>
        </p:sp>
      </p:grpSp>
      <p:sp>
        <p:nvSpPr>
          <p:cNvPr id="27" name="TextBox 26">
            <a:extLst>
              <a:ext uri="{FF2B5EF4-FFF2-40B4-BE49-F238E27FC236}">
                <a16:creationId xmlns:a16="http://schemas.microsoft.com/office/drawing/2014/main" id="{9671A23E-77A1-4E71-9A77-3D9EC4CB5468}"/>
              </a:ext>
            </a:extLst>
          </p:cNvPr>
          <p:cNvSpPr txBox="1"/>
          <p:nvPr/>
        </p:nvSpPr>
        <p:spPr>
          <a:xfrm>
            <a:off x="2263573" y="3876322"/>
            <a:ext cx="1719483" cy="323165"/>
          </a:xfrm>
          <a:prstGeom prst="rect">
            <a:avLst/>
          </a:prstGeom>
          <a:noFill/>
          <a:ln>
            <a:solidFill>
              <a:schemeClr val="bg1"/>
            </a:solidFill>
          </a:ln>
        </p:spPr>
        <p:txBody>
          <a:bodyPr wrap="square" lIns="0" tIns="0" rIns="0" bIns="0" rtlCol="0" anchor="ctr">
            <a:spAutoFit/>
          </a:bodyPr>
          <a:lstStyle/>
          <a:p>
            <a:pPr marL="171450" indent="-171450" defTabSz="685800">
              <a:buFont typeface="Arial" panose="020B0604020202020204" pitchFamily="34" charset="0"/>
              <a:buChar char="•"/>
            </a:pPr>
            <a:r>
              <a:rPr lang="en-US" sz="1050" dirty="0">
                <a:latin typeface="Calibri Light"/>
              </a:rPr>
              <a:t>Diagnosed with TB</a:t>
            </a:r>
          </a:p>
          <a:p>
            <a:pPr marL="171450" indent="-171450" defTabSz="685800">
              <a:buFont typeface="Arial" panose="020B0604020202020204" pitchFamily="34" charset="0"/>
              <a:buChar char="•"/>
            </a:pPr>
            <a:r>
              <a:rPr lang="en-US" sz="1050" dirty="0">
                <a:latin typeface="Calibri Light"/>
              </a:rPr>
              <a:t>Started on anti-TB therapy</a:t>
            </a:r>
          </a:p>
        </p:txBody>
      </p:sp>
      <p:sp>
        <p:nvSpPr>
          <p:cNvPr id="28" name="TextBox 27">
            <a:extLst>
              <a:ext uri="{FF2B5EF4-FFF2-40B4-BE49-F238E27FC236}">
                <a16:creationId xmlns:a16="http://schemas.microsoft.com/office/drawing/2014/main" id="{53ADB8AC-B906-41C7-3C84-511413A23243}"/>
              </a:ext>
            </a:extLst>
          </p:cNvPr>
          <p:cNvSpPr txBox="1"/>
          <p:nvPr/>
        </p:nvSpPr>
        <p:spPr>
          <a:xfrm>
            <a:off x="2270833" y="4468603"/>
            <a:ext cx="1719483" cy="161583"/>
          </a:xfrm>
          <a:prstGeom prst="rect">
            <a:avLst/>
          </a:prstGeom>
          <a:noFill/>
          <a:ln>
            <a:solidFill>
              <a:schemeClr val="bg1"/>
            </a:solidFill>
          </a:ln>
        </p:spPr>
        <p:txBody>
          <a:bodyPr wrap="square" lIns="0" tIns="0" rIns="0" bIns="0" rtlCol="0" anchor="ctr">
            <a:spAutoFit/>
          </a:bodyPr>
          <a:lstStyle/>
          <a:p>
            <a:pPr marL="171450" indent="-171450" defTabSz="685800">
              <a:buFont typeface="Arial" panose="020B0604020202020204" pitchFamily="34" charset="0"/>
              <a:buChar char="•"/>
            </a:pPr>
            <a:r>
              <a:rPr lang="en-US" sz="1050" dirty="0">
                <a:latin typeface="Calibri Light"/>
              </a:rPr>
              <a:t>Semi-Annual</a:t>
            </a:r>
          </a:p>
        </p:txBody>
      </p:sp>
    </p:spTree>
    <p:extLst>
      <p:ext uri="{BB962C8B-B14F-4D97-AF65-F5344CB8AC3E}">
        <p14:creationId xmlns:p14="http://schemas.microsoft.com/office/powerpoint/2010/main" val="143657112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TextBox 133">
            <a:extLst>
              <a:ext uri="{FF2B5EF4-FFF2-40B4-BE49-F238E27FC236}">
                <a16:creationId xmlns:a16="http://schemas.microsoft.com/office/drawing/2014/main" id="{86E6788C-76AA-43BC-8B7F-196C83841096}"/>
              </a:ext>
            </a:extLst>
          </p:cNvPr>
          <p:cNvSpPr txBox="1"/>
          <p:nvPr/>
        </p:nvSpPr>
        <p:spPr>
          <a:xfrm>
            <a:off x="1847850" y="463992"/>
            <a:ext cx="8496300" cy="553998"/>
          </a:xfrm>
          <a:prstGeom prst="rect">
            <a:avLst/>
          </a:prstGeom>
          <a:noFill/>
        </p:spPr>
        <p:txBody>
          <a:bodyPr wrap="square" lIns="0" tIns="0" rIns="0" bIns="0" rtlCol="0" anchor="t">
            <a:spAutoFit/>
          </a:bodyPr>
          <a:lstStyle/>
          <a:p>
            <a:pPr algn="ctr" defTabSz="685800"/>
            <a:r>
              <a:rPr lang="en-US" sz="3600" dirty="0">
                <a:latin typeface="Corbel" panose="020B0503020204020204"/>
              </a:rPr>
              <a:t>TX_PVLS</a:t>
            </a:r>
          </a:p>
        </p:txBody>
      </p:sp>
      <p:grpSp>
        <p:nvGrpSpPr>
          <p:cNvPr id="2" name="Group 1">
            <a:extLst>
              <a:ext uri="{FF2B5EF4-FFF2-40B4-BE49-F238E27FC236}">
                <a16:creationId xmlns:a16="http://schemas.microsoft.com/office/drawing/2014/main" id="{11383E8B-A9F5-4C59-A67A-3554539F5B7A}"/>
              </a:ext>
            </a:extLst>
          </p:cNvPr>
          <p:cNvGrpSpPr/>
          <p:nvPr/>
        </p:nvGrpSpPr>
        <p:grpSpPr>
          <a:xfrm>
            <a:off x="1524001" y="1143000"/>
            <a:ext cx="9144001" cy="5578476"/>
            <a:chOff x="0" y="857250"/>
            <a:chExt cx="9144001" cy="5864226"/>
          </a:xfrm>
        </p:grpSpPr>
        <p:sp>
          <p:nvSpPr>
            <p:cNvPr id="98" name="Rectangle 97">
              <a:extLst>
                <a:ext uri="{FF2B5EF4-FFF2-40B4-BE49-F238E27FC236}">
                  <a16:creationId xmlns:a16="http://schemas.microsoft.com/office/drawing/2014/main" id="{84CAA34D-CD75-45C6-B39E-7C242EB87261}"/>
                </a:ext>
              </a:extLst>
            </p:cNvPr>
            <p:cNvSpPr/>
            <p:nvPr/>
          </p:nvSpPr>
          <p:spPr>
            <a:xfrm>
              <a:off x="1" y="2871107"/>
              <a:ext cx="9144000" cy="1306286"/>
            </a:xfrm>
            <a:prstGeom prst="rect">
              <a:avLst/>
            </a:prstGeom>
            <a:solidFill>
              <a:srgbClr val="E7E6E6"/>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99" name="Rectangle: Rounded Corners 98">
              <a:extLst>
                <a:ext uri="{FF2B5EF4-FFF2-40B4-BE49-F238E27FC236}">
                  <a16:creationId xmlns:a16="http://schemas.microsoft.com/office/drawing/2014/main" id="{B79F2794-CAB0-4CBC-A170-CA7853D4B5E7}"/>
                </a:ext>
              </a:extLst>
            </p:cNvPr>
            <p:cNvSpPr/>
            <p:nvPr/>
          </p:nvSpPr>
          <p:spPr>
            <a:xfrm>
              <a:off x="3652410" y="2015558"/>
              <a:ext cx="1951265" cy="3145971"/>
            </a:xfrm>
            <a:prstGeom prst="roundRect">
              <a:avLst>
                <a:gd name="adj" fmla="val 4952"/>
              </a:avLst>
            </a:prstGeom>
            <a:solidFill>
              <a:sysClr val="window" lastClr="FFFFFF">
                <a:lumMod val="65000"/>
              </a:sys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00" name="Rectangle: Rounded Corners 99">
              <a:extLst>
                <a:ext uri="{FF2B5EF4-FFF2-40B4-BE49-F238E27FC236}">
                  <a16:creationId xmlns:a16="http://schemas.microsoft.com/office/drawing/2014/main" id="{624C18DD-A9DF-4469-A7B6-6C9AAA2D41F4}"/>
                </a:ext>
              </a:extLst>
            </p:cNvPr>
            <p:cNvSpPr/>
            <p:nvPr/>
          </p:nvSpPr>
          <p:spPr>
            <a:xfrm>
              <a:off x="6625597" y="2015558"/>
              <a:ext cx="1951265" cy="3145971"/>
            </a:xfrm>
            <a:prstGeom prst="roundRect">
              <a:avLst>
                <a:gd name="adj" fmla="val 4952"/>
              </a:avLst>
            </a:prstGeom>
            <a:solidFill>
              <a:sysClr val="window" lastClr="FFFFFF">
                <a:lumMod val="65000"/>
              </a:sys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01" name="Rectangle: Rounded Corners 100">
              <a:extLst>
                <a:ext uri="{FF2B5EF4-FFF2-40B4-BE49-F238E27FC236}">
                  <a16:creationId xmlns:a16="http://schemas.microsoft.com/office/drawing/2014/main" id="{F503AF90-BD38-48FC-8812-4FA3F25DB0E6}"/>
                </a:ext>
              </a:extLst>
            </p:cNvPr>
            <p:cNvSpPr/>
            <p:nvPr/>
          </p:nvSpPr>
          <p:spPr>
            <a:xfrm>
              <a:off x="685800" y="2015558"/>
              <a:ext cx="1951265" cy="3145971"/>
            </a:xfrm>
            <a:prstGeom prst="roundRect">
              <a:avLst>
                <a:gd name="adj" fmla="val 4952"/>
              </a:avLst>
            </a:prstGeom>
            <a:solidFill>
              <a:sysClr val="window" lastClr="FFFFFF">
                <a:lumMod val="65000"/>
              </a:sys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02" name="Frame 101">
              <a:extLst>
                <a:ext uri="{FF2B5EF4-FFF2-40B4-BE49-F238E27FC236}">
                  <a16:creationId xmlns:a16="http://schemas.microsoft.com/office/drawing/2014/main" id="{530C96A5-18F8-41CE-8FBF-056A3D32634C}"/>
                </a:ext>
              </a:extLst>
            </p:cNvPr>
            <p:cNvSpPr/>
            <p:nvPr/>
          </p:nvSpPr>
          <p:spPr>
            <a:xfrm>
              <a:off x="0" y="857250"/>
              <a:ext cx="9144000" cy="5143500"/>
            </a:xfrm>
            <a:prstGeom prst="frame">
              <a:avLst>
                <a:gd name="adj1" fmla="val 1053"/>
              </a:avLst>
            </a:prstGeom>
            <a:solidFill>
              <a:srgbClr val="44546A">
                <a:lumMod val="40000"/>
                <a:lumOff val="60000"/>
              </a:srgbClr>
            </a:solidFill>
            <a:ln w="12700" cap="flat" cmpd="sng" algn="ctr">
              <a:noFill/>
              <a:prstDash val="solid"/>
              <a:miter lim="800000"/>
            </a:ln>
            <a:effectLst/>
          </p:spPr>
          <p:txBody>
            <a:bodyPr rtlCol="0" anchor="ctr"/>
            <a:lstStyle/>
            <a:p>
              <a:pPr algn="ctr" defTabSz="685800">
                <a:defRPr/>
              </a:pPr>
              <a:endParaRPr lang="en-US" sz="1350" kern="0">
                <a:solidFill>
                  <a:prstClr val="black"/>
                </a:solidFill>
                <a:latin typeface="Calibri Light"/>
              </a:endParaRPr>
            </a:p>
          </p:txBody>
        </p:sp>
        <p:sp>
          <p:nvSpPr>
            <p:cNvPr id="103" name="Rectangle 102">
              <a:extLst>
                <a:ext uri="{FF2B5EF4-FFF2-40B4-BE49-F238E27FC236}">
                  <a16:creationId xmlns:a16="http://schemas.microsoft.com/office/drawing/2014/main" id="{D5A75610-4C9C-4007-86BE-0C93387BD4CC}"/>
                </a:ext>
              </a:extLst>
            </p:cNvPr>
            <p:cNvSpPr/>
            <p:nvPr/>
          </p:nvSpPr>
          <p:spPr>
            <a:xfrm>
              <a:off x="0" y="857250"/>
              <a:ext cx="336430" cy="336430"/>
            </a:xfrm>
            <a:prstGeom prst="rect">
              <a:avLst/>
            </a:prstGeom>
            <a:solidFill>
              <a:srgbClr val="AF5F6D"/>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04" name="Rectangle 103">
              <a:extLst>
                <a:ext uri="{FF2B5EF4-FFF2-40B4-BE49-F238E27FC236}">
                  <a16:creationId xmlns:a16="http://schemas.microsoft.com/office/drawing/2014/main" id="{88DED4A1-8837-48AC-9F2B-DE23F8D97ECB}"/>
                </a:ext>
              </a:extLst>
            </p:cNvPr>
            <p:cNvSpPr/>
            <p:nvPr/>
          </p:nvSpPr>
          <p:spPr>
            <a:xfrm>
              <a:off x="8807571" y="5664321"/>
              <a:ext cx="336430" cy="336430"/>
            </a:xfrm>
            <a:prstGeom prst="rect">
              <a:avLst/>
            </a:prstGeom>
            <a:solidFill>
              <a:srgbClr val="EB6B56"/>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18" name="Slide Number Placeholder 21">
              <a:extLst>
                <a:ext uri="{FF2B5EF4-FFF2-40B4-BE49-F238E27FC236}">
                  <a16:creationId xmlns:a16="http://schemas.microsoft.com/office/drawing/2014/main" id="{93A42D60-09D3-464C-9CEE-9793BC406A2C}"/>
                </a:ext>
              </a:extLst>
            </p:cNvPr>
            <p:cNvSpPr txBox="1">
              <a:spLocks/>
            </p:cNvSpPr>
            <p:nvPr/>
          </p:nvSpPr>
          <p:spPr>
            <a:xfrm>
              <a:off x="6457950" y="6356351"/>
              <a:ext cx="2057400" cy="365125"/>
            </a:xfrm>
            <a:prstGeom prst="rect">
              <a:avLst/>
            </a:prstGeom>
          </p:spPr>
          <p:txBody>
            <a:bodyPr vert="horz" lIns="91440" tIns="45720" rIns="91440" bIns="4572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fld id="{B9940D52-AD77-4C6A-9DCC-3EEF87AE9DF8}" type="slidenum">
                <a:rPr lang="en-US">
                  <a:solidFill>
                    <a:prstClr val="black">
                      <a:tint val="75000"/>
                    </a:prstClr>
                  </a:solidFill>
                  <a:latin typeface="Calibri Light"/>
                </a:rPr>
                <a:pPr defTabSz="685800"/>
                <a:t>76</a:t>
              </a:fld>
              <a:endParaRPr lang="en-US">
                <a:solidFill>
                  <a:prstClr val="black">
                    <a:tint val="75000"/>
                  </a:prstClr>
                </a:solidFill>
                <a:latin typeface="Calibri Light"/>
              </a:endParaRPr>
            </a:p>
          </p:txBody>
        </p:sp>
        <p:sp>
          <p:nvSpPr>
            <p:cNvPr id="119" name="Rectangle: Rounded Corners 118">
              <a:extLst>
                <a:ext uri="{FF2B5EF4-FFF2-40B4-BE49-F238E27FC236}">
                  <a16:creationId xmlns:a16="http://schemas.microsoft.com/office/drawing/2014/main" id="{A31B6B7F-B442-478B-AC83-5877659C504E}"/>
                </a:ext>
              </a:extLst>
            </p:cNvPr>
            <p:cNvSpPr/>
            <p:nvPr/>
          </p:nvSpPr>
          <p:spPr>
            <a:xfrm>
              <a:off x="628650" y="1951264"/>
              <a:ext cx="1951265" cy="3145971"/>
            </a:xfrm>
            <a:prstGeom prst="roundRect">
              <a:avLst>
                <a:gd name="adj" fmla="val 4952"/>
              </a:avLst>
            </a:prstGeom>
            <a:solidFill>
              <a:schemeClr val="accent2">
                <a:lumMod val="40000"/>
                <a:lumOff val="60000"/>
              </a:scheme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20" name="Rectangle: Rounded Corners 119">
              <a:extLst>
                <a:ext uri="{FF2B5EF4-FFF2-40B4-BE49-F238E27FC236}">
                  <a16:creationId xmlns:a16="http://schemas.microsoft.com/office/drawing/2014/main" id="{755AABF3-A803-4326-BD1C-065642A1AA83}"/>
                </a:ext>
              </a:extLst>
            </p:cNvPr>
            <p:cNvSpPr/>
            <p:nvPr/>
          </p:nvSpPr>
          <p:spPr>
            <a:xfrm>
              <a:off x="3596368" y="1951264"/>
              <a:ext cx="1951265" cy="3145971"/>
            </a:xfrm>
            <a:prstGeom prst="roundRect">
              <a:avLst>
                <a:gd name="adj" fmla="val 4952"/>
              </a:avLst>
            </a:prstGeom>
            <a:solidFill>
              <a:schemeClr val="accent3">
                <a:lumMod val="40000"/>
                <a:lumOff val="60000"/>
              </a:scheme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21" name="Rectangle: Rounded Corners 120">
              <a:extLst>
                <a:ext uri="{FF2B5EF4-FFF2-40B4-BE49-F238E27FC236}">
                  <a16:creationId xmlns:a16="http://schemas.microsoft.com/office/drawing/2014/main" id="{51F48CB3-9A91-4CD8-BAB4-372731EF5FB1}"/>
                </a:ext>
              </a:extLst>
            </p:cNvPr>
            <p:cNvSpPr/>
            <p:nvPr/>
          </p:nvSpPr>
          <p:spPr>
            <a:xfrm>
              <a:off x="6564085" y="1951264"/>
              <a:ext cx="1951265" cy="3145971"/>
            </a:xfrm>
            <a:prstGeom prst="roundRect">
              <a:avLst>
                <a:gd name="adj" fmla="val 4952"/>
              </a:avLst>
            </a:prstGeom>
            <a:solidFill>
              <a:schemeClr val="accent1">
                <a:lumMod val="40000"/>
                <a:lumOff val="60000"/>
              </a:scheme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grpSp>
          <p:nvGrpSpPr>
            <p:cNvPr id="122" name="Group 121">
              <a:extLst>
                <a:ext uri="{FF2B5EF4-FFF2-40B4-BE49-F238E27FC236}">
                  <a16:creationId xmlns:a16="http://schemas.microsoft.com/office/drawing/2014/main" id="{1D5F4261-1706-4F0E-8267-369D57C1FB88}"/>
                </a:ext>
              </a:extLst>
            </p:cNvPr>
            <p:cNvGrpSpPr/>
            <p:nvPr/>
          </p:nvGrpSpPr>
          <p:grpSpPr>
            <a:xfrm>
              <a:off x="2875574" y="3333082"/>
              <a:ext cx="425135" cy="382335"/>
              <a:chOff x="4854484" y="5910272"/>
              <a:chExt cx="283864" cy="255286"/>
            </a:xfrm>
            <a:solidFill>
              <a:srgbClr val="44546A"/>
            </a:solidFill>
          </p:grpSpPr>
          <p:sp>
            <p:nvSpPr>
              <p:cNvPr id="123" name="Freeform 251">
                <a:extLst>
                  <a:ext uri="{FF2B5EF4-FFF2-40B4-BE49-F238E27FC236}">
                    <a16:creationId xmlns:a16="http://schemas.microsoft.com/office/drawing/2014/main" id="{0C8CED70-9586-4725-ABB9-23097BB29906}"/>
                  </a:ext>
                </a:extLst>
              </p:cNvPr>
              <p:cNvSpPr>
                <a:spLocks/>
              </p:cNvSpPr>
              <p:nvPr/>
            </p:nvSpPr>
            <p:spPr bwMode="auto">
              <a:xfrm>
                <a:off x="4854484" y="5910272"/>
                <a:ext cx="165746" cy="255286"/>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sp>
            <p:nvSpPr>
              <p:cNvPr id="124" name="Freeform 252">
                <a:extLst>
                  <a:ext uri="{FF2B5EF4-FFF2-40B4-BE49-F238E27FC236}">
                    <a16:creationId xmlns:a16="http://schemas.microsoft.com/office/drawing/2014/main" id="{0F01F1D5-7465-4E64-9CCB-5C815BD8B5EC}"/>
                  </a:ext>
                </a:extLst>
              </p:cNvPr>
              <p:cNvSpPr>
                <a:spLocks/>
              </p:cNvSpPr>
              <p:nvPr/>
            </p:nvSpPr>
            <p:spPr bwMode="auto">
              <a:xfrm>
                <a:off x="4972602" y="5910272"/>
                <a:ext cx="165746" cy="255286"/>
              </a:xfrm>
              <a:custGeom>
                <a:avLst/>
                <a:gdLst>
                  <a:gd name="T0" fmla="*/ 344 w 348"/>
                  <a:gd name="T1" fmla="*/ 260 h 535"/>
                  <a:gd name="T2" fmla="*/ 86 w 348"/>
                  <a:gd name="T3" fmla="*/ 2 h 535"/>
                  <a:gd name="T4" fmla="*/ 83 w 348"/>
                  <a:gd name="T5" fmla="*/ 0 h 535"/>
                  <a:gd name="T6" fmla="*/ 80 w 348"/>
                  <a:gd name="T7" fmla="*/ 0 h 535"/>
                  <a:gd name="T8" fmla="*/ 75 w 348"/>
                  <a:gd name="T9" fmla="*/ 0 h 535"/>
                  <a:gd name="T10" fmla="*/ 72 w 348"/>
                  <a:gd name="T11" fmla="*/ 2 h 535"/>
                  <a:gd name="T12" fmla="*/ 3 w 348"/>
                  <a:gd name="T13" fmla="*/ 72 h 535"/>
                  <a:gd name="T14" fmla="*/ 1 w 348"/>
                  <a:gd name="T15" fmla="*/ 75 h 535"/>
                  <a:gd name="T16" fmla="*/ 0 w 348"/>
                  <a:gd name="T17" fmla="*/ 79 h 535"/>
                  <a:gd name="T18" fmla="*/ 1 w 348"/>
                  <a:gd name="T19" fmla="*/ 83 h 535"/>
                  <a:gd name="T20" fmla="*/ 3 w 348"/>
                  <a:gd name="T21" fmla="*/ 86 h 535"/>
                  <a:gd name="T22" fmla="*/ 185 w 348"/>
                  <a:gd name="T23" fmla="*/ 268 h 535"/>
                  <a:gd name="T24" fmla="*/ 3 w 348"/>
                  <a:gd name="T25" fmla="*/ 449 h 535"/>
                  <a:gd name="T26" fmla="*/ 1 w 348"/>
                  <a:gd name="T27" fmla="*/ 452 h 535"/>
                  <a:gd name="T28" fmla="*/ 0 w 348"/>
                  <a:gd name="T29" fmla="*/ 457 h 535"/>
                  <a:gd name="T30" fmla="*/ 1 w 348"/>
                  <a:gd name="T31" fmla="*/ 460 h 535"/>
                  <a:gd name="T32" fmla="*/ 3 w 348"/>
                  <a:gd name="T33" fmla="*/ 463 h 535"/>
                  <a:gd name="T34" fmla="*/ 72 w 348"/>
                  <a:gd name="T35" fmla="*/ 532 h 535"/>
                  <a:gd name="T36" fmla="*/ 75 w 348"/>
                  <a:gd name="T37" fmla="*/ 534 h 535"/>
                  <a:gd name="T38" fmla="*/ 80 w 348"/>
                  <a:gd name="T39" fmla="*/ 535 h 535"/>
                  <a:gd name="T40" fmla="*/ 83 w 348"/>
                  <a:gd name="T41" fmla="*/ 534 h 535"/>
                  <a:gd name="T42" fmla="*/ 86 w 348"/>
                  <a:gd name="T43" fmla="*/ 533 h 535"/>
                  <a:gd name="T44" fmla="*/ 344 w 348"/>
                  <a:gd name="T45" fmla="*/ 274 h 535"/>
                  <a:gd name="T46" fmla="*/ 347 w 348"/>
                  <a:gd name="T47" fmla="*/ 271 h 535"/>
                  <a:gd name="T48" fmla="*/ 348 w 348"/>
                  <a:gd name="T49" fmla="*/ 268 h 535"/>
                  <a:gd name="T50" fmla="*/ 347 w 348"/>
                  <a:gd name="T51" fmla="*/ 263 h 535"/>
                  <a:gd name="T52" fmla="*/ 344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4" y="260"/>
                    </a:moveTo>
                    <a:lnTo>
                      <a:pt x="86" y="2"/>
                    </a:lnTo>
                    <a:lnTo>
                      <a:pt x="83" y="0"/>
                    </a:lnTo>
                    <a:lnTo>
                      <a:pt x="80" y="0"/>
                    </a:lnTo>
                    <a:lnTo>
                      <a:pt x="75" y="0"/>
                    </a:lnTo>
                    <a:lnTo>
                      <a:pt x="72" y="2"/>
                    </a:lnTo>
                    <a:lnTo>
                      <a:pt x="3" y="72"/>
                    </a:lnTo>
                    <a:lnTo>
                      <a:pt x="1" y="75"/>
                    </a:lnTo>
                    <a:lnTo>
                      <a:pt x="0" y="79"/>
                    </a:lnTo>
                    <a:lnTo>
                      <a:pt x="1" y="83"/>
                    </a:lnTo>
                    <a:lnTo>
                      <a:pt x="3" y="86"/>
                    </a:lnTo>
                    <a:lnTo>
                      <a:pt x="185" y="268"/>
                    </a:lnTo>
                    <a:lnTo>
                      <a:pt x="3" y="449"/>
                    </a:lnTo>
                    <a:lnTo>
                      <a:pt x="1" y="452"/>
                    </a:lnTo>
                    <a:lnTo>
                      <a:pt x="0" y="457"/>
                    </a:lnTo>
                    <a:lnTo>
                      <a:pt x="1" y="460"/>
                    </a:lnTo>
                    <a:lnTo>
                      <a:pt x="3" y="463"/>
                    </a:lnTo>
                    <a:lnTo>
                      <a:pt x="72" y="532"/>
                    </a:lnTo>
                    <a:lnTo>
                      <a:pt x="75" y="534"/>
                    </a:lnTo>
                    <a:lnTo>
                      <a:pt x="80" y="535"/>
                    </a:lnTo>
                    <a:lnTo>
                      <a:pt x="83" y="534"/>
                    </a:lnTo>
                    <a:lnTo>
                      <a:pt x="86" y="533"/>
                    </a:lnTo>
                    <a:lnTo>
                      <a:pt x="344" y="274"/>
                    </a:lnTo>
                    <a:lnTo>
                      <a:pt x="347" y="271"/>
                    </a:lnTo>
                    <a:lnTo>
                      <a:pt x="348" y="268"/>
                    </a:lnTo>
                    <a:lnTo>
                      <a:pt x="347" y="263"/>
                    </a:lnTo>
                    <a:lnTo>
                      <a:pt x="344"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grpSp>
        <p:grpSp>
          <p:nvGrpSpPr>
            <p:cNvPr id="125" name="Group 124">
              <a:extLst>
                <a:ext uri="{FF2B5EF4-FFF2-40B4-BE49-F238E27FC236}">
                  <a16:creationId xmlns:a16="http://schemas.microsoft.com/office/drawing/2014/main" id="{819BCB2C-2594-4246-AF1C-54887570D1B2}"/>
                </a:ext>
              </a:extLst>
            </p:cNvPr>
            <p:cNvGrpSpPr/>
            <p:nvPr/>
          </p:nvGrpSpPr>
          <p:grpSpPr>
            <a:xfrm>
              <a:off x="5843292" y="3333082"/>
              <a:ext cx="425135" cy="382335"/>
              <a:chOff x="4854484" y="5910272"/>
              <a:chExt cx="283864" cy="255286"/>
            </a:xfrm>
            <a:solidFill>
              <a:srgbClr val="44546A"/>
            </a:solidFill>
          </p:grpSpPr>
          <p:sp>
            <p:nvSpPr>
              <p:cNvPr id="126" name="Freeform 251">
                <a:extLst>
                  <a:ext uri="{FF2B5EF4-FFF2-40B4-BE49-F238E27FC236}">
                    <a16:creationId xmlns:a16="http://schemas.microsoft.com/office/drawing/2014/main" id="{B4AFA590-489D-461F-87B5-31AA21C9CA6E}"/>
                  </a:ext>
                </a:extLst>
              </p:cNvPr>
              <p:cNvSpPr>
                <a:spLocks/>
              </p:cNvSpPr>
              <p:nvPr/>
            </p:nvSpPr>
            <p:spPr bwMode="auto">
              <a:xfrm>
                <a:off x="4854484" y="5910272"/>
                <a:ext cx="165746" cy="255286"/>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sp>
            <p:nvSpPr>
              <p:cNvPr id="127" name="Freeform 252">
                <a:extLst>
                  <a:ext uri="{FF2B5EF4-FFF2-40B4-BE49-F238E27FC236}">
                    <a16:creationId xmlns:a16="http://schemas.microsoft.com/office/drawing/2014/main" id="{686E9970-8B1D-4D78-8BC4-D6A0633DF381}"/>
                  </a:ext>
                </a:extLst>
              </p:cNvPr>
              <p:cNvSpPr>
                <a:spLocks/>
              </p:cNvSpPr>
              <p:nvPr/>
            </p:nvSpPr>
            <p:spPr bwMode="auto">
              <a:xfrm>
                <a:off x="4972602" y="5910272"/>
                <a:ext cx="165746" cy="255286"/>
              </a:xfrm>
              <a:custGeom>
                <a:avLst/>
                <a:gdLst>
                  <a:gd name="T0" fmla="*/ 344 w 348"/>
                  <a:gd name="T1" fmla="*/ 260 h 535"/>
                  <a:gd name="T2" fmla="*/ 86 w 348"/>
                  <a:gd name="T3" fmla="*/ 2 h 535"/>
                  <a:gd name="T4" fmla="*/ 83 w 348"/>
                  <a:gd name="T5" fmla="*/ 0 h 535"/>
                  <a:gd name="T6" fmla="*/ 80 w 348"/>
                  <a:gd name="T7" fmla="*/ 0 h 535"/>
                  <a:gd name="T8" fmla="*/ 75 w 348"/>
                  <a:gd name="T9" fmla="*/ 0 h 535"/>
                  <a:gd name="T10" fmla="*/ 72 w 348"/>
                  <a:gd name="T11" fmla="*/ 2 h 535"/>
                  <a:gd name="T12" fmla="*/ 3 w 348"/>
                  <a:gd name="T13" fmla="*/ 72 h 535"/>
                  <a:gd name="T14" fmla="*/ 1 w 348"/>
                  <a:gd name="T15" fmla="*/ 75 h 535"/>
                  <a:gd name="T16" fmla="*/ 0 w 348"/>
                  <a:gd name="T17" fmla="*/ 79 h 535"/>
                  <a:gd name="T18" fmla="*/ 1 w 348"/>
                  <a:gd name="T19" fmla="*/ 83 h 535"/>
                  <a:gd name="T20" fmla="*/ 3 w 348"/>
                  <a:gd name="T21" fmla="*/ 86 h 535"/>
                  <a:gd name="T22" fmla="*/ 185 w 348"/>
                  <a:gd name="T23" fmla="*/ 268 h 535"/>
                  <a:gd name="T24" fmla="*/ 3 w 348"/>
                  <a:gd name="T25" fmla="*/ 449 h 535"/>
                  <a:gd name="T26" fmla="*/ 1 w 348"/>
                  <a:gd name="T27" fmla="*/ 452 h 535"/>
                  <a:gd name="T28" fmla="*/ 0 w 348"/>
                  <a:gd name="T29" fmla="*/ 457 h 535"/>
                  <a:gd name="T30" fmla="*/ 1 w 348"/>
                  <a:gd name="T31" fmla="*/ 460 h 535"/>
                  <a:gd name="T32" fmla="*/ 3 w 348"/>
                  <a:gd name="T33" fmla="*/ 463 h 535"/>
                  <a:gd name="T34" fmla="*/ 72 w 348"/>
                  <a:gd name="T35" fmla="*/ 532 h 535"/>
                  <a:gd name="T36" fmla="*/ 75 w 348"/>
                  <a:gd name="T37" fmla="*/ 534 h 535"/>
                  <a:gd name="T38" fmla="*/ 80 w 348"/>
                  <a:gd name="T39" fmla="*/ 535 h 535"/>
                  <a:gd name="T40" fmla="*/ 83 w 348"/>
                  <a:gd name="T41" fmla="*/ 534 h 535"/>
                  <a:gd name="T42" fmla="*/ 86 w 348"/>
                  <a:gd name="T43" fmla="*/ 533 h 535"/>
                  <a:gd name="T44" fmla="*/ 344 w 348"/>
                  <a:gd name="T45" fmla="*/ 274 h 535"/>
                  <a:gd name="T46" fmla="*/ 347 w 348"/>
                  <a:gd name="T47" fmla="*/ 271 h 535"/>
                  <a:gd name="T48" fmla="*/ 348 w 348"/>
                  <a:gd name="T49" fmla="*/ 268 h 535"/>
                  <a:gd name="T50" fmla="*/ 347 w 348"/>
                  <a:gd name="T51" fmla="*/ 263 h 535"/>
                  <a:gd name="T52" fmla="*/ 344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4" y="260"/>
                    </a:moveTo>
                    <a:lnTo>
                      <a:pt x="86" y="2"/>
                    </a:lnTo>
                    <a:lnTo>
                      <a:pt x="83" y="0"/>
                    </a:lnTo>
                    <a:lnTo>
                      <a:pt x="80" y="0"/>
                    </a:lnTo>
                    <a:lnTo>
                      <a:pt x="75" y="0"/>
                    </a:lnTo>
                    <a:lnTo>
                      <a:pt x="72" y="2"/>
                    </a:lnTo>
                    <a:lnTo>
                      <a:pt x="3" y="72"/>
                    </a:lnTo>
                    <a:lnTo>
                      <a:pt x="1" y="75"/>
                    </a:lnTo>
                    <a:lnTo>
                      <a:pt x="0" y="79"/>
                    </a:lnTo>
                    <a:lnTo>
                      <a:pt x="1" y="83"/>
                    </a:lnTo>
                    <a:lnTo>
                      <a:pt x="3" y="86"/>
                    </a:lnTo>
                    <a:lnTo>
                      <a:pt x="185" y="268"/>
                    </a:lnTo>
                    <a:lnTo>
                      <a:pt x="3" y="449"/>
                    </a:lnTo>
                    <a:lnTo>
                      <a:pt x="1" y="452"/>
                    </a:lnTo>
                    <a:lnTo>
                      <a:pt x="0" y="457"/>
                    </a:lnTo>
                    <a:lnTo>
                      <a:pt x="1" y="460"/>
                    </a:lnTo>
                    <a:lnTo>
                      <a:pt x="3" y="463"/>
                    </a:lnTo>
                    <a:lnTo>
                      <a:pt x="72" y="532"/>
                    </a:lnTo>
                    <a:lnTo>
                      <a:pt x="75" y="534"/>
                    </a:lnTo>
                    <a:lnTo>
                      <a:pt x="80" y="535"/>
                    </a:lnTo>
                    <a:lnTo>
                      <a:pt x="83" y="534"/>
                    </a:lnTo>
                    <a:lnTo>
                      <a:pt x="86" y="533"/>
                    </a:lnTo>
                    <a:lnTo>
                      <a:pt x="344" y="274"/>
                    </a:lnTo>
                    <a:lnTo>
                      <a:pt x="347" y="271"/>
                    </a:lnTo>
                    <a:lnTo>
                      <a:pt x="348" y="268"/>
                    </a:lnTo>
                    <a:lnTo>
                      <a:pt x="347" y="263"/>
                    </a:lnTo>
                    <a:lnTo>
                      <a:pt x="344"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grpSp>
        <p:sp>
          <p:nvSpPr>
            <p:cNvPr id="137" name="TextBox 136">
              <a:extLst>
                <a:ext uri="{FF2B5EF4-FFF2-40B4-BE49-F238E27FC236}">
                  <a16:creationId xmlns:a16="http://schemas.microsoft.com/office/drawing/2014/main" id="{BD72369C-B18A-43FF-AFFB-FB7B6C1A5ABC}"/>
                </a:ext>
              </a:extLst>
            </p:cNvPr>
            <p:cNvSpPr txBox="1"/>
            <p:nvPr/>
          </p:nvSpPr>
          <p:spPr>
            <a:xfrm>
              <a:off x="861604" y="3085438"/>
              <a:ext cx="1500596" cy="1019157"/>
            </a:xfrm>
            <a:prstGeom prst="rect">
              <a:avLst/>
            </a:prstGeom>
            <a:noFill/>
          </p:spPr>
          <p:txBody>
            <a:bodyPr wrap="square" lIns="0" tIns="0" rIns="0" bIns="0" rtlCol="0" anchor="ctr">
              <a:spAutoFit/>
            </a:bodyPr>
            <a:lstStyle/>
            <a:p>
              <a:pPr algn="ctr" defTabSz="685800"/>
              <a:r>
                <a:rPr lang="en-US" sz="1050" dirty="0">
                  <a:latin typeface="Calibri Light"/>
                </a:rPr>
                <a:t>Percentage of active ART patients with a documented suppressed viral load (VL) result (&lt;1000 copies/ml) within the past 12 months</a:t>
              </a:r>
            </a:p>
          </p:txBody>
        </p:sp>
        <p:sp>
          <p:nvSpPr>
            <p:cNvPr id="138" name="TextBox 137">
              <a:extLst>
                <a:ext uri="{FF2B5EF4-FFF2-40B4-BE49-F238E27FC236}">
                  <a16:creationId xmlns:a16="http://schemas.microsoft.com/office/drawing/2014/main" id="{29087046-24DC-401B-97BD-14EADBFCDAAD}"/>
                </a:ext>
              </a:extLst>
            </p:cNvPr>
            <p:cNvSpPr txBox="1"/>
            <p:nvPr/>
          </p:nvSpPr>
          <p:spPr>
            <a:xfrm>
              <a:off x="853984" y="2277218"/>
              <a:ext cx="1500596" cy="291188"/>
            </a:xfrm>
            <a:prstGeom prst="rect">
              <a:avLst/>
            </a:prstGeom>
            <a:noFill/>
          </p:spPr>
          <p:txBody>
            <a:bodyPr wrap="square" lIns="0" tIns="0" rIns="0" bIns="0" rtlCol="0" anchor="ctr">
              <a:spAutoFit/>
            </a:bodyPr>
            <a:lstStyle/>
            <a:p>
              <a:pPr algn="ctr" defTabSz="685800"/>
              <a:r>
                <a:rPr lang="en-US" b="1" dirty="0">
                  <a:latin typeface="Calibri Light"/>
                </a:rPr>
                <a:t>DESCRIPTION</a:t>
              </a:r>
            </a:p>
          </p:txBody>
        </p:sp>
        <p:sp>
          <p:nvSpPr>
            <p:cNvPr id="144" name="TextBox 143">
              <a:extLst>
                <a:ext uri="{FF2B5EF4-FFF2-40B4-BE49-F238E27FC236}">
                  <a16:creationId xmlns:a16="http://schemas.microsoft.com/office/drawing/2014/main" id="{C75D3502-2084-4D34-B7F6-EC24A147A540}"/>
                </a:ext>
              </a:extLst>
            </p:cNvPr>
            <p:cNvSpPr txBox="1"/>
            <p:nvPr/>
          </p:nvSpPr>
          <p:spPr>
            <a:xfrm>
              <a:off x="3681349" y="3677905"/>
              <a:ext cx="1794069" cy="849297"/>
            </a:xfrm>
            <a:prstGeom prst="rect">
              <a:avLst/>
            </a:prstGeom>
            <a:noFill/>
            <a:ln>
              <a:solidFill>
                <a:schemeClr val="bg1"/>
              </a:solidFill>
            </a:ln>
          </p:spPr>
          <p:txBody>
            <a:bodyPr wrap="square" lIns="0" tIns="0" rIns="0" bIns="0" rtlCol="0" anchor="ctr">
              <a:spAutoFit/>
            </a:bodyPr>
            <a:lstStyle/>
            <a:p>
              <a:pPr algn="ctr" defTabSz="685800"/>
              <a:r>
                <a:rPr lang="en-US" sz="1050" b="1" dirty="0">
                  <a:latin typeface="Calibri Light"/>
                </a:rPr>
                <a:t>Numerator:</a:t>
              </a:r>
            </a:p>
            <a:p>
              <a:pPr algn="ctr" defTabSz="685800"/>
              <a:r>
                <a:rPr lang="en-US" sz="1050" dirty="0">
                  <a:latin typeface="Calibri Light"/>
                </a:rPr>
                <a:t>Number of active ART patients with suppressed VL results (&lt;1,000 copies/ml) (TX_PVLS_NUM)</a:t>
              </a:r>
            </a:p>
          </p:txBody>
        </p:sp>
        <p:sp>
          <p:nvSpPr>
            <p:cNvPr id="145" name="TextBox 144">
              <a:extLst>
                <a:ext uri="{FF2B5EF4-FFF2-40B4-BE49-F238E27FC236}">
                  <a16:creationId xmlns:a16="http://schemas.microsoft.com/office/drawing/2014/main" id="{4229BB9B-1E9C-4794-BD7E-31916C0D2655}"/>
                </a:ext>
              </a:extLst>
            </p:cNvPr>
            <p:cNvSpPr txBox="1"/>
            <p:nvPr/>
          </p:nvSpPr>
          <p:spPr>
            <a:xfrm>
              <a:off x="3698128" y="2112074"/>
              <a:ext cx="1729828" cy="582376"/>
            </a:xfrm>
            <a:prstGeom prst="rect">
              <a:avLst/>
            </a:prstGeom>
            <a:noFill/>
          </p:spPr>
          <p:txBody>
            <a:bodyPr wrap="square" lIns="0" tIns="0" rIns="0" bIns="0" rtlCol="0" anchor="ctr">
              <a:spAutoFit/>
            </a:bodyPr>
            <a:lstStyle/>
            <a:p>
              <a:pPr algn="ctr" defTabSz="685800"/>
              <a:r>
                <a:rPr lang="en-US" b="1" dirty="0">
                  <a:latin typeface="Calibri Light"/>
                </a:rPr>
                <a:t>DENOMINATOR/</a:t>
              </a:r>
            </a:p>
            <a:p>
              <a:pPr algn="ctr" defTabSz="685800"/>
              <a:r>
                <a:rPr lang="en-US" b="1" dirty="0">
                  <a:latin typeface="Calibri Light"/>
                </a:rPr>
                <a:t>NUMERATOR</a:t>
              </a:r>
            </a:p>
          </p:txBody>
        </p:sp>
        <p:sp>
          <p:nvSpPr>
            <p:cNvPr id="150" name="TextBox 149">
              <a:extLst>
                <a:ext uri="{FF2B5EF4-FFF2-40B4-BE49-F238E27FC236}">
                  <a16:creationId xmlns:a16="http://schemas.microsoft.com/office/drawing/2014/main" id="{A432B2BB-4C21-4AF1-9B8E-A30EC8F9E140}"/>
                </a:ext>
              </a:extLst>
            </p:cNvPr>
            <p:cNvSpPr txBox="1"/>
            <p:nvPr/>
          </p:nvSpPr>
          <p:spPr>
            <a:xfrm>
              <a:off x="6808655" y="3316566"/>
              <a:ext cx="1500596" cy="509579"/>
            </a:xfrm>
            <a:prstGeom prst="rect">
              <a:avLst/>
            </a:prstGeom>
            <a:noFill/>
          </p:spPr>
          <p:txBody>
            <a:bodyPr wrap="square" lIns="0" tIns="0" rIns="0" bIns="0" rtlCol="0" anchor="ctr">
              <a:spAutoFit/>
            </a:bodyPr>
            <a:lstStyle/>
            <a:p>
              <a:pPr marL="171450" indent="-171450" defTabSz="685800">
                <a:buFont typeface="Arial" panose="020B0604020202020204" pitchFamily="34" charset="0"/>
                <a:buChar char="•"/>
              </a:pPr>
              <a:r>
                <a:rPr lang="en-US" sz="1050" dirty="0">
                  <a:latin typeface="Calibri Light"/>
                </a:rPr>
                <a:t>National Data Repository (NDR)</a:t>
              </a:r>
            </a:p>
            <a:p>
              <a:pPr marL="171450" indent="-171450" defTabSz="685800">
                <a:buFont typeface="Arial" panose="020B0604020202020204" pitchFamily="34" charset="0"/>
                <a:buChar char="•"/>
              </a:pPr>
              <a:r>
                <a:rPr lang="en-US" sz="1050" dirty="0" err="1">
                  <a:latin typeface="Calibri Light"/>
                </a:rPr>
                <a:t>NigeriaMRS</a:t>
              </a:r>
              <a:endParaRPr lang="en-US" sz="1050" dirty="0">
                <a:latin typeface="Calibri Light"/>
              </a:endParaRPr>
            </a:p>
          </p:txBody>
        </p:sp>
        <p:sp>
          <p:nvSpPr>
            <p:cNvPr id="151" name="TextBox 150">
              <a:extLst>
                <a:ext uri="{FF2B5EF4-FFF2-40B4-BE49-F238E27FC236}">
                  <a16:creationId xmlns:a16="http://schemas.microsoft.com/office/drawing/2014/main" id="{269059BD-5BEF-4B22-9D87-AC985C86C7EA}"/>
                </a:ext>
              </a:extLst>
            </p:cNvPr>
            <p:cNvSpPr txBox="1"/>
            <p:nvPr/>
          </p:nvSpPr>
          <p:spPr>
            <a:xfrm>
              <a:off x="6789420" y="2277218"/>
              <a:ext cx="1500596" cy="291188"/>
            </a:xfrm>
            <a:prstGeom prst="rect">
              <a:avLst/>
            </a:prstGeom>
            <a:noFill/>
          </p:spPr>
          <p:txBody>
            <a:bodyPr wrap="square" lIns="0" tIns="0" rIns="0" bIns="0" rtlCol="0" anchor="ctr">
              <a:spAutoFit/>
            </a:bodyPr>
            <a:lstStyle/>
            <a:p>
              <a:pPr algn="ctr" defTabSz="685800"/>
              <a:r>
                <a:rPr lang="en-US" b="1" dirty="0">
                  <a:latin typeface="Calibri Light"/>
                </a:rPr>
                <a:t>DATA SOURCE</a:t>
              </a:r>
            </a:p>
          </p:txBody>
        </p:sp>
      </p:grpSp>
      <p:sp>
        <p:nvSpPr>
          <p:cNvPr id="152" name="TextBox 151">
            <a:extLst>
              <a:ext uri="{FF2B5EF4-FFF2-40B4-BE49-F238E27FC236}">
                <a16:creationId xmlns:a16="http://schemas.microsoft.com/office/drawing/2014/main" id="{2EC71C8B-DBC5-4A1C-AC97-A55392EFF4D4}"/>
              </a:ext>
            </a:extLst>
          </p:cNvPr>
          <p:cNvSpPr txBox="1"/>
          <p:nvPr/>
        </p:nvSpPr>
        <p:spPr>
          <a:xfrm>
            <a:off x="5195496" y="2998358"/>
            <a:ext cx="1794069" cy="646331"/>
          </a:xfrm>
          <a:prstGeom prst="rect">
            <a:avLst/>
          </a:prstGeom>
          <a:noFill/>
          <a:ln>
            <a:solidFill>
              <a:schemeClr val="bg1"/>
            </a:solidFill>
          </a:ln>
        </p:spPr>
        <p:txBody>
          <a:bodyPr wrap="square" lIns="0" tIns="0" rIns="0" bIns="0" rtlCol="0" anchor="ctr">
            <a:spAutoFit/>
          </a:bodyPr>
          <a:lstStyle/>
          <a:p>
            <a:pPr algn="ctr" defTabSz="685800"/>
            <a:r>
              <a:rPr lang="en-US" sz="1050" b="1" dirty="0">
                <a:latin typeface="Calibri Light"/>
              </a:rPr>
              <a:t>Denominator:</a:t>
            </a:r>
          </a:p>
          <a:p>
            <a:pPr algn="ctr" defTabSz="685800"/>
            <a:r>
              <a:rPr lang="en-US" sz="1050" dirty="0">
                <a:latin typeface="Calibri Light"/>
              </a:rPr>
              <a:t>Number of active ART patients with a documented VL result (TX_PVLS_DEN)</a:t>
            </a:r>
          </a:p>
        </p:txBody>
      </p:sp>
    </p:spTree>
    <p:extLst>
      <p:ext uri="{BB962C8B-B14F-4D97-AF65-F5344CB8AC3E}">
        <p14:creationId xmlns:p14="http://schemas.microsoft.com/office/powerpoint/2010/main" val="55892561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TextBox 133">
            <a:extLst>
              <a:ext uri="{FF2B5EF4-FFF2-40B4-BE49-F238E27FC236}">
                <a16:creationId xmlns:a16="http://schemas.microsoft.com/office/drawing/2014/main" id="{86E6788C-76AA-43BC-8B7F-196C83841096}"/>
              </a:ext>
            </a:extLst>
          </p:cNvPr>
          <p:cNvSpPr txBox="1"/>
          <p:nvPr/>
        </p:nvSpPr>
        <p:spPr>
          <a:xfrm>
            <a:off x="1847850" y="463992"/>
            <a:ext cx="8496300" cy="553998"/>
          </a:xfrm>
          <a:prstGeom prst="rect">
            <a:avLst/>
          </a:prstGeom>
          <a:noFill/>
        </p:spPr>
        <p:txBody>
          <a:bodyPr wrap="square" lIns="0" tIns="0" rIns="0" bIns="0" rtlCol="0" anchor="t">
            <a:spAutoFit/>
          </a:bodyPr>
          <a:lstStyle/>
          <a:p>
            <a:pPr algn="ctr" defTabSz="685800"/>
            <a:r>
              <a:rPr lang="en-US" sz="3600" dirty="0">
                <a:latin typeface="Corbel" panose="020B0503020204020204"/>
              </a:rPr>
              <a:t>TX_PVLS</a:t>
            </a:r>
          </a:p>
        </p:txBody>
      </p:sp>
      <p:grpSp>
        <p:nvGrpSpPr>
          <p:cNvPr id="2" name="Group 1">
            <a:extLst>
              <a:ext uri="{FF2B5EF4-FFF2-40B4-BE49-F238E27FC236}">
                <a16:creationId xmlns:a16="http://schemas.microsoft.com/office/drawing/2014/main" id="{11383E8B-A9F5-4C59-A67A-3554539F5B7A}"/>
              </a:ext>
            </a:extLst>
          </p:cNvPr>
          <p:cNvGrpSpPr/>
          <p:nvPr/>
        </p:nvGrpSpPr>
        <p:grpSpPr>
          <a:xfrm>
            <a:off x="1535098" y="1143000"/>
            <a:ext cx="9144001" cy="5578476"/>
            <a:chOff x="0" y="857250"/>
            <a:chExt cx="9144001" cy="5864226"/>
          </a:xfrm>
        </p:grpSpPr>
        <p:sp>
          <p:nvSpPr>
            <p:cNvPr id="98" name="Rectangle 97">
              <a:extLst>
                <a:ext uri="{FF2B5EF4-FFF2-40B4-BE49-F238E27FC236}">
                  <a16:creationId xmlns:a16="http://schemas.microsoft.com/office/drawing/2014/main" id="{84CAA34D-CD75-45C6-B39E-7C242EB87261}"/>
                </a:ext>
              </a:extLst>
            </p:cNvPr>
            <p:cNvSpPr/>
            <p:nvPr/>
          </p:nvSpPr>
          <p:spPr>
            <a:xfrm>
              <a:off x="1" y="2871107"/>
              <a:ext cx="9144000" cy="1306286"/>
            </a:xfrm>
            <a:prstGeom prst="rect">
              <a:avLst/>
            </a:prstGeom>
            <a:solidFill>
              <a:srgbClr val="E7E6E6"/>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99" name="Rectangle: Rounded Corners 98">
              <a:extLst>
                <a:ext uri="{FF2B5EF4-FFF2-40B4-BE49-F238E27FC236}">
                  <a16:creationId xmlns:a16="http://schemas.microsoft.com/office/drawing/2014/main" id="{B79F2794-CAB0-4CBC-A170-CA7853D4B5E7}"/>
                </a:ext>
              </a:extLst>
            </p:cNvPr>
            <p:cNvSpPr/>
            <p:nvPr/>
          </p:nvSpPr>
          <p:spPr>
            <a:xfrm>
              <a:off x="3652410" y="2015558"/>
              <a:ext cx="1951265" cy="3145971"/>
            </a:xfrm>
            <a:prstGeom prst="roundRect">
              <a:avLst>
                <a:gd name="adj" fmla="val 4952"/>
              </a:avLst>
            </a:prstGeom>
            <a:solidFill>
              <a:sysClr val="window" lastClr="FFFFFF">
                <a:lumMod val="65000"/>
              </a:sys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00" name="Rectangle: Rounded Corners 99">
              <a:extLst>
                <a:ext uri="{FF2B5EF4-FFF2-40B4-BE49-F238E27FC236}">
                  <a16:creationId xmlns:a16="http://schemas.microsoft.com/office/drawing/2014/main" id="{624C18DD-A9DF-4469-A7B6-6C9AAA2D41F4}"/>
                </a:ext>
              </a:extLst>
            </p:cNvPr>
            <p:cNvSpPr/>
            <p:nvPr/>
          </p:nvSpPr>
          <p:spPr>
            <a:xfrm>
              <a:off x="6625597" y="2015558"/>
              <a:ext cx="1951265" cy="3145971"/>
            </a:xfrm>
            <a:prstGeom prst="roundRect">
              <a:avLst>
                <a:gd name="adj" fmla="val 4952"/>
              </a:avLst>
            </a:prstGeom>
            <a:solidFill>
              <a:sysClr val="window" lastClr="FFFFFF">
                <a:lumMod val="65000"/>
              </a:sys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01" name="Rectangle: Rounded Corners 100">
              <a:extLst>
                <a:ext uri="{FF2B5EF4-FFF2-40B4-BE49-F238E27FC236}">
                  <a16:creationId xmlns:a16="http://schemas.microsoft.com/office/drawing/2014/main" id="{F503AF90-BD38-48FC-8812-4FA3F25DB0E6}"/>
                </a:ext>
              </a:extLst>
            </p:cNvPr>
            <p:cNvSpPr/>
            <p:nvPr/>
          </p:nvSpPr>
          <p:spPr>
            <a:xfrm>
              <a:off x="685800" y="2015558"/>
              <a:ext cx="1951265" cy="3145971"/>
            </a:xfrm>
            <a:prstGeom prst="roundRect">
              <a:avLst>
                <a:gd name="adj" fmla="val 4952"/>
              </a:avLst>
            </a:prstGeom>
            <a:solidFill>
              <a:sysClr val="window" lastClr="FFFFFF">
                <a:lumMod val="65000"/>
              </a:sys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02" name="Frame 101">
              <a:extLst>
                <a:ext uri="{FF2B5EF4-FFF2-40B4-BE49-F238E27FC236}">
                  <a16:creationId xmlns:a16="http://schemas.microsoft.com/office/drawing/2014/main" id="{530C96A5-18F8-41CE-8FBF-056A3D32634C}"/>
                </a:ext>
              </a:extLst>
            </p:cNvPr>
            <p:cNvSpPr/>
            <p:nvPr/>
          </p:nvSpPr>
          <p:spPr>
            <a:xfrm>
              <a:off x="0" y="857250"/>
              <a:ext cx="9144000" cy="5143500"/>
            </a:xfrm>
            <a:prstGeom prst="frame">
              <a:avLst>
                <a:gd name="adj1" fmla="val 1053"/>
              </a:avLst>
            </a:prstGeom>
            <a:solidFill>
              <a:srgbClr val="44546A">
                <a:lumMod val="40000"/>
                <a:lumOff val="60000"/>
              </a:srgbClr>
            </a:solidFill>
            <a:ln w="12700" cap="flat" cmpd="sng" algn="ctr">
              <a:noFill/>
              <a:prstDash val="solid"/>
              <a:miter lim="800000"/>
            </a:ln>
            <a:effectLst/>
          </p:spPr>
          <p:txBody>
            <a:bodyPr rtlCol="0" anchor="ctr"/>
            <a:lstStyle/>
            <a:p>
              <a:pPr algn="ctr" defTabSz="685800">
                <a:defRPr/>
              </a:pPr>
              <a:endParaRPr lang="en-US" sz="1350" kern="0">
                <a:solidFill>
                  <a:prstClr val="black"/>
                </a:solidFill>
                <a:latin typeface="Calibri Light"/>
              </a:endParaRPr>
            </a:p>
          </p:txBody>
        </p:sp>
        <p:sp>
          <p:nvSpPr>
            <p:cNvPr id="103" name="Rectangle 102">
              <a:extLst>
                <a:ext uri="{FF2B5EF4-FFF2-40B4-BE49-F238E27FC236}">
                  <a16:creationId xmlns:a16="http://schemas.microsoft.com/office/drawing/2014/main" id="{D5A75610-4C9C-4007-86BE-0C93387BD4CC}"/>
                </a:ext>
              </a:extLst>
            </p:cNvPr>
            <p:cNvSpPr/>
            <p:nvPr/>
          </p:nvSpPr>
          <p:spPr>
            <a:xfrm>
              <a:off x="0" y="857250"/>
              <a:ext cx="336430" cy="336430"/>
            </a:xfrm>
            <a:prstGeom prst="rect">
              <a:avLst/>
            </a:prstGeom>
            <a:solidFill>
              <a:srgbClr val="AF5F6D"/>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04" name="Rectangle 103">
              <a:extLst>
                <a:ext uri="{FF2B5EF4-FFF2-40B4-BE49-F238E27FC236}">
                  <a16:creationId xmlns:a16="http://schemas.microsoft.com/office/drawing/2014/main" id="{88DED4A1-8837-48AC-9F2B-DE23F8D97ECB}"/>
                </a:ext>
              </a:extLst>
            </p:cNvPr>
            <p:cNvSpPr/>
            <p:nvPr/>
          </p:nvSpPr>
          <p:spPr>
            <a:xfrm>
              <a:off x="8807571" y="5664321"/>
              <a:ext cx="336430" cy="336430"/>
            </a:xfrm>
            <a:prstGeom prst="rect">
              <a:avLst/>
            </a:prstGeom>
            <a:solidFill>
              <a:srgbClr val="EB6B56"/>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18" name="Slide Number Placeholder 21">
              <a:extLst>
                <a:ext uri="{FF2B5EF4-FFF2-40B4-BE49-F238E27FC236}">
                  <a16:creationId xmlns:a16="http://schemas.microsoft.com/office/drawing/2014/main" id="{93A42D60-09D3-464C-9CEE-9793BC406A2C}"/>
                </a:ext>
              </a:extLst>
            </p:cNvPr>
            <p:cNvSpPr txBox="1">
              <a:spLocks/>
            </p:cNvSpPr>
            <p:nvPr/>
          </p:nvSpPr>
          <p:spPr>
            <a:xfrm>
              <a:off x="6457950" y="6356351"/>
              <a:ext cx="2057400" cy="365125"/>
            </a:xfrm>
            <a:prstGeom prst="rect">
              <a:avLst/>
            </a:prstGeom>
          </p:spPr>
          <p:txBody>
            <a:bodyPr vert="horz" lIns="91440" tIns="45720" rIns="91440" bIns="4572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fld id="{B9940D52-AD77-4C6A-9DCC-3EEF87AE9DF8}" type="slidenum">
                <a:rPr lang="en-US">
                  <a:solidFill>
                    <a:prstClr val="black">
                      <a:tint val="75000"/>
                    </a:prstClr>
                  </a:solidFill>
                  <a:latin typeface="Calibri Light"/>
                </a:rPr>
                <a:pPr defTabSz="685800"/>
                <a:t>77</a:t>
              </a:fld>
              <a:endParaRPr lang="en-US">
                <a:solidFill>
                  <a:prstClr val="black">
                    <a:tint val="75000"/>
                  </a:prstClr>
                </a:solidFill>
                <a:latin typeface="Calibri Light"/>
              </a:endParaRPr>
            </a:p>
          </p:txBody>
        </p:sp>
        <p:sp>
          <p:nvSpPr>
            <p:cNvPr id="119" name="Rectangle: Rounded Corners 118">
              <a:extLst>
                <a:ext uri="{FF2B5EF4-FFF2-40B4-BE49-F238E27FC236}">
                  <a16:creationId xmlns:a16="http://schemas.microsoft.com/office/drawing/2014/main" id="{A31B6B7F-B442-478B-AC83-5877659C504E}"/>
                </a:ext>
              </a:extLst>
            </p:cNvPr>
            <p:cNvSpPr/>
            <p:nvPr/>
          </p:nvSpPr>
          <p:spPr>
            <a:xfrm>
              <a:off x="628650" y="1951264"/>
              <a:ext cx="1951265" cy="3145971"/>
            </a:xfrm>
            <a:prstGeom prst="roundRect">
              <a:avLst>
                <a:gd name="adj" fmla="val 4952"/>
              </a:avLst>
            </a:prstGeom>
            <a:solidFill>
              <a:schemeClr val="accent4">
                <a:lumMod val="20000"/>
                <a:lumOff val="80000"/>
              </a:scheme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20" name="Rectangle: Rounded Corners 119">
              <a:extLst>
                <a:ext uri="{FF2B5EF4-FFF2-40B4-BE49-F238E27FC236}">
                  <a16:creationId xmlns:a16="http://schemas.microsoft.com/office/drawing/2014/main" id="{755AABF3-A803-4326-BD1C-065642A1AA83}"/>
                </a:ext>
              </a:extLst>
            </p:cNvPr>
            <p:cNvSpPr/>
            <p:nvPr/>
          </p:nvSpPr>
          <p:spPr>
            <a:xfrm>
              <a:off x="3596368" y="1951264"/>
              <a:ext cx="1951265" cy="3145971"/>
            </a:xfrm>
            <a:prstGeom prst="roundRect">
              <a:avLst>
                <a:gd name="adj" fmla="val 4952"/>
              </a:avLst>
            </a:prstGeom>
            <a:solidFill>
              <a:schemeClr val="bg1">
                <a:lumMod val="85000"/>
              </a:scheme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21" name="Rectangle: Rounded Corners 120">
              <a:extLst>
                <a:ext uri="{FF2B5EF4-FFF2-40B4-BE49-F238E27FC236}">
                  <a16:creationId xmlns:a16="http://schemas.microsoft.com/office/drawing/2014/main" id="{51F48CB3-9A91-4CD8-BAB4-372731EF5FB1}"/>
                </a:ext>
              </a:extLst>
            </p:cNvPr>
            <p:cNvSpPr/>
            <p:nvPr/>
          </p:nvSpPr>
          <p:spPr>
            <a:xfrm>
              <a:off x="6564085" y="1951264"/>
              <a:ext cx="1951265" cy="3145971"/>
            </a:xfrm>
            <a:prstGeom prst="roundRect">
              <a:avLst>
                <a:gd name="adj" fmla="val 4952"/>
              </a:avLst>
            </a:prstGeom>
            <a:solidFill>
              <a:schemeClr val="accent6">
                <a:lumMod val="20000"/>
                <a:lumOff val="80000"/>
              </a:scheme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grpSp>
          <p:nvGrpSpPr>
            <p:cNvPr id="122" name="Group 121">
              <a:extLst>
                <a:ext uri="{FF2B5EF4-FFF2-40B4-BE49-F238E27FC236}">
                  <a16:creationId xmlns:a16="http://schemas.microsoft.com/office/drawing/2014/main" id="{1D5F4261-1706-4F0E-8267-369D57C1FB88}"/>
                </a:ext>
              </a:extLst>
            </p:cNvPr>
            <p:cNvGrpSpPr/>
            <p:nvPr/>
          </p:nvGrpSpPr>
          <p:grpSpPr>
            <a:xfrm>
              <a:off x="2875574" y="3333082"/>
              <a:ext cx="425135" cy="382335"/>
              <a:chOff x="4854484" y="5910272"/>
              <a:chExt cx="283864" cy="255286"/>
            </a:xfrm>
            <a:solidFill>
              <a:srgbClr val="44546A"/>
            </a:solidFill>
          </p:grpSpPr>
          <p:sp>
            <p:nvSpPr>
              <p:cNvPr id="123" name="Freeform 251">
                <a:extLst>
                  <a:ext uri="{FF2B5EF4-FFF2-40B4-BE49-F238E27FC236}">
                    <a16:creationId xmlns:a16="http://schemas.microsoft.com/office/drawing/2014/main" id="{0C8CED70-9586-4725-ABB9-23097BB29906}"/>
                  </a:ext>
                </a:extLst>
              </p:cNvPr>
              <p:cNvSpPr>
                <a:spLocks/>
              </p:cNvSpPr>
              <p:nvPr/>
            </p:nvSpPr>
            <p:spPr bwMode="auto">
              <a:xfrm>
                <a:off x="4854484" y="5910272"/>
                <a:ext cx="165746" cy="255286"/>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sp>
            <p:nvSpPr>
              <p:cNvPr id="124" name="Freeform 252">
                <a:extLst>
                  <a:ext uri="{FF2B5EF4-FFF2-40B4-BE49-F238E27FC236}">
                    <a16:creationId xmlns:a16="http://schemas.microsoft.com/office/drawing/2014/main" id="{0F01F1D5-7465-4E64-9CCB-5C815BD8B5EC}"/>
                  </a:ext>
                </a:extLst>
              </p:cNvPr>
              <p:cNvSpPr>
                <a:spLocks/>
              </p:cNvSpPr>
              <p:nvPr/>
            </p:nvSpPr>
            <p:spPr bwMode="auto">
              <a:xfrm>
                <a:off x="4972602" y="5910272"/>
                <a:ext cx="165746" cy="255286"/>
              </a:xfrm>
              <a:custGeom>
                <a:avLst/>
                <a:gdLst>
                  <a:gd name="T0" fmla="*/ 344 w 348"/>
                  <a:gd name="T1" fmla="*/ 260 h 535"/>
                  <a:gd name="T2" fmla="*/ 86 w 348"/>
                  <a:gd name="T3" fmla="*/ 2 h 535"/>
                  <a:gd name="T4" fmla="*/ 83 w 348"/>
                  <a:gd name="T5" fmla="*/ 0 h 535"/>
                  <a:gd name="T6" fmla="*/ 80 w 348"/>
                  <a:gd name="T7" fmla="*/ 0 h 535"/>
                  <a:gd name="T8" fmla="*/ 75 w 348"/>
                  <a:gd name="T9" fmla="*/ 0 h 535"/>
                  <a:gd name="T10" fmla="*/ 72 w 348"/>
                  <a:gd name="T11" fmla="*/ 2 h 535"/>
                  <a:gd name="T12" fmla="*/ 3 w 348"/>
                  <a:gd name="T13" fmla="*/ 72 h 535"/>
                  <a:gd name="T14" fmla="*/ 1 w 348"/>
                  <a:gd name="T15" fmla="*/ 75 h 535"/>
                  <a:gd name="T16" fmla="*/ 0 w 348"/>
                  <a:gd name="T17" fmla="*/ 79 h 535"/>
                  <a:gd name="T18" fmla="*/ 1 w 348"/>
                  <a:gd name="T19" fmla="*/ 83 h 535"/>
                  <a:gd name="T20" fmla="*/ 3 w 348"/>
                  <a:gd name="T21" fmla="*/ 86 h 535"/>
                  <a:gd name="T22" fmla="*/ 185 w 348"/>
                  <a:gd name="T23" fmla="*/ 268 h 535"/>
                  <a:gd name="T24" fmla="*/ 3 w 348"/>
                  <a:gd name="T25" fmla="*/ 449 h 535"/>
                  <a:gd name="T26" fmla="*/ 1 w 348"/>
                  <a:gd name="T27" fmla="*/ 452 h 535"/>
                  <a:gd name="T28" fmla="*/ 0 w 348"/>
                  <a:gd name="T29" fmla="*/ 457 h 535"/>
                  <a:gd name="T30" fmla="*/ 1 w 348"/>
                  <a:gd name="T31" fmla="*/ 460 h 535"/>
                  <a:gd name="T32" fmla="*/ 3 w 348"/>
                  <a:gd name="T33" fmla="*/ 463 h 535"/>
                  <a:gd name="T34" fmla="*/ 72 w 348"/>
                  <a:gd name="T35" fmla="*/ 532 h 535"/>
                  <a:gd name="T36" fmla="*/ 75 w 348"/>
                  <a:gd name="T37" fmla="*/ 534 h 535"/>
                  <a:gd name="T38" fmla="*/ 80 w 348"/>
                  <a:gd name="T39" fmla="*/ 535 h 535"/>
                  <a:gd name="T40" fmla="*/ 83 w 348"/>
                  <a:gd name="T41" fmla="*/ 534 h 535"/>
                  <a:gd name="T42" fmla="*/ 86 w 348"/>
                  <a:gd name="T43" fmla="*/ 533 h 535"/>
                  <a:gd name="T44" fmla="*/ 344 w 348"/>
                  <a:gd name="T45" fmla="*/ 274 h 535"/>
                  <a:gd name="T46" fmla="*/ 347 w 348"/>
                  <a:gd name="T47" fmla="*/ 271 h 535"/>
                  <a:gd name="T48" fmla="*/ 348 w 348"/>
                  <a:gd name="T49" fmla="*/ 268 h 535"/>
                  <a:gd name="T50" fmla="*/ 347 w 348"/>
                  <a:gd name="T51" fmla="*/ 263 h 535"/>
                  <a:gd name="T52" fmla="*/ 344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4" y="260"/>
                    </a:moveTo>
                    <a:lnTo>
                      <a:pt x="86" y="2"/>
                    </a:lnTo>
                    <a:lnTo>
                      <a:pt x="83" y="0"/>
                    </a:lnTo>
                    <a:lnTo>
                      <a:pt x="80" y="0"/>
                    </a:lnTo>
                    <a:lnTo>
                      <a:pt x="75" y="0"/>
                    </a:lnTo>
                    <a:lnTo>
                      <a:pt x="72" y="2"/>
                    </a:lnTo>
                    <a:lnTo>
                      <a:pt x="3" y="72"/>
                    </a:lnTo>
                    <a:lnTo>
                      <a:pt x="1" y="75"/>
                    </a:lnTo>
                    <a:lnTo>
                      <a:pt x="0" y="79"/>
                    </a:lnTo>
                    <a:lnTo>
                      <a:pt x="1" y="83"/>
                    </a:lnTo>
                    <a:lnTo>
                      <a:pt x="3" y="86"/>
                    </a:lnTo>
                    <a:lnTo>
                      <a:pt x="185" y="268"/>
                    </a:lnTo>
                    <a:lnTo>
                      <a:pt x="3" y="449"/>
                    </a:lnTo>
                    <a:lnTo>
                      <a:pt x="1" y="452"/>
                    </a:lnTo>
                    <a:lnTo>
                      <a:pt x="0" y="457"/>
                    </a:lnTo>
                    <a:lnTo>
                      <a:pt x="1" y="460"/>
                    </a:lnTo>
                    <a:lnTo>
                      <a:pt x="3" y="463"/>
                    </a:lnTo>
                    <a:lnTo>
                      <a:pt x="72" y="532"/>
                    </a:lnTo>
                    <a:lnTo>
                      <a:pt x="75" y="534"/>
                    </a:lnTo>
                    <a:lnTo>
                      <a:pt x="80" y="535"/>
                    </a:lnTo>
                    <a:lnTo>
                      <a:pt x="83" y="534"/>
                    </a:lnTo>
                    <a:lnTo>
                      <a:pt x="86" y="533"/>
                    </a:lnTo>
                    <a:lnTo>
                      <a:pt x="344" y="274"/>
                    </a:lnTo>
                    <a:lnTo>
                      <a:pt x="347" y="271"/>
                    </a:lnTo>
                    <a:lnTo>
                      <a:pt x="348" y="268"/>
                    </a:lnTo>
                    <a:lnTo>
                      <a:pt x="347" y="263"/>
                    </a:lnTo>
                    <a:lnTo>
                      <a:pt x="344"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grpSp>
        <p:grpSp>
          <p:nvGrpSpPr>
            <p:cNvPr id="125" name="Group 124">
              <a:extLst>
                <a:ext uri="{FF2B5EF4-FFF2-40B4-BE49-F238E27FC236}">
                  <a16:creationId xmlns:a16="http://schemas.microsoft.com/office/drawing/2014/main" id="{819BCB2C-2594-4246-AF1C-54887570D1B2}"/>
                </a:ext>
              </a:extLst>
            </p:cNvPr>
            <p:cNvGrpSpPr/>
            <p:nvPr/>
          </p:nvGrpSpPr>
          <p:grpSpPr>
            <a:xfrm>
              <a:off x="5843292" y="3333082"/>
              <a:ext cx="425135" cy="382335"/>
              <a:chOff x="4854484" y="5910272"/>
              <a:chExt cx="283864" cy="255286"/>
            </a:xfrm>
            <a:solidFill>
              <a:srgbClr val="44546A"/>
            </a:solidFill>
          </p:grpSpPr>
          <p:sp>
            <p:nvSpPr>
              <p:cNvPr id="126" name="Freeform 251">
                <a:extLst>
                  <a:ext uri="{FF2B5EF4-FFF2-40B4-BE49-F238E27FC236}">
                    <a16:creationId xmlns:a16="http://schemas.microsoft.com/office/drawing/2014/main" id="{B4AFA590-489D-461F-87B5-31AA21C9CA6E}"/>
                  </a:ext>
                </a:extLst>
              </p:cNvPr>
              <p:cNvSpPr>
                <a:spLocks/>
              </p:cNvSpPr>
              <p:nvPr/>
            </p:nvSpPr>
            <p:spPr bwMode="auto">
              <a:xfrm>
                <a:off x="4854484" y="5910272"/>
                <a:ext cx="165746" cy="255286"/>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sp>
            <p:nvSpPr>
              <p:cNvPr id="127" name="Freeform 252">
                <a:extLst>
                  <a:ext uri="{FF2B5EF4-FFF2-40B4-BE49-F238E27FC236}">
                    <a16:creationId xmlns:a16="http://schemas.microsoft.com/office/drawing/2014/main" id="{686E9970-8B1D-4D78-8BC4-D6A0633DF381}"/>
                  </a:ext>
                </a:extLst>
              </p:cNvPr>
              <p:cNvSpPr>
                <a:spLocks/>
              </p:cNvSpPr>
              <p:nvPr/>
            </p:nvSpPr>
            <p:spPr bwMode="auto">
              <a:xfrm>
                <a:off x="4972602" y="5910272"/>
                <a:ext cx="165746" cy="255286"/>
              </a:xfrm>
              <a:custGeom>
                <a:avLst/>
                <a:gdLst>
                  <a:gd name="T0" fmla="*/ 344 w 348"/>
                  <a:gd name="T1" fmla="*/ 260 h 535"/>
                  <a:gd name="T2" fmla="*/ 86 w 348"/>
                  <a:gd name="T3" fmla="*/ 2 h 535"/>
                  <a:gd name="T4" fmla="*/ 83 w 348"/>
                  <a:gd name="T5" fmla="*/ 0 h 535"/>
                  <a:gd name="T6" fmla="*/ 80 w 348"/>
                  <a:gd name="T7" fmla="*/ 0 h 535"/>
                  <a:gd name="T8" fmla="*/ 75 w 348"/>
                  <a:gd name="T9" fmla="*/ 0 h 535"/>
                  <a:gd name="T10" fmla="*/ 72 w 348"/>
                  <a:gd name="T11" fmla="*/ 2 h 535"/>
                  <a:gd name="T12" fmla="*/ 3 w 348"/>
                  <a:gd name="T13" fmla="*/ 72 h 535"/>
                  <a:gd name="T14" fmla="*/ 1 w 348"/>
                  <a:gd name="T15" fmla="*/ 75 h 535"/>
                  <a:gd name="T16" fmla="*/ 0 w 348"/>
                  <a:gd name="T17" fmla="*/ 79 h 535"/>
                  <a:gd name="T18" fmla="*/ 1 w 348"/>
                  <a:gd name="T19" fmla="*/ 83 h 535"/>
                  <a:gd name="T20" fmla="*/ 3 w 348"/>
                  <a:gd name="T21" fmla="*/ 86 h 535"/>
                  <a:gd name="T22" fmla="*/ 185 w 348"/>
                  <a:gd name="T23" fmla="*/ 268 h 535"/>
                  <a:gd name="T24" fmla="*/ 3 w 348"/>
                  <a:gd name="T25" fmla="*/ 449 h 535"/>
                  <a:gd name="T26" fmla="*/ 1 w 348"/>
                  <a:gd name="T27" fmla="*/ 452 h 535"/>
                  <a:gd name="T28" fmla="*/ 0 w 348"/>
                  <a:gd name="T29" fmla="*/ 457 h 535"/>
                  <a:gd name="T30" fmla="*/ 1 w 348"/>
                  <a:gd name="T31" fmla="*/ 460 h 535"/>
                  <a:gd name="T32" fmla="*/ 3 w 348"/>
                  <a:gd name="T33" fmla="*/ 463 h 535"/>
                  <a:gd name="T34" fmla="*/ 72 w 348"/>
                  <a:gd name="T35" fmla="*/ 532 h 535"/>
                  <a:gd name="T36" fmla="*/ 75 w 348"/>
                  <a:gd name="T37" fmla="*/ 534 h 535"/>
                  <a:gd name="T38" fmla="*/ 80 w 348"/>
                  <a:gd name="T39" fmla="*/ 535 h 535"/>
                  <a:gd name="T40" fmla="*/ 83 w 348"/>
                  <a:gd name="T41" fmla="*/ 534 h 535"/>
                  <a:gd name="T42" fmla="*/ 86 w 348"/>
                  <a:gd name="T43" fmla="*/ 533 h 535"/>
                  <a:gd name="T44" fmla="*/ 344 w 348"/>
                  <a:gd name="T45" fmla="*/ 274 h 535"/>
                  <a:gd name="T46" fmla="*/ 347 w 348"/>
                  <a:gd name="T47" fmla="*/ 271 h 535"/>
                  <a:gd name="T48" fmla="*/ 348 w 348"/>
                  <a:gd name="T49" fmla="*/ 268 h 535"/>
                  <a:gd name="T50" fmla="*/ 347 w 348"/>
                  <a:gd name="T51" fmla="*/ 263 h 535"/>
                  <a:gd name="T52" fmla="*/ 344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4" y="260"/>
                    </a:moveTo>
                    <a:lnTo>
                      <a:pt x="86" y="2"/>
                    </a:lnTo>
                    <a:lnTo>
                      <a:pt x="83" y="0"/>
                    </a:lnTo>
                    <a:lnTo>
                      <a:pt x="80" y="0"/>
                    </a:lnTo>
                    <a:lnTo>
                      <a:pt x="75" y="0"/>
                    </a:lnTo>
                    <a:lnTo>
                      <a:pt x="72" y="2"/>
                    </a:lnTo>
                    <a:lnTo>
                      <a:pt x="3" y="72"/>
                    </a:lnTo>
                    <a:lnTo>
                      <a:pt x="1" y="75"/>
                    </a:lnTo>
                    <a:lnTo>
                      <a:pt x="0" y="79"/>
                    </a:lnTo>
                    <a:lnTo>
                      <a:pt x="1" y="83"/>
                    </a:lnTo>
                    <a:lnTo>
                      <a:pt x="3" y="86"/>
                    </a:lnTo>
                    <a:lnTo>
                      <a:pt x="185" y="268"/>
                    </a:lnTo>
                    <a:lnTo>
                      <a:pt x="3" y="449"/>
                    </a:lnTo>
                    <a:lnTo>
                      <a:pt x="1" y="452"/>
                    </a:lnTo>
                    <a:lnTo>
                      <a:pt x="0" y="457"/>
                    </a:lnTo>
                    <a:lnTo>
                      <a:pt x="1" y="460"/>
                    </a:lnTo>
                    <a:lnTo>
                      <a:pt x="3" y="463"/>
                    </a:lnTo>
                    <a:lnTo>
                      <a:pt x="72" y="532"/>
                    </a:lnTo>
                    <a:lnTo>
                      <a:pt x="75" y="534"/>
                    </a:lnTo>
                    <a:lnTo>
                      <a:pt x="80" y="535"/>
                    </a:lnTo>
                    <a:lnTo>
                      <a:pt x="83" y="534"/>
                    </a:lnTo>
                    <a:lnTo>
                      <a:pt x="86" y="533"/>
                    </a:lnTo>
                    <a:lnTo>
                      <a:pt x="344" y="274"/>
                    </a:lnTo>
                    <a:lnTo>
                      <a:pt x="347" y="271"/>
                    </a:lnTo>
                    <a:lnTo>
                      <a:pt x="348" y="268"/>
                    </a:lnTo>
                    <a:lnTo>
                      <a:pt x="347" y="263"/>
                    </a:lnTo>
                    <a:lnTo>
                      <a:pt x="344"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grpSp>
        <p:sp>
          <p:nvSpPr>
            <p:cNvPr id="137" name="TextBox 136">
              <a:extLst>
                <a:ext uri="{FF2B5EF4-FFF2-40B4-BE49-F238E27FC236}">
                  <a16:creationId xmlns:a16="http://schemas.microsoft.com/office/drawing/2014/main" id="{BD72369C-B18A-43FF-AFFB-FB7B6C1A5ABC}"/>
                </a:ext>
              </a:extLst>
            </p:cNvPr>
            <p:cNvSpPr txBox="1"/>
            <p:nvPr/>
          </p:nvSpPr>
          <p:spPr>
            <a:xfrm>
              <a:off x="739572" y="2777468"/>
              <a:ext cx="1719483" cy="752236"/>
            </a:xfrm>
            <a:prstGeom prst="rect">
              <a:avLst/>
            </a:prstGeom>
            <a:noFill/>
            <a:ln>
              <a:solidFill>
                <a:schemeClr val="bg1"/>
              </a:solidFill>
            </a:ln>
          </p:spPr>
          <p:txBody>
            <a:bodyPr wrap="square" lIns="0" tIns="0" rIns="0" bIns="0" rtlCol="0" anchor="ctr">
              <a:spAutoFit/>
            </a:bodyPr>
            <a:lstStyle/>
            <a:p>
              <a:pPr defTabSz="685800"/>
              <a:r>
                <a:rPr lang="en-US" sz="1050" b="1" dirty="0">
                  <a:latin typeface="Calibri Light"/>
                </a:rPr>
                <a:t>Denominator:</a:t>
              </a:r>
            </a:p>
            <a:p>
              <a:pPr marL="171450" indent="-171450" defTabSz="685800">
                <a:buFont typeface="Arial" panose="020B0604020202020204" pitchFamily="34" charset="0"/>
                <a:buChar char="•"/>
              </a:pPr>
              <a:r>
                <a:rPr lang="en-US" sz="900" dirty="0">
                  <a:latin typeface="Calibri Light"/>
                </a:rPr>
                <a:t>Active on ART</a:t>
              </a:r>
            </a:p>
            <a:p>
              <a:pPr marL="171450" indent="-171450" defTabSz="685800">
                <a:buFont typeface="Arial" panose="020B0604020202020204" pitchFamily="34" charset="0"/>
                <a:buChar char="•"/>
              </a:pPr>
              <a:r>
                <a:rPr lang="en-US" sz="900" dirty="0">
                  <a:latin typeface="Calibri Light"/>
                </a:rPr>
                <a:t>On ART for ≥3 months</a:t>
              </a:r>
            </a:p>
            <a:p>
              <a:pPr marL="171450" indent="-171450" defTabSz="685800">
                <a:buFont typeface="Arial" panose="020B0604020202020204" pitchFamily="34" charset="0"/>
                <a:buChar char="•"/>
              </a:pPr>
              <a:r>
                <a:rPr lang="en-US" sz="900" dirty="0">
                  <a:latin typeface="Calibri Light"/>
                </a:rPr>
                <a:t>Have a documented viral load result</a:t>
              </a:r>
            </a:p>
          </p:txBody>
        </p:sp>
        <p:sp>
          <p:nvSpPr>
            <p:cNvPr id="138" name="TextBox 137">
              <a:extLst>
                <a:ext uri="{FF2B5EF4-FFF2-40B4-BE49-F238E27FC236}">
                  <a16:creationId xmlns:a16="http://schemas.microsoft.com/office/drawing/2014/main" id="{29087046-24DC-401B-97BD-14EADBFCDAAD}"/>
                </a:ext>
              </a:extLst>
            </p:cNvPr>
            <p:cNvSpPr txBox="1"/>
            <p:nvPr/>
          </p:nvSpPr>
          <p:spPr>
            <a:xfrm>
              <a:off x="853984" y="2197851"/>
              <a:ext cx="1500596" cy="582376"/>
            </a:xfrm>
            <a:prstGeom prst="rect">
              <a:avLst/>
            </a:prstGeom>
            <a:noFill/>
          </p:spPr>
          <p:txBody>
            <a:bodyPr wrap="square" lIns="0" tIns="0" rIns="0" bIns="0" rtlCol="0" anchor="ctr">
              <a:spAutoFit/>
            </a:bodyPr>
            <a:lstStyle/>
            <a:p>
              <a:pPr algn="ctr" defTabSz="685800"/>
              <a:r>
                <a:rPr lang="en-US" b="1" dirty="0">
                  <a:latin typeface="Calibri Light"/>
                </a:rPr>
                <a:t>COLLECTION/</a:t>
              </a:r>
            </a:p>
            <a:p>
              <a:pPr algn="ctr" defTabSz="685800"/>
              <a:r>
                <a:rPr lang="en-US" b="1" dirty="0">
                  <a:latin typeface="Calibri Light"/>
                </a:rPr>
                <a:t>REPORTING</a:t>
              </a:r>
            </a:p>
          </p:txBody>
        </p:sp>
        <p:sp>
          <p:nvSpPr>
            <p:cNvPr id="144" name="TextBox 143">
              <a:extLst>
                <a:ext uri="{FF2B5EF4-FFF2-40B4-BE49-F238E27FC236}">
                  <a16:creationId xmlns:a16="http://schemas.microsoft.com/office/drawing/2014/main" id="{C75D3502-2084-4D34-B7F6-EC24A147A540}"/>
                </a:ext>
              </a:extLst>
            </p:cNvPr>
            <p:cNvSpPr txBox="1"/>
            <p:nvPr/>
          </p:nvSpPr>
          <p:spPr>
            <a:xfrm>
              <a:off x="3759835" y="3128912"/>
              <a:ext cx="1626331" cy="679438"/>
            </a:xfrm>
            <a:prstGeom prst="rect">
              <a:avLst/>
            </a:prstGeom>
            <a:noFill/>
            <a:ln>
              <a:noFill/>
            </a:ln>
          </p:spPr>
          <p:txBody>
            <a:bodyPr wrap="square" lIns="0" tIns="0" rIns="0" bIns="0" rtlCol="0" anchor="ctr">
              <a:spAutoFit/>
            </a:bodyPr>
            <a:lstStyle>
              <a:defPPr>
                <a:defRPr lang="en-US"/>
              </a:defPPr>
              <a:lvl1pPr defTabSz="685800">
                <a:defRPr sz="1050" b="1">
                  <a:latin typeface="Calibri Light"/>
                </a:defRPr>
              </a:lvl1pPr>
            </a:lstStyle>
            <a:p>
              <a:pPr marL="171450" indent="-171450">
                <a:buFont typeface="Arial" panose="020B0604020202020204" pitchFamily="34" charset="0"/>
                <a:buChar char="•"/>
              </a:pPr>
              <a:r>
                <a:rPr lang="en-US" b="0" dirty="0"/>
                <a:t>Denominator ≥ Numerator</a:t>
              </a:r>
            </a:p>
            <a:p>
              <a:pPr marL="171450" indent="-171450">
                <a:buFont typeface="Arial" panose="020B0604020202020204" pitchFamily="34" charset="0"/>
                <a:buChar char="•"/>
              </a:pPr>
              <a:r>
                <a:rPr lang="en-US" b="0" dirty="0"/>
                <a:t>Numerator ≥ subtotal of each of the disaggregation</a:t>
              </a:r>
            </a:p>
            <a:p>
              <a:pPr marL="171450" indent="-171450">
                <a:buFont typeface="Arial" panose="020B0604020202020204" pitchFamily="34" charset="0"/>
                <a:buChar char="•"/>
              </a:pPr>
              <a:r>
                <a:rPr lang="en-US" b="0" dirty="0"/>
                <a:t>TX_CURR ≥ TX_PVLS_DEN</a:t>
              </a:r>
            </a:p>
          </p:txBody>
        </p:sp>
        <p:sp>
          <p:nvSpPr>
            <p:cNvPr id="145" name="TextBox 144">
              <a:extLst>
                <a:ext uri="{FF2B5EF4-FFF2-40B4-BE49-F238E27FC236}">
                  <a16:creationId xmlns:a16="http://schemas.microsoft.com/office/drawing/2014/main" id="{4229BB9B-1E9C-4794-BD7E-31916C0D2655}"/>
                </a:ext>
              </a:extLst>
            </p:cNvPr>
            <p:cNvSpPr txBox="1"/>
            <p:nvPr/>
          </p:nvSpPr>
          <p:spPr>
            <a:xfrm>
              <a:off x="3787215" y="2276002"/>
              <a:ext cx="1569569" cy="291188"/>
            </a:xfrm>
            <a:prstGeom prst="rect">
              <a:avLst/>
            </a:prstGeom>
            <a:noFill/>
          </p:spPr>
          <p:txBody>
            <a:bodyPr wrap="square" lIns="0" tIns="0" rIns="0" bIns="0" rtlCol="0" anchor="ctr">
              <a:spAutoFit/>
            </a:bodyPr>
            <a:lstStyle/>
            <a:p>
              <a:pPr algn="ctr" defTabSz="685800"/>
              <a:r>
                <a:rPr lang="en-US" b="1" dirty="0">
                  <a:latin typeface="Calibri Light"/>
                </a:rPr>
                <a:t>DATA QUALITY</a:t>
              </a:r>
            </a:p>
          </p:txBody>
        </p:sp>
        <p:sp>
          <p:nvSpPr>
            <p:cNvPr id="150" name="TextBox 149">
              <a:extLst>
                <a:ext uri="{FF2B5EF4-FFF2-40B4-BE49-F238E27FC236}">
                  <a16:creationId xmlns:a16="http://schemas.microsoft.com/office/drawing/2014/main" id="{A432B2BB-4C21-4AF1-9B8E-A30EC8F9E140}"/>
                </a:ext>
              </a:extLst>
            </p:cNvPr>
            <p:cNvSpPr txBox="1"/>
            <p:nvPr/>
          </p:nvSpPr>
          <p:spPr>
            <a:xfrm>
              <a:off x="6740987" y="2573969"/>
              <a:ext cx="1592581" cy="2378034"/>
            </a:xfrm>
            <a:prstGeom prst="rect">
              <a:avLst/>
            </a:prstGeom>
            <a:noFill/>
          </p:spPr>
          <p:txBody>
            <a:bodyPr wrap="square" lIns="0" tIns="0" rIns="0" bIns="0" rtlCol="0" anchor="ctr">
              <a:spAutoFit/>
            </a:bodyPr>
            <a:lstStyle/>
            <a:p>
              <a:pPr defTabSz="685800"/>
              <a:r>
                <a:rPr lang="en-US" sz="1050" b="1" dirty="0">
                  <a:latin typeface="Calibri Light"/>
                </a:rPr>
                <a:t>Denominator:</a:t>
              </a:r>
            </a:p>
            <a:p>
              <a:pPr marL="171450" indent="-171450" defTabSz="685800">
                <a:buFont typeface="Arial" panose="020B0604020202020204" pitchFamily="34" charset="0"/>
                <a:buChar char="•"/>
              </a:pPr>
              <a:r>
                <a:rPr lang="en-US" sz="1050" dirty="0">
                  <a:latin typeface="Calibri Light"/>
                </a:rPr>
                <a:t>5-year Age Band</a:t>
              </a:r>
            </a:p>
            <a:p>
              <a:pPr marL="171450" indent="-171450" defTabSz="685800">
                <a:buFont typeface="Arial" panose="020B0604020202020204" pitchFamily="34" charset="0"/>
                <a:buChar char="•"/>
              </a:pPr>
              <a:r>
                <a:rPr lang="en-US" sz="1050" dirty="0">
                  <a:latin typeface="Calibri Light"/>
                </a:rPr>
                <a:t>Sex</a:t>
              </a:r>
            </a:p>
            <a:p>
              <a:pPr marL="171450" indent="-171450" defTabSz="685800">
                <a:buFont typeface="Arial" panose="020B0604020202020204" pitchFamily="34" charset="0"/>
                <a:buChar char="•"/>
              </a:pPr>
              <a:r>
                <a:rPr lang="en-US" sz="1050" dirty="0">
                  <a:latin typeface="Calibri Light"/>
                </a:rPr>
                <a:t>Indication (Routine/Targeted)</a:t>
              </a:r>
            </a:p>
            <a:p>
              <a:pPr marL="171450" indent="-171450" defTabSz="685800">
                <a:buFont typeface="Arial" panose="020B0604020202020204" pitchFamily="34" charset="0"/>
                <a:buChar char="•"/>
              </a:pPr>
              <a:r>
                <a:rPr lang="en-US" sz="1050" dirty="0">
                  <a:latin typeface="Calibri Light"/>
                </a:rPr>
                <a:t>Pregnant or BF</a:t>
              </a:r>
            </a:p>
            <a:p>
              <a:pPr marL="171450" indent="-171450" defTabSz="685800">
                <a:buFont typeface="Arial" panose="020B0604020202020204" pitchFamily="34" charset="0"/>
                <a:buChar char="•"/>
              </a:pPr>
              <a:r>
                <a:rPr lang="en-US" sz="1050" dirty="0">
                  <a:latin typeface="Calibri Light"/>
                </a:rPr>
                <a:t>Key Population</a:t>
              </a:r>
            </a:p>
            <a:p>
              <a:pPr defTabSz="685800"/>
              <a:r>
                <a:rPr lang="en-US" sz="1050" b="1" dirty="0">
                  <a:latin typeface="Calibri Light"/>
                </a:rPr>
                <a:t>Numerator:</a:t>
              </a:r>
            </a:p>
            <a:p>
              <a:pPr marL="171450" indent="-171450" defTabSz="685800">
                <a:buFont typeface="Arial" panose="020B0604020202020204" pitchFamily="34" charset="0"/>
                <a:buChar char="•"/>
              </a:pPr>
              <a:r>
                <a:rPr lang="en-US" sz="1050" dirty="0">
                  <a:latin typeface="Calibri Light"/>
                </a:rPr>
                <a:t>5-year Age Band</a:t>
              </a:r>
            </a:p>
            <a:p>
              <a:pPr marL="171450" indent="-171450" defTabSz="685800">
                <a:buFont typeface="Arial" panose="020B0604020202020204" pitchFamily="34" charset="0"/>
                <a:buChar char="•"/>
              </a:pPr>
              <a:r>
                <a:rPr lang="en-US" sz="1050" dirty="0">
                  <a:latin typeface="Calibri Light"/>
                </a:rPr>
                <a:t>Sex</a:t>
              </a:r>
            </a:p>
            <a:p>
              <a:pPr marL="171450" indent="-171450" defTabSz="685800">
                <a:buFont typeface="Arial" panose="020B0604020202020204" pitchFamily="34" charset="0"/>
                <a:buChar char="•"/>
              </a:pPr>
              <a:r>
                <a:rPr lang="en-US" sz="1050" dirty="0">
                  <a:latin typeface="Calibri Light"/>
                </a:rPr>
                <a:t>Indication (Routine/Targeted)</a:t>
              </a:r>
            </a:p>
            <a:p>
              <a:pPr marL="171450" indent="-171450" defTabSz="685800">
                <a:buFont typeface="Arial" panose="020B0604020202020204" pitchFamily="34" charset="0"/>
                <a:buChar char="•"/>
              </a:pPr>
              <a:r>
                <a:rPr lang="en-US" sz="1050" dirty="0">
                  <a:latin typeface="Calibri Light"/>
                </a:rPr>
                <a:t>Pregnant or BF</a:t>
              </a:r>
            </a:p>
            <a:p>
              <a:pPr marL="171450" indent="-171450" defTabSz="685800">
                <a:buFont typeface="Arial" panose="020B0604020202020204" pitchFamily="34" charset="0"/>
                <a:buChar char="•"/>
              </a:pPr>
              <a:r>
                <a:rPr lang="en-US" sz="1050" dirty="0">
                  <a:latin typeface="Calibri Light"/>
                </a:rPr>
                <a:t>Key Population</a:t>
              </a:r>
            </a:p>
          </p:txBody>
        </p:sp>
        <p:sp>
          <p:nvSpPr>
            <p:cNvPr id="151" name="TextBox 150">
              <a:extLst>
                <a:ext uri="{FF2B5EF4-FFF2-40B4-BE49-F238E27FC236}">
                  <a16:creationId xmlns:a16="http://schemas.microsoft.com/office/drawing/2014/main" id="{269059BD-5BEF-4B22-9D87-AC985C86C7EA}"/>
                </a:ext>
              </a:extLst>
            </p:cNvPr>
            <p:cNvSpPr txBox="1"/>
            <p:nvPr/>
          </p:nvSpPr>
          <p:spPr>
            <a:xfrm>
              <a:off x="6606468" y="2197851"/>
              <a:ext cx="1832066" cy="291188"/>
            </a:xfrm>
            <a:prstGeom prst="rect">
              <a:avLst/>
            </a:prstGeom>
            <a:noFill/>
          </p:spPr>
          <p:txBody>
            <a:bodyPr wrap="square" lIns="0" tIns="0" rIns="0" bIns="0" rtlCol="0" anchor="ctr">
              <a:spAutoFit/>
            </a:bodyPr>
            <a:lstStyle/>
            <a:p>
              <a:pPr algn="ctr" defTabSz="685800"/>
              <a:r>
                <a:rPr lang="en-US" b="1" dirty="0">
                  <a:latin typeface="Calibri Light"/>
                </a:rPr>
                <a:t>DISAGGREGATION</a:t>
              </a:r>
            </a:p>
          </p:txBody>
        </p:sp>
      </p:grpSp>
      <p:sp>
        <p:nvSpPr>
          <p:cNvPr id="27" name="TextBox 26">
            <a:extLst>
              <a:ext uri="{FF2B5EF4-FFF2-40B4-BE49-F238E27FC236}">
                <a16:creationId xmlns:a16="http://schemas.microsoft.com/office/drawing/2014/main" id="{9671A23E-77A1-4E71-9A77-3D9EC4CB5468}"/>
              </a:ext>
            </a:extLst>
          </p:cNvPr>
          <p:cNvSpPr txBox="1"/>
          <p:nvPr/>
        </p:nvSpPr>
        <p:spPr>
          <a:xfrm>
            <a:off x="2274669" y="4177463"/>
            <a:ext cx="1701396" cy="553998"/>
          </a:xfrm>
          <a:prstGeom prst="rect">
            <a:avLst/>
          </a:prstGeom>
          <a:noFill/>
          <a:ln>
            <a:solidFill>
              <a:schemeClr val="bg1"/>
            </a:solidFill>
          </a:ln>
        </p:spPr>
        <p:txBody>
          <a:bodyPr wrap="square" lIns="0" tIns="0" rIns="0" bIns="0" rtlCol="0" anchor="ctr">
            <a:spAutoFit/>
          </a:bodyPr>
          <a:lstStyle/>
          <a:p>
            <a:pPr defTabSz="685800"/>
            <a:r>
              <a:rPr lang="en-US" sz="900" b="1" dirty="0">
                <a:latin typeface="Calibri Light"/>
              </a:rPr>
              <a:t>Numerator:</a:t>
            </a:r>
          </a:p>
          <a:p>
            <a:pPr marL="171450" indent="-171450" defTabSz="685800">
              <a:buFont typeface="Arial" panose="020B0604020202020204" pitchFamily="34" charset="0"/>
              <a:buChar char="•"/>
            </a:pPr>
            <a:r>
              <a:rPr lang="en-US" sz="900" dirty="0">
                <a:latin typeface="Calibri Light"/>
              </a:rPr>
              <a:t>Suppressed viral load result</a:t>
            </a:r>
          </a:p>
          <a:p>
            <a:pPr marL="171450" indent="-171450" defTabSz="685800">
              <a:buFont typeface="Arial" panose="020B0604020202020204" pitchFamily="34" charset="0"/>
              <a:buChar char="•"/>
            </a:pPr>
            <a:r>
              <a:rPr lang="en-US" sz="900" dirty="0">
                <a:latin typeface="Calibri Light"/>
              </a:rPr>
              <a:t>Report the most recent result.</a:t>
            </a:r>
          </a:p>
          <a:p>
            <a:pPr marL="171450" indent="-171450" defTabSz="685800">
              <a:buFont typeface="Arial" panose="020B0604020202020204" pitchFamily="34" charset="0"/>
              <a:buChar char="•"/>
            </a:pPr>
            <a:r>
              <a:rPr lang="en-US" sz="900" dirty="0">
                <a:latin typeface="Calibri Light"/>
              </a:rPr>
              <a:t>On ART for ≥3 months</a:t>
            </a:r>
          </a:p>
        </p:txBody>
      </p:sp>
      <p:sp>
        <p:nvSpPr>
          <p:cNvPr id="28" name="TextBox 27">
            <a:extLst>
              <a:ext uri="{FF2B5EF4-FFF2-40B4-BE49-F238E27FC236}">
                <a16:creationId xmlns:a16="http://schemas.microsoft.com/office/drawing/2014/main" id="{72E0AFA8-EA77-14C2-B043-ED39E2506E3F}"/>
              </a:ext>
            </a:extLst>
          </p:cNvPr>
          <p:cNvSpPr txBox="1"/>
          <p:nvPr/>
        </p:nvSpPr>
        <p:spPr>
          <a:xfrm>
            <a:off x="2265626" y="4873130"/>
            <a:ext cx="1719483" cy="161583"/>
          </a:xfrm>
          <a:prstGeom prst="rect">
            <a:avLst/>
          </a:prstGeom>
          <a:noFill/>
          <a:ln>
            <a:solidFill>
              <a:schemeClr val="bg1"/>
            </a:solidFill>
          </a:ln>
        </p:spPr>
        <p:txBody>
          <a:bodyPr wrap="square" lIns="0" tIns="0" rIns="0" bIns="0" rtlCol="0" anchor="ctr">
            <a:spAutoFit/>
          </a:bodyPr>
          <a:lstStyle/>
          <a:p>
            <a:pPr marL="171450" indent="-171450" defTabSz="685800">
              <a:buFont typeface="Arial" panose="020B0604020202020204" pitchFamily="34" charset="0"/>
              <a:buChar char="•"/>
            </a:pPr>
            <a:r>
              <a:rPr lang="en-US" sz="1050" dirty="0">
                <a:latin typeface="Calibri Light"/>
              </a:rPr>
              <a:t>Quarterly</a:t>
            </a:r>
          </a:p>
        </p:txBody>
      </p:sp>
    </p:spTree>
    <p:extLst>
      <p:ext uri="{BB962C8B-B14F-4D97-AF65-F5344CB8AC3E}">
        <p14:creationId xmlns:p14="http://schemas.microsoft.com/office/powerpoint/2010/main" val="132521793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TextBox 133">
            <a:extLst>
              <a:ext uri="{FF2B5EF4-FFF2-40B4-BE49-F238E27FC236}">
                <a16:creationId xmlns:a16="http://schemas.microsoft.com/office/drawing/2014/main" id="{86E6788C-76AA-43BC-8B7F-196C83841096}"/>
              </a:ext>
            </a:extLst>
          </p:cNvPr>
          <p:cNvSpPr txBox="1"/>
          <p:nvPr/>
        </p:nvSpPr>
        <p:spPr>
          <a:xfrm>
            <a:off x="1847850" y="463992"/>
            <a:ext cx="8496300" cy="553998"/>
          </a:xfrm>
          <a:prstGeom prst="rect">
            <a:avLst/>
          </a:prstGeom>
          <a:noFill/>
        </p:spPr>
        <p:txBody>
          <a:bodyPr wrap="square" lIns="0" tIns="0" rIns="0" bIns="0" rtlCol="0" anchor="t">
            <a:spAutoFit/>
          </a:bodyPr>
          <a:lstStyle/>
          <a:p>
            <a:pPr algn="ctr" defTabSz="685800"/>
            <a:r>
              <a:rPr lang="en-US" sz="3600" dirty="0">
                <a:latin typeface="Corbel" panose="020B0503020204020204"/>
              </a:rPr>
              <a:t>VIRAL LOAD TEST COVERAGE</a:t>
            </a:r>
          </a:p>
        </p:txBody>
      </p:sp>
      <p:grpSp>
        <p:nvGrpSpPr>
          <p:cNvPr id="2" name="Group 1">
            <a:extLst>
              <a:ext uri="{FF2B5EF4-FFF2-40B4-BE49-F238E27FC236}">
                <a16:creationId xmlns:a16="http://schemas.microsoft.com/office/drawing/2014/main" id="{11383E8B-A9F5-4C59-A67A-3554539F5B7A}"/>
              </a:ext>
            </a:extLst>
          </p:cNvPr>
          <p:cNvGrpSpPr/>
          <p:nvPr/>
        </p:nvGrpSpPr>
        <p:grpSpPr>
          <a:xfrm>
            <a:off x="1524001" y="1143000"/>
            <a:ext cx="9144001" cy="5578476"/>
            <a:chOff x="0" y="857250"/>
            <a:chExt cx="9144001" cy="5864226"/>
          </a:xfrm>
        </p:grpSpPr>
        <p:sp>
          <p:nvSpPr>
            <p:cNvPr id="98" name="Rectangle 97">
              <a:extLst>
                <a:ext uri="{FF2B5EF4-FFF2-40B4-BE49-F238E27FC236}">
                  <a16:creationId xmlns:a16="http://schemas.microsoft.com/office/drawing/2014/main" id="{84CAA34D-CD75-45C6-B39E-7C242EB87261}"/>
                </a:ext>
              </a:extLst>
            </p:cNvPr>
            <p:cNvSpPr/>
            <p:nvPr/>
          </p:nvSpPr>
          <p:spPr>
            <a:xfrm>
              <a:off x="1" y="2871107"/>
              <a:ext cx="9144000" cy="1306286"/>
            </a:xfrm>
            <a:prstGeom prst="rect">
              <a:avLst/>
            </a:prstGeom>
            <a:solidFill>
              <a:srgbClr val="E7E6E6"/>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99" name="Rectangle: Rounded Corners 98">
              <a:extLst>
                <a:ext uri="{FF2B5EF4-FFF2-40B4-BE49-F238E27FC236}">
                  <a16:creationId xmlns:a16="http://schemas.microsoft.com/office/drawing/2014/main" id="{B79F2794-CAB0-4CBC-A170-CA7853D4B5E7}"/>
                </a:ext>
              </a:extLst>
            </p:cNvPr>
            <p:cNvSpPr/>
            <p:nvPr/>
          </p:nvSpPr>
          <p:spPr>
            <a:xfrm>
              <a:off x="3652410" y="2015558"/>
              <a:ext cx="1951265" cy="3145971"/>
            </a:xfrm>
            <a:prstGeom prst="roundRect">
              <a:avLst>
                <a:gd name="adj" fmla="val 4952"/>
              </a:avLst>
            </a:prstGeom>
            <a:solidFill>
              <a:sysClr val="window" lastClr="FFFFFF">
                <a:lumMod val="65000"/>
              </a:sys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00" name="Rectangle: Rounded Corners 99">
              <a:extLst>
                <a:ext uri="{FF2B5EF4-FFF2-40B4-BE49-F238E27FC236}">
                  <a16:creationId xmlns:a16="http://schemas.microsoft.com/office/drawing/2014/main" id="{624C18DD-A9DF-4469-A7B6-6C9AAA2D41F4}"/>
                </a:ext>
              </a:extLst>
            </p:cNvPr>
            <p:cNvSpPr/>
            <p:nvPr/>
          </p:nvSpPr>
          <p:spPr>
            <a:xfrm>
              <a:off x="6625597" y="2015558"/>
              <a:ext cx="1951265" cy="3145971"/>
            </a:xfrm>
            <a:prstGeom prst="roundRect">
              <a:avLst>
                <a:gd name="adj" fmla="val 4952"/>
              </a:avLst>
            </a:prstGeom>
            <a:solidFill>
              <a:sysClr val="window" lastClr="FFFFFF">
                <a:lumMod val="65000"/>
              </a:sys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01" name="Rectangle: Rounded Corners 100">
              <a:extLst>
                <a:ext uri="{FF2B5EF4-FFF2-40B4-BE49-F238E27FC236}">
                  <a16:creationId xmlns:a16="http://schemas.microsoft.com/office/drawing/2014/main" id="{F503AF90-BD38-48FC-8812-4FA3F25DB0E6}"/>
                </a:ext>
              </a:extLst>
            </p:cNvPr>
            <p:cNvSpPr/>
            <p:nvPr/>
          </p:nvSpPr>
          <p:spPr>
            <a:xfrm>
              <a:off x="685800" y="2015558"/>
              <a:ext cx="1951265" cy="3145971"/>
            </a:xfrm>
            <a:prstGeom prst="roundRect">
              <a:avLst>
                <a:gd name="adj" fmla="val 4952"/>
              </a:avLst>
            </a:prstGeom>
            <a:solidFill>
              <a:sysClr val="window" lastClr="FFFFFF">
                <a:lumMod val="65000"/>
              </a:sys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02" name="Frame 101">
              <a:extLst>
                <a:ext uri="{FF2B5EF4-FFF2-40B4-BE49-F238E27FC236}">
                  <a16:creationId xmlns:a16="http://schemas.microsoft.com/office/drawing/2014/main" id="{530C96A5-18F8-41CE-8FBF-056A3D32634C}"/>
                </a:ext>
              </a:extLst>
            </p:cNvPr>
            <p:cNvSpPr/>
            <p:nvPr/>
          </p:nvSpPr>
          <p:spPr>
            <a:xfrm>
              <a:off x="0" y="857250"/>
              <a:ext cx="9144000" cy="5143500"/>
            </a:xfrm>
            <a:prstGeom prst="frame">
              <a:avLst>
                <a:gd name="adj1" fmla="val 1053"/>
              </a:avLst>
            </a:prstGeom>
            <a:solidFill>
              <a:srgbClr val="44546A">
                <a:lumMod val="40000"/>
                <a:lumOff val="60000"/>
              </a:srgbClr>
            </a:solidFill>
            <a:ln w="12700" cap="flat" cmpd="sng" algn="ctr">
              <a:noFill/>
              <a:prstDash val="solid"/>
              <a:miter lim="800000"/>
            </a:ln>
            <a:effectLst/>
          </p:spPr>
          <p:txBody>
            <a:bodyPr rtlCol="0" anchor="ctr"/>
            <a:lstStyle/>
            <a:p>
              <a:pPr algn="ctr" defTabSz="685800">
                <a:defRPr/>
              </a:pPr>
              <a:endParaRPr lang="en-US" sz="1350" kern="0">
                <a:solidFill>
                  <a:prstClr val="black"/>
                </a:solidFill>
                <a:latin typeface="Calibri Light"/>
              </a:endParaRPr>
            </a:p>
          </p:txBody>
        </p:sp>
        <p:sp>
          <p:nvSpPr>
            <p:cNvPr id="103" name="Rectangle 102">
              <a:extLst>
                <a:ext uri="{FF2B5EF4-FFF2-40B4-BE49-F238E27FC236}">
                  <a16:creationId xmlns:a16="http://schemas.microsoft.com/office/drawing/2014/main" id="{D5A75610-4C9C-4007-86BE-0C93387BD4CC}"/>
                </a:ext>
              </a:extLst>
            </p:cNvPr>
            <p:cNvSpPr/>
            <p:nvPr/>
          </p:nvSpPr>
          <p:spPr>
            <a:xfrm>
              <a:off x="0" y="857250"/>
              <a:ext cx="336430" cy="336430"/>
            </a:xfrm>
            <a:prstGeom prst="rect">
              <a:avLst/>
            </a:prstGeom>
            <a:solidFill>
              <a:srgbClr val="AF5F6D"/>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04" name="Rectangle 103">
              <a:extLst>
                <a:ext uri="{FF2B5EF4-FFF2-40B4-BE49-F238E27FC236}">
                  <a16:creationId xmlns:a16="http://schemas.microsoft.com/office/drawing/2014/main" id="{88DED4A1-8837-48AC-9F2B-DE23F8D97ECB}"/>
                </a:ext>
              </a:extLst>
            </p:cNvPr>
            <p:cNvSpPr/>
            <p:nvPr/>
          </p:nvSpPr>
          <p:spPr>
            <a:xfrm>
              <a:off x="8807571" y="5664321"/>
              <a:ext cx="336430" cy="336430"/>
            </a:xfrm>
            <a:prstGeom prst="rect">
              <a:avLst/>
            </a:prstGeom>
            <a:solidFill>
              <a:srgbClr val="EB6B56"/>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18" name="Slide Number Placeholder 21">
              <a:extLst>
                <a:ext uri="{FF2B5EF4-FFF2-40B4-BE49-F238E27FC236}">
                  <a16:creationId xmlns:a16="http://schemas.microsoft.com/office/drawing/2014/main" id="{93A42D60-09D3-464C-9CEE-9793BC406A2C}"/>
                </a:ext>
              </a:extLst>
            </p:cNvPr>
            <p:cNvSpPr txBox="1">
              <a:spLocks/>
            </p:cNvSpPr>
            <p:nvPr/>
          </p:nvSpPr>
          <p:spPr>
            <a:xfrm>
              <a:off x="6457950" y="6356351"/>
              <a:ext cx="2057400" cy="365125"/>
            </a:xfrm>
            <a:prstGeom prst="rect">
              <a:avLst/>
            </a:prstGeom>
          </p:spPr>
          <p:txBody>
            <a:bodyPr vert="horz" lIns="91440" tIns="45720" rIns="91440" bIns="4572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fld id="{B9940D52-AD77-4C6A-9DCC-3EEF87AE9DF8}" type="slidenum">
                <a:rPr lang="en-US">
                  <a:solidFill>
                    <a:prstClr val="black">
                      <a:tint val="75000"/>
                    </a:prstClr>
                  </a:solidFill>
                  <a:latin typeface="Calibri Light"/>
                </a:rPr>
                <a:pPr defTabSz="685800"/>
                <a:t>78</a:t>
              </a:fld>
              <a:endParaRPr lang="en-US">
                <a:solidFill>
                  <a:prstClr val="black">
                    <a:tint val="75000"/>
                  </a:prstClr>
                </a:solidFill>
                <a:latin typeface="Calibri Light"/>
              </a:endParaRPr>
            </a:p>
          </p:txBody>
        </p:sp>
        <p:sp>
          <p:nvSpPr>
            <p:cNvPr id="119" name="Rectangle: Rounded Corners 118">
              <a:extLst>
                <a:ext uri="{FF2B5EF4-FFF2-40B4-BE49-F238E27FC236}">
                  <a16:creationId xmlns:a16="http://schemas.microsoft.com/office/drawing/2014/main" id="{A31B6B7F-B442-478B-AC83-5877659C504E}"/>
                </a:ext>
              </a:extLst>
            </p:cNvPr>
            <p:cNvSpPr/>
            <p:nvPr/>
          </p:nvSpPr>
          <p:spPr>
            <a:xfrm>
              <a:off x="628650" y="1951264"/>
              <a:ext cx="1951265" cy="3145971"/>
            </a:xfrm>
            <a:prstGeom prst="roundRect">
              <a:avLst>
                <a:gd name="adj" fmla="val 4952"/>
              </a:avLst>
            </a:prstGeom>
            <a:solidFill>
              <a:schemeClr val="accent2">
                <a:lumMod val="40000"/>
                <a:lumOff val="60000"/>
              </a:scheme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20" name="Rectangle: Rounded Corners 119">
              <a:extLst>
                <a:ext uri="{FF2B5EF4-FFF2-40B4-BE49-F238E27FC236}">
                  <a16:creationId xmlns:a16="http://schemas.microsoft.com/office/drawing/2014/main" id="{755AABF3-A803-4326-BD1C-065642A1AA83}"/>
                </a:ext>
              </a:extLst>
            </p:cNvPr>
            <p:cNvSpPr/>
            <p:nvPr/>
          </p:nvSpPr>
          <p:spPr>
            <a:xfrm>
              <a:off x="3596368" y="1951264"/>
              <a:ext cx="1951265" cy="3145971"/>
            </a:xfrm>
            <a:prstGeom prst="roundRect">
              <a:avLst>
                <a:gd name="adj" fmla="val 4952"/>
              </a:avLst>
            </a:prstGeom>
            <a:solidFill>
              <a:schemeClr val="accent3">
                <a:lumMod val="40000"/>
                <a:lumOff val="60000"/>
              </a:scheme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21" name="Rectangle: Rounded Corners 120">
              <a:extLst>
                <a:ext uri="{FF2B5EF4-FFF2-40B4-BE49-F238E27FC236}">
                  <a16:creationId xmlns:a16="http://schemas.microsoft.com/office/drawing/2014/main" id="{51F48CB3-9A91-4CD8-BAB4-372731EF5FB1}"/>
                </a:ext>
              </a:extLst>
            </p:cNvPr>
            <p:cNvSpPr/>
            <p:nvPr/>
          </p:nvSpPr>
          <p:spPr>
            <a:xfrm>
              <a:off x="6564085" y="1951264"/>
              <a:ext cx="1951265" cy="3145971"/>
            </a:xfrm>
            <a:prstGeom prst="roundRect">
              <a:avLst>
                <a:gd name="adj" fmla="val 4952"/>
              </a:avLst>
            </a:prstGeom>
            <a:solidFill>
              <a:schemeClr val="accent1">
                <a:lumMod val="40000"/>
                <a:lumOff val="60000"/>
              </a:scheme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grpSp>
          <p:nvGrpSpPr>
            <p:cNvPr id="122" name="Group 121">
              <a:extLst>
                <a:ext uri="{FF2B5EF4-FFF2-40B4-BE49-F238E27FC236}">
                  <a16:creationId xmlns:a16="http://schemas.microsoft.com/office/drawing/2014/main" id="{1D5F4261-1706-4F0E-8267-369D57C1FB88}"/>
                </a:ext>
              </a:extLst>
            </p:cNvPr>
            <p:cNvGrpSpPr/>
            <p:nvPr/>
          </p:nvGrpSpPr>
          <p:grpSpPr>
            <a:xfrm>
              <a:off x="2875574" y="3333082"/>
              <a:ext cx="425135" cy="382335"/>
              <a:chOff x="4854484" y="5910272"/>
              <a:chExt cx="283864" cy="255286"/>
            </a:xfrm>
            <a:solidFill>
              <a:srgbClr val="44546A"/>
            </a:solidFill>
          </p:grpSpPr>
          <p:sp>
            <p:nvSpPr>
              <p:cNvPr id="123" name="Freeform 251">
                <a:extLst>
                  <a:ext uri="{FF2B5EF4-FFF2-40B4-BE49-F238E27FC236}">
                    <a16:creationId xmlns:a16="http://schemas.microsoft.com/office/drawing/2014/main" id="{0C8CED70-9586-4725-ABB9-23097BB29906}"/>
                  </a:ext>
                </a:extLst>
              </p:cNvPr>
              <p:cNvSpPr>
                <a:spLocks/>
              </p:cNvSpPr>
              <p:nvPr/>
            </p:nvSpPr>
            <p:spPr bwMode="auto">
              <a:xfrm>
                <a:off x="4854484" y="5910272"/>
                <a:ext cx="165746" cy="255286"/>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sp>
            <p:nvSpPr>
              <p:cNvPr id="124" name="Freeform 252">
                <a:extLst>
                  <a:ext uri="{FF2B5EF4-FFF2-40B4-BE49-F238E27FC236}">
                    <a16:creationId xmlns:a16="http://schemas.microsoft.com/office/drawing/2014/main" id="{0F01F1D5-7465-4E64-9CCB-5C815BD8B5EC}"/>
                  </a:ext>
                </a:extLst>
              </p:cNvPr>
              <p:cNvSpPr>
                <a:spLocks/>
              </p:cNvSpPr>
              <p:nvPr/>
            </p:nvSpPr>
            <p:spPr bwMode="auto">
              <a:xfrm>
                <a:off x="4972602" y="5910272"/>
                <a:ext cx="165746" cy="255286"/>
              </a:xfrm>
              <a:custGeom>
                <a:avLst/>
                <a:gdLst>
                  <a:gd name="T0" fmla="*/ 344 w 348"/>
                  <a:gd name="T1" fmla="*/ 260 h 535"/>
                  <a:gd name="T2" fmla="*/ 86 w 348"/>
                  <a:gd name="T3" fmla="*/ 2 h 535"/>
                  <a:gd name="T4" fmla="*/ 83 w 348"/>
                  <a:gd name="T5" fmla="*/ 0 h 535"/>
                  <a:gd name="T6" fmla="*/ 80 w 348"/>
                  <a:gd name="T7" fmla="*/ 0 h 535"/>
                  <a:gd name="T8" fmla="*/ 75 w 348"/>
                  <a:gd name="T9" fmla="*/ 0 h 535"/>
                  <a:gd name="T10" fmla="*/ 72 w 348"/>
                  <a:gd name="T11" fmla="*/ 2 h 535"/>
                  <a:gd name="T12" fmla="*/ 3 w 348"/>
                  <a:gd name="T13" fmla="*/ 72 h 535"/>
                  <a:gd name="T14" fmla="*/ 1 w 348"/>
                  <a:gd name="T15" fmla="*/ 75 h 535"/>
                  <a:gd name="T16" fmla="*/ 0 w 348"/>
                  <a:gd name="T17" fmla="*/ 79 h 535"/>
                  <a:gd name="T18" fmla="*/ 1 w 348"/>
                  <a:gd name="T19" fmla="*/ 83 h 535"/>
                  <a:gd name="T20" fmla="*/ 3 w 348"/>
                  <a:gd name="T21" fmla="*/ 86 h 535"/>
                  <a:gd name="T22" fmla="*/ 185 w 348"/>
                  <a:gd name="T23" fmla="*/ 268 h 535"/>
                  <a:gd name="T24" fmla="*/ 3 w 348"/>
                  <a:gd name="T25" fmla="*/ 449 h 535"/>
                  <a:gd name="T26" fmla="*/ 1 w 348"/>
                  <a:gd name="T27" fmla="*/ 452 h 535"/>
                  <a:gd name="T28" fmla="*/ 0 w 348"/>
                  <a:gd name="T29" fmla="*/ 457 h 535"/>
                  <a:gd name="T30" fmla="*/ 1 w 348"/>
                  <a:gd name="T31" fmla="*/ 460 h 535"/>
                  <a:gd name="T32" fmla="*/ 3 w 348"/>
                  <a:gd name="T33" fmla="*/ 463 h 535"/>
                  <a:gd name="T34" fmla="*/ 72 w 348"/>
                  <a:gd name="T35" fmla="*/ 532 h 535"/>
                  <a:gd name="T36" fmla="*/ 75 w 348"/>
                  <a:gd name="T37" fmla="*/ 534 h 535"/>
                  <a:gd name="T38" fmla="*/ 80 w 348"/>
                  <a:gd name="T39" fmla="*/ 535 h 535"/>
                  <a:gd name="T40" fmla="*/ 83 w 348"/>
                  <a:gd name="T41" fmla="*/ 534 h 535"/>
                  <a:gd name="T42" fmla="*/ 86 w 348"/>
                  <a:gd name="T43" fmla="*/ 533 h 535"/>
                  <a:gd name="T44" fmla="*/ 344 w 348"/>
                  <a:gd name="T45" fmla="*/ 274 h 535"/>
                  <a:gd name="T46" fmla="*/ 347 w 348"/>
                  <a:gd name="T47" fmla="*/ 271 h 535"/>
                  <a:gd name="T48" fmla="*/ 348 w 348"/>
                  <a:gd name="T49" fmla="*/ 268 h 535"/>
                  <a:gd name="T50" fmla="*/ 347 w 348"/>
                  <a:gd name="T51" fmla="*/ 263 h 535"/>
                  <a:gd name="T52" fmla="*/ 344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4" y="260"/>
                    </a:moveTo>
                    <a:lnTo>
                      <a:pt x="86" y="2"/>
                    </a:lnTo>
                    <a:lnTo>
                      <a:pt x="83" y="0"/>
                    </a:lnTo>
                    <a:lnTo>
                      <a:pt x="80" y="0"/>
                    </a:lnTo>
                    <a:lnTo>
                      <a:pt x="75" y="0"/>
                    </a:lnTo>
                    <a:lnTo>
                      <a:pt x="72" y="2"/>
                    </a:lnTo>
                    <a:lnTo>
                      <a:pt x="3" y="72"/>
                    </a:lnTo>
                    <a:lnTo>
                      <a:pt x="1" y="75"/>
                    </a:lnTo>
                    <a:lnTo>
                      <a:pt x="0" y="79"/>
                    </a:lnTo>
                    <a:lnTo>
                      <a:pt x="1" y="83"/>
                    </a:lnTo>
                    <a:lnTo>
                      <a:pt x="3" y="86"/>
                    </a:lnTo>
                    <a:lnTo>
                      <a:pt x="185" y="268"/>
                    </a:lnTo>
                    <a:lnTo>
                      <a:pt x="3" y="449"/>
                    </a:lnTo>
                    <a:lnTo>
                      <a:pt x="1" y="452"/>
                    </a:lnTo>
                    <a:lnTo>
                      <a:pt x="0" y="457"/>
                    </a:lnTo>
                    <a:lnTo>
                      <a:pt x="1" y="460"/>
                    </a:lnTo>
                    <a:lnTo>
                      <a:pt x="3" y="463"/>
                    </a:lnTo>
                    <a:lnTo>
                      <a:pt x="72" y="532"/>
                    </a:lnTo>
                    <a:lnTo>
                      <a:pt x="75" y="534"/>
                    </a:lnTo>
                    <a:lnTo>
                      <a:pt x="80" y="535"/>
                    </a:lnTo>
                    <a:lnTo>
                      <a:pt x="83" y="534"/>
                    </a:lnTo>
                    <a:lnTo>
                      <a:pt x="86" y="533"/>
                    </a:lnTo>
                    <a:lnTo>
                      <a:pt x="344" y="274"/>
                    </a:lnTo>
                    <a:lnTo>
                      <a:pt x="347" y="271"/>
                    </a:lnTo>
                    <a:lnTo>
                      <a:pt x="348" y="268"/>
                    </a:lnTo>
                    <a:lnTo>
                      <a:pt x="347" y="263"/>
                    </a:lnTo>
                    <a:lnTo>
                      <a:pt x="344"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grpSp>
        <p:grpSp>
          <p:nvGrpSpPr>
            <p:cNvPr id="125" name="Group 124">
              <a:extLst>
                <a:ext uri="{FF2B5EF4-FFF2-40B4-BE49-F238E27FC236}">
                  <a16:creationId xmlns:a16="http://schemas.microsoft.com/office/drawing/2014/main" id="{819BCB2C-2594-4246-AF1C-54887570D1B2}"/>
                </a:ext>
              </a:extLst>
            </p:cNvPr>
            <p:cNvGrpSpPr/>
            <p:nvPr/>
          </p:nvGrpSpPr>
          <p:grpSpPr>
            <a:xfrm>
              <a:off x="5843292" y="3333082"/>
              <a:ext cx="425135" cy="382335"/>
              <a:chOff x="4854484" y="5910272"/>
              <a:chExt cx="283864" cy="255286"/>
            </a:xfrm>
            <a:solidFill>
              <a:srgbClr val="44546A"/>
            </a:solidFill>
          </p:grpSpPr>
          <p:sp>
            <p:nvSpPr>
              <p:cNvPr id="126" name="Freeform 251">
                <a:extLst>
                  <a:ext uri="{FF2B5EF4-FFF2-40B4-BE49-F238E27FC236}">
                    <a16:creationId xmlns:a16="http://schemas.microsoft.com/office/drawing/2014/main" id="{B4AFA590-489D-461F-87B5-31AA21C9CA6E}"/>
                  </a:ext>
                </a:extLst>
              </p:cNvPr>
              <p:cNvSpPr>
                <a:spLocks/>
              </p:cNvSpPr>
              <p:nvPr/>
            </p:nvSpPr>
            <p:spPr bwMode="auto">
              <a:xfrm>
                <a:off x="4854484" y="5910272"/>
                <a:ext cx="165746" cy="255286"/>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sp>
            <p:nvSpPr>
              <p:cNvPr id="127" name="Freeform 252">
                <a:extLst>
                  <a:ext uri="{FF2B5EF4-FFF2-40B4-BE49-F238E27FC236}">
                    <a16:creationId xmlns:a16="http://schemas.microsoft.com/office/drawing/2014/main" id="{686E9970-8B1D-4D78-8BC4-D6A0633DF381}"/>
                  </a:ext>
                </a:extLst>
              </p:cNvPr>
              <p:cNvSpPr>
                <a:spLocks/>
              </p:cNvSpPr>
              <p:nvPr/>
            </p:nvSpPr>
            <p:spPr bwMode="auto">
              <a:xfrm>
                <a:off x="4972602" y="5910272"/>
                <a:ext cx="165746" cy="255286"/>
              </a:xfrm>
              <a:custGeom>
                <a:avLst/>
                <a:gdLst>
                  <a:gd name="T0" fmla="*/ 344 w 348"/>
                  <a:gd name="T1" fmla="*/ 260 h 535"/>
                  <a:gd name="T2" fmla="*/ 86 w 348"/>
                  <a:gd name="T3" fmla="*/ 2 h 535"/>
                  <a:gd name="T4" fmla="*/ 83 w 348"/>
                  <a:gd name="T5" fmla="*/ 0 h 535"/>
                  <a:gd name="T6" fmla="*/ 80 w 348"/>
                  <a:gd name="T7" fmla="*/ 0 h 535"/>
                  <a:gd name="T8" fmla="*/ 75 w 348"/>
                  <a:gd name="T9" fmla="*/ 0 h 535"/>
                  <a:gd name="T10" fmla="*/ 72 w 348"/>
                  <a:gd name="T11" fmla="*/ 2 h 535"/>
                  <a:gd name="T12" fmla="*/ 3 w 348"/>
                  <a:gd name="T13" fmla="*/ 72 h 535"/>
                  <a:gd name="T14" fmla="*/ 1 w 348"/>
                  <a:gd name="T15" fmla="*/ 75 h 535"/>
                  <a:gd name="T16" fmla="*/ 0 w 348"/>
                  <a:gd name="T17" fmla="*/ 79 h 535"/>
                  <a:gd name="T18" fmla="*/ 1 w 348"/>
                  <a:gd name="T19" fmla="*/ 83 h 535"/>
                  <a:gd name="T20" fmla="*/ 3 w 348"/>
                  <a:gd name="T21" fmla="*/ 86 h 535"/>
                  <a:gd name="T22" fmla="*/ 185 w 348"/>
                  <a:gd name="T23" fmla="*/ 268 h 535"/>
                  <a:gd name="T24" fmla="*/ 3 w 348"/>
                  <a:gd name="T25" fmla="*/ 449 h 535"/>
                  <a:gd name="T26" fmla="*/ 1 w 348"/>
                  <a:gd name="T27" fmla="*/ 452 h 535"/>
                  <a:gd name="T28" fmla="*/ 0 w 348"/>
                  <a:gd name="T29" fmla="*/ 457 h 535"/>
                  <a:gd name="T30" fmla="*/ 1 w 348"/>
                  <a:gd name="T31" fmla="*/ 460 h 535"/>
                  <a:gd name="T32" fmla="*/ 3 w 348"/>
                  <a:gd name="T33" fmla="*/ 463 h 535"/>
                  <a:gd name="T34" fmla="*/ 72 w 348"/>
                  <a:gd name="T35" fmla="*/ 532 h 535"/>
                  <a:gd name="T36" fmla="*/ 75 w 348"/>
                  <a:gd name="T37" fmla="*/ 534 h 535"/>
                  <a:gd name="T38" fmla="*/ 80 w 348"/>
                  <a:gd name="T39" fmla="*/ 535 h 535"/>
                  <a:gd name="T40" fmla="*/ 83 w 348"/>
                  <a:gd name="T41" fmla="*/ 534 h 535"/>
                  <a:gd name="T42" fmla="*/ 86 w 348"/>
                  <a:gd name="T43" fmla="*/ 533 h 535"/>
                  <a:gd name="T44" fmla="*/ 344 w 348"/>
                  <a:gd name="T45" fmla="*/ 274 h 535"/>
                  <a:gd name="T46" fmla="*/ 347 w 348"/>
                  <a:gd name="T47" fmla="*/ 271 h 535"/>
                  <a:gd name="T48" fmla="*/ 348 w 348"/>
                  <a:gd name="T49" fmla="*/ 268 h 535"/>
                  <a:gd name="T50" fmla="*/ 347 w 348"/>
                  <a:gd name="T51" fmla="*/ 263 h 535"/>
                  <a:gd name="T52" fmla="*/ 344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4" y="260"/>
                    </a:moveTo>
                    <a:lnTo>
                      <a:pt x="86" y="2"/>
                    </a:lnTo>
                    <a:lnTo>
                      <a:pt x="83" y="0"/>
                    </a:lnTo>
                    <a:lnTo>
                      <a:pt x="80" y="0"/>
                    </a:lnTo>
                    <a:lnTo>
                      <a:pt x="75" y="0"/>
                    </a:lnTo>
                    <a:lnTo>
                      <a:pt x="72" y="2"/>
                    </a:lnTo>
                    <a:lnTo>
                      <a:pt x="3" y="72"/>
                    </a:lnTo>
                    <a:lnTo>
                      <a:pt x="1" y="75"/>
                    </a:lnTo>
                    <a:lnTo>
                      <a:pt x="0" y="79"/>
                    </a:lnTo>
                    <a:lnTo>
                      <a:pt x="1" y="83"/>
                    </a:lnTo>
                    <a:lnTo>
                      <a:pt x="3" y="86"/>
                    </a:lnTo>
                    <a:lnTo>
                      <a:pt x="185" y="268"/>
                    </a:lnTo>
                    <a:lnTo>
                      <a:pt x="3" y="449"/>
                    </a:lnTo>
                    <a:lnTo>
                      <a:pt x="1" y="452"/>
                    </a:lnTo>
                    <a:lnTo>
                      <a:pt x="0" y="457"/>
                    </a:lnTo>
                    <a:lnTo>
                      <a:pt x="1" y="460"/>
                    </a:lnTo>
                    <a:lnTo>
                      <a:pt x="3" y="463"/>
                    </a:lnTo>
                    <a:lnTo>
                      <a:pt x="72" y="532"/>
                    </a:lnTo>
                    <a:lnTo>
                      <a:pt x="75" y="534"/>
                    </a:lnTo>
                    <a:lnTo>
                      <a:pt x="80" y="535"/>
                    </a:lnTo>
                    <a:lnTo>
                      <a:pt x="83" y="534"/>
                    </a:lnTo>
                    <a:lnTo>
                      <a:pt x="86" y="533"/>
                    </a:lnTo>
                    <a:lnTo>
                      <a:pt x="344" y="274"/>
                    </a:lnTo>
                    <a:lnTo>
                      <a:pt x="347" y="271"/>
                    </a:lnTo>
                    <a:lnTo>
                      <a:pt x="348" y="268"/>
                    </a:lnTo>
                    <a:lnTo>
                      <a:pt x="347" y="263"/>
                    </a:lnTo>
                    <a:lnTo>
                      <a:pt x="344"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grpSp>
        <p:sp>
          <p:nvSpPr>
            <p:cNvPr id="137" name="TextBox 136">
              <a:extLst>
                <a:ext uri="{FF2B5EF4-FFF2-40B4-BE49-F238E27FC236}">
                  <a16:creationId xmlns:a16="http://schemas.microsoft.com/office/drawing/2014/main" id="{BD72369C-B18A-43FF-AFFB-FB7B6C1A5ABC}"/>
                </a:ext>
              </a:extLst>
            </p:cNvPr>
            <p:cNvSpPr txBox="1"/>
            <p:nvPr/>
          </p:nvSpPr>
          <p:spPr>
            <a:xfrm>
              <a:off x="861604" y="3255298"/>
              <a:ext cx="1500596" cy="679438"/>
            </a:xfrm>
            <a:prstGeom prst="rect">
              <a:avLst/>
            </a:prstGeom>
            <a:noFill/>
          </p:spPr>
          <p:txBody>
            <a:bodyPr wrap="square" lIns="0" tIns="0" rIns="0" bIns="0" rtlCol="0" anchor="ctr">
              <a:spAutoFit/>
            </a:bodyPr>
            <a:lstStyle/>
            <a:p>
              <a:pPr algn="ctr" defTabSz="685800"/>
              <a:r>
                <a:rPr lang="en-US" sz="1050" dirty="0">
                  <a:latin typeface="Calibri Light"/>
                </a:rPr>
                <a:t>Percentage of patients eligible for viral load testing who have received a viral load test</a:t>
              </a:r>
            </a:p>
          </p:txBody>
        </p:sp>
        <p:sp>
          <p:nvSpPr>
            <p:cNvPr id="138" name="TextBox 137">
              <a:extLst>
                <a:ext uri="{FF2B5EF4-FFF2-40B4-BE49-F238E27FC236}">
                  <a16:creationId xmlns:a16="http://schemas.microsoft.com/office/drawing/2014/main" id="{29087046-24DC-401B-97BD-14EADBFCDAAD}"/>
                </a:ext>
              </a:extLst>
            </p:cNvPr>
            <p:cNvSpPr txBox="1"/>
            <p:nvPr/>
          </p:nvSpPr>
          <p:spPr>
            <a:xfrm>
              <a:off x="853984" y="2277218"/>
              <a:ext cx="1500596" cy="291188"/>
            </a:xfrm>
            <a:prstGeom prst="rect">
              <a:avLst/>
            </a:prstGeom>
            <a:noFill/>
          </p:spPr>
          <p:txBody>
            <a:bodyPr wrap="square" lIns="0" tIns="0" rIns="0" bIns="0" rtlCol="0" anchor="ctr">
              <a:spAutoFit/>
            </a:bodyPr>
            <a:lstStyle/>
            <a:p>
              <a:pPr algn="ctr" defTabSz="685800"/>
              <a:r>
                <a:rPr lang="en-US" b="1" dirty="0">
                  <a:latin typeface="Calibri Light"/>
                </a:rPr>
                <a:t>DESCRIPTION</a:t>
              </a:r>
            </a:p>
          </p:txBody>
        </p:sp>
        <p:sp>
          <p:nvSpPr>
            <p:cNvPr id="144" name="TextBox 143">
              <a:extLst>
                <a:ext uri="{FF2B5EF4-FFF2-40B4-BE49-F238E27FC236}">
                  <a16:creationId xmlns:a16="http://schemas.microsoft.com/office/drawing/2014/main" id="{C75D3502-2084-4D34-B7F6-EC24A147A540}"/>
                </a:ext>
              </a:extLst>
            </p:cNvPr>
            <p:cNvSpPr txBox="1"/>
            <p:nvPr/>
          </p:nvSpPr>
          <p:spPr>
            <a:xfrm>
              <a:off x="3681349" y="3932694"/>
              <a:ext cx="1794069" cy="339719"/>
            </a:xfrm>
            <a:prstGeom prst="rect">
              <a:avLst/>
            </a:prstGeom>
            <a:noFill/>
            <a:ln>
              <a:solidFill>
                <a:schemeClr val="bg1"/>
              </a:solidFill>
            </a:ln>
          </p:spPr>
          <p:txBody>
            <a:bodyPr wrap="square" lIns="0" tIns="0" rIns="0" bIns="0" rtlCol="0" anchor="ctr">
              <a:spAutoFit/>
            </a:bodyPr>
            <a:lstStyle/>
            <a:p>
              <a:pPr algn="ctr" defTabSz="685800"/>
              <a:r>
                <a:rPr lang="en-US" sz="1050" b="1" dirty="0">
                  <a:latin typeface="Calibri Light"/>
                </a:rPr>
                <a:t>Numerator:</a:t>
              </a:r>
            </a:p>
            <a:p>
              <a:pPr algn="ctr" defTabSz="685800"/>
              <a:r>
                <a:rPr lang="en-US" sz="1050" dirty="0"/>
                <a:t>Current TX_PVLS_DEN</a:t>
              </a:r>
              <a:endParaRPr lang="en-US" sz="1050" dirty="0">
                <a:latin typeface="Calibri Light"/>
              </a:endParaRPr>
            </a:p>
          </p:txBody>
        </p:sp>
        <p:sp>
          <p:nvSpPr>
            <p:cNvPr id="145" name="TextBox 144">
              <a:extLst>
                <a:ext uri="{FF2B5EF4-FFF2-40B4-BE49-F238E27FC236}">
                  <a16:creationId xmlns:a16="http://schemas.microsoft.com/office/drawing/2014/main" id="{4229BB9B-1E9C-4794-BD7E-31916C0D2655}"/>
                </a:ext>
              </a:extLst>
            </p:cNvPr>
            <p:cNvSpPr txBox="1"/>
            <p:nvPr/>
          </p:nvSpPr>
          <p:spPr>
            <a:xfrm>
              <a:off x="3698128" y="2112074"/>
              <a:ext cx="1729828" cy="582376"/>
            </a:xfrm>
            <a:prstGeom prst="rect">
              <a:avLst/>
            </a:prstGeom>
            <a:noFill/>
          </p:spPr>
          <p:txBody>
            <a:bodyPr wrap="square" lIns="0" tIns="0" rIns="0" bIns="0" rtlCol="0" anchor="ctr">
              <a:spAutoFit/>
            </a:bodyPr>
            <a:lstStyle/>
            <a:p>
              <a:pPr algn="ctr" defTabSz="685800"/>
              <a:r>
                <a:rPr lang="en-US" b="1" dirty="0">
                  <a:latin typeface="Calibri Light"/>
                </a:rPr>
                <a:t>DENOMINATOR/</a:t>
              </a:r>
            </a:p>
            <a:p>
              <a:pPr algn="ctr" defTabSz="685800"/>
              <a:r>
                <a:rPr lang="en-US" b="1" dirty="0">
                  <a:latin typeface="Calibri Light"/>
                </a:rPr>
                <a:t>NUMERATOR</a:t>
              </a:r>
            </a:p>
          </p:txBody>
        </p:sp>
        <p:sp>
          <p:nvSpPr>
            <p:cNvPr id="150" name="TextBox 149">
              <a:extLst>
                <a:ext uri="{FF2B5EF4-FFF2-40B4-BE49-F238E27FC236}">
                  <a16:creationId xmlns:a16="http://schemas.microsoft.com/office/drawing/2014/main" id="{A432B2BB-4C21-4AF1-9B8E-A30EC8F9E140}"/>
                </a:ext>
              </a:extLst>
            </p:cNvPr>
            <p:cNvSpPr txBox="1"/>
            <p:nvPr/>
          </p:nvSpPr>
          <p:spPr>
            <a:xfrm>
              <a:off x="6751679" y="2565350"/>
              <a:ext cx="1519831" cy="1698596"/>
            </a:xfrm>
            <a:prstGeom prst="rect">
              <a:avLst/>
            </a:prstGeom>
            <a:noFill/>
            <a:ln>
              <a:solidFill>
                <a:schemeClr val="bg1"/>
              </a:solidFill>
            </a:ln>
          </p:spPr>
          <p:txBody>
            <a:bodyPr wrap="square" lIns="0" tIns="0" rIns="0" bIns="0" rtlCol="0" anchor="ctr">
              <a:spAutoFit/>
            </a:bodyPr>
            <a:lstStyle/>
            <a:p>
              <a:pPr defTabSz="685800"/>
              <a:r>
                <a:rPr lang="en-US" sz="1050" b="1" dirty="0">
                  <a:latin typeface="Calibri Light"/>
                </a:rPr>
                <a:t>TX_PVLS (FY22 Q2):</a:t>
              </a:r>
            </a:p>
            <a:p>
              <a:pPr marL="171450" indent="-171450" defTabSz="685800">
                <a:buFont typeface="Arial" panose="020B0604020202020204" pitchFamily="34" charset="0"/>
                <a:buChar char="•"/>
              </a:pPr>
              <a:r>
                <a:rPr lang="en-US" sz="1050" dirty="0">
                  <a:latin typeface="Calibri Light"/>
                </a:rPr>
                <a:t>FCT – 71,314</a:t>
              </a:r>
            </a:p>
            <a:p>
              <a:pPr marL="171450" indent="-171450" defTabSz="685800">
                <a:buFont typeface="Arial" panose="020B0604020202020204" pitchFamily="34" charset="0"/>
                <a:buChar char="•"/>
              </a:pPr>
              <a:r>
                <a:rPr lang="en-US" sz="1050" dirty="0">
                  <a:latin typeface="Calibri Light"/>
                </a:rPr>
                <a:t>Katsina – 10,759</a:t>
              </a:r>
            </a:p>
            <a:p>
              <a:pPr marL="171450" indent="-171450" defTabSz="685800">
                <a:buFont typeface="Arial" panose="020B0604020202020204" pitchFamily="34" charset="0"/>
                <a:buChar char="•"/>
              </a:pPr>
              <a:r>
                <a:rPr lang="en-US" sz="1050" dirty="0">
                  <a:latin typeface="Calibri Light"/>
                </a:rPr>
                <a:t>Nasarawa – 61,062</a:t>
              </a:r>
            </a:p>
            <a:p>
              <a:pPr marL="171450" indent="-171450" defTabSz="685800">
                <a:buFont typeface="Arial" panose="020B0604020202020204" pitchFamily="34" charset="0"/>
                <a:buChar char="•"/>
              </a:pPr>
              <a:r>
                <a:rPr lang="en-US" sz="1050" dirty="0">
                  <a:latin typeface="Calibri Light"/>
                </a:rPr>
                <a:t>Rivers – 163,666</a:t>
              </a:r>
            </a:p>
            <a:p>
              <a:pPr defTabSz="685800"/>
              <a:r>
                <a:rPr lang="en-US" sz="1050" b="1" dirty="0">
                  <a:latin typeface="Calibri Light"/>
                </a:rPr>
                <a:t>TX_CURR (FY21 Q4):</a:t>
              </a:r>
            </a:p>
            <a:p>
              <a:pPr marL="171450" indent="-171450" defTabSz="685800">
                <a:buFont typeface="Arial" panose="020B0604020202020204" pitchFamily="34" charset="0"/>
                <a:buChar char="•"/>
              </a:pPr>
              <a:r>
                <a:rPr lang="en-US" sz="1050" dirty="0">
                  <a:latin typeface="Calibri Light"/>
                </a:rPr>
                <a:t>FCT – 8</a:t>
              </a:r>
              <a:r>
                <a:rPr lang="en-NG" sz="1050" dirty="0"/>
                <a:t>1,898</a:t>
              </a:r>
              <a:endParaRPr lang="en-US" sz="1050" dirty="0">
                <a:latin typeface="Calibri Light"/>
              </a:endParaRPr>
            </a:p>
            <a:p>
              <a:pPr marL="171450" indent="-171450" defTabSz="685800">
                <a:buFont typeface="Arial" panose="020B0604020202020204" pitchFamily="34" charset="0"/>
                <a:buChar char="•"/>
              </a:pPr>
              <a:r>
                <a:rPr lang="en-US" sz="1050" dirty="0">
                  <a:latin typeface="Calibri Light"/>
                </a:rPr>
                <a:t>Katsina-12,762</a:t>
              </a:r>
            </a:p>
            <a:p>
              <a:pPr marL="171450" indent="-171450" defTabSz="685800">
                <a:buFont typeface="Arial" panose="020B0604020202020204" pitchFamily="34" charset="0"/>
                <a:buChar char="•"/>
              </a:pPr>
              <a:r>
                <a:rPr lang="en-US" sz="1050" dirty="0">
                  <a:latin typeface="Calibri Light"/>
                </a:rPr>
                <a:t>Nasarawa –72,075</a:t>
              </a:r>
            </a:p>
            <a:p>
              <a:pPr marL="171450" indent="-171450" defTabSz="685800">
                <a:buFont typeface="Arial" panose="020B0604020202020204" pitchFamily="34" charset="0"/>
                <a:buChar char="•"/>
              </a:pPr>
              <a:r>
                <a:rPr lang="en-US" sz="1050" dirty="0">
                  <a:latin typeface="Calibri Light"/>
                </a:rPr>
                <a:t>Rivers – 173,392</a:t>
              </a:r>
            </a:p>
          </p:txBody>
        </p:sp>
        <p:sp>
          <p:nvSpPr>
            <p:cNvPr id="151" name="TextBox 150">
              <a:extLst>
                <a:ext uri="{FF2B5EF4-FFF2-40B4-BE49-F238E27FC236}">
                  <a16:creationId xmlns:a16="http://schemas.microsoft.com/office/drawing/2014/main" id="{269059BD-5BEF-4B22-9D87-AC985C86C7EA}"/>
                </a:ext>
              </a:extLst>
            </p:cNvPr>
            <p:cNvSpPr txBox="1"/>
            <p:nvPr/>
          </p:nvSpPr>
          <p:spPr>
            <a:xfrm>
              <a:off x="6789420" y="2277218"/>
              <a:ext cx="1500596" cy="291188"/>
            </a:xfrm>
            <a:prstGeom prst="rect">
              <a:avLst/>
            </a:prstGeom>
            <a:noFill/>
          </p:spPr>
          <p:txBody>
            <a:bodyPr wrap="square" lIns="0" tIns="0" rIns="0" bIns="0" rtlCol="0" anchor="ctr">
              <a:spAutoFit/>
            </a:bodyPr>
            <a:lstStyle/>
            <a:p>
              <a:pPr algn="ctr" defTabSz="685800"/>
              <a:r>
                <a:rPr lang="en-US" b="1" dirty="0">
                  <a:latin typeface="Calibri Light"/>
                </a:rPr>
                <a:t>EXAMPLE</a:t>
              </a:r>
            </a:p>
          </p:txBody>
        </p:sp>
        <p:sp>
          <p:nvSpPr>
            <p:cNvPr id="29" name="TextBox 28">
              <a:extLst>
                <a:ext uri="{FF2B5EF4-FFF2-40B4-BE49-F238E27FC236}">
                  <a16:creationId xmlns:a16="http://schemas.microsoft.com/office/drawing/2014/main" id="{194A827E-C650-44E9-9E02-0D2E5A8E13AA}"/>
                </a:ext>
              </a:extLst>
            </p:cNvPr>
            <p:cNvSpPr txBox="1"/>
            <p:nvPr/>
          </p:nvSpPr>
          <p:spPr>
            <a:xfrm>
              <a:off x="6751679" y="4241204"/>
              <a:ext cx="1519831" cy="849297"/>
            </a:xfrm>
            <a:prstGeom prst="rect">
              <a:avLst/>
            </a:prstGeom>
            <a:noFill/>
            <a:ln>
              <a:solidFill>
                <a:schemeClr val="bg1"/>
              </a:solidFill>
            </a:ln>
          </p:spPr>
          <p:txBody>
            <a:bodyPr wrap="square" lIns="0" tIns="0" rIns="0" bIns="0" rtlCol="0" anchor="ctr">
              <a:spAutoFit/>
            </a:bodyPr>
            <a:lstStyle/>
            <a:p>
              <a:pPr defTabSz="685800"/>
              <a:r>
                <a:rPr lang="en-US" sz="1050" b="1" dirty="0">
                  <a:latin typeface="Calibri Light"/>
                </a:rPr>
                <a:t>Coverage (FY22 Q2):</a:t>
              </a:r>
            </a:p>
            <a:p>
              <a:pPr marL="171450" indent="-171450" defTabSz="685800">
                <a:buFont typeface="Arial" panose="020B0604020202020204" pitchFamily="34" charset="0"/>
                <a:buChar char="•"/>
              </a:pPr>
              <a:r>
                <a:rPr lang="en-US" sz="1050" dirty="0">
                  <a:latin typeface="Calibri Light"/>
                </a:rPr>
                <a:t>FCT – 87%</a:t>
              </a:r>
            </a:p>
            <a:p>
              <a:pPr marL="171450" indent="-171450" defTabSz="685800">
                <a:buFont typeface="Arial" panose="020B0604020202020204" pitchFamily="34" charset="0"/>
                <a:buChar char="•"/>
              </a:pPr>
              <a:r>
                <a:rPr lang="en-US" sz="1050" dirty="0">
                  <a:latin typeface="Calibri Light"/>
                </a:rPr>
                <a:t>Katsina – 84%</a:t>
              </a:r>
            </a:p>
            <a:p>
              <a:pPr marL="171450" indent="-171450" defTabSz="685800">
                <a:buFont typeface="Arial" panose="020B0604020202020204" pitchFamily="34" charset="0"/>
                <a:buChar char="•"/>
              </a:pPr>
              <a:r>
                <a:rPr lang="en-US" sz="1050" dirty="0">
                  <a:latin typeface="Calibri Light"/>
                </a:rPr>
                <a:t>Nasarawa – 85%</a:t>
              </a:r>
            </a:p>
            <a:p>
              <a:pPr marL="171450" indent="-171450" defTabSz="685800">
                <a:buFont typeface="Arial" panose="020B0604020202020204" pitchFamily="34" charset="0"/>
                <a:buChar char="•"/>
              </a:pPr>
              <a:r>
                <a:rPr lang="en-US" sz="1050" dirty="0">
                  <a:latin typeface="Calibri Light"/>
                </a:rPr>
                <a:t>Rivers – 94%</a:t>
              </a:r>
            </a:p>
          </p:txBody>
        </p:sp>
      </p:grpSp>
      <p:sp>
        <p:nvSpPr>
          <p:cNvPr id="152" name="TextBox 151">
            <a:extLst>
              <a:ext uri="{FF2B5EF4-FFF2-40B4-BE49-F238E27FC236}">
                <a16:creationId xmlns:a16="http://schemas.microsoft.com/office/drawing/2014/main" id="{2EC71C8B-DBC5-4A1C-AC97-A55392EFF4D4}"/>
              </a:ext>
            </a:extLst>
          </p:cNvPr>
          <p:cNvSpPr txBox="1"/>
          <p:nvPr/>
        </p:nvSpPr>
        <p:spPr>
          <a:xfrm>
            <a:off x="5195496" y="3159941"/>
            <a:ext cx="1794069" cy="323165"/>
          </a:xfrm>
          <a:prstGeom prst="rect">
            <a:avLst/>
          </a:prstGeom>
          <a:noFill/>
          <a:ln>
            <a:solidFill>
              <a:schemeClr val="bg1"/>
            </a:solidFill>
          </a:ln>
        </p:spPr>
        <p:txBody>
          <a:bodyPr wrap="square" lIns="0" tIns="0" rIns="0" bIns="0" rtlCol="0" anchor="ctr">
            <a:spAutoFit/>
          </a:bodyPr>
          <a:lstStyle/>
          <a:p>
            <a:pPr algn="ctr" defTabSz="685800"/>
            <a:r>
              <a:rPr lang="en-US" sz="1050" b="1" dirty="0">
                <a:latin typeface="Calibri Light"/>
              </a:rPr>
              <a:t>Denominator:</a:t>
            </a:r>
          </a:p>
          <a:p>
            <a:pPr algn="ctr" defTabSz="685800"/>
            <a:r>
              <a:rPr lang="en-US" sz="1050" dirty="0">
                <a:latin typeface="Calibri Light"/>
              </a:rPr>
              <a:t>TX_CURR from 2 quarters prior)</a:t>
            </a:r>
          </a:p>
        </p:txBody>
      </p:sp>
    </p:spTree>
    <p:extLst>
      <p:ext uri="{BB962C8B-B14F-4D97-AF65-F5344CB8AC3E}">
        <p14:creationId xmlns:p14="http://schemas.microsoft.com/office/powerpoint/2010/main" val="273349360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TextBox 133">
            <a:extLst>
              <a:ext uri="{FF2B5EF4-FFF2-40B4-BE49-F238E27FC236}">
                <a16:creationId xmlns:a16="http://schemas.microsoft.com/office/drawing/2014/main" id="{86E6788C-76AA-43BC-8B7F-196C83841096}"/>
              </a:ext>
            </a:extLst>
          </p:cNvPr>
          <p:cNvSpPr txBox="1"/>
          <p:nvPr/>
        </p:nvSpPr>
        <p:spPr>
          <a:xfrm>
            <a:off x="1847850" y="463992"/>
            <a:ext cx="8496300" cy="553998"/>
          </a:xfrm>
          <a:prstGeom prst="rect">
            <a:avLst/>
          </a:prstGeom>
          <a:noFill/>
        </p:spPr>
        <p:txBody>
          <a:bodyPr wrap="square" lIns="0" tIns="0" rIns="0" bIns="0" rtlCol="0" anchor="t">
            <a:spAutoFit/>
          </a:bodyPr>
          <a:lstStyle/>
          <a:p>
            <a:pPr algn="ctr" defTabSz="685800"/>
            <a:r>
              <a:rPr lang="en-US" sz="3600" dirty="0">
                <a:latin typeface="Corbel" panose="020B0503020204020204"/>
              </a:rPr>
              <a:t>VIRAL SUPPRESSION</a:t>
            </a:r>
          </a:p>
        </p:txBody>
      </p:sp>
      <p:grpSp>
        <p:nvGrpSpPr>
          <p:cNvPr id="2" name="Group 1">
            <a:extLst>
              <a:ext uri="{FF2B5EF4-FFF2-40B4-BE49-F238E27FC236}">
                <a16:creationId xmlns:a16="http://schemas.microsoft.com/office/drawing/2014/main" id="{11383E8B-A9F5-4C59-A67A-3554539F5B7A}"/>
              </a:ext>
            </a:extLst>
          </p:cNvPr>
          <p:cNvGrpSpPr/>
          <p:nvPr/>
        </p:nvGrpSpPr>
        <p:grpSpPr>
          <a:xfrm>
            <a:off x="1524001" y="1143000"/>
            <a:ext cx="9144001" cy="5578476"/>
            <a:chOff x="0" y="857250"/>
            <a:chExt cx="9144001" cy="5864226"/>
          </a:xfrm>
        </p:grpSpPr>
        <p:sp>
          <p:nvSpPr>
            <p:cNvPr id="98" name="Rectangle 97">
              <a:extLst>
                <a:ext uri="{FF2B5EF4-FFF2-40B4-BE49-F238E27FC236}">
                  <a16:creationId xmlns:a16="http://schemas.microsoft.com/office/drawing/2014/main" id="{84CAA34D-CD75-45C6-B39E-7C242EB87261}"/>
                </a:ext>
              </a:extLst>
            </p:cNvPr>
            <p:cNvSpPr/>
            <p:nvPr/>
          </p:nvSpPr>
          <p:spPr>
            <a:xfrm>
              <a:off x="1" y="2871107"/>
              <a:ext cx="9144000" cy="1306286"/>
            </a:xfrm>
            <a:prstGeom prst="rect">
              <a:avLst/>
            </a:prstGeom>
            <a:solidFill>
              <a:srgbClr val="E7E6E6"/>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99" name="Rectangle: Rounded Corners 98">
              <a:extLst>
                <a:ext uri="{FF2B5EF4-FFF2-40B4-BE49-F238E27FC236}">
                  <a16:creationId xmlns:a16="http://schemas.microsoft.com/office/drawing/2014/main" id="{B79F2794-CAB0-4CBC-A170-CA7853D4B5E7}"/>
                </a:ext>
              </a:extLst>
            </p:cNvPr>
            <p:cNvSpPr/>
            <p:nvPr/>
          </p:nvSpPr>
          <p:spPr>
            <a:xfrm>
              <a:off x="3652410" y="2015558"/>
              <a:ext cx="1951265" cy="3145971"/>
            </a:xfrm>
            <a:prstGeom prst="roundRect">
              <a:avLst>
                <a:gd name="adj" fmla="val 4952"/>
              </a:avLst>
            </a:prstGeom>
            <a:solidFill>
              <a:sysClr val="window" lastClr="FFFFFF">
                <a:lumMod val="65000"/>
              </a:sys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00" name="Rectangle: Rounded Corners 99">
              <a:extLst>
                <a:ext uri="{FF2B5EF4-FFF2-40B4-BE49-F238E27FC236}">
                  <a16:creationId xmlns:a16="http://schemas.microsoft.com/office/drawing/2014/main" id="{624C18DD-A9DF-4469-A7B6-6C9AAA2D41F4}"/>
                </a:ext>
              </a:extLst>
            </p:cNvPr>
            <p:cNvSpPr/>
            <p:nvPr/>
          </p:nvSpPr>
          <p:spPr>
            <a:xfrm>
              <a:off x="6625597" y="2015558"/>
              <a:ext cx="1951265" cy="3145971"/>
            </a:xfrm>
            <a:prstGeom prst="roundRect">
              <a:avLst>
                <a:gd name="adj" fmla="val 4952"/>
              </a:avLst>
            </a:prstGeom>
            <a:solidFill>
              <a:sysClr val="window" lastClr="FFFFFF">
                <a:lumMod val="65000"/>
              </a:sys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01" name="Rectangle: Rounded Corners 100">
              <a:extLst>
                <a:ext uri="{FF2B5EF4-FFF2-40B4-BE49-F238E27FC236}">
                  <a16:creationId xmlns:a16="http://schemas.microsoft.com/office/drawing/2014/main" id="{F503AF90-BD38-48FC-8812-4FA3F25DB0E6}"/>
                </a:ext>
              </a:extLst>
            </p:cNvPr>
            <p:cNvSpPr/>
            <p:nvPr/>
          </p:nvSpPr>
          <p:spPr>
            <a:xfrm>
              <a:off x="685800" y="2015558"/>
              <a:ext cx="1951265" cy="3145971"/>
            </a:xfrm>
            <a:prstGeom prst="roundRect">
              <a:avLst>
                <a:gd name="adj" fmla="val 4952"/>
              </a:avLst>
            </a:prstGeom>
            <a:solidFill>
              <a:sysClr val="window" lastClr="FFFFFF">
                <a:lumMod val="65000"/>
              </a:sys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02" name="Frame 101">
              <a:extLst>
                <a:ext uri="{FF2B5EF4-FFF2-40B4-BE49-F238E27FC236}">
                  <a16:creationId xmlns:a16="http://schemas.microsoft.com/office/drawing/2014/main" id="{530C96A5-18F8-41CE-8FBF-056A3D32634C}"/>
                </a:ext>
              </a:extLst>
            </p:cNvPr>
            <p:cNvSpPr/>
            <p:nvPr/>
          </p:nvSpPr>
          <p:spPr>
            <a:xfrm>
              <a:off x="0" y="857250"/>
              <a:ext cx="9144000" cy="5143500"/>
            </a:xfrm>
            <a:prstGeom prst="frame">
              <a:avLst>
                <a:gd name="adj1" fmla="val 1053"/>
              </a:avLst>
            </a:prstGeom>
            <a:solidFill>
              <a:srgbClr val="44546A">
                <a:lumMod val="40000"/>
                <a:lumOff val="60000"/>
              </a:srgbClr>
            </a:solidFill>
            <a:ln w="12700" cap="flat" cmpd="sng" algn="ctr">
              <a:noFill/>
              <a:prstDash val="solid"/>
              <a:miter lim="800000"/>
            </a:ln>
            <a:effectLst/>
          </p:spPr>
          <p:txBody>
            <a:bodyPr rtlCol="0" anchor="ctr"/>
            <a:lstStyle/>
            <a:p>
              <a:pPr algn="ctr" defTabSz="685800">
                <a:defRPr/>
              </a:pPr>
              <a:endParaRPr lang="en-US" sz="1350" kern="0">
                <a:solidFill>
                  <a:prstClr val="black"/>
                </a:solidFill>
                <a:latin typeface="Calibri Light"/>
              </a:endParaRPr>
            </a:p>
          </p:txBody>
        </p:sp>
        <p:sp>
          <p:nvSpPr>
            <p:cNvPr id="103" name="Rectangle 102">
              <a:extLst>
                <a:ext uri="{FF2B5EF4-FFF2-40B4-BE49-F238E27FC236}">
                  <a16:creationId xmlns:a16="http://schemas.microsoft.com/office/drawing/2014/main" id="{D5A75610-4C9C-4007-86BE-0C93387BD4CC}"/>
                </a:ext>
              </a:extLst>
            </p:cNvPr>
            <p:cNvSpPr/>
            <p:nvPr/>
          </p:nvSpPr>
          <p:spPr>
            <a:xfrm>
              <a:off x="0" y="857250"/>
              <a:ext cx="336430" cy="336430"/>
            </a:xfrm>
            <a:prstGeom prst="rect">
              <a:avLst/>
            </a:prstGeom>
            <a:solidFill>
              <a:srgbClr val="AF5F6D"/>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04" name="Rectangle 103">
              <a:extLst>
                <a:ext uri="{FF2B5EF4-FFF2-40B4-BE49-F238E27FC236}">
                  <a16:creationId xmlns:a16="http://schemas.microsoft.com/office/drawing/2014/main" id="{88DED4A1-8837-48AC-9F2B-DE23F8D97ECB}"/>
                </a:ext>
              </a:extLst>
            </p:cNvPr>
            <p:cNvSpPr/>
            <p:nvPr/>
          </p:nvSpPr>
          <p:spPr>
            <a:xfrm>
              <a:off x="8807571" y="5664321"/>
              <a:ext cx="336430" cy="336430"/>
            </a:xfrm>
            <a:prstGeom prst="rect">
              <a:avLst/>
            </a:prstGeom>
            <a:solidFill>
              <a:srgbClr val="EB6B56"/>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18" name="Slide Number Placeholder 21">
              <a:extLst>
                <a:ext uri="{FF2B5EF4-FFF2-40B4-BE49-F238E27FC236}">
                  <a16:creationId xmlns:a16="http://schemas.microsoft.com/office/drawing/2014/main" id="{93A42D60-09D3-464C-9CEE-9793BC406A2C}"/>
                </a:ext>
              </a:extLst>
            </p:cNvPr>
            <p:cNvSpPr txBox="1">
              <a:spLocks/>
            </p:cNvSpPr>
            <p:nvPr/>
          </p:nvSpPr>
          <p:spPr>
            <a:xfrm>
              <a:off x="6457950" y="6356351"/>
              <a:ext cx="2057400" cy="365125"/>
            </a:xfrm>
            <a:prstGeom prst="rect">
              <a:avLst/>
            </a:prstGeom>
          </p:spPr>
          <p:txBody>
            <a:bodyPr vert="horz" lIns="91440" tIns="45720" rIns="91440" bIns="4572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fld id="{B9940D52-AD77-4C6A-9DCC-3EEF87AE9DF8}" type="slidenum">
                <a:rPr lang="en-US">
                  <a:solidFill>
                    <a:prstClr val="black">
                      <a:tint val="75000"/>
                    </a:prstClr>
                  </a:solidFill>
                  <a:latin typeface="Calibri Light"/>
                </a:rPr>
                <a:pPr defTabSz="685800"/>
                <a:t>79</a:t>
              </a:fld>
              <a:endParaRPr lang="en-US">
                <a:solidFill>
                  <a:prstClr val="black">
                    <a:tint val="75000"/>
                  </a:prstClr>
                </a:solidFill>
                <a:latin typeface="Calibri Light"/>
              </a:endParaRPr>
            </a:p>
          </p:txBody>
        </p:sp>
        <p:sp>
          <p:nvSpPr>
            <p:cNvPr id="119" name="Rectangle: Rounded Corners 118">
              <a:extLst>
                <a:ext uri="{FF2B5EF4-FFF2-40B4-BE49-F238E27FC236}">
                  <a16:creationId xmlns:a16="http://schemas.microsoft.com/office/drawing/2014/main" id="{A31B6B7F-B442-478B-AC83-5877659C504E}"/>
                </a:ext>
              </a:extLst>
            </p:cNvPr>
            <p:cNvSpPr/>
            <p:nvPr/>
          </p:nvSpPr>
          <p:spPr>
            <a:xfrm>
              <a:off x="628650" y="1951264"/>
              <a:ext cx="1951265" cy="3145971"/>
            </a:xfrm>
            <a:prstGeom prst="roundRect">
              <a:avLst>
                <a:gd name="adj" fmla="val 4952"/>
              </a:avLst>
            </a:prstGeom>
            <a:solidFill>
              <a:schemeClr val="accent2">
                <a:lumMod val="40000"/>
                <a:lumOff val="60000"/>
              </a:scheme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20" name="Rectangle: Rounded Corners 119">
              <a:extLst>
                <a:ext uri="{FF2B5EF4-FFF2-40B4-BE49-F238E27FC236}">
                  <a16:creationId xmlns:a16="http://schemas.microsoft.com/office/drawing/2014/main" id="{755AABF3-A803-4326-BD1C-065642A1AA83}"/>
                </a:ext>
              </a:extLst>
            </p:cNvPr>
            <p:cNvSpPr/>
            <p:nvPr/>
          </p:nvSpPr>
          <p:spPr>
            <a:xfrm>
              <a:off x="3596368" y="1951264"/>
              <a:ext cx="1951265" cy="3145971"/>
            </a:xfrm>
            <a:prstGeom prst="roundRect">
              <a:avLst>
                <a:gd name="adj" fmla="val 4952"/>
              </a:avLst>
            </a:prstGeom>
            <a:solidFill>
              <a:schemeClr val="accent3">
                <a:lumMod val="40000"/>
                <a:lumOff val="60000"/>
              </a:scheme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21" name="Rectangle: Rounded Corners 120">
              <a:extLst>
                <a:ext uri="{FF2B5EF4-FFF2-40B4-BE49-F238E27FC236}">
                  <a16:creationId xmlns:a16="http://schemas.microsoft.com/office/drawing/2014/main" id="{51F48CB3-9A91-4CD8-BAB4-372731EF5FB1}"/>
                </a:ext>
              </a:extLst>
            </p:cNvPr>
            <p:cNvSpPr/>
            <p:nvPr/>
          </p:nvSpPr>
          <p:spPr>
            <a:xfrm>
              <a:off x="6564085" y="1951264"/>
              <a:ext cx="1951265" cy="3145971"/>
            </a:xfrm>
            <a:prstGeom prst="roundRect">
              <a:avLst>
                <a:gd name="adj" fmla="val 4952"/>
              </a:avLst>
            </a:prstGeom>
            <a:solidFill>
              <a:schemeClr val="accent1">
                <a:lumMod val="40000"/>
                <a:lumOff val="60000"/>
              </a:schemeClr>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grpSp>
          <p:nvGrpSpPr>
            <p:cNvPr id="122" name="Group 121">
              <a:extLst>
                <a:ext uri="{FF2B5EF4-FFF2-40B4-BE49-F238E27FC236}">
                  <a16:creationId xmlns:a16="http://schemas.microsoft.com/office/drawing/2014/main" id="{1D5F4261-1706-4F0E-8267-369D57C1FB88}"/>
                </a:ext>
              </a:extLst>
            </p:cNvPr>
            <p:cNvGrpSpPr/>
            <p:nvPr/>
          </p:nvGrpSpPr>
          <p:grpSpPr>
            <a:xfrm>
              <a:off x="2875574" y="3333082"/>
              <a:ext cx="425135" cy="382335"/>
              <a:chOff x="4854484" y="5910272"/>
              <a:chExt cx="283864" cy="255286"/>
            </a:xfrm>
            <a:solidFill>
              <a:srgbClr val="44546A"/>
            </a:solidFill>
          </p:grpSpPr>
          <p:sp>
            <p:nvSpPr>
              <p:cNvPr id="123" name="Freeform 251">
                <a:extLst>
                  <a:ext uri="{FF2B5EF4-FFF2-40B4-BE49-F238E27FC236}">
                    <a16:creationId xmlns:a16="http://schemas.microsoft.com/office/drawing/2014/main" id="{0C8CED70-9586-4725-ABB9-23097BB29906}"/>
                  </a:ext>
                </a:extLst>
              </p:cNvPr>
              <p:cNvSpPr>
                <a:spLocks/>
              </p:cNvSpPr>
              <p:nvPr/>
            </p:nvSpPr>
            <p:spPr bwMode="auto">
              <a:xfrm>
                <a:off x="4854484" y="5910272"/>
                <a:ext cx="165746" cy="255286"/>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sp>
            <p:nvSpPr>
              <p:cNvPr id="124" name="Freeform 252">
                <a:extLst>
                  <a:ext uri="{FF2B5EF4-FFF2-40B4-BE49-F238E27FC236}">
                    <a16:creationId xmlns:a16="http://schemas.microsoft.com/office/drawing/2014/main" id="{0F01F1D5-7465-4E64-9CCB-5C815BD8B5EC}"/>
                  </a:ext>
                </a:extLst>
              </p:cNvPr>
              <p:cNvSpPr>
                <a:spLocks/>
              </p:cNvSpPr>
              <p:nvPr/>
            </p:nvSpPr>
            <p:spPr bwMode="auto">
              <a:xfrm>
                <a:off x="4972602" y="5910272"/>
                <a:ext cx="165746" cy="255286"/>
              </a:xfrm>
              <a:custGeom>
                <a:avLst/>
                <a:gdLst>
                  <a:gd name="T0" fmla="*/ 344 w 348"/>
                  <a:gd name="T1" fmla="*/ 260 h 535"/>
                  <a:gd name="T2" fmla="*/ 86 w 348"/>
                  <a:gd name="T3" fmla="*/ 2 h 535"/>
                  <a:gd name="T4" fmla="*/ 83 w 348"/>
                  <a:gd name="T5" fmla="*/ 0 h 535"/>
                  <a:gd name="T6" fmla="*/ 80 w 348"/>
                  <a:gd name="T7" fmla="*/ 0 h 535"/>
                  <a:gd name="T8" fmla="*/ 75 w 348"/>
                  <a:gd name="T9" fmla="*/ 0 h 535"/>
                  <a:gd name="T10" fmla="*/ 72 w 348"/>
                  <a:gd name="T11" fmla="*/ 2 h 535"/>
                  <a:gd name="T12" fmla="*/ 3 w 348"/>
                  <a:gd name="T13" fmla="*/ 72 h 535"/>
                  <a:gd name="T14" fmla="*/ 1 w 348"/>
                  <a:gd name="T15" fmla="*/ 75 h 535"/>
                  <a:gd name="T16" fmla="*/ 0 w 348"/>
                  <a:gd name="T17" fmla="*/ 79 h 535"/>
                  <a:gd name="T18" fmla="*/ 1 w 348"/>
                  <a:gd name="T19" fmla="*/ 83 h 535"/>
                  <a:gd name="T20" fmla="*/ 3 w 348"/>
                  <a:gd name="T21" fmla="*/ 86 h 535"/>
                  <a:gd name="T22" fmla="*/ 185 w 348"/>
                  <a:gd name="T23" fmla="*/ 268 h 535"/>
                  <a:gd name="T24" fmla="*/ 3 w 348"/>
                  <a:gd name="T25" fmla="*/ 449 h 535"/>
                  <a:gd name="T26" fmla="*/ 1 w 348"/>
                  <a:gd name="T27" fmla="*/ 452 h 535"/>
                  <a:gd name="T28" fmla="*/ 0 w 348"/>
                  <a:gd name="T29" fmla="*/ 457 h 535"/>
                  <a:gd name="T30" fmla="*/ 1 w 348"/>
                  <a:gd name="T31" fmla="*/ 460 h 535"/>
                  <a:gd name="T32" fmla="*/ 3 w 348"/>
                  <a:gd name="T33" fmla="*/ 463 h 535"/>
                  <a:gd name="T34" fmla="*/ 72 w 348"/>
                  <a:gd name="T35" fmla="*/ 532 h 535"/>
                  <a:gd name="T36" fmla="*/ 75 w 348"/>
                  <a:gd name="T37" fmla="*/ 534 h 535"/>
                  <a:gd name="T38" fmla="*/ 80 w 348"/>
                  <a:gd name="T39" fmla="*/ 535 h 535"/>
                  <a:gd name="T40" fmla="*/ 83 w 348"/>
                  <a:gd name="T41" fmla="*/ 534 h 535"/>
                  <a:gd name="T42" fmla="*/ 86 w 348"/>
                  <a:gd name="T43" fmla="*/ 533 h 535"/>
                  <a:gd name="T44" fmla="*/ 344 w 348"/>
                  <a:gd name="T45" fmla="*/ 274 h 535"/>
                  <a:gd name="T46" fmla="*/ 347 w 348"/>
                  <a:gd name="T47" fmla="*/ 271 h 535"/>
                  <a:gd name="T48" fmla="*/ 348 w 348"/>
                  <a:gd name="T49" fmla="*/ 268 h 535"/>
                  <a:gd name="T50" fmla="*/ 347 w 348"/>
                  <a:gd name="T51" fmla="*/ 263 h 535"/>
                  <a:gd name="T52" fmla="*/ 344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4" y="260"/>
                    </a:moveTo>
                    <a:lnTo>
                      <a:pt x="86" y="2"/>
                    </a:lnTo>
                    <a:lnTo>
                      <a:pt x="83" y="0"/>
                    </a:lnTo>
                    <a:lnTo>
                      <a:pt x="80" y="0"/>
                    </a:lnTo>
                    <a:lnTo>
                      <a:pt x="75" y="0"/>
                    </a:lnTo>
                    <a:lnTo>
                      <a:pt x="72" y="2"/>
                    </a:lnTo>
                    <a:lnTo>
                      <a:pt x="3" y="72"/>
                    </a:lnTo>
                    <a:lnTo>
                      <a:pt x="1" y="75"/>
                    </a:lnTo>
                    <a:lnTo>
                      <a:pt x="0" y="79"/>
                    </a:lnTo>
                    <a:lnTo>
                      <a:pt x="1" y="83"/>
                    </a:lnTo>
                    <a:lnTo>
                      <a:pt x="3" y="86"/>
                    </a:lnTo>
                    <a:lnTo>
                      <a:pt x="185" y="268"/>
                    </a:lnTo>
                    <a:lnTo>
                      <a:pt x="3" y="449"/>
                    </a:lnTo>
                    <a:lnTo>
                      <a:pt x="1" y="452"/>
                    </a:lnTo>
                    <a:lnTo>
                      <a:pt x="0" y="457"/>
                    </a:lnTo>
                    <a:lnTo>
                      <a:pt x="1" y="460"/>
                    </a:lnTo>
                    <a:lnTo>
                      <a:pt x="3" y="463"/>
                    </a:lnTo>
                    <a:lnTo>
                      <a:pt x="72" y="532"/>
                    </a:lnTo>
                    <a:lnTo>
                      <a:pt x="75" y="534"/>
                    </a:lnTo>
                    <a:lnTo>
                      <a:pt x="80" y="535"/>
                    </a:lnTo>
                    <a:lnTo>
                      <a:pt x="83" y="534"/>
                    </a:lnTo>
                    <a:lnTo>
                      <a:pt x="86" y="533"/>
                    </a:lnTo>
                    <a:lnTo>
                      <a:pt x="344" y="274"/>
                    </a:lnTo>
                    <a:lnTo>
                      <a:pt x="347" y="271"/>
                    </a:lnTo>
                    <a:lnTo>
                      <a:pt x="348" y="268"/>
                    </a:lnTo>
                    <a:lnTo>
                      <a:pt x="347" y="263"/>
                    </a:lnTo>
                    <a:lnTo>
                      <a:pt x="344"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grpSp>
        <p:grpSp>
          <p:nvGrpSpPr>
            <p:cNvPr id="125" name="Group 124">
              <a:extLst>
                <a:ext uri="{FF2B5EF4-FFF2-40B4-BE49-F238E27FC236}">
                  <a16:creationId xmlns:a16="http://schemas.microsoft.com/office/drawing/2014/main" id="{819BCB2C-2594-4246-AF1C-54887570D1B2}"/>
                </a:ext>
              </a:extLst>
            </p:cNvPr>
            <p:cNvGrpSpPr/>
            <p:nvPr/>
          </p:nvGrpSpPr>
          <p:grpSpPr>
            <a:xfrm>
              <a:off x="5843292" y="3333082"/>
              <a:ext cx="425135" cy="382335"/>
              <a:chOff x="4854484" y="5910272"/>
              <a:chExt cx="283864" cy="255286"/>
            </a:xfrm>
            <a:solidFill>
              <a:srgbClr val="44546A"/>
            </a:solidFill>
          </p:grpSpPr>
          <p:sp>
            <p:nvSpPr>
              <p:cNvPr id="126" name="Freeform 251">
                <a:extLst>
                  <a:ext uri="{FF2B5EF4-FFF2-40B4-BE49-F238E27FC236}">
                    <a16:creationId xmlns:a16="http://schemas.microsoft.com/office/drawing/2014/main" id="{B4AFA590-489D-461F-87B5-31AA21C9CA6E}"/>
                  </a:ext>
                </a:extLst>
              </p:cNvPr>
              <p:cNvSpPr>
                <a:spLocks/>
              </p:cNvSpPr>
              <p:nvPr/>
            </p:nvSpPr>
            <p:spPr bwMode="auto">
              <a:xfrm>
                <a:off x="4854484" y="5910272"/>
                <a:ext cx="165746" cy="255286"/>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sp>
            <p:nvSpPr>
              <p:cNvPr id="127" name="Freeform 252">
                <a:extLst>
                  <a:ext uri="{FF2B5EF4-FFF2-40B4-BE49-F238E27FC236}">
                    <a16:creationId xmlns:a16="http://schemas.microsoft.com/office/drawing/2014/main" id="{686E9970-8B1D-4D78-8BC4-D6A0633DF381}"/>
                  </a:ext>
                </a:extLst>
              </p:cNvPr>
              <p:cNvSpPr>
                <a:spLocks/>
              </p:cNvSpPr>
              <p:nvPr/>
            </p:nvSpPr>
            <p:spPr bwMode="auto">
              <a:xfrm>
                <a:off x="4972602" y="5910272"/>
                <a:ext cx="165746" cy="255286"/>
              </a:xfrm>
              <a:custGeom>
                <a:avLst/>
                <a:gdLst>
                  <a:gd name="T0" fmla="*/ 344 w 348"/>
                  <a:gd name="T1" fmla="*/ 260 h 535"/>
                  <a:gd name="T2" fmla="*/ 86 w 348"/>
                  <a:gd name="T3" fmla="*/ 2 h 535"/>
                  <a:gd name="T4" fmla="*/ 83 w 348"/>
                  <a:gd name="T5" fmla="*/ 0 h 535"/>
                  <a:gd name="T6" fmla="*/ 80 w 348"/>
                  <a:gd name="T7" fmla="*/ 0 h 535"/>
                  <a:gd name="T8" fmla="*/ 75 w 348"/>
                  <a:gd name="T9" fmla="*/ 0 h 535"/>
                  <a:gd name="T10" fmla="*/ 72 w 348"/>
                  <a:gd name="T11" fmla="*/ 2 h 535"/>
                  <a:gd name="T12" fmla="*/ 3 w 348"/>
                  <a:gd name="T13" fmla="*/ 72 h 535"/>
                  <a:gd name="T14" fmla="*/ 1 w 348"/>
                  <a:gd name="T15" fmla="*/ 75 h 535"/>
                  <a:gd name="T16" fmla="*/ 0 w 348"/>
                  <a:gd name="T17" fmla="*/ 79 h 535"/>
                  <a:gd name="T18" fmla="*/ 1 w 348"/>
                  <a:gd name="T19" fmla="*/ 83 h 535"/>
                  <a:gd name="T20" fmla="*/ 3 w 348"/>
                  <a:gd name="T21" fmla="*/ 86 h 535"/>
                  <a:gd name="T22" fmla="*/ 185 w 348"/>
                  <a:gd name="T23" fmla="*/ 268 h 535"/>
                  <a:gd name="T24" fmla="*/ 3 w 348"/>
                  <a:gd name="T25" fmla="*/ 449 h 535"/>
                  <a:gd name="T26" fmla="*/ 1 w 348"/>
                  <a:gd name="T27" fmla="*/ 452 h 535"/>
                  <a:gd name="T28" fmla="*/ 0 w 348"/>
                  <a:gd name="T29" fmla="*/ 457 h 535"/>
                  <a:gd name="T30" fmla="*/ 1 w 348"/>
                  <a:gd name="T31" fmla="*/ 460 h 535"/>
                  <a:gd name="T32" fmla="*/ 3 w 348"/>
                  <a:gd name="T33" fmla="*/ 463 h 535"/>
                  <a:gd name="T34" fmla="*/ 72 w 348"/>
                  <a:gd name="T35" fmla="*/ 532 h 535"/>
                  <a:gd name="T36" fmla="*/ 75 w 348"/>
                  <a:gd name="T37" fmla="*/ 534 h 535"/>
                  <a:gd name="T38" fmla="*/ 80 w 348"/>
                  <a:gd name="T39" fmla="*/ 535 h 535"/>
                  <a:gd name="T40" fmla="*/ 83 w 348"/>
                  <a:gd name="T41" fmla="*/ 534 h 535"/>
                  <a:gd name="T42" fmla="*/ 86 w 348"/>
                  <a:gd name="T43" fmla="*/ 533 h 535"/>
                  <a:gd name="T44" fmla="*/ 344 w 348"/>
                  <a:gd name="T45" fmla="*/ 274 h 535"/>
                  <a:gd name="T46" fmla="*/ 347 w 348"/>
                  <a:gd name="T47" fmla="*/ 271 h 535"/>
                  <a:gd name="T48" fmla="*/ 348 w 348"/>
                  <a:gd name="T49" fmla="*/ 268 h 535"/>
                  <a:gd name="T50" fmla="*/ 347 w 348"/>
                  <a:gd name="T51" fmla="*/ 263 h 535"/>
                  <a:gd name="T52" fmla="*/ 344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4" y="260"/>
                    </a:moveTo>
                    <a:lnTo>
                      <a:pt x="86" y="2"/>
                    </a:lnTo>
                    <a:lnTo>
                      <a:pt x="83" y="0"/>
                    </a:lnTo>
                    <a:lnTo>
                      <a:pt x="80" y="0"/>
                    </a:lnTo>
                    <a:lnTo>
                      <a:pt x="75" y="0"/>
                    </a:lnTo>
                    <a:lnTo>
                      <a:pt x="72" y="2"/>
                    </a:lnTo>
                    <a:lnTo>
                      <a:pt x="3" y="72"/>
                    </a:lnTo>
                    <a:lnTo>
                      <a:pt x="1" y="75"/>
                    </a:lnTo>
                    <a:lnTo>
                      <a:pt x="0" y="79"/>
                    </a:lnTo>
                    <a:lnTo>
                      <a:pt x="1" y="83"/>
                    </a:lnTo>
                    <a:lnTo>
                      <a:pt x="3" y="86"/>
                    </a:lnTo>
                    <a:lnTo>
                      <a:pt x="185" y="268"/>
                    </a:lnTo>
                    <a:lnTo>
                      <a:pt x="3" y="449"/>
                    </a:lnTo>
                    <a:lnTo>
                      <a:pt x="1" y="452"/>
                    </a:lnTo>
                    <a:lnTo>
                      <a:pt x="0" y="457"/>
                    </a:lnTo>
                    <a:lnTo>
                      <a:pt x="1" y="460"/>
                    </a:lnTo>
                    <a:lnTo>
                      <a:pt x="3" y="463"/>
                    </a:lnTo>
                    <a:lnTo>
                      <a:pt x="72" y="532"/>
                    </a:lnTo>
                    <a:lnTo>
                      <a:pt x="75" y="534"/>
                    </a:lnTo>
                    <a:lnTo>
                      <a:pt x="80" y="535"/>
                    </a:lnTo>
                    <a:lnTo>
                      <a:pt x="83" y="534"/>
                    </a:lnTo>
                    <a:lnTo>
                      <a:pt x="86" y="533"/>
                    </a:lnTo>
                    <a:lnTo>
                      <a:pt x="344" y="274"/>
                    </a:lnTo>
                    <a:lnTo>
                      <a:pt x="347" y="271"/>
                    </a:lnTo>
                    <a:lnTo>
                      <a:pt x="348" y="268"/>
                    </a:lnTo>
                    <a:lnTo>
                      <a:pt x="347" y="263"/>
                    </a:lnTo>
                    <a:lnTo>
                      <a:pt x="344"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grpSp>
        <p:sp>
          <p:nvSpPr>
            <p:cNvPr id="137" name="TextBox 136">
              <a:extLst>
                <a:ext uri="{FF2B5EF4-FFF2-40B4-BE49-F238E27FC236}">
                  <a16:creationId xmlns:a16="http://schemas.microsoft.com/office/drawing/2014/main" id="{BD72369C-B18A-43FF-AFFB-FB7B6C1A5ABC}"/>
                </a:ext>
              </a:extLst>
            </p:cNvPr>
            <p:cNvSpPr txBox="1"/>
            <p:nvPr/>
          </p:nvSpPr>
          <p:spPr>
            <a:xfrm>
              <a:off x="861604" y="3085439"/>
              <a:ext cx="1500596" cy="1019157"/>
            </a:xfrm>
            <a:prstGeom prst="rect">
              <a:avLst/>
            </a:prstGeom>
            <a:noFill/>
          </p:spPr>
          <p:txBody>
            <a:bodyPr wrap="square" lIns="0" tIns="0" rIns="0" bIns="0" rtlCol="0" anchor="ctr">
              <a:spAutoFit/>
            </a:bodyPr>
            <a:lstStyle/>
            <a:p>
              <a:pPr algn="ctr" defTabSz="685800"/>
              <a:r>
                <a:rPr lang="en-US" sz="1050" dirty="0">
                  <a:latin typeface="Calibri Light"/>
                </a:rPr>
                <a:t>Percentage of ART patients with a documented suppressed viral load (VL) result (&lt;1000 copies/ml) within the past 12 months</a:t>
              </a:r>
            </a:p>
            <a:p>
              <a:pPr algn="ctr" defTabSz="685800"/>
              <a:endParaRPr lang="en-US" sz="1050" dirty="0">
                <a:latin typeface="Calibri Light"/>
              </a:endParaRPr>
            </a:p>
          </p:txBody>
        </p:sp>
        <p:sp>
          <p:nvSpPr>
            <p:cNvPr id="138" name="TextBox 137">
              <a:extLst>
                <a:ext uri="{FF2B5EF4-FFF2-40B4-BE49-F238E27FC236}">
                  <a16:creationId xmlns:a16="http://schemas.microsoft.com/office/drawing/2014/main" id="{29087046-24DC-401B-97BD-14EADBFCDAAD}"/>
                </a:ext>
              </a:extLst>
            </p:cNvPr>
            <p:cNvSpPr txBox="1"/>
            <p:nvPr/>
          </p:nvSpPr>
          <p:spPr>
            <a:xfrm>
              <a:off x="853984" y="2208556"/>
              <a:ext cx="1500596" cy="291188"/>
            </a:xfrm>
            <a:prstGeom prst="rect">
              <a:avLst/>
            </a:prstGeom>
            <a:noFill/>
          </p:spPr>
          <p:txBody>
            <a:bodyPr wrap="square" lIns="0" tIns="0" rIns="0" bIns="0" rtlCol="0" anchor="ctr">
              <a:spAutoFit/>
            </a:bodyPr>
            <a:lstStyle/>
            <a:p>
              <a:pPr algn="ctr" defTabSz="685800"/>
              <a:r>
                <a:rPr lang="en-US" b="1" dirty="0">
                  <a:latin typeface="Calibri Light"/>
                </a:rPr>
                <a:t>DESCRIPTION</a:t>
              </a:r>
            </a:p>
          </p:txBody>
        </p:sp>
        <p:sp>
          <p:nvSpPr>
            <p:cNvPr id="144" name="TextBox 143">
              <a:extLst>
                <a:ext uri="{FF2B5EF4-FFF2-40B4-BE49-F238E27FC236}">
                  <a16:creationId xmlns:a16="http://schemas.microsoft.com/office/drawing/2014/main" id="{C75D3502-2084-4D34-B7F6-EC24A147A540}"/>
                </a:ext>
              </a:extLst>
            </p:cNvPr>
            <p:cNvSpPr txBox="1"/>
            <p:nvPr/>
          </p:nvSpPr>
          <p:spPr>
            <a:xfrm>
              <a:off x="3681349" y="3932694"/>
              <a:ext cx="1794069" cy="339719"/>
            </a:xfrm>
            <a:prstGeom prst="rect">
              <a:avLst/>
            </a:prstGeom>
            <a:noFill/>
            <a:ln>
              <a:solidFill>
                <a:schemeClr val="bg1"/>
              </a:solidFill>
            </a:ln>
          </p:spPr>
          <p:txBody>
            <a:bodyPr wrap="square" lIns="0" tIns="0" rIns="0" bIns="0" rtlCol="0" anchor="ctr">
              <a:spAutoFit/>
            </a:bodyPr>
            <a:lstStyle/>
            <a:p>
              <a:pPr algn="ctr" defTabSz="685800"/>
              <a:r>
                <a:rPr lang="en-US" sz="1050" b="1" dirty="0">
                  <a:latin typeface="Calibri Light"/>
                </a:rPr>
                <a:t>Numerator:</a:t>
              </a:r>
            </a:p>
            <a:p>
              <a:pPr algn="ctr" defTabSz="685800"/>
              <a:r>
                <a:rPr lang="en-US" sz="1050" dirty="0"/>
                <a:t>TX_PVLS_NUM</a:t>
              </a:r>
              <a:endParaRPr lang="en-US" sz="1050" dirty="0">
                <a:latin typeface="Calibri Light"/>
              </a:endParaRPr>
            </a:p>
          </p:txBody>
        </p:sp>
        <p:sp>
          <p:nvSpPr>
            <p:cNvPr id="145" name="TextBox 144">
              <a:extLst>
                <a:ext uri="{FF2B5EF4-FFF2-40B4-BE49-F238E27FC236}">
                  <a16:creationId xmlns:a16="http://schemas.microsoft.com/office/drawing/2014/main" id="{4229BB9B-1E9C-4794-BD7E-31916C0D2655}"/>
                </a:ext>
              </a:extLst>
            </p:cNvPr>
            <p:cNvSpPr txBox="1"/>
            <p:nvPr/>
          </p:nvSpPr>
          <p:spPr>
            <a:xfrm>
              <a:off x="3698128" y="2112074"/>
              <a:ext cx="1729828" cy="582376"/>
            </a:xfrm>
            <a:prstGeom prst="rect">
              <a:avLst/>
            </a:prstGeom>
            <a:noFill/>
          </p:spPr>
          <p:txBody>
            <a:bodyPr wrap="square" lIns="0" tIns="0" rIns="0" bIns="0" rtlCol="0" anchor="ctr">
              <a:spAutoFit/>
            </a:bodyPr>
            <a:lstStyle/>
            <a:p>
              <a:pPr algn="ctr" defTabSz="685800"/>
              <a:r>
                <a:rPr lang="en-US" b="1" dirty="0">
                  <a:latin typeface="Calibri Light"/>
                </a:rPr>
                <a:t>DENOMINATOR/</a:t>
              </a:r>
            </a:p>
            <a:p>
              <a:pPr algn="ctr" defTabSz="685800"/>
              <a:r>
                <a:rPr lang="en-US" b="1" dirty="0">
                  <a:latin typeface="Calibri Light"/>
                </a:rPr>
                <a:t>NUMERATOR</a:t>
              </a:r>
            </a:p>
          </p:txBody>
        </p:sp>
        <p:sp>
          <p:nvSpPr>
            <p:cNvPr id="150" name="TextBox 149">
              <a:extLst>
                <a:ext uri="{FF2B5EF4-FFF2-40B4-BE49-F238E27FC236}">
                  <a16:creationId xmlns:a16="http://schemas.microsoft.com/office/drawing/2014/main" id="{A432B2BB-4C21-4AF1-9B8E-A30EC8F9E140}"/>
                </a:ext>
              </a:extLst>
            </p:cNvPr>
            <p:cNvSpPr txBox="1"/>
            <p:nvPr/>
          </p:nvSpPr>
          <p:spPr>
            <a:xfrm>
              <a:off x="6751679" y="2447642"/>
              <a:ext cx="1519831" cy="1698596"/>
            </a:xfrm>
            <a:prstGeom prst="rect">
              <a:avLst/>
            </a:prstGeom>
            <a:noFill/>
            <a:ln>
              <a:solidFill>
                <a:schemeClr val="bg1"/>
              </a:solidFill>
            </a:ln>
          </p:spPr>
          <p:txBody>
            <a:bodyPr wrap="square" lIns="0" tIns="0" rIns="0" bIns="0" rtlCol="0" anchor="ctr">
              <a:spAutoFit/>
            </a:bodyPr>
            <a:lstStyle/>
            <a:p>
              <a:pPr defTabSz="685800"/>
              <a:r>
                <a:rPr lang="en-US" sz="1050" b="1" dirty="0">
                  <a:latin typeface="Calibri Light"/>
                </a:rPr>
                <a:t>TX_PVLS_DEN (FY22 Q2):</a:t>
              </a:r>
            </a:p>
            <a:p>
              <a:pPr marL="171450" indent="-171450" defTabSz="685800">
                <a:buFont typeface="Arial" panose="020B0604020202020204" pitchFamily="34" charset="0"/>
                <a:buChar char="•"/>
              </a:pPr>
              <a:r>
                <a:rPr lang="en-US" sz="1050" dirty="0">
                  <a:latin typeface="Calibri Light"/>
                </a:rPr>
                <a:t>FCT – 71,314</a:t>
              </a:r>
            </a:p>
            <a:p>
              <a:pPr marL="171450" indent="-171450" defTabSz="685800">
                <a:buFont typeface="Arial" panose="020B0604020202020204" pitchFamily="34" charset="0"/>
                <a:buChar char="•"/>
              </a:pPr>
              <a:r>
                <a:rPr lang="en-US" sz="1050" dirty="0">
                  <a:latin typeface="Calibri Light"/>
                </a:rPr>
                <a:t>Katsina – 10,759</a:t>
              </a:r>
            </a:p>
            <a:p>
              <a:pPr marL="171450" indent="-171450" defTabSz="685800">
                <a:buFont typeface="Arial" panose="020B0604020202020204" pitchFamily="34" charset="0"/>
                <a:buChar char="•"/>
              </a:pPr>
              <a:r>
                <a:rPr lang="en-US" sz="1050" dirty="0">
                  <a:latin typeface="Calibri Light"/>
                </a:rPr>
                <a:t>Nasarawa – 61,062</a:t>
              </a:r>
            </a:p>
            <a:p>
              <a:pPr marL="171450" indent="-171450" defTabSz="685800">
                <a:buFont typeface="Arial" panose="020B0604020202020204" pitchFamily="34" charset="0"/>
                <a:buChar char="•"/>
              </a:pPr>
              <a:r>
                <a:rPr lang="en-US" sz="1050" dirty="0">
                  <a:latin typeface="Calibri Light"/>
                </a:rPr>
                <a:t>Rivers – 163,666</a:t>
              </a:r>
            </a:p>
            <a:p>
              <a:pPr defTabSz="685800"/>
              <a:r>
                <a:rPr lang="en-US" sz="1050" b="1" dirty="0">
                  <a:latin typeface="Calibri Light"/>
                </a:rPr>
                <a:t>TX_PVLS_NUM (FY22 Q2):</a:t>
              </a:r>
            </a:p>
            <a:p>
              <a:pPr marL="171450" indent="-171450" defTabSz="685800">
                <a:buFont typeface="Arial" panose="020B0604020202020204" pitchFamily="34" charset="0"/>
                <a:buChar char="•"/>
              </a:pPr>
              <a:r>
                <a:rPr lang="en-US" sz="1050" dirty="0">
                  <a:latin typeface="Calibri Light"/>
                </a:rPr>
                <a:t>FCT – 68,528</a:t>
              </a:r>
            </a:p>
            <a:p>
              <a:pPr marL="171450" indent="-171450" defTabSz="685800">
                <a:buFont typeface="Arial" panose="020B0604020202020204" pitchFamily="34" charset="0"/>
                <a:buChar char="•"/>
              </a:pPr>
              <a:r>
                <a:rPr lang="en-US" sz="1050" dirty="0">
                  <a:latin typeface="Calibri Light"/>
                </a:rPr>
                <a:t>Katsina – 10,193</a:t>
              </a:r>
            </a:p>
            <a:p>
              <a:pPr marL="171450" indent="-171450" defTabSz="685800">
                <a:buFont typeface="Arial" panose="020B0604020202020204" pitchFamily="34" charset="0"/>
                <a:buChar char="•"/>
              </a:pPr>
              <a:r>
                <a:rPr lang="en-US" sz="1050" dirty="0">
                  <a:latin typeface="Calibri Light"/>
                </a:rPr>
                <a:t>Nasarawa – 57,787</a:t>
              </a:r>
            </a:p>
            <a:p>
              <a:pPr marL="171450" indent="-171450" defTabSz="685800">
                <a:buFont typeface="Arial" panose="020B0604020202020204" pitchFamily="34" charset="0"/>
                <a:buChar char="•"/>
              </a:pPr>
              <a:r>
                <a:rPr lang="en-US" sz="1050" dirty="0">
                  <a:latin typeface="Calibri Light"/>
                </a:rPr>
                <a:t>Rivers – 159,198</a:t>
              </a:r>
            </a:p>
          </p:txBody>
        </p:sp>
        <p:sp>
          <p:nvSpPr>
            <p:cNvPr id="151" name="TextBox 150">
              <a:extLst>
                <a:ext uri="{FF2B5EF4-FFF2-40B4-BE49-F238E27FC236}">
                  <a16:creationId xmlns:a16="http://schemas.microsoft.com/office/drawing/2014/main" id="{269059BD-5BEF-4B22-9D87-AC985C86C7EA}"/>
                </a:ext>
              </a:extLst>
            </p:cNvPr>
            <p:cNvSpPr txBox="1"/>
            <p:nvPr/>
          </p:nvSpPr>
          <p:spPr>
            <a:xfrm>
              <a:off x="6789420" y="2159511"/>
              <a:ext cx="1500596" cy="291188"/>
            </a:xfrm>
            <a:prstGeom prst="rect">
              <a:avLst/>
            </a:prstGeom>
            <a:noFill/>
          </p:spPr>
          <p:txBody>
            <a:bodyPr wrap="square" lIns="0" tIns="0" rIns="0" bIns="0" rtlCol="0" anchor="ctr">
              <a:spAutoFit/>
            </a:bodyPr>
            <a:lstStyle/>
            <a:p>
              <a:pPr algn="ctr" defTabSz="685800"/>
              <a:r>
                <a:rPr lang="en-US" b="1" dirty="0">
                  <a:latin typeface="Calibri Light"/>
                </a:rPr>
                <a:t>EXAMPLE</a:t>
              </a:r>
            </a:p>
          </p:txBody>
        </p:sp>
        <p:sp>
          <p:nvSpPr>
            <p:cNvPr id="29" name="TextBox 28">
              <a:extLst>
                <a:ext uri="{FF2B5EF4-FFF2-40B4-BE49-F238E27FC236}">
                  <a16:creationId xmlns:a16="http://schemas.microsoft.com/office/drawing/2014/main" id="{194A827E-C650-44E9-9E02-0D2E5A8E13AA}"/>
                </a:ext>
              </a:extLst>
            </p:cNvPr>
            <p:cNvSpPr txBox="1"/>
            <p:nvPr/>
          </p:nvSpPr>
          <p:spPr>
            <a:xfrm>
              <a:off x="6751679" y="4211777"/>
              <a:ext cx="1519831" cy="849297"/>
            </a:xfrm>
            <a:prstGeom prst="rect">
              <a:avLst/>
            </a:prstGeom>
            <a:noFill/>
            <a:ln>
              <a:solidFill>
                <a:schemeClr val="bg1"/>
              </a:solidFill>
            </a:ln>
          </p:spPr>
          <p:txBody>
            <a:bodyPr wrap="square" lIns="0" tIns="0" rIns="0" bIns="0" rtlCol="0" anchor="ctr">
              <a:spAutoFit/>
            </a:bodyPr>
            <a:lstStyle/>
            <a:p>
              <a:pPr defTabSz="685800"/>
              <a:r>
                <a:rPr lang="en-US" sz="1050" b="1" dirty="0">
                  <a:latin typeface="Calibri Light"/>
                </a:rPr>
                <a:t>Suppression (FY22 Q2):</a:t>
              </a:r>
            </a:p>
            <a:p>
              <a:pPr marL="171450" indent="-171450" defTabSz="685800">
                <a:buFont typeface="Arial" panose="020B0604020202020204" pitchFamily="34" charset="0"/>
                <a:buChar char="•"/>
              </a:pPr>
              <a:r>
                <a:rPr lang="en-US" sz="1050" dirty="0">
                  <a:latin typeface="Calibri Light"/>
                </a:rPr>
                <a:t>FCT – 96%</a:t>
              </a:r>
            </a:p>
            <a:p>
              <a:pPr marL="171450" indent="-171450" defTabSz="685800">
                <a:buFont typeface="Arial" panose="020B0604020202020204" pitchFamily="34" charset="0"/>
                <a:buChar char="•"/>
              </a:pPr>
              <a:r>
                <a:rPr lang="en-US" sz="1050" dirty="0">
                  <a:latin typeface="Calibri Light"/>
                </a:rPr>
                <a:t>Katsina – 95%</a:t>
              </a:r>
            </a:p>
            <a:p>
              <a:pPr marL="171450" indent="-171450" defTabSz="685800">
                <a:buFont typeface="Arial" panose="020B0604020202020204" pitchFamily="34" charset="0"/>
                <a:buChar char="•"/>
              </a:pPr>
              <a:r>
                <a:rPr lang="en-US" sz="1050" dirty="0">
                  <a:latin typeface="Calibri Light"/>
                </a:rPr>
                <a:t>Nasarawa – 95%</a:t>
              </a:r>
            </a:p>
            <a:p>
              <a:pPr marL="171450" indent="-171450" defTabSz="685800">
                <a:buFont typeface="Arial" panose="020B0604020202020204" pitchFamily="34" charset="0"/>
                <a:buChar char="•"/>
              </a:pPr>
              <a:r>
                <a:rPr lang="en-US" sz="1050" dirty="0">
                  <a:latin typeface="Calibri Light"/>
                </a:rPr>
                <a:t>Rivers – 97%</a:t>
              </a:r>
            </a:p>
          </p:txBody>
        </p:sp>
      </p:grpSp>
      <p:sp>
        <p:nvSpPr>
          <p:cNvPr id="152" name="TextBox 151">
            <a:extLst>
              <a:ext uri="{FF2B5EF4-FFF2-40B4-BE49-F238E27FC236}">
                <a16:creationId xmlns:a16="http://schemas.microsoft.com/office/drawing/2014/main" id="{2EC71C8B-DBC5-4A1C-AC97-A55392EFF4D4}"/>
              </a:ext>
            </a:extLst>
          </p:cNvPr>
          <p:cNvSpPr txBox="1"/>
          <p:nvPr/>
        </p:nvSpPr>
        <p:spPr>
          <a:xfrm>
            <a:off x="5195496" y="3159941"/>
            <a:ext cx="1794069" cy="323165"/>
          </a:xfrm>
          <a:prstGeom prst="rect">
            <a:avLst/>
          </a:prstGeom>
          <a:noFill/>
          <a:ln>
            <a:solidFill>
              <a:schemeClr val="bg1"/>
            </a:solidFill>
          </a:ln>
        </p:spPr>
        <p:txBody>
          <a:bodyPr wrap="square" lIns="0" tIns="0" rIns="0" bIns="0" rtlCol="0" anchor="ctr">
            <a:spAutoFit/>
          </a:bodyPr>
          <a:lstStyle/>
          <a:p>
            <a:pPr algn="ctr" defTabSz="685800"/>
            <a:r>
              <a:rPr lang="en-US" sz="1050" b="1" dirty="0">
                <a:latin typeface="Calibri Light"/>
              </a:rPr>
              <a:t>Denominator:</a:t>
            </a:r>
          </a:p>
          <a:p>
            <a:pPr algn="ctr" defTabSz="685800"/>
            <a:r>
              <a:rPr lang="en-US" sz="1050" dirty="0">
                <a:latin typeface="Calibri Light"/>
              </a:rPr>
              <a:t>TX_PVLS_DEN</a:t>
            </a:r>
          </a:p>
        </p:txBody>
      </p:sp>
    </p:spTree>
    <p:extLst>
      <p:ext uri="{BB962C8B-B14F-4D97-AF65-F5344CB8AC3E}">
        <p14:creationId xmlns:p14="http://schemas.microsoft.com/office/powerpoint/2010/main" val="13711010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a:extLst>
              <a:ext uri="{FF2B5EF4-FFF2-40B4-BE49-F238E27FC236}">
                <a16:creationId xmlns:a16="http://schemas.microsoft.com/office/drawing/2014/main" id="{EE58EAB8-631A-27B7-4A68-48D50911A477}"/>
              </a:ext>
            </a:extLst>
          </p:cNvPr>
          <p:cNvSpPr>
            <a:spLocks noGrp="1"/>
          </p:cNvSpPr>
          <p:nvPr>
            <p:ph type="title"/>
          </p:nvPr>
        </p:nvSpPr>
        <p:spPr/>
        <p:txBody>
          <a:bodyPr/>
          <a:lstStyle/>
          <a:p>
            <a:pPr algn="ctr" eaLnBrk="1" hangingPunct="1"/>
            <a:r>
              <a:rPr lang="en-US" altLang="en-US" sz="3600" b="1" dirty="0">
                <a:solidFill>
                  <a:srgbClr val="002060"/>
                </a:solidFill>
                <a:latin typeface="Poppins" panose="00000500000000000000" pitchFamily="2" charset="0"/>
                <a:cs typeface="Poppins" panose="00000500000000000000" pitchFamily="2" charset="0"/>
              </a:rPr>
              <a:t>Outcome</a:t>
            </a:r>
            <a:r>
              <a:rPr lang="en-US" altLang="en-US" sz="3600" dirty="0">
                <a:solidFill>
                  <a:srgbClr val="002060"/>
                </a:solidFill>
                <a:latin typeface="Poppins" panose="00000500000000000000" pitchFamily="2" charset="0"/>
                <a:cs typeface="Poppins" panose="00000500000000000000" pitchFamily="2" charset="0"/>
              </a:rPr>
              <a:t> </a:t>
            </a:r>
          </a:p>
        </p:txBody>
      </p:sp>
      <p:sp>
        <p:nvSpPr>
          <p:cNvPr id="3" name="Content Placeholder 2">
            <a:extLst>
              <a:ext uri="{FF2B5EF4-FFF2-40B4-BE49-F238E27FC236}">
                <a16:creationId xmlns:a16="http://schemas.microsoft.com/office/drawing/2014/main" id="{9EFD4675-6920-62B8-6E24-A259C9EEC845}"/>
              </a:ext>
            </a:extLst>
          </p:cNvPr>
          <p:cNvSpPr>
            <a:spLocks noGrp="1"/>
          </p:cNvSpPr>
          <p:nvPr>
            <p:ph idx="1"/>
          </p:nvPr>
        </p:nvSpPr>
        <p:spPr/>
        <p:txBody>
          <a:bodyPr/>
          <a:lstStyle/>
          <a:p>
            <a:pPr marL="0" indent="0">
              <a:buNone/>
              <a:defRPr/>
            </a:pPr>
            <a:r>
              <a:rPr lang="en-US" altLang="en-US" sz="2800" b="1" i="1" dirty="0">
                <a:solidFill>
                  <a:srgbClr val="00B050"/>
                </a:solidFill>
              </a:rPr>
              <a:t>“The results of the program or changes that occur some time after activities are completed”</a:t>
            </a:r>
          </a:p>
          <a:p>
            <a:pPr>
              <a:defRPr/>
            </a:pPr>
            <a:r>
              <a:rPr lang="en-US" altLang="en-US" dirty="0"/>
              <a:t>Changes in knowledge, behavior, attitudes and skills</a:t>
            </a:r>
          </a:p>
          <a:p>
            <a:pPr>
              <a:defRPr/>
            </a:pPr>
            <a:r>
              <a:rPr lang="en-US" altLang="en-US" dirty="0"/>
              <a:t>Reduced risk behavior</a:t>
            </a:r>
          </a:p>
          <a:p>
            <a:pPr marL="0" indent="0">
              <a:buNone/>
              <a:defRPr/>
            </a:pPr>
            <a:endParaRPr lang="en-US" altLang="en-US" b="1" i="1" dirty="0">
              <a:solidFill>
                <a:srgbClr val="00B050"/>
              </a:solidFill>
            </a:endParaRPr>
          </a:p>
          <a:p>
            <a:pPr marL="0" indent="0">
              <a:buNone/>
              <a:defRPr/>
            </a:pPr>
            <a:endParaRPr lang="en-US" altLang="en-US" b="1" i="1" dirty="0">
              <a:solidFill>
                <a:srgbClr val="00B050"/>
              </a:solidFill>
            </a:endParaRPr>
          </a:p>
          <a:p>
            <a:pPr marL="0" indent="0">
              <a:buNone/>
              <a:defRPr/>
            </a:pPr>
            <a:endParaRPr lang="en-US" dirty="0"/>
          </a:p>
        </p:txBody>
      </p:sp>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1383E8B-A9F5-4C59-A67A-3554539F5B7A}"/>
              </a:ext>
            </a:extLst>
          </p:cNvPr>
          <p:cNvGrpSpPr/>
          <p:nvPr/>
        </p:nvGrpSpPr>
        <p:grpSpPr>
          <a:xfrm>
            <a:off x="1524001" y="1143000"/>
            <a:ext cx="9144001" cy="5578476"/>
            <a:chOff x="0" y="857250"/>
            <a:chExt cx="9144001" cy="5864226"/>
          </a:xfrm>
        </p:grpSpPr>
        <p:sp>
          <p:nvSpPr>
            <p:cNvPr id="102" name="Frame 101">
              <a:extLst>
                <a:ext uri="{FF2B5EF4-FFF2-40B4-BE49-F238E27FC236}">
                  <a16:creationId xmlns:a16="http://schemas.microsoft.com/office/drawing/2014/main" id="{530C96A5-18F8-41CE-8FBF-056A3D32634C}"/>
                </a:ext>
              </a:extLst>
            </p:cNvPr>
            <p:cNvSpPr/>
            <p:nvPr/>
          </p:nvSpPr>
          <p:spPr>
            <a:xfrm>
              <a:off x="0" y="857250"/>
              <a:ext cx="9144000" cy="5143500"/>
            </a:xfrm>
            <a:prstGeom prst="frame">
              <a:avLst>
                <a:gd name="adj1" fmla="val 1053"/>
              </a:avLst>
            </a:prstGeom>
            <a:solidFill>
              <a:srgbClr val="44546A">
                <a:lumMod val="40000"/>
                <a:lumOff val="60000"/>
              </a:srgbClr>
            </a:solidFill>
            <a:ln w="12700" cap="flat" cmpd="sng" algn="ctr">
              <a:noFill/>
              <a:prstDash val="solid"/>
              <a:miter lim="800000"/>
            </a:ln>
            <a:effectLst/>
          </p:spPr>
          <p:txBody>
            <a:bodyPr rtlCol="0" anchor="ctr"/>
            <a:lstStyle/>
            <a:p>
              <a:pPr algn="ctr" defTabSz="685800">
                <a:defRPr/>
              </a:pPr>
              <a:endParaRPr lang="en-US" sz="1350" kern="0">
                <a:solidFill>
                  <a:prstClr val="black"/>
                </a:solidFill>
                <a:latin typeface="Calibri Light"/>
              </a:endParaRPr>
            </a:p>
          </p:txBody>
        </p:sp>
        <p:sp>
          <p:nvSpPr>
            <p:cNvPr id="103" name="Rectangle 102">
              <a:extLst>
                <a:ext uri="{FF2B5EF4-FFF2-40B4-BE49-F238E27FC236}">
                  <a16:creationId xmlns:a16="http://schemas.microsoft.com/office/drawing/2014/main" id="{D5A75610-4C9C-4007-86BE-0C93387BD4CC}"/>
                </a:ext>
              </a:extLst>
            </p:cNvPr>
            <p:cNvSpPr/>
            <p:nvPr/>
          </p:nvSpPr>
          <p:spPr>
            <a:xfrm>
              <a:off x="0" y="857250"/>
              <a:ext cx="336430" cy="336430"/>
            </a:xfrm>
            <a:prstGeom prst="rect">
              <a:avLst/>
            </a:prstGeom>
            <a:solidFill>
              <a:srgbClr val="AF5F6D"/>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04" name="Rectangle 103">
              <a:extLst>
                <a:ext uri="{FF2B5EF4-FFF2-40B4-BE49-F238E27FC236}">
                  <a16:creationId xmlns:a16="http://schemas.microsoft.com/office/drawing/2014/main" id="{88DED4A1-8837-48AC-9F2B-DE23F8D97ECB}"/>
                </a:ext>
              </a:extLst>
            </p:cNvPr>
            <p:cNvSpPr/>
            <p:nvPr/>
          </p:nvSpPr>
          <p:spPr>
            <a:xfrm>
              <a:off x="8807571" y="5664321"/>
              <a:ext cx="336430" cy="336430"/>
            </a:xfrm>
            <a:prstGeom prst="rect">
              <a:avLst/>
            </a:prstGeom>
            <a:solidFill>
              <a:srgbClr val="EB6B56"/>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Light"/>
              </a:endParaRPr>
            </a:p>
          </p:txBody>
        </p:sp>
        <p:sp>
          <p:nvSpPr>
            <p:cNvPr id="118" name="Slide Number Placeholder 21">
              <a:extLst>
                <a:ext uri="{FF2B5EF4-FFF2-40B4-BE49-F238E27FC236}">
                  <a16:creationId xmlns:a16="http://schemas.microsoft.com/office/drawing/2014/main" id="{93A42D60-09D3-464C-9CEE-9793BC406A2C}"/>
                </a:ext>
              </a:extLst>
            </p:cNvPr>
            <p:cNvSpPr txBox="1">
              <a:spLocks/>
            </p:cNvSpPr>
            <p:nvPr/>
          </p:nvSpPr>
          <p:spPr>
            <a:xfrm>
              <a:off x="6457950" y="6356351"/>
              <a:ext cx="2057400" cy="365125"/>
            </a:xfrm>
            <a:prstGeom prst="rect">
              <a:avLst/>
            </a:prstGeom>
          </p:spPr>
          <p:txBody>
            <a:bodyPr vert="horz" lIns="91440" tIns="45720" rIns="91440" bIns="4572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fld id="{B9940D52-AD77-4C6A-9DCC-3EEF87AE9DF8}" type="slidenum">
                <a:rPr lang="en-US">
                  <a:solidFill>
                    <a:prstClr val="black">
                      <a:tint val="75000"/>
                    </a:prstClr>
                  </a:solidFill>
                  <a:latin typeface="Calibri Light"/>
                </a:rPr>
                <a:pPr defTabSz="685800"/>
                <a:t>80</a:t>
              </a:fld>
              <a:endParaRPr lang="en-US">
                <a:solidFill>
                  <a:prstClr val="black">
                    <a:tint val="75000"/>
                  </a:prstClr>
                </a:solidFill>
                <a:latin typeface="Calibri Light"/>
              </a:endParaRPr>
            </a:p>
          </p:txBody>
        </p:sp>
        <p:grpSp>
          <p:nvGrpSpPr>
            <p:cNvPr id="122" name="Group 121">
              <a:extLst>
                <a:ext uri="{FF2B5EF4-FFF2-40B4-BE49-F238E27FC236}">
                  <a16:creationId xmlns:a16="http://schemas.microsoft.com/office/drawing/2014/main" id="{1D5F4261-1706-4F0E-8267-369D57C1FB88}"/>
                </a:ext>
              </a:extLst>
            </p:cNvPr>
            <p:cNvGrpSpPr/>
            <p:nvPr/>
          </p:nvGrpSpPr>
          <p:grpSpPr>
            <a:xfrm>
              <a:off x="2875574" y="3333082"/>
              <a:ext cx="425135" cy="382335"/>
              <a:chOff x="4854484" y="5910272"/>
              <a:chExt cx="283864" cy="255286"/>
            </a:xfrm>
            <a:solidFill>
              <a:srgbClr val="44546A"/>
            </a:solidFill>
          </p:grpSpPr>
          <p:sp>
            <p:nvSpPr>
              <p:cNvPr id="123" name="Freeform 251">
                <a:extLst>
                  <a:ext uri="{FF2B5EF4-FFF2-40B4-BE49-F238E27FC236}">
                    <a16:creationId xmlns:a16="http://schemas.microsoft.com/office/drawing/2014/main" id="{0C8CED70-9586-4725-ABB9-23097BB29906}"/>
                  </a:ext>
                </a:extLst>
              </p:cNvPr>
              <p:cNvSpPr>
                <a:spLocks/>
              </p:cNvSpPr>
              <p:nvPr/>
            </p:nvSpPr>
            <p:spPr bwMode="auto">
              <a:xfrm>
                <a:off x="4854484" y="5910272"/>
                <a:ext cx="165746" cy="255286"/>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dirty="0">
                  <a:solidFill>
                    <a:prstClr val="black"/>
                  </a:solidFill>
                  <a:latin typeface="Calibri Light"/>
                </a:endParaRPr>
              </a:p>
            </p:txBody>
          </p:sp>
          <p:sp>
            <p:nvSpPr>
              <p:cNvPr id="124" name="Freeform 252">
                <a:extLst>
                  <a:ext uri="{FF2B5EF4-FFF2-40B4-BE49-F238E27FC236}">
                    <a16:creationId xmlns:a16="http://schemas.microsoft.com/office/drawing/2014/main" id="{0F01F1D5-7465-4E64-9CCB-5C815BD8B5EC}"/>
                  </a:ext>
                </a:extLst>
              </p:cNvPr>
              <p:cNvSpPr>
                <a:spLocks/>
              </p:cNvSpPr>
              <p:nvPr/>
            </p:nvSpPr>
            <p:spPr bwMode="auto">
              <a:xfrm>
                <a:off x="4972602" y="5910272"/>
                <a:ext cx="165746" cy="255286"/>
              </a:xfrm>
              <a:custGeom>
                <a:avLst/>
                <a:gdLst>
                  <a:gd name="T0" fmla="*/ 344 w 348"/>
                  <a:gd name="T1" fmla="*/ 260 h 535"/>
                  <a:gd name="T2" fmla="*/ 86 w 348"/>
                  <a:gd name="T3" fmla="*/ 2 h 535"/>
                  <a:gd name="T4" fmla="*/ 83 w 348"/>
                  <a:gd name="T5" fmla="*/ 0 h 535"/>
                  <a:gd name="T6" fmla="*/ 80 w 348"/>
                  <a:gd name="T7" fmla="*/ 0 h 535"/>
                  <a:gd name="T8" fmla="*/ 75 w 348"/>
                  <a:gd name="T9" fmla="*/ 0 h 535"/>
                  <a:gd name="T10" fmla="*/ 72 w 348"/>
                  <a:gd name="T11" fmla="*/ 2 h 535"/>
                  <a:gd name="T12" fmla="*/ 3 w 348"/>
                  <a:gd name="T13" fmla="*/ 72 h 535"/>
                  <a:gd name="T14" fmla="*/ 1 w 348"/>
                  <a:gd name="T15" fmla="*/ 75 h 535"/>
                  <a:gd name="T16" fmla="*/ 0 w 348"/>
                  <a:gd name="T17" fmla="*/ 79 h 535"/>
                  <a:gd name="T18" fmla="*/ 1 w 348"/>
                  <a:gd name="T19" fmla="*/ 83 h 535"/>
                  <a:gd name="T20" fmla="*/ 3 w 348"/>
                  <a:gd name="T21" fmla="*/ 86 h 535"/>
                  <a:gd name="T22" fmla="*/ 185 w 348"/>
                  <a:gd name="T23" fmla="*/ 268 h 535"/>
                  <a:gd name="T24" fmla="*/ 3 w 348"/>
                  <a:gd name="T25" fmla="*/ 449 h 535"/>
                  <a:gd name="T26" fmla="*/ 1 w 348"/>
                  <a:gd name="T27" fmla="*/ 452 h 535"/>
                  <a:gd name="T28" fmla="*/ 0 w 348"/>
                  <a:gd name="T29" fmla="*/ 457 h 535"/>
                  <a:gd name="T30" fmla="*/ 1 w 348"/>
                  <a:gd name="T31" fmla="*/ 460 h 535"/>
                  <a:gd name="T32" fmla="*/ 3 w 348"/>
                  <a:gd name="T33" fmla="*/ 463 h 535"/>
                  <a:gd name="T34" fmla="*/ 72 w 348"/>
                  <a:gd name="T35" fmla="*/ 532 h 535"/>
                  <a:gd name="T36" fmla="*/ 75 w 348"/>
                  <a:gd name="T37" fmla="*/ 534 h 535"/>
                  <a:gd name="T38" fmla="*/ 80 w 348"/>
                  <a:gd name="T39" fmla="*/ 535 h 535"/>
                  <a:gd name="T40" fmla="*/ 83 w 348"/>
                  <a:gd name="T41" fmla="*/ 534 h 535"/>
                  <a:gd name="T42" fmla="*/ 86 w 348"/>
                  <a:gd name="T43" fmla="*/ 533 h 535"/>
                  <a:gd name="T44" fmla="*/ 344 w 348"/>
                  <a:gd name="T45" fmla="*/ 274 h 535"/>
                  <a:gd name="T46" fmla="*/ 347 w 348"/>
                  <a:gd name="T47" fmla="*/ 271 h 535"/>
                  <a:gd name="T48" fmla="*/ 348 w 348"/>
                  <a:gd name="T49" fmla="*/ 268 h 535"/>
                  <a:gd name="T50" fmla="*/ 347 w 348"/>
                  <a:gd name="T51" fmla="*/ 263 h 535"/>
                  <a:gd name="T52" fmla="*/ 344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4" y="260"/>
                    </a:moveTo>
                    <a:lnTo>
                      <a:pt x="86" y="2"/>
                    </a:lnTo>
                    <a:lnTo>
                      <a:pt x="83" y="0"/>
                    </a:lnTo>
                    <a:lnTo>
                      <a:pt x="80" y="0"/>
                    </a:lnTo>
                    <a:lnTo>
                      <a:pt x="75" y="0"/>
                    </a:lnTo>
                    <a:lnTo>
                      <a:pt x="72" y="2"/>
                    </a:lnTo>
                    <a:lnTo>
                      <a:pt x="3" y="72"/>
                    </a:lnTo>
                    <a:lnTo>
                      <a:pt x="1" y="75"/>
                    </a:lnTo>
                    <a:lnTo>
                      <a:pt x="0" y="79"/>
                    </a:lnTo>
                    <a:lnTo>
                      <a:pt x="1" y="83"/>
                    </a:lnTo>
                    <a:lnTo>
                      <a:pt x="3" y="86"/>
                    </a:lnTo>
                    <a:lnTo>
                      <a:pt x="185" y="268"/>
                    </a:lnTo>
                    <a:lnTo>
                      <a:pt x="3" y="449"/>
                    </a:lnTo>
                    <a:lnTo>
                      <a:pt x="1" y="452"/>
                    </a:lnTo>
                    <a:lnTo>
                      <a:pt x="0" y="457"/>
                    </a:lnTo>
                    <a:lnTo>
                      <a:pt x="1" y="460"/>
                    </a:lnTo>
                    <a:lnTo>
                      <a:pt x="3" y="463"/>
                    </a:lnTo>
                    <a:lnTo>
                      <a:pt x="72" y="532"/>
                    </a:lnTo>
                    <a:lnTo>
                      <a:pt x="75" y="534"/>
                    </a:lnTo>
                    <a:lnTo>
                      <a:pt x="80" y="535"/>
                    </a:lnTo>
                    <a:lnTo>
                      <a:pt x="83" y="534"/>
                    </a:lnTo>
                    <a:lnTo>
                      <a:pt x="86" y="533"/>
                    </a:lnTo>
                    <a:lnTo>
                      <a:pt x="344" y="274"/>
                    </a:lnTo>
                    <a:lnTo>
                      <a:pt x="347" y="271"/>
                    </a:lnTo>
                    <a:lnTo>
                      <a:pt x="348" y="268"/>
                    </a:lnTo>
                    <a:lnTo>
                      <a:pt x="347" y="263"/>
                    </a:lnTo>
                    <a:lnTo>
                      <a:pt x="344"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grpSp>
        <p:grpSp>
          <p:nvGrpSpPr>
            <p:cNvPr id="125" name="Group 124">
              <a:extLst>
                <a:ext uri="{FF2B5EF4-FFF2-40B4-BE49-F238E27FC236}">
                  <a16:creationId xmlns:a16="http://schemas.microsoft.com/office/drawing/2014/main" id="{819BCB2C-2594-4246-AF1C-54887570D1B2}"/>
                </a:ext>
              </a:extLst>
            </p:cNvPr>
            <p:cNvGrpSpPr/>
            <p:nvPr/>
          </p:nvGrpSpPr>
          <p:grpSpPr>
            <a:xfrm>
              <a:off x="5843292" y="3333082"/>
              <a:ext cx="425135" cy="382335"/>
              <a:chOff x="4854484" y="5910272"/>
              <a:chExt cx="283864" cy="255286"/>
            </a:xfrm>
            <a:solidFill>
              <a:srgbClr val="44546A"/>
            </a:solidFill>
          </p:grpSpPr>
          <p:sp>
            <p:nvSpPr>
              <p:cNvPr id="126" name="Freeform 251">
                <a:extLst>
                  <a:ext uri="{FF2B5EF4-FFF2-40B4-BE49-F238E27FC236}">
                    <a16:creationId xmlns:a16="http://schemas.microsoft.com/office/drawing/2014/main" id="{B4AFA590-489D-461F-87B5-31AA21C9CA6E}"/>
                  </a:ext>
                </a:extLst>
              </p:cNvPr>
              <p:cNvSpPr>
                <a:spLocks/>
              </p:cNvSpPr>
              <p:nvPr/>
            </p:nvSpPr>
            <p:spPr bwMode="auto">
              <a:xfrm>
                <a:off x="4854484" y="5910272"/>
                <a:ext cx="165746" cy="255286"/>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dirty="0">
                  <a:solidFill>
                    <a:prstClr val="black"/>
                  </a:solidFill>
                  <a:latin typeface="Calibri Light"/>
                </a:endParaRPr>
              </a:p>
            </p:txBody>
          </p:sp>
          <p:sp>
            <p:nvSpPr>
              <p:cNvPr id="127" name="Freeform 252">
                <a:extLst>
                  <a:ext uri="{FF2B5EF4-FFF2-40B4-BE49-F238E27FC236}">
                    <a16:creationId xmlns:a16="http://schemas.microsoft.com/office/drawing/2014/main" id="{686E9970-8B1D-4D78-8BC4-D6A0633DF381}"/>
                  </a:ext>
                </a:extLst>
              </p:cNvPr>
              <p:cNvSpPr>
                <a:spLocks/>
              </p:cNvSpPr>
              <p:nvPr/>
            </p:nvSpPr>
            <p:spPr bwMode="auto">
              <a:xfrm>
                <a:off x="4972602" y="5910272"/>
                <a:ext cx="165746" cy="255286"/>
              </a:xfrm>
              <a:custGeom>
                <a:avLst/>
                <a:gdLst>
                  <a:gd name="T0" fmla="*/ 344 w 348"/>
                  <a:gd name="T1" fmla="*/ 260 h 535"/>
                  <a:gd name="T2" fmla="*/ 86 w 348"/>
                  <a:gd name="T3" fmla="*/ 2 h 535"/>
                  <a:gd name="T4" fmla="*/ 83 w 348"/>
                  <a:gd name="T5" fmla="*/ 0 h 535"/>
                  <a:gd name="T6" fmla="*/ 80 w 348"/>
                  <a:gd name="T7" fmla="*/ 0 h 535"/>
                  <a:gd name="T8" fmla="*/ 75 w 348"/>
                  <a:gd name="T9" fmla="*/ 0 h 535"/>
                  <a:gd name="T10" fmla="*/ 72 w 348"/>
                  <a:gd name="T11" fmla="*/ 2 h 535"/>
                  <a:gd name="T12" fmla="*/ 3 w 348"/>
                  <a:gd name="T13" fmla="*/ 72 h 535"/>
                  <a:gd name="T14" fmla="*/ 1 w 348"/>
                  <a:gd name="T15" fmla="*/ 75 h 535"/>
                  <a:gd name="T16" fmla="*/ 0 w 348"/>
                  <a:gd name="T17" fmla="*/ 79 h 535"/>
                  <a:gd name="T18" fmla="*/ 1 w 348"/>
                  <a:gd name="T19" fmla="*/ 83 h 535"/>
                  <a:gd name="T20" fmla="*/ 3 w 348"/>
                  <a:gd name="T21" fmla="*/ 86 h 535"/>
                  <a:gd name="T22" fmla="*/ 185 w 348"/>
                  <a:gd name="T23" fmla="*/ 268 h 535"/>
                  <a:gd name="T24" fmla="*/ 3 w 348"/>
                  <a:gd name="T25" fmla="*/ 449 h 535"/>
                  <a:gd name="T26" fmla="*/ 1 w 348"/>
                  <a:gd name="T27" fmla="*/ 452 h 535"/>
                  <a:gd name="T28" fmla="*/ 0 w 348"/>
                  <a:gd name="T29" fmla="*/ 457 h 535"/>
                  <a:gd name="T30" fmla="*/ 1 w 348"/>
                  <a:gd name="T31" fmla="*/ 460 h 535"/>
                  <a:gd name="T32" fmla="*/ 3 w 348"/>
                  <a:gd name="T33" fmla="*/ 463 h 535"/>
                  <a:gd name="T34" fmla="*/ 72 w 348"/>
                  <a:gd name="T35" fmla="*/ 532 h 535"/>
                  <a:gd name="T36" fmla="*/ 75 w 348"/>
                  <a:gd name="T37" fmla="*/ 534 h 535"/>
                  <a:gd name="T38" fmla="*/ 80 w 348"/>
                  <a:gd name="T39" fmla="*/ 535 h 535"/>
                  <a:gd name="T40" fmla="*/ 83 w 348"/>
                  <a:gd name="T41" fmla="*/ 534 h 535"/>
                  <a:gd name="T42" fmla="*/ 86 w 348"/>
                  <a:gd name="T43" fmla="*/ 533 h 535"/>
                  <a:gd name="T44" fmla="*/ 344 w 348"/>
                  <a:gd name="T45" fmla="*/ 274 h 535"/>
                  <a:gd name="T46" fmla="*/ 347 w 348"/>
                  <a:gd name="T47" fmla="*/ 271 h 535"/>
                  <a:gd name="T48" fmla="*/ 348 w 348"/>
                  <a:gd name="T49" fmla="*/ 268 h 535"/>
                  <a:gd name="T50" fmla="*/ 347 w 348"/>
                  <a:gd name="T51" fmla="*/ 263 h 535"/>
                  <a:gd name="T52" fmla="*/ 344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4" y="260"/>
                    </a:moveTo>
                    <a:lnTo>
                      <a:pt x="86" y="2"/>
                    </a:lnTo>
                    <a:lnTo>
                      <a:pt x="83" y="0"/>
                    </a:lnTo>
                    <a:lnTo>
                      <a:pt x="80" y="0"/>
                    </a:lnTo>
                    <a:lnTo>
                      <a:pt x="75" y="0"/>
                    </a:lnTo>
                    <a:lnTo>
                      <a:pt x="72" y="2"/>
                    </a:lnTo>
                    <a:lnTo>
                      <a:pt x="3" y="72"/>
                    </a:lnTo>
                    <a:lnTo>
                      <a:pt x="1" y="75"/>
                    </a:lnTo>
                    <a:lnTo>
                      <a:pt x="0" y="79"/>
                    </a:lnTo>
                    <a:lnTo>
                      <a:pt x="1" y="83"/>
                    </a:lnTo>
                    <a:lnTo>
                      <a:pt x="3" y="86"/>
                    </a:lnTo>
                    <a:lnTo>
                      <a:pt x="185" y="268"/>
                    </a:lnTo>
                    <a:lnTo>
                      <a:pt x="3" y="449"/>
                    </a:lnTo>
                    <a:lnTo>
                      <a:pt x="1" y="452"/>
                    </a:lnTo>
                    <a:lnTo>
                      <a:pt x="0" y="457"/>
                    </a:lnTo>
                    <a:lnTo>
                      <a:pt x="1" y="460"/>
                    </a:lnTo>
                    <a:lnTo>
                      <a:pt x="3" y="463"/>
                    </a:lnTo>
                    <a:lnTo>
                      <a:pt x="72" y="532"/>
                    </a:lnTo>
                    <a:lnTo>
                      <a:pt x="75" y="534"/>
                    </a:lnTo>
                    <a:lnTo>
                      <a:pt x="80" y="535"/>
                    </a:lnTo>
                    <a:lnTo>
                      <a:pt x="83" y="534"/>
                    </a:lnTo>
                    <a:lnTo>
                      <a:pt x="86" y="533"/>
                    </a:lnTo>
                    <a:lnTo>
                      <a:pt x="344" y="274"/>
                    </a:lnTo>
                    <a:lnTo>
                      <a:pt x="347" y="271"/>
                    </a:lnTo>
                    <a:lnTo>
                      <a:pt x="348" y="268"/>
                    </a:lnTo>
                    <a:lnTo>
                      <a:pt x="347" y="263"/>
                    </a:lnTo>
                    <a:lnTo>
                      <a:pt x="344"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Calibri Light"/>
                </a:endParaRPr>
              </a:p>
            </p:txBody>
          </p:sp>
        </p:grpSp>
      </p:grpSp>
      <p:pic>
        <p:nvPicPr>
          <p:cNvPr id="4" name="Picture 3">
            <a:extLst>
              <a:ext uri="{FF2B5EF4-FFF2-40B4-BE49-F238E27FC236}">
                <a16:creationId xmlns:a16="http://schemas.microsoft.com/office/drawing/2014/main" id="{6B857CBA-B8A7-6976-00B5-CDDFB42BA2D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47851" y="1191549"/>
            <a:ext cx="8483721" cy="4752052"/>
          </a:xfrm>
          <a:prstGeom prst="rect">
            <a:avLst/>
          </a:prstGeom>
        </p:spPr>
      </p:pic>
    </p:spTree>
    <p:extLst>
      <p:ext uri="{BB962C8B-B14F-4D97-AF65-F5344CB8AC3E}">
        <p14:creationId xmlns:p14="http://schemas.microsoft.com/office/powerpoint/2010/main" val="311855863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1C89D127-78E9-25CD-E9FC-79996ECE0F16}"/>
              </a:ext>
            </a:extLst>
          </p:cNvPr>
          <p:cNvSpPr txBox="1"/>
          <p:nvPr/>
        </p:nvSpPr>
        <p:spPr>
          <a:xfrm>
            <a:off x="7103319" y="2557730"/>
            <a:ext cx="4191000" cy="2246769"/>
          </a:xfrm>
          <a:prstGeom prst="rect">
            <a:avLst/>
          </a:prstGeom>
          <a:noFill/>
        </p:spPr>
        <p:txBody>
          <a:bodyPr wrap="square" rtlCol="0">
            <a:spAutoFit/>
          </a:bodyPr>
          <a:lstStyle/>
          <a:p>
            <a:pPr algn="ctr"/>
            <a:r>
              <a:rPr lang="en-US" sz="7000" b="1" dirty="0">
                <a:solidFill>
                  <a:schemeClr val="tx2">
                    <a:lumMod val="75000"/>
                  </a:schemeClr>
                </a:solidFill>
                <a:latin typeface="Trebuchet MS" panose="020B0603020202020204" pitchFamily="34" charset="0"/>
              </a:rPr>
              <a:t>PMTCT </a:t>
            </a:r>
          </a:p>
          <a:p>
            <a:pPr algn="ctr"/>
            <a:r>
              <a:rPr lang="en-US" sz="7000" b="1" dirty="0">
                <a:solidFill>
                  <a:schemeClr val="tx2">
                    <a:lumMod val="75000"/>
                  </a:schemeClr>
                </a:solidFill>
                <a:latin typeface="Trebuchet MS" panose="020B0603020202020204" pitchFamily="34" charset="0"/>
              </a:rPr>
              <a:t>CASCADE</a:t>
            </a:r>
            <a:endParaRPr lang="en-NG" sz="7000" b="1" dirty="0">
              <a:solidFill>
                <a:schemeClr val="tx2">
                  <a:lumMod val="75000"/>
                </a:schemeClr>
              </a:solidFill>
              <a:latin typeface="Trebuchet MS" panose="020B0603020202020204" pitchFamily="34" charset="0"/>
            </a:endParaRPr>
          </a:p>
        </p:txBody>
      </p:sp>
      <p:pic>
        <p:nvPicPr>
          <p:cNvPr id="3" name="Picture 2">
            <a:extLst>
              <a:ext uri="{FF2B5EF4-FFF2-40B4-BE49-F238E27FC236}">
                <a16:creationId xmlns:a16="http://schemas.microsoft.com/office/drawing/2014/main" id="{739B8C0F-83EF-77DB-C653-6820F7C21E97}"/>
              </a:ext>
            </a:extLst>
          </p:cNvPr>
          <p:cNvPicPr>
            <a:picLocks noChangeAspect="1"/>
          </p:cNvPicPr>
          <p:nvPr/>
        </p:nvPicPr>
        <p:blipFill>
          <a:blip r:embed="rId3">
            <a:duotone>
              <a:prstClr val="black"/>
              <a:schemeClr val="accent1">
                <a:lumMod val="60000"/>
                <a:lumOff val="40000"/>
                <a:tint val="45000"/>
                <a:satMod val="400000"/>
              </a:schemeClr>
            </a:duotone>
            <a:extLst>
              <a:ext uri="{28A0092B-C50C-407E-A947-70E740481C1C}">
                <a14:useLocalDpi xmlns:a14="http://schemas.microsoft.com/office/drawing/2010/main" val="0"/>
              </a:ext>
            </a:extLst>
          </a:blip>
          <a:stretch>
            <a:fillRect/>
          </a:stretch>
        </p:blipFill>
        <p:spPr>
          <a:xfrm>
            <a:off x="0" y="1137684"/>
            <a:ext cx="6762750" cy="5320266"/>
          </a:xfrm>
          <a:prstGeom prst="rect">
            <a:avLst/>
          </a:prstGeom>
        </p:spPr>
      </p:pic>
      <p:sp>
        <p:nvSpPr>
          <p:cNvPr id="2" name="Rectangle 1">
            <a:extLst>
              <a:ext uri="{FF2B5EF4-FFF2-40B4-BE49-F238E27FC236}">
                <a16:creationId xmlns:a16="http://schemas.microsoft.com/office/drawing/2014/main" id="{B35AD27F-9EE7-1080-0710-45F713DF2F10}"/>
              </a:ext>
            </a:extLst>
          </p:cNvPr>
          <p:cNvSpPr/>
          <p:nvPr/>
        </p:nvSpPr>
        <p:spPr>
          <a:xfrm>
            <a:off x="9791700" y="5853666"/>
            <a:ext cx="2324100" cy="5185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New Staff Orientation</a:t>
            </a:r>
          </a:p>
          <a:p>
            <a:pPr algn="ctr"/>
            <a:r>
              <a:rPr lang="en-US" dirty="0">
                <a:solidFill>
                  <a:schemeClr val="tx1"/>
                </a:solidFill>
              </a:rPr>
              <a:t>14</a:t>
            </a:r>
            <a:r>
              <a:rPr lang="en-US" baseline="30000" dirty="0">
                <a:solidFill>
                  <a:schemeClr val="tx1"/>
                </a:solidFill>
              </a:rPr>
              <a:t>th</a:t>
            </a:r>
            <a:r>
              <a:rPr lang="en-US" dirty="0">
                <a:solidFill>
                  <a:schemeClr val="tx1"/>
                </a:solidFill>
              </a:rPr>
              <a:t> June, 2022.</a:t>
            </a:r>
            <a:endParaRPr lang="en-NG" dirty="0">
              <a:solidFill>
                <a:schemeClr val="tx1"/>
              </a:solidFill>
            </a:endParaRPr>
          </a:p>
        </p:txBody>
      </p:sp>
    </p:spTree>
    <p:extLst>
      <p:ext uri="{BB962C8B-B14F-4D97-AF65-F5344CB8AC3E}">
        <p14:creationId xmlns:p14="http://schemas.microsoft.com/office/powerpoint/2010/main" val="400412334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 name="Свободна форма: фигура 27">
            <a:extLst>
              <a:ext uri="{FF2B5EF4-FFF2-40B4-BE49-F238E27FC236}">
                <a16:creationId xmlns:a16="http://schemas.microsoft.com/office/drawing/2014/main" id="{4FDA0557-6BCF-63A7-285E-781A2B0C8EAB}"/>
              </a:ext>
            </a:extLst>
          </p:cNvPr>
          <p:cNvSpPr/>
          <p:nvPr/>
        </p:nvSpPr>
        <p:spPr>
          <a:xfrm>
            <a:off x="4595148" y="3527381"/>
            <a:ext cx="526428" cy="882821"/>
          </a:xfrm>
          <a:custGeom>
            <a:avLst/>
            <a:gdLst>
              <a:gd name="connsiteX0" fmla="*/ 523992 w 523991"/>
              <a:gd name="connsiteY0" fmla="*/ 0 h 1047983"/>
              <a:gd name="connsiteX1" fmla="*/ 0 w 523991"/>
              <a:gd name="connsiteY1" fmla="*/ 523992 h 1047983"/>
              <a:gd name="connsiteX2" fmla="*/ 0 w 523991"/>
              <a:gd name="connsiteY2" fmla="*/ 523992 h 1047983"/>
              <a:gd name="connsiteX3" fmla="*/ 523992 w 523991"/>
              <a:gd name="connsiteY3" fmla="*/ 1047984 h 1047983"/>
            </a:gdLst>
            <a:ahLst/>
            <a:cxnLst>
              <a:cxn ang="0">
                <a:pos x="connsiteX0" y="connsiteY0"/>
              </a:cxn>
              <a:cxn ang="0">
                <a:pos x="connsiteX1" y="connsiteY1"/>
              </a:cxn>
              <a:cxn ang="0">
                <a:pos x="connsiteX2" y="connsiteY2"/>
              </a:cxn>
              <a:cxn ang="0">
                <a:pos x="connsiteX3" y="connsiteY3"/>
              </a:cxn>
            </a:cxnLst>
            <a:rect l="l" t="t" r="r" b="b"/>
            <a:pathLst>
              <a:path w="523991" h="1047983">
                <a:moveTo>
                  <a:pt x="523992" y="0"/>
                </a:moveTo>
                <a:cubicBezTo>
                  <a:pt x="234551" y="0"/>
                  <a:pt x="0" y="234551"/>
                  <a:pt x="0" y="523992"/>
                </a:cubicBezTo>
                <a:lnTo>
                  <a:pt x="0" y="523992"/>
                </a:lnTo>
                <a:cubicBezTo>
                  <a:pt x="0" y="813306"/>
                  <a:pt x="234551" y="1047984"/>
                  <a:pt x="523992" y="1047984"/>
                </a:cubicBezTo>
              </a:path>
            </a:pathLst>
          </a:custGeom>
          <a:solidFill>
            <a:srgbClr val="92D050"/>
          </a:solidFill>
          <a:ln w="12694" cap="flat">
            <a:noFill/>
            <a:prstDash val="solid"/>
            <a:miter/>
          </a:ln>
        </p:spPr>
        <p:txBody>
          <a:bodyPr rtlCol="0" anchor="ctr"/>
          <a:lstStyle/>
          <a:p>
            <a:endParaRPr lang="bg-BG" sz="1808"/>
          </a:p>
        </p:txBody>
      </p:sp>
      <p:sp>
        <p:nvSpPr>
          <p:cNvPr id="127" name="Свободна форма: фигура 27">
            <a:extLst>
              <a:ext uri="{FF2B5EF4-FFF2-40B4-BE49-F238E27FC236}">
                <a16:creationId xmlns:a16="http://schemas.microsoft.com/office/drawing/2014/main" id="{81467F90-AAFF-4DF1-60E4-1DC152673A2D}"/>
              </a:ext>
            </a:extLst>
          </p:cNvPr>
          <p:cNvSpPr/>
          <p:nvPr/>
        </p:nvSpPr>
        <p:spPr>
          <a:xfrm>
            <a:off x="4559406" y="5415762"/>
            <a:ext cx="526428" cy="882821"/>
          </a:xfrm>
          <a:custGeom>
            <a:avLst/>
            <a:gdLst>
              <a:gd name="connsiteX0" fmla="*/ 523992 w 523991"/>
              <a:gd name="connsiteY0" fmla="*/ 0 h 1047983"/>
              <a:gd name="connsiteX1" fmla="*/ 0 w 523991"/>
              <a:gd name="connsiteY1" fmla="*/ 523992 h 1047983"/>
              <a:gd name="connsiteX2" fmla="*/ 0 w 523991"/>
              <a:gd name="connsiteY2" fmla="*/ 523992 h 1047983"/>
              <a:gd name="connsiteX3" fmla="*/ 523992 w 523991"/>
              <a:gd name="connsiteY3" fmla="*/ 1047984 h 1047983"/>
            </a:gdLst>
            <a:ahLst/>
            <a:cxnLst>
              <a:cxn ang="0">
                <a:pos x="connsiteX0" y="connsiteY0"/>
              </a:cxn>
              <a:cxn ang="0">
                <a:pos x="connsiteX1" y="connsiteY1"/>
              </a:cxn>
              <a:cxn ang="0">
                <a:pos x="connsiteX2" y="connsiteY2"/>
              </a:cxn>
              <a:cxn ang="0">
                <a:pos x="connsiteX3" y="connsiteY3"/>
              </a:cxn>
            </a:cxnLst>
            <a:rect l="l" t="t" r="r" b="b"/>
            <a:pathLst>
              <a:path w="523991" h="1047983">
                <a:moveTo>
                  <a:pt x="523992" y="0"/>
                </a:moveTo>
                <a:cubicBezTo>
                  <a:pt x="234551" y="0"/>
                  <a:pt x="0" y="234551"/>
                  <a:pt x="0" y="523992"/>
                </a:cubicBezTo>
                <a:lnTo>
                  <a:pt x="0" y="523992"/>
                </a:lnTo>
                <a:cubicBezTo>
                  <a:pt x="0" y="813306"/>
                  <a:pt x="234551" y="1047984"/>
                  <a:pt x="523992" y="1047984"/>
                </a:cubicBezTo>
              </a:path>
            </a:pathLst>
          </a:custGeom>
          <a:solidFill>
            <a:srgbClr val="92D050"/>
          </a:solidFill>
          <a:ln w="12694" cap="flat">
            <a:noFill/>
            <a:prstDash val="solid"/>
            <a:miter/>
          </a:ln>
        </p:spPr>
        <p:txBody>
          <a:bodyPr rtlCol="0" anchor="ctr"/>
          <a:lstStyle/>
          <a:p>
            <a:endParaRPr lang="bg-BG" sz="1808"/>
          </a:p>
        </p:txBody>
      </p:sp>
      <p:sp>
        <p:nvSpPr>
          <p:cNvPr id="126" name="Свободна форма: фигура 27">
            <a:extLst>
              <a:ext uri="{FF2B5EF4-FFF2-40B4-BE49-F238E27FC236}">
                <a16:creationId xmlns:a16="http://schemas.microsoft.com/office/drawing/2014/main" id="{22A85032-5E54-2972-AB2E-63B59295738A}"/>
              </a:ext>
            </a:extLst>
          </p:cNvPr>
          <p:cNvSpPr/>
          <p:nvPr/>
        </p:nvSpPr>
        <p:spPr>
          <a:xfrm>
            <a:off x="4599270" y="4467621"/>
            <a:ext cx="526428" cy="882821"/>
          </a:xfrm>
          <a:custGeom>
            <a:avLst/>
            <a:gdLst>
              <a:gd name="connsiteX0" fmla="*/ 523992 w 523991"/>
              <a:gd name="connsiteY0" fmla="*/ 0 h 1047983"/>
              <a:gd name="connsiteX1" fmla="*/ 0 w 523991"/>
              <a:gd name="connsiteY1" fmla="*/ 523992 h 1047983"/>
              <a:gd name="connsiteX2" fmla="*/ 0 w 523991"/>
              <a:gd name="connsiteY2" fmla="*/ 523992 h 1047983"/>
              <a:gd name="connsiteX3" fmla="*/ 523992 w 523991"/>
              <a:gd name="connsiteY3" fmla="*/ 1047984 h 1047983"/>
            </a:gdLst>
            <a:ahLst/>
            <a:cxnLst>
              <a:cxn ang="0">
                <a:pos x="connsiteX0" y="connsiteY0"/>
              </a:cxn>
              <a:cxn ang="0">
                <a:pos x="connsiteX1" y="connsiteY1"/>
              </a:cxn>
              <a:cxn ang="0">
                <a:pos x="connsiteX2" y="connsiteY2"/>
              </a:cxn>
              <a:cxn ang="0">
                <a:pos x="connsiteX3" y="connsiteY3"/>
              </a:cxn>
            </a:cxnLst>
            <a:rect l="l" t="t" r="r" b="b"/>
            <a:pathLst>
              <a:path w="523991" h="1047983">
                <a:moveTo>
                  <a:pt x="523992" y="0"/>
                </a:moveTo>
                <a:cubicBezTo>
                  <a:pt x="234551" y="0"/>
                  <a:pt x="0" y="234551"/>
                  <a:pt x="0" y="523992"/>
                </a:cubicBezTo>
                <a:lnTo>
                  <a:pt x="0" y="523992"/>
                </a:lnTo>
                <a:cubicBezTo>
                  <a:pt x="0" y="813306"/>
                  <a:pt x="234551" y="1047984"/>
                  <a:pt x="523992" y="1047984"/>
                </a:cubicBezTo>
              </a:path>
            </a:pathLst>
          </a:custGeom>
          <a:solidFill>
            <a:schemeClr val="accent1">
              <a:lumMod val="75000"/>
            </a:schemeClr>
          </a:solidFill>
          <a:ln w="12694" cap="flat">
            <a:noFill/>
            <a:prstDash val="solid"/>
            <a:miter/>
          </a:ln>
        </p:spPr>
        <p:txBody>
          <a:bodyPr rtlCol="0" anchor="ctr"/>
          <a:lstStyle/>
          <a:p>
            <a:endParaRPr lang="bg-BG" sz="1808"/>
          </a:p>
        </p:txBody>
      </p:sp>
      <p:sp>
        <p:nvSpPr>
          <p:cNvPr id="125" name="Свободна форма: фигура 30">
            <a:extLst>
              <a:ext uri="{FF2B5EF4-FFF2-40B4-BE49-F238E27FC236}">
                <a16:creationId xmlns:a16="http://schemas.microsoft.com/office/drawing/2014/main" id="{C352A033-84D6-AB61-070A-99A1F74391AA}"/>
              </a:ext>
            </a:extLst>
          </p:cNvPr>
          <p:cNvSpPr/>
          <p:nvPr/>
        </p:nvSpPr>
        <p:spPr>
          <a:xfrm>
            <a:off x="4607848" y="2630767"/>
            <a:ext cx="6226728" cy="881170"/>
          </a:xfrm>
          <a:custGeom>
            <a:avLst/>
            <a:gdLst>
              <a:gd name="connsiteX0" fmla="*/ 4179356 w 4660020"/>
              <a:gd name="connsiteY0" fmla="*/ 961330 h 961329"/>
              <a:gd name="connsiteX1" fmla="*/ 480665 w 4660020"/>
              <a:gd name="connsiteY1" fmla="*/ 961330 h 961329"/>
              <a:gd name="connsiteX2" fmla="*/ 0 w 4660020"/>
              <a:gd name="connsiteY2" fmla="*/ 480665 h 961329"/>
              <a:gd name="connsiteX3" fmla="*/ 480665 w 4660020"/>
              <a:gd name="connsiteY3" fmla="*/ 0 h 961329"/>
              <a:gd name="connsiteX4" fmla="*/ 4179356 w 4660020"/>
              <a:gd name="connsiteY4" fmla="*/ 0 h 961329"/>
              <a:gd name="connsiteX5" fmla="*/ 4660021 w 4660020"/>
              <a:gd name="connsiteY5" fmla="*/ 480665 h 961329"/>
              <a:gd name="connsiteX6" fmla="*/ 4179356 w 4660020"/>
              <a:gd name="connsiteY6" fmla="*/ 961330 h 96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60020" h="961329">
                <a:moveTo>
                  <a:pt x="4179356" y="961330"/>
                </a:moveTo>
                <a:lnTo>
                  <a:pt x="480665" y="961330"/>
                </a:lnTo>
                <a:cubicBezTo>
                  <a:pt x="215111" y="961330"/>
                  <a:pt x="0" y="746091"/>
                  <a:pt x="0" y="480665"/>
                </a:cubicBezTo>
                <a:cubicBezTo>
                  <a:pt x="0" y="215111"/>
                  <a:pt x="215238" y="0"/>
                  <a:pt x="480665" y="0"/>
                </a:cubicBezTo>
                <a:lnTo>
                  <a:pt x="4179356" y="0"/>
                </a:lnTo>
                <a:cubicBezTo>
                  <a:pt x="4444910" y="0"/>
                  <a:pt x="4660021" y="215238"/>
                  <a:pt x="4660021" y="480665"/>
                </a:cubicBezTo>
                <a:cubicBezTo>
                  <a:pt x="4660021" y="746091"/>
                  <a:pt x="4444783" y="961330"/>
                  <a:pt x="4179356" y="961330"/>
                </a:cubicBezTo>
              </a:path>
            </a:pathLst>
          </a:custGeom>
          <a:solidFill>
            <a:schemeClr val="accent1">
              <a:lumMod val="75000"/>
            </a:schemeClr>
          </a:solidFill>
          <a:ln w="12694" cap="flat">
            <a:noFill/>
            <a:prstDash val="solid"/>
            <a:miter/>
          </a:ln>
        </p:spPr>
        <p:txBody>
          <a:bodyPr rtlCol="0" anchor="ctr"/>
          <a:lstStyle/>
          <a:p>
            <a:endParaRPr lang="bg-BG" sz="1808"/>
          </a:p>
        </p:txBody>
      </p:sp>
      <p:sp>
        <p:nvSpPr>
          <p:cNvPr id="123" name="Свободна форма: фигура 30">
            <a:extLst>
              <a:ext uri="{FF2B5EF4-FFF2-40B4-BE49-F238E27FC236}">
                <a16:creationId xmlns:a16="http://schemas.microsoft.com/office/drawing/2014/main" id="{5E7ABF6C-325C-91BA-DBA8-1438EAD22CA6}"/>
              </a:ext>
            </a:extLst>
          </p:cNvPr>
          <p:cNvSpPr/>
          <p:nvPr/>
        </p:nvSpPr>
        <p:spPr>
          <a:xfrm>
            <a:off x="4607848" y="3593614"/>
            <a:ext cx="6226729" cy="856104"/>
          </a:xfrm>
          <a:custGeom>
            <a:avLst/>
            <a:gdLst>
              <a:gd name="connsiteX0" fmla="*/ 4179356 w 4660020"/>
              <a:gd name="connsiteY0" fmla="*/ 961330 h 961329"/>
              <a:gd name="connsiteX1" fmla="*/ 480665 w 4660020"/>
              <a:gd name="connsiteY1" fmla="*/ 961330 h 961329"/>
              <a:gd name="connsiteX2" fmla="*/ 0 w 4660020"/>
              <a:gd name="connsiteY2" fmla="*/ 480665 h 961329"/>
              <a:gd name="connsiteX3" fmla="*/ 480665 w 4660020"/>
              <a:gd name="connsiteY3" fmla="*/ 0 h 961329"/>
              <a:gd name="connsiteX4" fmla="*/ 4179356 w 4660020"/>
              <a:gd name="connsiteY4" fmla="*/ 0 h 961329"/>
              <a:gd name="connsiteX5" fmla="*/ 4660021 w 4660020"/>
              <a:gd name="connsiteY5" fmla="*/ 480665 h 961329"/>
              <a:gd name="connsiteX6" fmla="*/ 4179356 w 4660020"/>
              <a:gd name="connsiteY6" fmla="*/ 961330 h 96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60020" h="961329">
                <a:moveTo>
                  <a:pt x="4179356" y="961330"/>
                </a:moveTo>
                <a:lnTo>
                  <a:pt x="480665" y="961330"/>
                </a:lnTo>
                <a:cubicBezTo>
                  <a:pt x="215111" y="961330"/>
                  <a:pt x="0" y="746091"/>
                  <a:pt x="0" y="480665"/>
                </a:cubicBezTo>
                <a:cubicBezTo>
                  <a:pt x="0" y="215111"/>
                  <a:pt x="215238" y="0"/>
                  <a:pt x="480665" y="0"/>
                </a:cubicBezTo>
                <a:lnTo>
                  <a:pt x="4179356" y="0"/>
                </a:lnTo>
                <a:cubicBezTo>
                  <a:pt x="4444910" y="0"/>
                  <a:pt x="4660021" y="215238"/>
                  <a:pt x="4660021" y="480665"/>
                </a:cubicBezTo>
                <a:cubicBezTo>
                  <a:pt x="4660021" y="746091"/>
                  <a:pt x="4444783" y="961330"/>
                  <a:pt x="4179356" y="961330"/>
                </a:cubicBezTo>
              </a:path>
            </a:pathLst>
          </a:custGeom>
          <a:solidFill>
            <a:srgbClr val="92D050"/>
          </a:solidFill>
          <a:ln w="12694" cap="flat">
            <a:noFill/>
            <a:prstDash val="solid"/>
            <a:miter/>
          </a:ln>
        </p:spPr>
        <p:txBody>
          <a:bodyPr rtlCol="0" anchor="ctr"/>
          <a:lstStyle/>
          <a:p>
            <a:endParaRPr lang="bg-BG" sz="1808"/>
          </a:p>
        </p:txBody>
      </p:sp>
      <p:sp>
        <p:nvSpPr>
          <p:cNvPr id="121" name="Свободна форма: фигура 30">
            <a:extLst>
              <a:ext uri="{FF2B5EF4-FFF2-40B4-BE49-F238E27FC236}">
                <a16:creationId xmlns:a16="http://schemas.microsoft.com/office/drawing/2014/main" id="{062E565A-7AED-5F66-5930-B915BDE31C47}"/>
              </a:ext>
            </a:extLst>
          </p:cNvPr>
          <p:cNvSpPr/>
          <p:nvPr/>
        </p:nvSpPr>
        <p:spPr>
          <a:xfrm>
            <a:off x="4607848" y="5455371"/>
            <a:ext cx="6226729" cy="856104"/>
          </a:xfrm>
          <a:custGeom>
            <a:avLst/>
            <a:gdLst>
              <a:gd name="connsiteX0" fmla="*/ 4179356 w 4660020"/>
              <a:gd name="connsiteY0" fmla="*/ 961330 h 961329"/>
              <a:gd name="connsiteX1" fmla="*/ 480665 w 4660020"/>
              <a:gd name="connsiteY1" fmla="*/ 961330 h 961329"/>
              <a:gd name="connsiteX2" fmla="*/ 0 w 4660020"/>
              <a:gd name="connsiteY2" fmla="*/ 480665 h 961329"/>
              <a:gd name="connsiteX3" fmla="*/ 480665 w 4660020"/>
              <a:gd name="connsiteY3" fmla="*/ 0 h 961329"/>
              <a:gd name="connsiteX4" fmla="*/ 4179356 w 4660020"/>
              <a:gd name="connsiteY4" fmla="*/ 0 h 961329"/>
              <a:gd name="connsiteX5" fmla="*/ 4660021 w 4660020"/>
              <a:gd name="connsiteY5" fmla="*/ 480665 h 961329"/>
              <a:gd name="connsiteX6" fmla="*/ 4179356 w 4660020"/>
              <a:gd name="connsiteY6" fmla="*/ 961330 h 96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60020" h="961329">
                <a:moveTo>
                  <a:pt x="4179356" y="961330"/>
                </a:moveTo>
                <a:lnTo>
                  <a:pt x="480665" y="961330"/>
                </a:lnTo>
                <a:cubicBezTo>
                  <a:pt x="215111" y="961330"/>
                  <a:pt x="0" y="746091"/>
                  <a:pt x="0" y="480665"/>
                </a:cubicBezTo>
                <a:cubicBezTo>
                  <a:pt x="0" y="215111"/>
                  <a:pt x="215238" y="0"/>
                  <a:pt x="480665" y="0"/>
                </a:cubicBezTo>
                <a:lnTo>
                  <a:pt x="4179356" y="0"/>
                </a:lnTo>
                <a:cubicBezTo>
                  <a:pt x="4444910" y="0"/>
                  <a:pt x="4660021" y="215238"/>
                  <a:pt x="4660021" y="480665"/>
                </a:cubicBezTo>
                <a:cubicBezTo>
                  <a:pt x="4660021" y="746091"/>
                  <a:pt x="4444783" y="961330"/>
                  <a:pt x="4179356" y="961330"/>
                </a:cubicBezTo>
              </a:path>
            </a:pathLst>
          </a:custGeom>
          <a:solidFill>
            <a:srgbClr val="92D050"/>
          </a:solidFill>
          <a:ln w="12694" cap="flat">
            <a:noFill/>
            <a:prstDash val="solid"/>
            <a:miter/>
          </a:ln>
        </p:spPr>
        <p:txBody>
          <a:bodyPr rtlCol="0" anchor="ctr"/>
          <a:lstStyle/>
          <a:p>
            <a:endParaRPr lang="bg-BG" sz="1808"/>
          </a:p>
        </p:txBody>
      </p:sp>
      <p:sp>
        <p:nvSpPr>
          <p:cNvPr id="28" name="Свободна форма: фигура 27">
            <a:extLst>
              <a:ext uri="{FF2B5EF4-FFF2-40B4-BE49-F238E27FC236}">
                <a16:creationId xmlns:a16="http://schemas.microsoft.com/office/drawing/2014/main" id="{486C1E36-2E29-4BC2-99BB-7C456F28FA77}"/>
              </a:ext>
            </a:extLst>
          </p:cNvPr>
          <p:cNvSpPr/>
          <p:nvPr/>
        </p:nvSpPr>
        <p:spPr>
          <a:xfrm>
            <a:off x="4595148" y="2563796"/>
            <a:ext cx="526428" cy="882821"/>
          </a:xfrm>
          <a:custGeom>
            <a:avLst/>
            <a:gdLst>
              <a:gd name="connsiteX0" fmla="*/ 523992 w 523991"/>
              <a:gd name="connsiteY0" fmla="*/ 0 h 1047983"/>
              <a:gd name="connsiteX1" fmla="*/ 0 w 523991"/>
              <a:gd name="connsiteY1" fmla="*/ 523992 h 1047983"/>
              <a:gd name="connsiteX2" fmla="*/ 0 w 523991"/>
              <a:gd name="connsiteY2" fmla="*/ 523992 h 1047983"/>
              <a:gd name="connsiteX3" fmla="*/ 523992 w 523991"/>
              <a:gd name="connsiteY3" fmla="*/ 1047984 h 1047983"/>
            </a:gdLst>
            <a:ahLst/>
            <a:cxnLst>
              <a:cxn ang="0">
                <a:pos x="connsiteX0" y="connsiteY0"/>
              </a:cxn>
              <a:cxn ang="0">
                <a:pos x="connsiteX1" y="connsiteY1"/>
              </a:cxn>
              <a:cxn ang="0">
                <a:pos x="connsiteX2" y="connsiteY2"/>
              </a:cxn>
              <a:cxn ang="0">
                <a:pos x="connsiteX3" y="connsiteY3"/>
              </a:cxn>
            </a:cxnLst>
            <a:rect l="l" t="t" r="r" b="b"/>
            <a:pathLst>
              <a:path w="523991" h="1047983">
                <a:moveTo>
                  <a:pt x="523992" y="0"/>
                </a:moveTo>
                <a:cubicBezTo>
                  <a:pt x="234551" y="0"/>
                  <a:pt x="0" y="234551"/>
                  <a:pt x="0" y="523992"/>
                </a:cubicBezTo>
                <a:lnTo>
                  <a:pt x="0" y="523992"/>
                </a:lnTo>
                <a:cubicBezTo>
                  <a:pt x="0" y="813306"/>
                  <a:pt x="234551" y="1047984"/>
                  <a:pt x="523992" y="1047984"/>
                </a:cubicBezTo>
              </a:path>
            </a:pathLst>
          </a:custGeom>
          <a:solidFill>
            <a:schemeClr val="accent1">
              <a:lumMod val="75000"/>
            </a:schemeClr>
          </a:solidFill>
          <a:ln w="12694" cap="flat">
            <a:noFill/>
            <a:prstDash val="solid"/>
            <a:miter/>
          </a:ln>
        </p:spPr>
        <p:txBody>
          <a:bodyPr rtlCol="0" anchor="ctr"/>
          <a:lstStyle/>
          <a:p>
            <a:endParaRPr lang="bg-BG" sz="1808"/>
          </a:p>
        </p:txBody>
      </p:sp>
      <p:sp>
        <p:nvSpPr>
          <p:cNvPr id="31" name="Свободна форма: фигура 30">
            <a:extLst>
              <a:ext uri="{FF2B5EF4-FFF2-40B4-BE49-F238E27FC236}">
                <a16:creationId xmlns:a16="http://schemas.microsoft.com/office/drawing/2014/main" id="{309F0D7E-112E-4DB9-A94B-816109AC791E}"/>
              </a:ext>
            </a:extLst>
          </p:cNvPr>
          <p:cNvSpPr/>
          <p:nvPr/>
        </p:nvSpPr>
        <p:spPr>
          <a:xfrm>
            <a:off x="4607849" y="4508881"/>
            <a:ext cx="6226728" cy="881170"/>
          </a:xfrm>
          <a:custGeom>
            <a:avLst/>
            <a:gdLst>
              <a:gd name="connsiteX0" fmla="*/ 4179356 w 4660020"/>
              <a:gd name="connsiteY0" fmla="*/ 961330 h 961329"/>
              <a:gd name="connsiteX1" fmla="*/ 480665 w 4660020"/>
              <a:gd name="connsiteY1" fmla="*/ 961330 h 961329"/>
              <a:gd name="connsiteX2" fmla="*/ 0 w 4660020"/>
              <a:gd name="connsiteY2" fmla="*/ 480665 h 961329"/>
              <a:gd name="connsiteX3" fmla="*/ 480665 w 4660020"/>
              <a:gd name="connsiteY3" fmla="*/ 0 h 961329"/>
              <a:gd name="connsiteX4" fmla="*/ 4179356 w 4660020"/>
              <a:gd name="connsiteY4" fmla="*/ 0 h 961329"/>
              <a:gd name="connsiteX5" fmla="*/ 4660021 w 4660020"/>
              <a:gd name="connsiteY5" fmla="*/ 480665 h 961329"/>
              <a:gd name="connsiteX6" fmla="*/ 4179356 w 4660020"/>
              <a:gd name="connsiteY6" fmla="*/ 961330 h 96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60020" h="961329">
                <a:moveTo>
                  <a:pt x="4179356" y="961330"/>
                </a:moveTo>
                <a:lnTo>
                  <a:pt x="480665" y="961330"/>
                </a:lnTo>
                <a:cubicBezTo>
                  <a:pt x="215111" y="961330"/>
                  <a:pt x="0" y="746091"/>
                  <a:pt x="0" y="480665"/>
                </a:cubicBezTo>
                <a:cubicBezTo>
                  <a:pt x="0" y="215111"/>
                  <a:pt x="215238" y="0"/>
                  <a:pt x="480665" y="0"/>
                </a:cubicBezTo>
                <a:lnTo>
                  <a:pt x="4179356" y="0"/>
                </a:lnTo>
                <a:cubicBezTo>
                  <a:pt x="4444910" y="0"/>
                  <a:pt x="4660021" y="215238"/>
                  <a:pt x="4660021" y="480665"/>
                </a:cubicBezTo>
                <a:cubicBezTo>
                  <a:pt x="4660021" y="746091"/>
                  <a:pt x="4444783" y="961330"/>
                  <a:pt x="4179356" y="961330"/>
                </a:cubicBezTo>
              </a:path>
            </a:pathLst>
          </a:custGeom>
          <a:solidFill>
            <a:schemeClr val="accent1">
              <a:lumMod val="75000"/>
            </a:schemeClr>
          </a:solidFill>
          <a:ln w="12694" cap="flat">
            <a:noFill/>
            <a:prstDash val="solid"/>
            <a:miter/>
          </a:ln>
        </p:spPr>
        <p:txBody>
          <a:bodyPr rtlCol="0" anchor="ctr"/>
          <a:lstStyle/>
          <a:p>
            <a:endParaRPr lang="bg-BG" sz="1808"/>
          </a:p>
        </p:txBody>
      </p:sp>
      <p:grpSp>
        <p:nvGrpSpPr>
          <p:cNvPr id="13" name="Group 12">
            <a:extLst>
              <a:ext uri="{FF2B5EF4-FFF2-40B4-BE49-F238E27FC236}">
                <a16:creationId xmlns:a16="http://schemas.microsoft.com/office/drawing/2014/main" id="{E827246E-7879-4E8A-A27A-A4E4F0E4BD20}"/>
              </a:ext>
            </a:extLst>
          </p:cNvPr>
          <p:cNvGrpSpPr/>
          <p:nvPr/>
        </p:nvGrpSpPr>
        <p:grpSpPr>
          <a:xfrm>
            <a:off x="225307" y="3297221"/>
            <a:ext cx="2607763" cy="2089216"/>
            <a:chOff x="0" y="346360"/>
            <a:chExt cx="2595690" cy="2079544"/>
          </a:xfrm>
        </p:grpSpPr>
        <p:grpSp>
          <p:nvGrpSpPr>
            <p:cNvPr id="35" name="Графика 22">
              <a:extLst>
                <a:ext uri="{FF2B5EF4-FFF2-40B4-BE49-F238E27FC236}">
                  <a16:creationId xmlns:a16="http://schemas.microsoft.com/office/drawing/2014/main" id="{3D7C00EE-8DEA-49FC-9BFA-063CC6C739A6}"/>
                </a:ext>
              </a:extLst>
            </p:cNvPr>
            <p:cNvGrpSpPr/>
            <p:nvPr/>
          </p:nvGrpSpPr>
          <p:grpSpPr>
            <a:xfrm>
              <a:off x="0" y="1325865"/>
              <a:ext cx="1857135" cy="1100039"/>
              <a:chOff x="0" y="1325865"/>
              <a:chExt cx="1857135" cy="1100039"/>
            </a:xfrm>
            <a:solidFill>
              <a:schemeClr val="accent1"/>
            </a:solidFill>
          </p:grpSpPr>
          <p:sp>
            <p:nvSpPr>
              <p:cNvPr id="36" name="Свободна форма: фигура 35">
                <a:extLst>
                  <a:ext uri="{FF2B5EF4-FFF2-40B4-BE49-F238E27FC236}">
                    <a16:creationId xmlns:a16="http://schemas.microsoft.com/office/drawing/2014/main" id="{5CCAFFA6-4858-4724-879E-443010DCD181}"/>
                  </a:ext>
                </a:extLst>
              </p:cNvPr>
              <p:cNvSpPr/>
              <p:nvPr/>
            </p:nvSpPr>
            <p:spPr>
              <a:xfrm>
                <a:off x="0" y="1716439"/>
                <a:ext cx="767745" cy="709465"/>
              </a:xfrm>
              <a:custGeom>
                <a:avLst/>
                <a:gdLst>
                  <a:gd name="connsiteX0" fmla="*/ 607470 w 767745"/>
                  <a:gd name="connsiteY0" fmla="*/ 349159 h 709465"/>
                  <a:gd name="connsiteX1" fmla="*/ 0 w 767745"/>
                  <a:gd name="connsiteY1" fmla="*/ 0 h 709465"/>
                  <a:gd name="connsiteX2" fmla="*/ 0 w 767745"/>
                  <a:gd name="connsiteY2" fmla="*/ 475328 h 709465"/>
                  <a:gd name="connsiteX3" fmla="*/ 567192 w 767745"/>
                  <a:gd name="connsiteY3" fmla="*/ 709244 h 709465"/>
                  <a:gd name="connsiteX4" fmla="*/ 767310 w 767745"/>
                  <a:gd name="connsiteY4" fmla="*/ 518783 h 709465"/>
                  <a:gd name="connsiteX5" fmla="*/ 607470 w 767745"/>
                  <a:gd name="connsiteY5" fmla="*/ 349159 h 709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7745" h="709465">
                    <a:moveTo>
                      <a:pt x="607470" y="349159"/>
                    </a:moveTo>
                    <a:cubicBezTo>
                      <a:pt x="317140" y="272542"/>
                      <a:pt x="124518" y="125661"/>
                      <a:pt x="0" y="0"/>
                    </a:cubicBezTo>
                    <a:lnTo>
                      <a:pt x="0" y="475328"/>
                    </a:lnTo>
                    <a:cubicBezTo>
                      <a:pt x="110033" y="546354"/>
                      <a:pt x="368344" y="699334"/>
                      <a:pt x="567192" y="709244"/>
                    </a:cubicBezTo>
                    <a:cubicBezTo>
                      <a:pt x="722458" y="716995"/>
                      <a:pt x="767310" y="518783"/>
                      <a:pt x="767310" y="518783"/>
                    </a:cubicBezTo>
                    <a:cubicBezTo>
                      <a:pt x="767310" y="518783"/>
                      <a:pt x="784209" y="395789"/>
                      <a:pt x="607470" y="349159"/>
                    </a:cubicBezTo>
                  </a:path>
                </a:pathLst>
              </a:custGeom>
              <a:solidFill>
                <a:srgbClr val="BE1E2D"/>
              </a:solidFill>
              <a:ln w="12694" cap="flat">
                <a:noFill/>
                <a:prstDash val="solid"/>
                <a:miter/>
              </a:ln>
            </p:spPr>
            <p:txBody>
              <a:bodyPr rtlCol="0" anchor="ctr"/>
              <a:lstStyle/>
              <a:p>
                <a:endParaRPr lang="bg-BG" sz="1808"/>
              </a:p>
            </p:txBody>
          </p:sp>
          <p:sp>
            <p:nvSpPr>
              <p:cNvPr id="37" name="Свободна форма: фигура 36">
                <a:extLst>
                  <a:ext uri="{FF2B5EF4-FFF2-40B4-BE49-F238E27FC236}">
                    <a16:creationId xmlns:a16="http://schemas.microsoft.com/office/drawing/2014/main" id="{AA6B51D6-29F7-4628-808A-3BD0BC2AB28D}"/>
                  </a:ext>
                </a:extLst>
              </p:cNvPr>
              <p:cNvSpPr/>
              <p:nvPr/>
            </p:nvSpPr>
            <p:spPr>
              <a:xfrm>
                <a:off x="859084" y="1795216"/>
                <a:ext cx="397793" cy="393375"/>
              </a:xfrm>
              <a:custGeom>
                <a:avLst/>
                <a:gdLst>
                  <a:gd name="connsiteX0" fmla="*/ 397530 w 397793"/>
                  <a:gd name="connsiteY0" fmla="*/ 393375 h 393375"/>
                  <a:gd name="connsiteX1" fmla="*/ 325233 w 397793"/>
                  <a:gd name="connsiteY1" fmla="*/ 193257 h 393375"/>
                  <a:gd name="connsiteX2" fmla="*/ 208593 w 397793"/>
                  <a:gd name="connsiteY2" fmla="*/ 0 h 393375"/>
                  <a:gd name="connsiteX3" fmla="*/ 216 w 397793"/>
                  <a:gd name="connsiteY3" fmla="*/ 254627 h 393375"/>
                  <a:gd name="connsiteX4" fmla="*/ 77722 w 397793"/>
                  <a:gd name="connsiteY4" fmla="*/ 366058 h 393375"/>
                  <a:gd name="connsiteX5" fmla="*/ 137440 w 397793"/>
                  <a:gd name="connsiteY5" fmla="*/ 376603 h 393375"/>
                  <a:gd name="connsiteX6" fmla="*/ 350518 w 397793"/>
                  <a:gd name="connsiteY6" fmla="*/ 383973 h 39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7793" h="393375">
                    <a:moveTo>
                      <a:pt x="397530" y="393375"/>
                    </a:moveTo>
                    <a:cubicBezTo>
                      <a:pt x="400960" y="376349"/>
                      <a:pt x="370593" y="285756"/>
                      <a:pt x="325233" y="193257"/>
                    </a:cubicBezTo>
                    <a:cubicBezTo>
                      <a:pt x="295374" y="132396"/>
                      <a:pt x="229939" y="10546"/>
                      <a:pt x="208593" y="0"/>
                    </a:cubicBezTo>
                    <a:cubicBezTo>
                      <a:pt x="170094" y="5972"/>
                      <a:pt x="-7026" y="198721"/>
                      <a:pt x="216" y="254627"/>
                    </a:cubicBezTo>
                    <a:cubicBezTo>
                      <a:pt x="6315" y="302147"/>
                      <a:pt x="33505" y="348778"/>
                      <a:pt x="77722" y="366058"/>
                    </a:cubicBezTo>
                    <a:cubicBezTo>
                      <a:pt x="96527" y="373300"/>
                      <a:pt x="117110" y="375079"/>
                      <a:pt x="137440" y="376603"/>
                    </a:cubicBezTo>
                    <a:cubicBezTo>
                      <a:pt x="207322" y="381559"/>
                      <a:pt x="278348" y="384100"/>
                      <a:pt x="350518" y="383973"/>
                    </a:cubicBezTo>
                  </a:path>
                </a:pathLst>
              </a:custGeom>
              <a:solidFill>
                <a:srgbClr val="6C0C14"/>
              </a:solidFill>
              <a:ln w="12694" cap="flat">
                <a:noFill/>
                <a:prstDash val="solid"/>
                <a:miter/>
              </a:ln>
            </p:spPr>
            <p:txBody>
              <a:bodyPr rtlCol="0" anchor="ctr"/>
              <a:lstStyle/>
              <a:p>
                <a:endParaRPr lang="bg-BG" sz="1808"/>
              </a:p>
            </p:txBody>
          </p:sp>
          <p:sp>
            <p:nvSpPr>
              <p:cNvPr id="38" name="Свободна форма: фигура 37">
                <a:extLst>
                  <a:ext uri="{FF2B5EF4-FFF2-40B4-BE49-F238E27FC236}">
                    <a16:creationId xmlns:a16="http://schemas.microsoft.com/office/drawing/2014/main" id="{80577C83-6717-464C-BFDB-B9562D9E2B5E}"/>
                  </a:ext>
                </a:extLst>
              </p:cNvPr>
              <p:cNvSpPr/>
              <p:nvPr/>
            </p:nvSpPr>
            <p:spPr>
              <a:xfrm>
                <a:off x="241450" y="1819484"/>
                <a:ext cx="918471" cy="605912"/>
              </a:xfrm>
              <a:custGeom>
                <a:avLst/>
                <a:gdLst>
                  <a:gd name="connsiteX0" fmla="*/ 24484 w 918471"/>
                  <a:gd name="connsiteY0" fmla="*/ 248782 h 605912"/>
                  <a:gd name="connsiteX1" fmla="*/ 649615 w 918471"/>
                  <a:gd name="connsiteY1" fmla="*/ 102791 h 605912"/>
                  <a:gd name="connsiteX2" fmla="*/ 779596 w 918471"/>
                  <a:gd name="connsiteY2" fmla="*/ 0 h 605912"/>
                  <a:gd name="connsiteX3" fmla="*/ 840076 w 918471"/>
                  <a:gd name="connsiteY3" fmla="*/ 235441 h 605912"/>
                  <a:gd name="connsiteX4" fmla="*/ 918472 w 918471"/>
                  <a:gd name="connsiteY4" fmla="*/ 404175 h 605912"/>
                  <a:gd name="connsiteX5" fmla="*/ 629921 w 918471"/>
                  <a:gd name="connsiteY5" fmla="*/ 538096 h 605912"/>
                  <a:gd name="connsiteX6" fmla="*/ 250649 w 918471"/>
                  <a:gd name="connsiteY6" fmla="*/ 589427 h 605912"/>
                  <a:gd name="connsiteX7" fmla="*/ 24484 w 918471"/>
                  <a:gd name="connsiteY7" fmla="*/ 248782 h 605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8471" h="605912">
                    <a:moveTo>
                      <a:pt x="24484" y="248782"/>
                    </a:moveTo>
                    <a:cubicBezTo>
                      <a:pt x="373769" y="209775"/>
                      <a:pt x="552542" y="152217"/>
                      <a:pt x="649615" y="102791"/>
                    </a:cubicBezTo>
                    <a:cubicBezTo>
                      <a:pt x="751135" y="51078"/>
                      <a:pt x="779596" y="0"/>
                      <a:pt x="779596" y="0"/>
                    </a:cubicBezTo>
                    <a:cubicBezTo>
                      <a:pt x="779596" y="0"/>
                      <a:pt x="768161" y="137351"/>
                      <a:pt x="840076" y="235441"/>
                    </a:cubicBezTo>
                    <a:cubicBezTo>
                      <a:pt x="911992" y="333530"/>
                      <a:pt x="918472" y="404175"/>
                      <a:pt x="918472" y="404175"/>
                    </a:cubicBezTo>
                    <a:cubicBezTo>
                      <a:pt x="918472" y="404175"/>
                      <a:pt x="834867" y="464147"/>
                      <a:pt x="629921" y="538096"/>
                    </a:cubicBezTo>
                    <a:cubicBezTo>
                      <a:pt x="490283" y="588538"/>
                      <a:pt x="327266" y="630213"/>
                      <a:pt x="250649" y="589427"/>
                    </a:cubicBezTo>
                    <a:cubicBezTo>
                      <a:pt x="193600" y="559060"/>
                      <a:pt x="-82754" y="260725"/>
                      <a:pt x="24484" y="248782"/>
                    </a:cubicBezTo>
                  </a:path>
                </a:pathLst>
              </a:custGeom>
              <a:solidFill>
                <a:srgbClr val="BE1E2D"/>
              </a:solidFill>
              <a:ln w="12694" cap="flat">
                <a:noFill/>
                <a:prstDash val="solid"/>
                <a:miter/>
              </a:ln>
            </p:spPr>
            <p:txBody>
              <a:bodyPr rtlCol="0" anchor="ctr"/>
              <a:lstStyle/>
              <a:p>
                <a:endParaRPr lang="bg-BG" sz="1808"/>
              </a:p>
            </p:txBody>
          </p:sp>
          <p:sp>
            <p:nvSpPr>
              <p:cNvPr id="39" name="Свободна форма: фигура 38">
                <a:extLst>
                  <a:ext uri="{FF2B5EF4-FFF2-40B4-BE49-F238E27FC236}">
                    <a16:creationId xmlns:a16="http://schemas.microsoft.com/office/drawing/2014/main" id="{77D80E03-6F5F-468A-A353-25CD60FC8D3E}"/>
                  </a:ext>
                </a:extLst>
              </p:cNvPr>
              <p:cNvSpPr/>
              <p:nvPr/>
            </p:nvSpPr>
            <p:spPr>
              <a:xfrm>
                <a:off x="900743" y="1973353"/>
                <a:ext cx="259052" cy="342297"/>
              </a:xfrm>
              <a:custGeom>
                <a:avLst/>
                <a:gdLst>
                  <a:gd name="connsiteX0" fmla="*/ 6967 w 259052"/>
                  <a:gd name="connsiteY0" fmla="*/ 118292 h 342297"/>
                  <a:gd name="connsiteX1" fmla="*/ 34920 w 259052"/>
                  <a:gd name="connsiteY1" fmla="*/ 284613 h 342297"/>
                  <a:gd name="connsiteX2" fmla="*/ 78502 w 259052"/>
                  <a:gd name="connsiteY2" fmla="*/ 342297 h 342297"/>
                  <a:gd name="connsiteX3" fmla="*/ 259053 w 259052"/>
                  <a:gd name="connsiteY3" fmla="*/ 250434 h 342297"/>
                  <a:gd name="connsiteX4" fmla="*/ 180657 w 259052"/>
                  <a:gd name="connsiteY4" fmla="*/ 81699 h 342297"/>
                  <a:gd name="connsiteX5" fmla="*/ 139744 w 259052"/>
                  <a:gd name="connsiteY5" fmla="*/ 0 h 342297"/>
                  <a:gd name="connsiteX6" fmla="*/ 6967 w 259052"/>
                  <a:gd name="connsiteY6" fmla="*/ 118292 h 342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9052" h="342297">
                    <a:moveTo>
                      <a:pt x="6967" y="118292"/>
                    </a:moveTo>
                    <a:cubicBezTo>
                      <a:pt x="-10440" y="173054"/>
                      <a:pt x="6967" y="236203"/>
                      <a:pt x="34920" y="284613"/>
                    </a:cubicBezTo>
                    <a:cubicBezTo>
                      <a:pt x="47118" y="305831"/>
                      <a:pt x="61984" y="325017"/>
                      <a:pt x="78502" y="342297"/>
                    </a:cubicBezTo>
                    <a:cubicBezTo>
                      <a:pt x="205180" y="288933"/>
                      <a:pt x="259053" y="250434"/>
                      <a:pt x="259053" y="250434"/>
                    </a:cubicBezTo>
                    <a:cubicBezTo>
                      <a:pt x="259053" y="250434"/>
                      <a:pt x="252700" y="179789"/>
                      <a:pt x="180657" y="81699"/>
                    </a:cubicBezTo>
                    <a:cubicBezTo>
                      <a:pt x="161852" y="56033"/>
                      <a:pt x="148765" y="27826"/>
                      <a:pt x="139744" y="0"/>
                    </a:cubicBezTo>
                    <a:cubicBezTo>
                      <a:pt x="86125" y="24395"/>
                      <a:pt x="25518" y="60226"/>
                      <a:pt x="6967" y="118292"/>
                    </a:cubicBezTo>
                  </a:path>
                </a:pathLst>
              </a:custGeom>
              <a:solidFill>
                <a:srgbClr val="6C0C14"/>
              </a:solidFill>
              <a:ln w="12694" cap="flat">
                <a:noFill/>
                <a:prstDash val="solid"/>
                <a:miter/>
              </a:ln>
            </p:spPr>
            <p:txBody>
              <a:bodyPr rtlCol="0" anchor="ctr"/>
              <a:lstStyle/>
              <a:p>
                <a:endParaRPr lang="bg-BG" sz="1808"/>
              </a:p>
            </p:txBody>
          </p:sp>
          <p:sp>
            <p:nvSpPr>
              <p:cNvPr id="40" name="Свободна форма: фигура 39">
                <a:extLst>
                  <a:ext uri="{FF2B5EF4-FFF2-40B4-BE49-F238E27FC236}">
                    <a16:creationId xmlns:a16="http://schemas.microsoft.com/office/drawing/2014/main" id="{43342234-639E-42BF-9E53-7ABFDD0B199B}"/>
                  </a:ext>
                </a:extLst>
              </p:cNvPr>
              <p:cNvSpPr/>
              <p:nvPr/>
            </p:nvSpPr>
            <p:spPr>
              <a:xfrm>
                <a:off x="890368" y="1792293"/>
                <a:ext cx="366246" cy="443690"/>
              </a:xfrm>
              <a:custGeom>
                <a:avLst/>
                <a:gdLst>
                  <a:gd name="connsiteX0" fmla="*/ 268284 w 366246"/>
                  <a:gd name="connsiteY0" fmla="*/ 443691 h 443690"/>
                  <a:gd name="connsiteX1" fmla="*/ 174768 w 366246"/>
                  <a:gd name="connsiteY1" fmla="*/ 427681 h 443690"/>
                  <a:gd name="connsiteX2" fmla="*/ 5144 w 366246"/>
                  <a:gd name="connsiteY2" fmla="*/ 78904 h 443690"/>
                  <a:gd name="connsiteX3" fmla="*/ 173752 w 366246"/>
                  <a:gd name="connsiteY3" fmla="*/ 0 h 443690"/>
                  <a:gd name="connsiteX4" fmla="*/ 182011 w 366246"/>
                  <a:gd name="connsiteY4" fmla="*/ 4701 h 443690"/>
                  <a:gd name="connsiteX5" fmla="*/ 252020 w 366246"/>
                  <a:gd name="connsiteY5" fmla="*/ 238617 h 443690"/>
                  <a:gd name="connsiteX6" fmla="*/ 366246 w 366246"/>
                  <a:gd name="connsiteY6" fmla="*/ 396171 h 443690"/>
                  <a:gd name="connsiteX7" fmla="*/ 357479 w 366246"/>
                  <a:gd name="connsiteY7" fmla="*/ 405954 h 443690"/>
                  <a:gd name="connsiteX8" fmla="*/ 268284 w 366246"/>
                  <a:gd name="connsiteY8" fmla="*/ 443691 h 443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6246" h="443690">
                    <a:moveTo>
                      <a:pt x="268284" y="443691"/>
                    </a:moveTo>
                    <a:cubicBezTo>
                      <a:pt x="236138" y="441912"/>
                      <a:pt x="204627" y="437338"/>
                      <a:pt x="174768" y="427681"/>
                    </a:cubicBezTo>
                    <a:cubicBezTo>
                      <a:pt x="125088" y="411418"/>
                      <a:pt x="-30051" y="171784"/>
                      <a:pt x="5144" y="78904"/>
                    </a:cubicBezTo>
                    <a:cubicBezTo>
                      <a:pt x="81253" y="45868"/>
                      <a:pt x="173752" y="0"/>
                      <a:pt x="173752" y="0"/>
                    </a:cubicBezTo>
                    <a:lnTo>
                      <a:pt x="182011" y="4701"/>
                    </a:lnTo>
                    <a:cubicBezTo>
                      <a:pt x="182011" y="4701"/>
                      <a:pt x="181757" y="80428"/>
                      <a:pt x="252020" y="238617"/>
                    </a:cubicBezTo>
                    <a:cubicBezTo>
                      <a:pt x="301446" y="349794"/>
                      <a:pt x="366246" y="396171"/>
                      <a:pt x="366246" y="396171"/>
                    </a:cubicBezTo>
                    <a:lnTo>
                      <a:pt x="357479" y="405954"/>
                    </a:lnTo>
                    <a:cubicBezTo>
                      <a:pt x="357606" y="406081"/>
                      <a:pt x="326096" y="419931"/>
                      <a:pt x="268284" y="443691"/>
                    </a:cubicBezTo>
                  </a:path>
                </a:pathLst>
              </a:custGeom>
              <a:solidFill>
                <a:srgbClr val="BE1E2D"/>
              </a:solidFill>
              <a:ln w="12694" cap="flat">
                <a:noFill/>
                <a:prstDash val="solid"/>
                <a:miter/>
              </a:ln>
            </p:spPr>
            <p:txBody>
              <a:bodyPr rtlCol="0" anchor="ctr"/>
              <a:lstStyle/>
              <a:p>
                <a:endParaRPr lang="bg-BG" sz="1808"/>
              </a:p>
            </p:txBody>
          </p:sp>
          <p:sp>
            <p:nvSpPr>
              <p:cNvPr id="41" name="Свободна форма: фигура 40">
                <a:extLst>
                  <a:ext uri="{FF2B5EF4-FFF2-40B4-BE49-F238E27FC236}">
                    <a16:creationId xmlns:a16="http://schemas.microsoft.com/office/drawing/2014/main" id="{88E7E06C-BCE7-4034-89E8-BC851DFF088B}"/>
                  </a:ext>
                </a:extLst>
              </p:cNvPr>
              <p:cNvSpPr/>
              <p:nvPr/>
            </p:nvSpPr>
            <p:spPr>
              <a:xfrm>
                <a:off x="874749" y="1791785"/>
                <a:ext cx="373225" cy="486255"/>
              </a:xfrm>
              <a:custGeom>
                <a:avLst/>
                <a:gdLst>
                  <a:gd name="connsiteX0" fmla="*/ 194199 w 373225"/>
                  <a:gd name="connsiteY0" fmla="*/ 486255 h 486255"/>
                  <a:gd name="connsiteX1" fmla="*/ 57865 w 373225"/>
                  <a:gd name="connsiteY1" fmla="*/ 334166 h 486255"/>
                  <a:gd name="connsiteX2" fmla="*/ 6278 w 373225"/>
                  <a:gd name="connsiteY2" fmla="*/ 79539 h 486255"/>
                  <a:gd name="connsiteX3" fmla="*/ 189244 w 373225"/>
                  <a:gd name="connsiteY3" fmla="*/ 0 h 486255"/>
                  <a:gd name="connsiteX4" fmla="*/ 252646 w 373225"/>
                  <a:gd name="connsiteY4" fmla="*/ 244208 h 486255"/>
                  <a:gd name="connsiteX5" fmla="*/ 373225 w 373225"/>
                  <a:gd name="connsiteY5" fmla="*/ 406462 h 486255"/>
                  <a:gd name="connsiteX6" fmla="*/ 194199 w 373225"/>
                  <a:gd name="connsiteY6" fmla="*/ 486255 h 486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3225" h="486255">
                    <a:moveTo>
                      <a:pt x="194199" y="486255"/>
                    </a:moveTo>
                    <a:cubicBezTo>
                      <a:pt x="142613" y="469229"/>
                      <a:pt x="78956" y="380669"/>
                      <a:pt x="57865" y="334166"/>
                    </a:cubicBezTo>
                    <a:cubicBezTo>
                      <a:pt x="14918" y="239506"/>
                      <a:pt x="-13162" y="138113"/>
                      <a:pt x="6278" y="79539"/>
                    </a:cubicBezTo>
                    <a:cubicBezTo>
                      <a:pt x="97126" y="39897"/>
                      <a:pt x="189244" y="0"/>
                      <a:pt x="189244" y="0"/>
                    </a:cubicBezTo>
                    <a:cubicBezTo>
                      <a:pt x="189244" y="0"/>
                      <a:pt x="185305" y="111812"/>
                      <a:pt x="252646" y="244208"/>
                    </a:cubicBezTo>
                    <a:cubicBezTo>
                      <a:pt x="312491" y="362246"/>
                      <a:pt x="373225" y="406462"/>
                      <a:pt x="373225" y="406462"/>
                    </a:cubicBezTo>
                    <a:cubicBezTo>
                      <a:pt x="373225" y="406462"/>
                      <a:pt x="310458" y="443055"/>
                      <a:pt x="194199" y="486255"/>
                    </a:cubicBezTo>
                  </a:path>
                </a:pathLst>
              </a:custGeom>
              <a:solidFill>
                <a:srgbClr val="F05A28"/>
              </a:solidFill>
              <a:ln w="12694" cap="flat">
                <a:noFill/>
                <a:prstDash val="solid"/>
                <a:miter/>
              </a:ln>
            </p:spPr>
            <p:txBody>
              <a:bodyPr rtlCol="0" anchor="ctr"/>
              <a:lstStyle/>
              <a:p>
                <a:endParaRPr lang="bg-BG" sz="1808"/>
              </a:p>
            </p:txBody>
          </p:sp>
          <p:sp>
            <p:nvSpPr>
              <p:cNvPr id="42" name="Свободна форма: фигура 41">
                <a:extLst>
                  <a:ext uri="{FF2B5EF4-FFF2-40B4-BE49-F238E27FC236}">
                    <a16:creationId xmlns:a16="http://schemas.microsoft.com/office/drawing/2014/main" id="{D9AFD924-DC0F-41B5-A1DB-BF6F37666F2E}"/>
                  </a:ext>
                </a:extLst>
              </p:cNvPr>
              <p:cNvSpPr/>
              <p:nvPr/>
            </p:nvSpPr>
            <p:spPr>
              <a:xfrm>
                <a:off x="874281" y="1791912"/>
                <a:ext cx="198860" cy="191732"/>
              </a:xfrm>
              <a:custGeom>
                <a:avLst/>
                <a:gdLst>
                  <a:gd name="connsiteX0" fmla="*/ 198860 w 198860"/>
                  <a:gd name="connsiteY0" fmla="*/ 119563 h 191732"/>
                  <a:gd name="connsiteX1" fmla="*/ 9288 w 198860"/>
                  <a:gd name="connsiteY1" fmla="*/ 191732 h 191732"/>
                  <a:gd name="connsiteX2" fmla="*/ 6747 w 198860"/>
                  <a:gd name="connsiteY2" fmla="*/ 79539 h 191732"/>
                  <a:gd name="connsiteX3" fmla="*/ 189712 w 198860"/>
                  <a:gd name="connsiteY3" fmla="*/ 0 h 191732"/>
                  <a:gd name="connsiteX4" fmla="*/ 198860 w 198860"/>
                  <a:gd name="connsiteY4" fmla="*/ 119563 h 191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860" h="191732">
                    <a:moveTo>
                      <a:pt x="198860" y="119563"/>
                    </a:moveTo>
                    <a:cubicBezTo>
                      <a:pt x="167731" y="133158"/>
                      <a:pt x="27966" y="169243"/>
                      <a:pt x="9288" y="191732"/>
                    </a:cubicBezTo>
                    <a:cubicBezTo>
                      <a:pt x="4714" y="160857"/>
                      <a:pt x="-7611" y="117276"/>
                      <a:pt x="6747" y="79539"/>
                    </a:cubicBezTo>
                    <a:cubicBezTo>
                      <a:pt x="97594" y="39897"/>
                      <a:pt x="189712" y="0"/>
                      <a:pt x="189712" y="0"/>
                    </a:cubicBezTo>
                    <a:cubicBezTo>
                      <a:pt x="189712" y="0"/>
                      <a:pt x="178149" y="37864"/>
                      <a:pt x="198860" y="119563"/>
                    </a:cubicBezTo>
                  </a:path>
                </a:pathLst>
              </a:custGeom>
              <a:solidFill>
                <a:srgbClr val="FFFFFF">
                  <a:alpha val="20000"/>
                </a:srgbClr>
              </a:solidFill>
              <a:ln w="12694" cap="flat">
                <a:noFill/>
                <a:prstDash val="solid"/>
                <a:miter/>
              </a:ln>
            </p:spPr>
            <p:txBody>
              <a:bodyPr rtlCol="0" anchor="ctr"/>
              <a:lstStyle/>
              <a:p>
                <a:endParaRPr lang="bg-BG" sz="1808"/>
              </a:p>
            </p:txBody>
          </p:sp>
          <p:sp>
            <p:nvSpPr>
              <p:cNvPr id="43" name="Свободна форма: фигура 42">
                <a:extLst>
                  <a:ext uri="{FF2B5EF4-FFF2-40B4-BE49-F238E27FC236}">
                    <a16:creationId xmlns:a16="http://schemas.microsoft.com/office/drawing/2014/main" id="{C1EACE64-6B2C-4F06-A236-96585C6ED8A9}"/>
                  </a:ext>
                </a:extLst>
              </p:cNvPr>
              <p:cNvSpPr/>
              <p:nvPr/>
            </p:nvSpPr>
            <p:spPr>
              <a:xfrm>
                <a:off x="896402" y="1950990"/>
                <a:ext cx="190969" cy="94913"/>
              </a:xfrm>
              <a:custGeom>
                <a:avLst/>
                <a:gdLst>
                  <a:gd name="connsiteX0" fmla="*/ 8767 w 190969"/>
                  <a:gd name="connsiteY0" fmla="*/ 94913 h 94913"/>
                  <a:gd name="connsiteX1" fmla="*/ 0 w 190969"/>
                  <a:gd name="connsiteY1" fmla="*/ 58574 h 94913"/>
                  <a:gd name="connsiteX2" fmla="*/ 185887 w 190969"/>
                  <a:gd name="connsiteY2" fmla="*/ 0 h 94913"/>
                  <a:gd name="connsiteX3" fmla="*/ 190970 w 190969"/>
                  <a:gd name="connsiteY3" fmla="*/ 20075 h 94913"/>
                  <a:gd name="connsiteX4" fmla="*/ 8767 w 190969"/>
                  <a:gd name="connsiteY4" fmla="*/ 94913 h 949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969" h="94913">
                    <a:moveTo>
                      <a:pt x="8767" y="94913"/>
                    </a:moveTo>
                    <a:cubicBezTo>
                      <a:pt x="5082" y="82970"/>
                      <a:pt x="2160" y="70899"/>
                      <a:pt x="0" y="58574"/>
                    </a:cubicBezTo>
                    <a:cubicBezTo>
                      <a:pt x="55398" y="33798"/>
                      <a:pt x="125534" y="14993"/>
                      <a:pt x="185887" y="0"/>
                    </a:cubicBezTo>
                    <a:cubicBezTo>
                      <a:pt x="186269" y="6734"/>
                      <a:pt x="190080" y="13341"/>
                      <a:pt x="190970" y="20075"/>
                    </a:cubicBezTo>
                    <a:cubicBezTo>
                      <a:pt x="131379" y="37864"/>
                      <a:pt x="58955" y="61370"/>
                      <a:pt x="8767" y="94913"/>
                    </a:cubicBezTo>
                  </a:path>
                </a:pathLst>
              </a:custGeom>
              <a:solidFill>
                <a:srgbClr val="FFFFFF">
                  <a:alpha val="20000"/>
                </a:srgbClr>
              </a:solidFill>
              <a:ln w="12694" cap="flat">
                <a:noFill/>
                <a:prstDash val="solid"/>
                <a:miter/>
              </a:ln>
            </p:spPr>
            <p:txBody>
              <a:bodyPr rtlCol="0" anchor="ctr"/>
              <a:lstStyle/>
              <a:p>
                <a:endParaRPr lang="bg-BG" sz="1808"/>
              </a:p>
            </p:txBody>
          </p:sp>
          <p:sp>
            <p:nvSpPr>
              <p:cNvPr id="44" name="Свободна форма: фигура 43">
                <a:extLst>
                  <a:ext uri="{FF2B5EF4-FFF2-40B4-BE49-F238E27FC236}">
                    <a16:creationId xmlns:a16="http://schemas.microsoft.com/office/drawing/2014/main" id="{D1D13FA0-74DA-46E4-85FB-D8FF0993EB70}"/>
                  </a:ext>
                </a:extLst>
              </p:cNvPr>
              <p:cNvSpPr/>
              <p:nvPr/>
            </p:nvSpPr>
            <p:spPr>
              <a:xfrm>
                <a:off x="911903" y="1983009"/>
                <a:ext cx="186904" cy="83985"/>
              </a:xfrm>
              <a:custGeom>
                <a:avLst/>
                <a:gdLst>
                  <a:gd name="connsiteX0" fmla="*/ 2922 w 186904"/>
                  <a:gd name="connsiteY0" fmla="*/ 83986 h 83985"/>
                  <a:gd name="connsiteX1" fmla="*/ 0 w 186904"/>
                  <a:gd name="connsiteY1" fmla="*/ 76362 h 83985"/>
                  <a:gd name="connsiteX2" fmla="*/ 184998 w 186904"/>
                  <a:gd name="connsiteY2" fmla="*/ 0 h 83985"/>
                  <a:gd name="connsiteX3" fmla="*/ 186904 w 186904"/>
                  <a:gd name="connsiteY3" fmla="*/ 9529 h 83985"/>
                  <a:gd name="connsiteX4" fmla="*/ 2922 w 186904"/>
                  <a:gd name="connsiteY4" fmla="*/ 83986 h 83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904" h="83985">
                    <a:moveTo>
                      <a:pt x="2922" y="83986"/>
                    </a:moveTo>
                    <a:cubicBezTo>
                      <a:pt x="5082" y="82334"/>
                      <a:pt x="889" y="78904"/>
                      <a:pt x="0" y="76362"/>
                    </a:cubicBezTo>
                    <a:cubicBezTo>
                      <a:pt x="49045" y="42692"/>
                      <a:pt x="126043" y="17407"/>
                      <a:pt x="184998" y="0"/>
                    </a:cubicBezTo>
                    <a:cubicBezTo>
                      <a:pt x="185506" y="3176"/>
                      <a:pt x="186269" y="6353"/>
                      <a:pt x="186904" y="9529"/>
                    </a:cubicBezTo>
                    <a:cubicBezTo>
                      <a:pt x="127313" y="22489"/>
                      <a:pt x="43327" y="51332"/>
                      <a:pt x="2922" y="83986"/>
                    </a:cubicBezTo>
                  </a:path>
                </a:pathLst>
              </a:custGeom>
              <a:solidFill>
                <a:srgbClr val="FFFFFF">
                  <a:alpha val="20000"/>
                </a:srgbClr>
              </a:solidFill>
              <a:ln w="12694" cap="flat">
                <a:noFill/>
                <a:prstDash val="solid"/>
                <a:miter/>
              </a:ln>
            </p:spPr>
            <p:txBody>
              <a:bodyPr rtlCol="0" anchor="ctr"/>
              <a:lstStyle/>
              <a:p>
                <a:endParaRPr lang="bg-BG" sz="1808"/>
              </a:p>
            </p:txBody>
          </p:sp>
          <p:sp>
            <p:nvSpPr>
              <p:cNvPr id="45" name="Свободна форма: фигура 44">
                <a:extLst>
                  <a:ext uri="{FF2B5EF4-FFF2-40B4-BE49-F238E27FC236}">
                    <a16:creationId xmlns:a16="http://schemas.microsoft.com/office/drawing/2014/main" id="{A2C0CC67-64C9-4379-9C1B-35D22AD56E19}"/>
                  </a:ext>
                </a:extLst>
              </p:cNvPr>
              <p:cNvSpPr/>
              <p:nvPr/>
            </p:nvSpPr>
            <p:spPr>
              <a:xfrm>
                <a:off x="1007197" y="1936505"/>
                <a:ext cx="65943" cy="21600"/>
              </a:xfrm>
              <a:custGeom>
                <a:avLst/>
                <a:gdLst>
                  <a:gd name="connsiteX0" fmla="*/ 0 w 65943"/>
                  <a:gd name="connsiteY0" fmla="*/ 21600 h 21600"/>
                  <a:gd name="connsiteX1" fmla="*/ 65817 w 65943"/>
                  <a:gd name="connsiteY1" fmla="*/ 0 h 21600"/>
                  <a:gd name="connsiteX2" fmla="*/ 65944 w 65943"/>
                  <a:gd name="connsiteY2" fmla="*/ 4447 h 21600"/>
                  <a:gd name="connsiteX3" fmla="*/ 0 w 65943"/>
                  <a:gd name="connsiteY3" fmla="*/ 21600 h 21600"/>
                </a:gdLst>
                <a:ahLst/>
                <a:cxnLst>
                  <a:cxn ang="0">
                    <a:pos x="connsiteX0" y="connsiteY0"/>
                  </a:cxn>
                  <a:cxn ang="0">
                    <a:pos x="connsiteX1" y="connsiteY1"/>
                  </a:cxn>
                  <a:cxn ang="0">
                    <a:pos x="connsiteX2" y="connsiteY2"/>
                  </a:cxn>
                  <a:cxn ang="0">
                    <a:pos x="connsiteX3" y="connsiteY3"/>
                  </a:cxn>
                </a:cxnLst>
                <a:rect l="l" t="t" r="r" b="b"/>
                <a:pathLst>
                  <a:path w="65943" h="21600">
                    <a:moveTo>
                      <a:pt x="0" y="21600"/>
                    </a:moveTo>
                    <a:cubicBezTo>
                      <a:pt x="21727" y="13849"/>
                      <a:pt x="43581" y="6353"/>
                      <a:pt x="65817" y="0"/>
                    </a:cubicBezTo>
                    <a:cubicBezTo>
                      <a:pt x="65817" y="1525"/>
                      <a:pt x="65817" y="2922"/>
                      <a:pt x="65944" y="4447"/>
                    </a:cubicBezTo>
                    <a:cubicBezTo>
                      <a:pt x="43708" y="10038"/>
                      <a:pt x="21727" y="15628"/>
                      <a:pt x="0" y="21600"/>
                    </a:cubicBezTo>
                  </a:path>
                </a:pathLst>
              </a:custGeom>
              <a:solidFill>
                <a:srgbClr val="FFFFFF">
                  <a:alpha val="20000"/>
                </a:srgbClr>
              </a:solidFill>
              <a:ln w="12694" cap="flat">
                <a:noFill/>
                <a:prstDash val="solid"/>
                <a:miter/>
              </a:ln>
            </p:spPr>
            <p:txBody>
              <a:bodyPr rtlCol="0" anchor="ctr"/>
              <a:lstStyle/>
              <a:p>
                <a:endParaRPr lang="bg-BG" sz="1808"/>
              </a:p>
            </p:txBody>
          </p:sp>
          <p:sp>
            <p:nvSpPr>
              <p:cNvPr id="46" name="Свободна форма: фигура 45">
                <a:extLst>
                  <a:ext uri="{FF2B5EF4-FFF2-40B4-BE49-F238E27FC236}">
                    <a16:creationId xmlns:a16="http://schemas.microsoft.com/office/drawing/2014/main" id="{10205AA1-C812-4C67-9E52-06DE084DDE2D}"/>
                  </a:ext>
                </a:extLst>
              </p:cNvPr>
              <p:cNvSpPr/>
              <p:nvPr/>
            </p:nvSpPr>
            <p:spPr>
              <a:xfrm>
                <a:off x="1004148" y="2123791"/>
                <a:ext cx="163906" cy="95675"/>
              </a:xfrm>
              <a:custGeom>
                <a:avLst/>
                <a:gdLst>
                  <a:gd name="connsiteX0" fmla="*/ 6607 w 163906"/>
                  <a:gd name="connsiteY0" fmla="*/ 95676 h 95675"/>
                  <a:gd name="connsiteX1" fmla="*/ 0 w 163906"/>
                  <a:gd name="connsiteY1" fmla="*/ 85765 h 95675"/>
                  <a:gd name="connsiteX2" fmla="*/ 156537 w 163906"/>
                  <a:gd name="connsiteY2" fmla="*/ 0 h 95675"/>
                  <a:gd name="connsiteX3" fmla="*/ 163906 w 163906"/>
                  <a:gd name="connsiteY3" fmla="*/ 8513 h 95675"/>
                  <a:gd name="connsiteX4" fmla="*/ 6607 w 163906"/>
                  <a:gd name="connsiteY4" fmla="*/ 95676 h 95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906" h="95675">
                    <a:moveTo>
                      <a:pt x="6607" y="95676"/>
                    </a:moveTo>
                    <a:cubicBezTo>
                      <a:pt x="2668" y="93262"/>
                      <a:pt x="3812" y="88433"/>
                      <a:pt x="0" y="85765"/>
                    </a:cubicBezTo>
                    <a:cubicBezTo>
                      <a:pt x="48537" y="60226"/>
                      <a:pt x="109017" y="30240"/>
                      <a:pt x="156537" y="0"/>
                    </a:cubicBezTo>
                    <a:cubicBezTo>
                      <a:pt x="160603" y="2287"/>
                      <a:pt x="159713" y="6480"/>
                      <a:pt x="163906" y="8513"/>
                    </a:cubicBezTo>
                    <a:cubicBezTo>
                      <a:pt x="114861" y="37228"/>
                      <a:pt x="53746" y="66833"/>
                      <a:pt x="6607" y="95676"/>
                    </a:cubicBezTo>
                  </a:path>
                </a:pathLst>
              </a:custGeom>
              <a:solidFill>
                <a:srgbClr val="000000">
                  <a:alpha val="20000"/>
                </a:srgbClr>
              </a:solidFill>
              <a:ln w="12694" cap="flat">
                <a:noFill/>
                <a:prstDash val="solid"/>
                <a:miter/>
              </a:ln>
            </p:spPr>
            <p:txBody>
              <a:bodyPr rtlCol="0" anchor="ctr"/>
              <a:lstStyle/>
              <a:p>
                <a:endParaRPr lang="bg-BG" sz="1808"/>
              </a:p>
            </p:txBody>
          </p:sp>
          <p:sp>
            <p:nvSpPr>
              <p:cNvPr id="47" name="Свободна форма: фигура 46">
                <a:extLst>
                  <a:ext uri="{FF2B5EF4-FFF2-40B4-BE49-F238E27FC236}">
                    <a16:creationId xmlns:a16="http://schemas.microsoft.com/office/drawing/2014/main" id="{8ACC8A2F-191F-419C-AA5E-25018376459B}"/>
                  </a:ext>
                </a:extLst>
              </p:cNvPr>
              <p:cNvSpPr/>
              <p:nvPr/>
            </p:nvSpPr>
            <p:spPr>
              <a:xfrm>
                <a:off x="1014821" y="2143104"/>
                <a:ext cx="219685" cy="127694"/>
              </a:xfrm>
              <a:custGeom>
                <a:avLst/>
                <a:gdLst>
                  <a:gd name="connsiteX0" fmla="*/ 172165 w 219685"/>
                  <a:gd name="connsiteY0" fmla="*/ 74202 h 127694"/>
                  <a:gd name="connsiteX1" fmla="*/ 52348 w 219685"/>
                  <a:gd name="connsiteY1" fmla="*/ 127694 h 127694"/>
                  <a:gd name="connsiteX2" fmla="*/ 0 w 219685"/>
                  <a:gd name="connsiteY2" fmla="*/ 86781 h 127694"/>
                  <a:gd name="connsiteX3" fmla="*/ 159332 w 219685"/>
                  <a:gd name="connsiteY3" fmla="*/ 0 h 127694"/>
                  <a:gd name="connsiteX4" fmla="*/ 219685 w 219685"/>
                  <a:gd name="connsiteY4" fmla="*/ 53365 h 127694"/>
                  <a:gd name="connsiteX5" fmla="*/ 172165 w 219685"/>
                  <a:gd name="connsiteY5" fmla="*/ 74202 h 127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685" h="127694">
                    <a:moveTo>
                      <a:pt x="172165" y="74202"/>
                    </a:moveTo>
                    <a:cubicBezTo>
                      <a:pt x="124772" y="96311"/>
                      <a:pt x="99741" y="108890"/>
                      <a:pt x="52348" y="127694"/>
                    </a:cubicBezTo>
                    <a:cubicBezTo>
                      <a:pt x="34306" y="125026"/>
                      <a:pt x="12833" y="93897"/>
                      <a:pt x="0" y="86781"/>
                    </a:cubicBezTo>
                    <a:cubicBezTo>
                      <a:pt x="48028" y="58066"/>
                      <a:pt x="109779" y="29478"/>
                      <a:pt x="159332" y="0"/>
                    </a:cubicBezTo>
                    <a:cubicBezTo>
                      <a:pt x="173436" y="11944"/>
                      <a:pt x="197069" y="47266"/>
                      <a:pt x="219685" y="53365"/>
                    </a:cubicBezTo>
                    <a:cubicBezTo>
                      <a:pt x="202659" y="61624"/>
                      <a:pt x="188429" y="66706"/>
                      <a:pt x="172165" y="74202"/>
                    </a:cubicBezTo>
                  </a:path>
                </a:pathLst>
              </a:custGeom>
              <a:solidFill>
                <a:srgbClr val="000000">
                  <a:alpha val="20000"/>
                </a:srgbClr>
              </a:solidFill>
              <a:ln w="12694" cap="flat">
                <a:noFill/>
                <a:prstDash val="solid"/>
                <a:miter/>
              </a:ln>
            </p:spPr>
            <p:txBody>
              <a:bodyPr rtlCol="0" anchor="ctr"/>
              <a:lstStyle/>
              <a:p>
                <a:endParaRPr lang="bg-BG" sz="1808"/>
              </a:p>
            </p:txBody>
          </p:sp>
          <p:sp>
            <p:nvSpPr>
              <p:cNvPr id="48" name="Свободна форма: фигура 47">
                <a:extLst>
                  <a:ext uri="{FF2B5EF4-FFF2-40B4-BE49-F238E27FC236}">
                    <a16:creationId xmlns:a16="http://schemas.microsoft.com/office/drawing/2014/main" id="{E87E36E0-9AD4-4D8C-87BC-4B972760915B}"/>
                  </a:ext>
                </a:extLst>
              </p:cNvPr>
              <p:cNvSpPr/>
              <p:nvPr/>
            </p:nvSpPr>
            <p:spPr>
              <a:xfrm>
                <a:off x="1251212" y="1454951"/>
                <a:ext cx="592980" cy="694632"/>
              </a:xfrm>
              <a:custGeom>
                <a:avLst/>
                <a:gdLst>
                  <a:gd name="connsiteX0" fmla="*/ 7054 w 592980"/>
                  <a:gd name="connsiteY0" fmla="*/ 466561 h 694632"/>
                  <a:gd name="connsiteX1" fmla="*/ 329149 w 592980"/>
                  <a:gd name="connsiteY1" fmla="*/ 122612 h 694632"/>
                  <a:gd name="connsiteX2" fmla="*/ 514020 w 592980"/>
                  <a:gd name="connsiteY2" fmla="*/ 0 h 694632"/>
                  <a:gd name="connsiteX3" fmla="*/ 550613 w 592980"/>
                  <a:gd name="connsiteY3" fmla="*/ 154504 h 694632"/>
                  <a:gd name="connsiteX4" fmla="*/ 472599 w 592980"/>
                  <a:gd name="connsiteY4" fmla="*/ 208885 h 694632"/>
                  <a:gd name="connsiteX5" fmla="*/ 410721 w 592980"/>
                  <a:gd name="connsiteY5" fmla="*/ 577103 h 694632"/>
                  <a:gd name="connsiteX6" fmla="*/ 139958 w 592980"/>
                  <a:gd name="connsiteY6" fmla="*/ 694632 h 694632"/>
                  <a:gd name="connsiteX7" fmla="*/ 7054 w 592980"/>
                  <a:gd name="connsiteY7" fmla="*/ 466561 h 694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2980" h="694632">
                    <a:moveTo>
                      <a:pt x="7054" y="466561"/>
                    </a:moveTo>
                    <a:cubicBezTo>
                      <a:pt x="51017" y="330100"/>
                      <a:pt x="329149" y="122612"/>
                      <a:pt x="329149" y="122612"/>
                    </a:cubicBezTo>
                    <a:cubicBezTo>
                      <a:pt x="343380" y="107873"/>
                      <a:pt x="514020" y="0"/>
                      <a:pt x="514020" y="0"/>
                    </a:cubicBezTo>
                    <a:cubicBezTo>
                      <a:pt x="514020" y="0"/>
                      <a:pt x="663950" y="32781"/>
                      <a:pt x="550613" y="154504"/>
                    </a:cubicBezTo>
                    <a:cubicBezTo>
                      <a:pt x="539051" y="166956"/>
                      <a:pt x="487592" y="209775"/>
                      <a:pt x="472599" y="208885"/>
                    </a:cubicBezTo>
                    <a:lnTo>
                      <a:pt x="410721" y="577103"/>
                    </a:lnTo>
                    <a:lnTo>
                      <a:pt x="139958" y="694632"/>
                    </a:lnTo>
                    <a:cubicBezTo>
                      <a:pt x="139958" y="694632"/>
                      <a:pt x="-37035" y="603023"/>
                      <a:pt x="7054" y="466561"/>
                    </a:cubicBezTo>
                  </a:path>
                </a:pathLst>
              </a:custGeom>
              <a:solidFill>
                <a:srgbClr val="F4B79C"/>
              </a:solidFill>
              <a:ln w="12694" cap="flat">
                <a:noFill/>
                <a:prstDash val="solid"/>
                <a:miter/>
              </a:ln>
            </p:spPr>
            <p:txBody>
              <a:bodyPr rtlCol="0" anchor="ctr"/>
              <a:lstStyle/>
              <a:p>
                <a:endParaRPr lang="bg-BG" sz="1808"/>
              </a:p>
            </p:txBody>
          </p:sp>
          <p:sp>
            <p:nvSpPr>
              <p:cNvPr id="49" name="Свободна форма: фигура 48">
                <a:extLst>
                  <a:ext uri="{FF2B5EF4-FFF2-40B4-BE49-F238E27FC236}">
                    <a16:creationId xmlns:a16="http://schemas.microsoft.com/office/drawing/2014/main" id="{E6F400E8-3586-4223-99F7-7D86A4784D99}"/>
                  </a:ext>
                </a:extLst>
              </p:cNvPr>
              <p:cNvSpPr/>
              <p:nvPr/>
            </p:nvSpPr>
            <p:spPr>
              <a:xfrm>
                <a:off x="1162729" y="1325865"/>
                <a:ext cx="621558" cy="608141"/>
              </a:xfrm>
              <a:custGeom>
                <a:avLst/>
                <a:gdLst>
                  <a:gd name="connsiteX0" fmla="*/ 267321 w 621558"/>
                  <a:gd name="connsiteY0" fmla="*/ 186771 h 608141"/>
                  <a:gd name="connsiteX1" fmla="*/ 545962 w 621558"/>
                  <a:gd name="connsiteY1" fmla="*/ 10286 h 608141"/>
                  <a:gd name="connsiteX2" fmla="*/ 607712 w 621558"/>
                  <a:gd name="connsiteY2" fmla="*/ 15876 h 608141"/>
                  <a:gd name="connsiteX3" fmla="*/ 526140 w 621558"/>
                  <a:gd name="connsiteY3" fmla="*/ 218663 h 608141"/>
                  <a:gd name="connsiteX4" fmla="*/ 438597 w 621558"/>
                  <a:gd name="connsiteY4" fmla="*/ 304555 h 608141"/>
                  <a:gd name="connsiteX5" fmla="*/ 392220 w 621558"/>
                  <a:gd name="connsiteY5" fmla="*/ 439873 h 608141"/>
                  <a:gd name="connsiteX6" fmla="*/ 181175 w 621558"/>
                  <a:gd name="connsiteY6" fmla="*/ 592217 h 608141"/>
                  <a:gd name="connsiteX7" fmla="*/ 7739 w 621558"/>
                  <a:gd name="connsiteY7" fmla="*/ 462616 h 608141"/>
                  <a:gd name="connsiteX8" fmla="*/ 81815 w 621558"/>
                  <a:gd name="connsiteY8" fmla="*/ 287148 h 608141"/>
                  <a:gd name="connsiteX9" fmla="*/ 267321 w 621558"/>
                  <a:gd name="connsiteY9" fmla="*/ 186771 h 60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1558" h="608141">
                    <a:moveTo>
                      <a:pt x="267321" y="186771"/>
                    </a:moveTo>
                    <a:cubicBezTo>
                      <a:pt x="382564" y="167966"/>
                      <a:pt x="510258" y="49293"/>
                      <a:pt x="545962" y="10286"/>
                    </a:cubicBezTo>
                    <a:cubicBezTo>
                      <a:pt x="569722" y="-15761"/>
                      <a:pt x="607712" y="15876"/>
                      <a:pt x="607712" y="15876"/>
                    </a:cubicBezTo>
                    <a:cubicBezTo>
                      <a:pt x="607712" y="15876"/>
                      <a:pt x="671242" y="82455"/>
                      <a:pt x="526140" y="218663"/>
                    </a:cubicBezTo>
                    <a:cubicBezTo>
                      <a:pt x="504286" y="239119"/>
                      <a:pt x="441773" y="282192"/>
                      <a:pt x="438597" y="304555"/>
                    </a:cubicBezTo>
                    <a:cubicBezTo>
                      <a:pt x="440757" y="321962"/>
                      <a:pt x="403528" y="410014"/>
                      <a:pt x="392220" y="439873"/>
                    </a:cubicBezTo>
                    <a:cubicBezTo>
                      <a:pt x="364394" y="513313"/>
                      <a:pt x="273801" y="563501"/>
                      <a:pt x="181175" y="592217"/>
                    </a:cubicBezTo>
                    <a:cubicBezTo>
                      <a:pt x="15490" y="643422"/>
                      <a:pt x="45349" y="563374"/>
                      <a:pt x="7739" y="462616"/>
                    </a:cubicBezTo>
                    <a:cubicBezTo>
                      <a:pt x="-29870" y="361859"/>
                      <a:pt x="81815" y="287148"/>
                      <a:pt x="81815" y="287148"/>
                    </a:cubicBezTo>
                    <a:cubicBezTo>
                      <a:pt x="138737" y="242804"/>
                      <a:pt x="243688" y="190583"/>
                      <a:pt x="267321" y="186771"/>
                    </a:cubicBezTo>
                  </a:path>
                </a:pathLst>
              </a:custGeom>
              <a:solidFill>
                <a:srgbClr val="F4B79C"/>
              </a:solidFill>
              <a:ln w="12694" cap="flat">
                <a:noFill/>
                <a:prstDash val="solid"/>
                <a:miter/>
              </a:ln>
            </p:spPr>
            <p:txBody>
              <a:bodyPr rtlCol="0" anchor="ctr"/>
              <a:lstStyle/>
              <a:p>
                <a:endParaRPr lang="bg-BG" sz="1808"/>
              </a:p>
            </p:txBody>
          </p:sp>
          <p:sp>
            <p:nvSpPr>
              <p:cNvPr id="50" name="Свободна форма: фигура 49">
                <a:extLst>
                  <a:ext uri="{FF2B5EF4-FFF2-40B4-BE49-F238E27FC236}">
                    <a16:creationId xmlns:a16="http://schemas.microsoft.com/office/drawing/2014/main" id="{16BFB7D5-FCFE-4EC1-9A02-1F8E6529FA96}"/>
                  </a:ext>
                </a:extLst>
              </p:cNvPr>
              <p:cNvSpPr/>
              <p:nvPr/>
            </p:nvSpPr>
            <p:spPr>
              <a:xfrm>
                <a:off x="1527065" y="1651572"/>
                <a:ext cx="256669" cy="412379"/>
              </a:xfrm>
              <a:custGeom>
                <a:avLst/>
                <a:gdLst>
                  <a:gd name="connsiteX0" fmla="*/ 18609 w 256669"/>
                  <a:gd name="connsiteY0" fmla="*/ 291286 h 412379"/>
                  <a:gd name="connsiteX1" fmla="*/ 80487 w 256669"/>
                  <a:gd name="connsiteY1" fmla="*/ 271084 h 412379"/>
                  <a:gd name="connsiteX2" fmla="*/ 59014 w 256669"/>
                  <a:gd name="connsiteY2" fmla="*/ 170326 h 412379"/>
                  <a:gd name="connsiteX3" fmla="*/ 116317 w 256669"/>
                  <a:gd name="connsiteY3" fmla="*/ 147455 h 412379"/>
                  <a:gd name="connsiteX4" fmla="*/ 128642 w 256669"/>
                  <a:gd name="connsiteY4" fmla="*/ 146184 h 412379"/>
                  <a:gd name="connsiteX5" fmla="*/ 94209 w 256669"/>
                  <a:gd name="connsiteY5" fmla="*/ 100570 h 412379"/>
                  <a:gd name="connsiteX6" fmla="*/ 135122 w 256669"/>
                  <a:gd name="connsiteY6" fmla="*/ 10231 h 412379"/>
                  <a:gd name="connsiteX7" fmla="*/ 251762 w 256669"/>
                  <a:gd name="connsiteY7" fmla="*/ 48857 h 412379"/>
                  <a:gd name="connsiteX8" fmla="*/ 226605 w 256669"/>
                  <a:gd name="connsiteY8" fmla="*/ 137798 h 412379"/>
                  <a:gd name="connsiteX9" fmla="*/ 207800 w 256669"/>
                  <a:gd name="connsiteY9" fmla="*/ 143643 h 412379"/>
                  <a:gd name="connsiteX10" fmla="*/ 234609 w 256669"/>
                  <a:gd name="connsiteY10" fmla="*/ 181634 h 412379"/>
                  <a:gd name="connsiteX11" fmla="*/ 224318 w 256669"/>
                  <a:gd name="connsiteY11" fmla="*/ 258759 h 412379"/>
                  <a:gd name="connsiteX12" fmla="*/ 162694 w 256669"/>
                  <a:gd name="connsiteY12" fmla="*/ 276039 h 412379"/>
                  <a:gd name="connsiteX13" fmla="*/ 175527 w 256669"/>
                  <a:gd name="connsiteY13" fmla="*/ 356086 h 412379"/>
                  <a:gd name="connsiteX14" fmla="*/ 67146 w 256669"/>
                  <a:gd name="connsiteY14" fmla="*/ 411992 h 412379"/>
                  <a:gd name="connsiteX15" fmla="*/ 18609 w 256669"/>
                  <a:gd name="connsiteY15" fmla="*/ 291286 h 412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6669" h="412379">
                    <a:moveTo>
                      <a:pt x="18609" y="291286"/>
                    </a:moveTo>
                    <a:cubicBezTo>
                      <a:pt x="31442" y="279851"/>
                      <a:pt x="58378" y="274006"/>
                      <a:pt x="80487" y="271084"/>
                    </a:cubicBezTo>
                    <a:cubicBezTo>
                      <a:pt x="49738" y="248086"/>
                      <a:pt x="36778" y="202217"/>
                      <a:pt x="59014" y="170326"/>
                    </a:cubicBezTo>
                    <a:cubicBezTo>
                      <a:pt x="82520" y="136528"/>
                      <a:pt x="116317" y="147455"/>
                      <a:pt x="116317" y="147455"/>
                    </a:cubicBezTo>
                    <a:lnTo>
                      <a:pt x="128642" y="146184"/>
                    </a:lnTo>
                    <a:cubicBezTo>
                      <a:pt x="110981" y="139958"/>
                      <a:pt x="97259" y="126490"/>
                      <a:pt x="94209" y="100570"/>
                    </a:cubicBezTo>
                    <a:cubicBezTo>
                      <a:pt x="86077" y="31450"/>
                      <a:pt x="135122" y="10231"/>
                      <a:pt x="135122" y="10231"/>
                    </a:cubicBezTo>
                    <a:cubicBezTo>
                      <a:pt x="135122" y="10231"/>
                      <a:pt x="232195" y="-29920"/>
                      <a:pt x="251762" y="48857"/>
                    </a:cubicBezTo>
                    <a:cubicBezTo>
                      <a:pt x="271203" y="127634"/>
                      <a:pt x="226605" y="137798"/>
                      <a:pt x="226605" y="137798"/>
                    </a:cubicBezTo>
                    <a:cubicBezTo>
                      <a:pt x="226605" y="137798"/>
                      <a:pt x="219108" y="140594"/>
                      <a:pt x="207800" y="143643"/>
                    </a:cubicBezTo>
                    <a:cubicBezTo>
                      <a:pt x="217711" y="148344"/>
                      <a:pt x="229781" y="158763"/>
                      <a:pt x="234609" y="181634"/>
                    </a:cubicBezTo>
                    <a:cubicBezTo>
                      <a:pt x="243504" y="223182"/>
                      <a:pt x="224318" y="258759"/>
                      <a:pt x="224318" y="258759"/>
                    </a:cubicBezTo>
                    <a:cubicBezTo>
                      <a:pt x="224318" y="258759"/>
                      <a:pt x="195221" y="269305"/>
                      <a:pt x="162694" y="276039"/>
                    </a:cubicBezTo>
                    <a:cubicBezTo>
                      <a:pt x="171588" y="288618"/>
                      <a:pt x="191028" y="322161"/>
                      <a:pt x="175527" y="356086"/>
                    </a:cubicBezTo>
                    <a:cubicBezTo>
                      <a:pt x="155960" y="399032"/>
                      <a:pt x="97894" y="415169"/>
                      <a:pt x="67146" y="411992"/>
                    </a:cubicBezTo>
                    <a:cubicBezTo>
                      <a:pt x="6157" y="405512"/>
                      <a:pt x="-21033" y="326735"/>
                      <a:pt x="18609" y="291286"/>
                    </a:cubicBezTo>
                  </a:path>
                </a:pathLst>
              </a:custGeom>
              <a:solidFill>
                <a:srgbClr val="F4B79C"/>
              </a:solidFill>
              <a:ln w="12694" cap="flat">
                <a:noFill/>
                <a:prstDash val="solid"/>
                <a:miter/>
              </a:ln>
            </p:spPr>
            <p:txBody>
              <a:bodyPr rtlCol="0" anchor="ctr"/>
              <a:lstStyle/>
              <a:p>
                <a:endParaRPr lang="bg-BG" sz="1808"/>
              </a:p>
            </p:txBody>
          </p:sp>
          <p:sp>
            <p:nvSpPr>
              <p:cNvPr id="51" name="Свободна форма: фигура 50">
                <a:extLst>
                  <a:ext uri="{FF2B5EF4-FFF2-40B4-BE49-F238E27FC236}">
                    <a16:creationId xmlns:a16="http://schemas.microsoft.com/office/drawing/2014/main" id="{C55AC27E-297B-4615-9DD1-1548FB454826}"/>
                  </a:ext>
                </a:extLst>
              </p:cNvPr>
              <p:cNvSpPr/>
              <p:nvPr/>
            </p:nvSpPr>
            <p:spPr>
              <a:xfrm>
                <a:off x="1488614" y="1674001"/>
                <a:ext cx="275728" cy="432509"/>
              </a:xfrm>
              <a:custGeom>
                <a:avLst/>
                <a:gdLst>
                  <a:gd name="connsiteX0" fmla="*/ 107756 w 275728"/>
                  <a:gd name="connsiteY0" fmla="*/ 384862 h 432509"/>
                  <a:gd name="connsiteX1" fmla="*/ 134820 w 275728"/>
                  <a:gd name="connsiteY1" fmla="*/ 384989 h 432509"/>
                  <a:gd name="connsiteX2" fmla="*/ 193902 w 275728"/>
                  <a:gd name="connsiteY2" fmla="*/ 349794 h 432509"/>
                  <a:gd name="connsiteX3" fmla="*/ 135455 w 275728"/>
                  <a:gd name="connsiteY3" fmla="*/ 364406 h 432509"/>
                  <a:gd name="connsiteX4" fmla="*/ 75102 w 275728"/>
                  <a:gd name="connsiteY4" fmla="*/ 312947 h 432509"/>
                  <a:gd name="connsiteX5" fmla="*/ 94542 w 275728"/>
                  <a:gd name="connsiteY5" fmla="*/ 268349 h 432509"/>
                  <a:gd name="connsiteX6" fmla="*/ 175733 w 275728"/>
                  <a:gd name="connsiteY6" fmla="*/ 249798 h 432509"/>
                  <a:gd name="connsiteX7" fmla="*/ 228717 w 275728"/>
                  <a:gd name="connsiteY7" fmla="*/ 241158 h 432509"/>
                  <a:gd name="connsiteX8" fmla="*/ 262006 w 275728"/>
                  <a:gd name="connsiteY8" fmla="*/ 214857 h 432509"/>
                  <a:gd name="connsiteX9" fmla="*/ 157182 w 275728"/>
                  <a:gd name="connsiteY9" fmla="*/ 219050 h 432509"/>
                  <a:gd name="connsiteX10" fmla="*/ 130500 w 275728"/>
                  <a:gd name="connsiteY10" fmla="*/ 211808 h 432509"/>
                  <a:gd name="connsiteX11" fmla="*/ 113220 w 275728"/>
                  <a:gd name="connsiteY11" fmla="*/ 179535 h 432509"/>
                  <a:gd name="connsiteX12" fmla="*/ 121987 w 275728"/>
                  <a:gd name="connsiteY12" fmla="*/ 141036 h 432509"/>
                  <a:gd name="connsiteX13" fmla="*/ 206735 w 275728"/>
                  <a:gd name="connsiteY13" fmla="*/ 119563 h 432509"/>
                  <a:gd name="connsiteX14" fmla="*/ 275728 w 275728"/>
                  <a:gd name="connsiteY14" fmla="*/ 97073 h 432509"/>
                  <a:gd name="connsiteX15" fmla="*/ 207752 w 275728"/>
                  <a:gd name="connsiteY15" fmla="*/ 97454 h 432509"/>
                  <a:gd name="connsiteX16" fmla="*/ 153243 w 275728"/>
                  <a:gd name="connsiteY16" fmla="*/ 60353 h 432509"/>
                  <a:gd name="connsiteX17" fmla="*/ 167601 w 275728"/>
                  <a:gd name="connsiteY17" fmla="*/ 0 h 432509"/>
                  <a:gd name="connsiteX18" fmla="*/ 133041 w 275728"/>
                  <a:gd name="connsiteY18" fmla="*/ 121596 h 432509"/>
                  <a:gd name="connsiteX19" fmla="*/ 101784 w 275728"/>
                  <a:gd name="connsiteY19" fmla="*/ 140400 h 432509"/>
                  <a:gd name="connsiteX20" fmla="*/ 78024 w 275728"/>
                  <a:gd name="connsiteY20" fmla="*/ 190716 h 432509"/>
                  <a:gd name="connsiteX21" fmla="*/ 99624 w 275728"/>
                  <a:gd name="connsiteY21" fmla="*/ 238236 h 432509"/>
                  <a:gd name="connsiteX22" fmla="*/ 37492 w 275728"/>
                  <a:gd name="connsiteY22" fmla="*/ 305196 h 432509"/>
                  <a:gd name="connsiteX23" fmla="*/ 38128 w 275728"/>
                  <a:gd name="connsiteY23" fmla="*/ 377239 h 432509"/>
                  <a:gd name="connsiteX24" fmla="*/ 10 w 275728"/>
                  <a:gd name="connsiteY24" fmla="*/ 432509 h 432509"/>
                  <a:gd name="connsiteX25" fmla="*/ 85648 w 275728"/>
                  <a:gd name="connsiteY25" fmla="*/ 394392 h 432509"/>
                  <a:gd name="connsiteX26" fmla="*/ 107756 w 275728"/>
                  <a:gd name="connsiteY26" fmla="*/ 384862 h 432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75728" h="432509">
                    <a:moveTo>
                      <a:pt x="107756" y="384862"/>
                    </a:moveTo>
                    <a:cubicBezTo>
                      <a:pt x="116650" y="383337"/>
                      <a:pt x="125799" y="384989"/>
                      <a:pt x="134820" y="384989"/>
                    </a:cubicBezTo>
                    <a:cubicBezTo>
                      <a:pt x="158834" y="384735"/>
                      <a:pt x="182213" y="370759"/>
                      <a:pt x="193902" y="349794"/>
                    </a:cubicBezTo>
                    <a:cubicBezTo>
                      <a:pt x="175098" y="357163"/>
                      <a:pt x="155658" y="364279"/>
                      <a:pt x="135455" y="364406"/>
                    </a:cubicBezTo>
                    <a:cubicBezTo>
                      <a:pt x="106613" y="364660"/>
                      <a:pt x="75356" y="348269"/>
                      <a:pt x="75102" y="312947"/>
                    </a:cubicBezTo>
                    <a:cubicBezTo>
                      <a:pt x="74975" y="296175"/>
                      <a:pt x="82471" y="280038"/>
                      <a:pt x="94542" y="268349"/>
                    </a:cubicBezTo>
                    <a:cubicBezTo>
                      <a:pt x="118048" y="245478"/>
                      <a:pt x="143714" y="248528"/>
                      <a:pt x="175733" y="249798"/>
                    </a:cubicBezTo>
                    <a:cubicBezTo>
                      <a:pt x="190599" y="250434"/>
                      <a:pt x="214232" y="244208"/>
                      <a:pt x="228717" y="241158"/>
                    </a:cubicBezTo>
                    <a:cubicBezTo>
                      <a:pt x="243201" y="238109"/>
                      <a:pt x="257559" y="229088"/>
                      <a:pt x="262006" y="214857"/>
                    </a:cubicBezTo>
                    <a:cubicBezTo>
                      <a:pt x="227065" y="216255"/>
                      <a:pt x="192123" y="217652"/>
                      <a:pt x="157182" y="219050"/>
                    </a:cubicBezTo>
                    <a:cubicBezTo>
                      <a:pt x="147653" y="219431"/>
                      <a:pt x="136599" y="219177"/>
                      <a:pt x="130500" y="211808"/>
                    </a:cubicBezTo>
                    <a:cubicBezTo>
                      <a:pt x="126180" y="206598"/>
                      <a:pt x="113474" y="186396"/>
                      <a:pt x="113220" y="179535"/>
                    </a:cubicBezTo>
                    <a:cubicBezTo>
                      <a:pt x="112457" y="160984"/>
                      <a:pt x="110424" y="155647"/>
                      <a:pt x="121987" y="141036"/>
                    </a:cubicBezTo>
                    <a:cubicBezTo>
                      <a:pt x="137742" y="121214"/>
                      <a:pt x="181323" y="118673"/>
                      <a:pt x="206735" y="119563"/>
                    </a:cubicBezTo>
                    <a:cubicBezTo>
                      <a:pt x="232020" y="120452"/>
                      <a:pt x="262006" y="118419"/>
                      <a:pt x="275728" y="97073"/>
                    </a:cubicBezTo>
                    <a:cubicBezTo>
                      <a:pt x="253112" y="99487"/>
                      <a:pt x="229987" y="101901"/>
                      <a:pt x="207752" y="97454"/>
                    </a:cubicBezTo>
                    <a:cubicBezTo>
                      <a:pt x="185389" y="93007"/>
                      <a:pt x="163535" y="80683"/>
                      <a:pt x="153243" y="60353"/>
                    </a:cubicBezTo>
                    <a:cubicBezTo>
                      <a:pt x="142952" y="40024"/>
                      <a:pt x="147907" y="11562"/>
                      <a:pt x="167601" y="0"/>
                    </a:cubicBezTo>
                    <a:cubicBezTo>
                      <a:pt x="130881" y="26682"/>
                      <a:pt x="115761" y="79666"/>
                      <a:pt x="133041" y="121596"/>
                    </a:cubicBezTo>
                    <a:cubicBezTo>
                      <a:pt x="120716" y="116894"/>
                      <a:pt x="109154" y="129473"/>
                      <a:pt x="101784" y="140400"/>
                    </a:cubicBezTo>
                    <a:cubicBezTo>
                      <a:pt x="91366" y="156029"/>
                      <a:pt x="80820" y="172165"/>
                      <a:pt x="78024" y="190716"/>
                    </a:cubicBezTo>
                    <a:cubicBezTo>
                      <a:pt x="75229" y="209266"/>
                      <a:pt x="82599" y="230612"/>
                      <a:pt x="99624" y="238236"/>
                    </a:cubicBezTo>
                    <a:cubicBezTo>
                      <a:pt x="67097" y="239252"/>
                      <a:pt x="47403" y="274194"/>
                      <a:pt x="37492" y="305196"/>
                    </a:cubicBezTo>
                    <a:cubicBezTo>
                      <a:pt x="29361" y="330608"/>
                      <a:pt x="13732" y="366439"/>
                      <a:pt x="38128" y="377239"/>
                    </a:cubicBezTo>
                    <a:cubicBezTo>
                      <a:pt x="28980" y="406081"/>
                      <a:pt x="-625" y="427681"/>
                      <a:pt x="10" y="432509"/>
                    </a:cubicBezTo>
                    <a:cubicBezTo>
                      <a:pt x="19069" y="418279"/>
                      <a:pt x="60109" y="410909"/>
                      <a:pt x="85648" y="394392"/>
                    </a:cubicBezTo>
                    <a:cubicBezTo>
                      <a:pt x="92509" y="390072"/>
                      <a:pt x="99751" y="386260"/>
                      <a:pt x="107756" y="384862"/>
                    </a:cubicBezTo>
                  </a:path>
                </a:pathLst>
              </a:custGeom>
              <a:solidFill>
                <a:srgbClr val="E59580"/>
              </a:solidFill>
              <a:ln w="12694" cap="flat">
                <a:noFill/>
                <a:prstDash val="solid"/>
                <a:miter/>
              </a:ln>
            </p:spPr>
            <p:txBody>
              <a:bodyPr rtlCol="0" anchor="ctr"/>
              <a:lstStyle/>
              <a:p>
                <a:endParaRPr lang="bg-BG" sz="1808"/>
              </a:p>
            </p:txBody>
          </p:sp>
          <p:sp>
            <p:nvSpPr>
              <p:cNvPr id="52" name="Свободна форма: фигура 51">
                <a:extLst>
                  <a:ext uri="{FF2B5EF4-FFF2-40B4-BE49-F238E27FC236}">
                    <a16:creationId xmlns:a16="http://schemas.microsoft.com/office/drawing/2014/main" id="{1BBE5F02-325F-4BC8-862A-3611AC24C8D4}"/>
                  </a:ext>
                </a:extLst>
              </p:cNvPr>
              <p:cNvSpPr/>
              <p:nvPr/>
            </p:nvSpPr>
            <p:spPr>
              <a:xfrm>
                <a:off x="1563914" y="1926976"/>
                <a:ext cx="116188" cy="104061"/>
              </a:xfrm>
              <a:custGeom>
                <a:avLst/>
                <a:gdLst>
                  <a:gd name="connsiteX0" fmla="*/ 37793 w 116188"/>
                  <a:gd name="connsiteY0" fmla="*/ 104061 h 104061"/>
                  <a:gd name="connsiteX1" fmla="*/ 691 w 116188"/>
                  <a:gd name="connsiteY1" fmla="*/ 64673 h 104061"/>
                  <a:gd name="connsiteX2" fmla="*/ 33854 w 116188"/>
                  <a:gd name="connsiteY2" fmla="*/ 762 h 104061"/>
                  <a:gd name="connsiteX3" fmla="*/ 116188 w 116188"/>
                  <a:gd name="connsiteY3" fmla="*/ 0 h 104061"/>
                  <a:gd name="connsiteX4" fmla="*/ 36395 w 116188"/>
                  <a:gd name="connsiteY4" fmla="*/ 38880 h 104061"/>
                  <a:gd name="connsiteX5" fmla="*/ 37793 w 116188"/>
                  <a:gd name="connsiteY5" fmla="*/ 104061 h 10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188" h="104061">
                    <a:moveTo>
                      <a:pt x="37793" y="104061"/>
                    </a:moveTo>
                    <a:cubicBezTo>
                      <a:pt x="37793" y="104061"/>
                      <a:pt x="6155" y="100122"/>
                      <a:pt x="691" y="64673"/>
                    </a:cubicBezTo>
                    <a:cubicBezTo>
                      <a:pt x="-5662" y="22744"/>
                      <a:pt x="33854" y="762"/>
                      <a:pt x="33854" y="762"/>
                    </a:cubicBezTo>
                    <a:lnTo>
                      <a:pt x="116188" y="0"/>
                    </a:lnTo>
                    <a:cubicBezTo>
                      <a:pt x="116188" y="0"/>
                      <a:pt x="39190" y="7496"/>
                      <a:pt x="36395" y="38880"/>
                    </a:cubicBezTo>
                    <a:cubicBezTo>
                      <a:pt x="33727" y="70391"/>
                      <a:pt x="37793" y="104061"/>
                      <a:pt x="37793" y="104061"/>
                    </a:cubicBezTo>
                  </a:path>
                </a:pathLst>
              </a:custGeom>
              <a:solidFill>
                <a:srgbClr val="FFFFFF">
                  <a:alpha val="20000"/>
                </a:srgbClr>
              </a:solidFill>
              <a:ln w="12694" cap="flat">
                <a:noFill/>
                <a:prstDash val="solid"/>
                <a:miter/>
              </a:ln>
            </p:spPr>
            <p:txBody>
              <a:bodyPr rtlCol="0" anchor="ctr"/>
              <a:lstStyle/>
              <a:p>
                <a:endParaRPr lang="bg-BG" sz="1808"/>
              </a:p>
            </p:txBody>
          </p:sp>
          <p:sp>
            <p:nvSpPr>
              <p:cNvPr id="53" name="Свободна форма: фигура 52">
                <a:extLst>
                  <a:ext uri="{FF2B5EF4-FFF2-40B4-BE49-F238E27FC236}">
                    <a16:creationId xmlns:a16="http://schemas.microsoft.com/office/drawing/2014/main" id="{2502883D-05BD-4A06-B0D9-C7162F985D1D}"/>
                  </a:ext>
                </a:extLst>
              </p:cNvPr>
              <p:cNvSpPr/>
              <p:nvPr/>
            </p:nvSpPr>
            <p:spPr>
              <a:xfrm>
                <a:off x="1599224" y="1797630"/>
                <a:ext cx="139579" cy="95421"/>
              </a:xfrm>
              <a:custGeom>
                <a:avLst/>
                <a:gdLst>
                  <a:gd name="connsiteX0" fmla="*/ 139580 w 139579"/>
                  <a:gd name="connsiteY0" fmla="*/ 1525 h 95421"/>
                  <a:gd name="connsiteX1" fmla="*/ 42634 w 139579"/>
                  <a:gd name="connsiteY1" fmla="*/ 0 h 95421"/>
                  <a:gd name="connsiteX2" fmla="*/ 2229 w 139579"/>
                  <a:gd name="connsiteY2" fmla="*/ 52984 h 95421"/>
                  <a:gd name="connsiteX3" fmla="*/ 29674 w 139579"/>
                  <a:gd name="connsiteY3" fmla="*/ 95422 h 95421"/>
                  <a:gd name="connsiteX4" fmla="*/ 35010 w 139579"/>
                  <a:gd name="connsiteY4" fmla="*/ 25031 h 95421"/>
                  <a:gd name="connsiteX5" fmla="*/ 139580 w 139579"/>
                  <a:gd name="connsiteY5" fmla="*/ 1525 h 95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9579" h="95421">
                    <a:moveTo>
                      <a:pt x="139580" y="1525"/>
                    </a:moveTo>
                    <a:lnTo>
                      <a:pt x="42634" y="0"/>
                    </a:lnTo>
                    <a:cubicBezTo>
                      <a:pt x="42634" y="0"/>
                      <a:pt x="-11494" y="18678"/>
                      <a:pt x="2229" y="52984"/>
                    </a:cubicBezTo>
                    <a:cubicBezTo>
                      <a:pt x="16078" y="87290"/>
                      <a:pt x="29674" y="95422"/>
                      <a:pt x="29674" y="95422"/>
                    </a:cubicBezTo>
                    <a:cubicBezTo>
                      <a:pt x="29674" y="95422"/>
                      <a:pt x="11123" y="29732"/>
                      <a:pt x="35010" y="25031"/>
                    </a:cubicBezTo>
                    <a:cubicBezTo>
                      <a:pt x="58897" y="20203"/>
                      <a:pt x="139580" y="1525"/>
                      <a:pt x="139580" y="1525"/>
                    </a:cubicBezTo>
                  </a:path>
                </a:pathLst>
              </a:custGeom>
              <a:solidFill>
                <a:srgbClr val="FFFFFF">
                  <a:alpha val="20000"/>
                </a:srgbClr>
              </a:solidFill>
              <a:ln w="12694" cap="flat">
                <a:noFill/>
                <a:prstDash val="solid"/>
                <a:miter/>
              </a:ln>
            </p:spPr>
            <p:txBody>
              <a:bodyPr rtlCol="0" anchor="ctr"/>
              <a:lstStyle/>
              <a:p>
                <a:endParaRPr lang="bg-BG" sz="1808"/>
              </a:p>
            </p:txBody>
          </p:sp>
          <p:sp>
            <p:nvSpPr>
              <p:cNvPr id="54" name="Свободна форма: фигура 53">
                <a:extLst>
                  <a:ext uri="{FF2B5EF4-FFF2-40B4-BE49-F238E27FC236}">
                    <a16:creationId xmlns:a16="http://schemas.microsoft.com/office/drawing/2014/main" id="{3E19B329-21D1-402A-89D7-3F5C0FDDC6F5}"/>
                  </a:ext>
                </a:extLst>
              </p:cNvPr>
              <p:cNvSpPr/>
              <p:nvPr/>
            </p:nvSpPr>
            <p:spPr>
              <a:xfrm>
                <a:off x="1636377" y="1662847"/>
                <a:ext cx="105730" cy="104415"/>
              </a:xfrm>
              <a:custGeom>
                <a:avLst/>
                <a:gdLst>
                  <a:gd name="connsiteX0" fmla="*/ 105731 w 105730"/>
                  <a:gd name="connsiteY0" fmla="*/ 2895 h 104415"/>
                  <a:gd name="connsiteX1" fmla="*/ 4210 w 105730"/>
                  <a:gd name="connsiteY1" fmla="*/ 32246 h 104415"/>
                  <a:gd name="connsiteX2" fmla="*/ 23523 w 105730"/>
                  <a:gd name="connsiteY2" fmla="*/ 95648 h 104415"/>
                  <a:gd name="connsiteX3" fmla="*/ 50587 w 105730"/>
                  <a:gd name="connsiteY3" fmla="*/ 104416 h 104415"/>
                  <a:gd name="connsiteX4" fmla="*/ 44742 w 105730"/>
                  <a:gd name="connsiteY4" fmla="*/ 45333 h 104415"/>
                  <a:gd name="connsiteX5" fmla="*/ 105731 w 105730"/>
                  <a:gd name="connsiteY5" fmla="*/ 2895 h 104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730" h="104415">
                    <a:moveTo>
                      <a:pt x="105731" y="2895"/>
                    </a:moveTo>
                    <a:cubicBezTo>
                      <a:pt x="105731" y="2895"/>
                      <a:pt x="20347" y="-13622"/>
                      <a:pt x="4210" y="32246"/>
                    </a:cubicBezTo>
                    <a:cubicBezTo>
                      <a:pt x="-11926" y="78114"/>
                      <a:pt x="23523" y="95648"/>
                      <a:pt x="23523" y="95648"/>
                    </a:cubicBezTo>
                    <a:lnTo>
                      <a:pt x="50587" y="104416"/>
                    </a:lnTo>
                    <a:cubicBezTo>
                      <a:pt x="50587" y="104416"/>
                      <a:pt x="16916" y="85357"/>
                      <a:pt x="44742" y="45333"/>
                    </a:cubicBezTo>
                    <a:cubicBezTo>
                      <a:pt x="72568" y="5309"/>
                      <a:pt x="105731" y="2895"/>
                      <a:pt x="105731" y="2895"/>
                    </a:cubicBezTo>
                  </a:path>
                </a:pathLst>
              </a:custGeom>
              <a:solidFill>
                <a:srgbClr val="FFFFFF">
                  <a:alpha val="20000"/>
                </a:srgbClr>
              </a:solidFill>
              <a:ln w="12694" cap="flat">
                <a:noFill/>
                <a:prstDash val="solid"/>
                <a:miter/>
              </a:ln>
            </p:spPr>
            <p:txBody>
              <a:bodyPr rtlCol="0" anchor="ctr"/>
              <a:lstStyle/>
              <a:p>
                <a:endParaRPr lang="bg-BG" sz="1808"/>
              </a:p>
            </p:txBody>
          </p:sp>
          <p:sp>
            <p:nvSpPr>
              <p:cNvPr id="55" name="Свободна форма: фигура 54">
                <a:extLst>
                  <a:ext uri="{FF2B5EF4-FFF2-40B4-BE49-F238E27FC236}">
                    <a16:creationId xmlns:a16="http://schemas.microsoft.com/office/drawing/2014/main" id="{79FE6ECB-2A28-4543-B731-281AEC9F6FA7}"/>
                  </a:ext>
                </a:extLst>
              </p:cNvPr>
              <p:cNvSpPr/>
              <p:nvPr/>
            </p:nvSpPr>
            <p:spPr>
              <a:xfrm>
                <a:off x="1684429" y="1469610"/>
                <a:ext cx="172706" cy="154145"/>
              </a:xfrm>
              <a:custGeom>
                <a:avLst/>
                <a:gdLst>
                  <a:gd name="connsiteX0" fmla="*/ 97194 w 172706"/>
                  <a:gd name="connsiteY0" fmla="*/ 151662 h 154145"/>
                  <a:gd name="connsiteX1" fmla="*/ 2280 w 172706"/>
                  <a:gd name="connsiteY1" fmla="*/ 98424 h 154145"/>
                  <a:gd name="connsiteX2" fmla="*/ 76610 w 172706"/>
                  <a:gd name="connsiteY2" fmla="*/ 4274 h 154145"/>
                  <a:gd name="connsiteX3" fmla="*/ 172667 w 172706"/>
                  <a:gd name="connsiteY3" fmla="*/ 62212 h 154145"/>
                  <a:gd name="connsiteX4" fmla="*/ 97194 w 172706"/>
                  <a:gd name="connsiteY4" fmla="*/ 151662 h 154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06" h="154145">
                    <a:moveTo>
                      <a:pt x="97194" y="151662"/>
                    </a:moveTo>
                    <a:cubicBezTo>
                      <a:pt x="97194" y="151662"/>
                      <a:pt x="20069" y="171610"/>
                      <a:pt x="2280" y="98424"/>
                    </a:cubicBezTo>
                    <a:cubicBezTo>
                      <a:pt x="-15508" y="25111"/>
                      <a:pt x="76610" y="4274"/>
                      <a:pt x="76610" y="4274"/>
                    </a:cubicBezTo>
                    <a:cubicBezTo>
                      <a:pt x="76610" y="4274"/>
                      <a:pt x="169109" y="-23425"/>
                      <a:pt x="172667" y="62212"/>
                    </a:cubicBezTo>
                    <a:cubicBezTo>
                      <a:pt x="174700" y="112655"/>
                      <a:pt x="97194" y="151662"/>
                      <a:pt x="97194" y="151662"/>
                    </a:cubicBezTo>
                  </a:path>
                </a:pathLst>
              </a:custGeom>
              <a:solidFill>
                <a:srgbClr val="F4B79C"/>
              </a:solidFill>
              <a:ln w="12694" cap="flat">
                <a:noFill/>
                <a:prstDash val="solid"/>
                <a:miter/>
              </a:ln>
            </p:spPr>
            <p:txBody>
              <a:bodyPr rtlCol="0" anchor="ctr"/>
              <a:lstStyle/>
              <a:p>
                <a:endParaRPr lang="bg-BG" sz="1808"/>
              </a:p>
            </p:txBody>
          </p:sp>
          <p:sp>
            <p:nvSpPr>
              <p:cNvPr id="56" name="Свободна форма: фигура 55">
                <a:extLst>
                  <a:ext uri="{FF2B5EF4-FFF2-40B4-BE49-F238E27FC236}">
                    <a16:creationId xmlns:a16="http://schemas.microsoft.com/office/drawing/2014/main" id="{FF462719-C5F1-43CE-BD10-AD0D34B9FDE4}"/>
                  </a:ext>
                </a:extLst>
              </p:cNvPr>
              <p:cNvSpPr/>
              <p:nvPr/>
            </p:nvSpPr>
            <p:spPr>
              <a:xfrm>
                <a:off x="1684411" y="1496881"/>
                <a:ext cx="156548" cy="126873"/>
              </a:xfrm>
              <a:custGeom>
                <a:avLst/>
                <a:gdLst>
                  <a:gd name="connsiteX0" fmla="*/ 28092 w 156548"/>
                  <a:gd name="connsiteY0" fmla="*/ 0 h 126873"/>
                  <a:gd name="connsiteX1" fmla="*/ 50708 w 156548"/>
                  <a:gd name="connsiteY1" fmla="*/ 86019 h 126873"/>
                  <a:gd name="connsiteX2" fmla="*/ 156549 w 156548"/>
                  <a:gd name="connsiteY2" fmla="*/ 77506 h 126873"/>
                  <a:gd name="connsiteX3" fmla="*/ 97212 w 156548"/>
                  <a:gd name="connsiteY3" fmla="*/ 124391 h 126873"/>
                  <a:gd name="connsiteX4" fmla="*/ 2299 w 156548"/>
                  <a:gd name="connsiteY4" fmla="*/ 71153 h 126873"/>
                  <a:gd name="connsiteX5" fmla="*/ 28092 w 156548"/>
                  <a:gd name="connsiteY5" fmla="*/ 0 h 126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548" h="126873">
                    <a:moveTo>
                      <a:pt x="28092" y="0"/>
                    </a:moveTo>
                    <a:cubicBezTo>
                      <a:pt x="26567" y="29986"/>
                      <a:pt x="39146" y="65435"/>
                      <a:pt x="50708" y="86019"/>
                    </a:cubicBezTo>
                    <a:cubicBezTo>
                      <a:pt x="73452" y="126424"/>
                      <a:pt x="121861" y="101393"/>
                      <a:pt x="156549" y="77506"/>
                    </a:cubicBezTo>
                    <a:cubicBezTo>
                      <a:pt x="134440" y="105713"/>
                      <a:pt x="97212" y="124391"/>
                      <a:pt x="97212" y="124391"/>
                    </a:cubicBezTo>
                    <a:cubicBezTo>
                      <a:pt x="97212" y="124391"/>
                      <a:pt x="20087" y="144339"/>
                      <a:pt x="2299" y="71153"/>
                    </a:cubicBezTo>
                    <a:cubicBezTo>
                      <a:pt x="-5960" y="37228"/>
                      <a:pt x="9287" y="14612"/>
                      <a:pt x="28092" y="0"/>
                    </a:cubicBezTo>
                  </a:path>
                </a:pathLst>
              </a:custGeom>
              <a:solidFill>
                <a:srgbClr val="E59580"/>
              </a:solidFill>
              <a:ln w="12694" cap="flat">
                <a:noFill/>
                <a:prstDash val="solid"/>
                <a:miter/>
              </a:ln>
            </p:spPr>
            <p:txBody>
              <a:bodyPr rtlCol="0" anchor="ctr"/>
              <a:lstStyle/>
              <a:p>
                <a:endParaRPr lang="bg-BG" sz="1808"/>
              </a:p>
            </p:txBody>
          </p:sp>
          <p:sp>
            <p:nvSpPr>
              <p:cNvPr id="57" name="Свободна форма: фигура 56">
                <a:extLst>
                  <a:ext uri="{FF2B5EF4-FFF2-40B4-BE49-F238E27FC236}">
                    <a16:creationId xmlns:a16="http://schemas.microsoft.com/office/drawing/2014/main" id="{E770EFF8-2A75-4D4E-8EAE-BAD7388272C8}"/>
                  </a:ext>
                </a:extLst>
              </p:cNvPr>
              <p:cNvSpPr/>
              <p:nvPr/>
            </p:nvSpPr>
            <p:spPr>
              <a:xfrm>
                <a:off x="1741987" y="1481280"/>
                <a:ext cx="106854" cy="100638"/>
              </a:xfrm>
              <a:custGeom>
                <a:avLst/>
                <a:gdLst>
                  <a:gd name="connsiteX0" fmla="*/ 30741 w 106854"/>
                  <a:gd name="connsiteY0" fmla="*/ 1116 h 100638"/>
                  <a:gd name="connsiteX1" fmla="*/ 3424 w 106854"/>
                  <a:gd name="connsiteY1" fmla="*/ 44062 h 100638"/>
                  <a:gd name="connsiteX2" fmla="*/ 25913 w 106854"/>
                  <a:gd name="connsiteY2" fmla="*/ 99841 h 100638"/>
                  <a:gd name="connsiteX3" fmla="*/ 106215 w 106854"/>
                  <a:gd name="connsiteY3" fmla="*/ 49653 h 100638"/>
                  <a:gd name="connsiteX4" fmla="*/ 30741 w 106854"/>
                  <a:gd name="connsiteY4" fmla="*/ 1116 h 100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854" h="100638">
                    <a:moveTo>
                      <a:pt x="30741" y="1116"/>
                    </a:moveTo>
                    <a:cubicBezTo>
                      <a:pt x="30741" y="1116"/>
                      <a:pt x="-12205" y="2895"/>
                      <a:pt x="3424" y="44062"/>
                    </a:cubicBezTo>
                    <a:cubicBezTo>
                      <a:pt x="19052" y="85229"/>
                      <a:pt x="25913" y="99841"/>
                      <a:pt x="25913" y="99841"/>
                    </a:cubicBezTo>
                    <a:cubicBezTo>
                      <a:pt x="25913" y="99841"/>
                      <a:pt x="97447" y="111022"/>
                      <a:pt x="106215" y="49653"/>
                    </a:cubicBezTo>
                    <a:cubicBezTo>
                      <a:pt x="114981" y="-11717"/>
                      <a:pt x="30741" y="1116"/>
                      <a:pt x="30741" y="1116"/>
                    </a:cubicBezTo>
                  </a:path>
                </a:pathLst>
              </a:custGeom>
              <a:solidFill>
                <a:srgbClr val="FFFFFF"/>
              </a:solidFill>
              <a:ln w="12694" cap="flat">
                <a:noFill/>
                <a:prstDash val="solid"/>
                <a:miter/>
              </a:ln>
            </p:spPr>
            <p:txBody>
              <a:bodyPr rtlCol="0" anchor="ctr"/>
              <a:lstStyle/>
              <a:p>
                <a:endParaRPr lang="bg-BG" sz="1808"/>
              </a:p>
            </p:txBody>
          </p:sp>
          <p:sp>
            <p:nvSpPr>
              <p:cNvPr id="58" name="Свободна форма: фигура 57">
                <a:extLst>
                  <a:ext uri="{FF2B5EF4-FFF2-40B4-BE49-F238E27FC236}">
                    <a16:creationId xmlns:a16="http://schemas.microsoft.com/office/drawing/2014/main" id="{A1D7EE3F-16DF-4027-BE53-EC2F3773C43E}"/>
                  </a:ext>
                </a:extLst>
              </p:cNvPr>
              <p:cNvSpPr/>
              <p:nvPr/>
            </p:nvSpPr>
            <p:spPr>
              <a:xfrm>
                <a:off x="1176707" y="1332620"/>
                <a:ext cx="554222" cy="513673"/>
              </a:xfrm>
              <a:custGeom>
                <a:avLst/>
                <a:gdLst>
                  <a:gd name="connsiteX0" fmla="*/ 541259 w 554222"/>
                  <a:gd name="connsiteY0" fmla="*/ 1752 h 513673"/>
                  <a:gd name="connsiteX1" fmla="*/ 253343 w 554222"/>
                  <a:gd name="connsiteY1" fmla="*/ 179889 h 513673"/>
                  <a:gd name="connsiteX2" fmla="*/ 12947 w 554222"/>
                  <a:gd name="connsiteY2" fmla="*/ 347607 h 513673"/>
                  <a:gd name="connsiteX3" fmla="*/ 15870 w 554222"/>
                  <a:gd name="connsiteY3" fmla="*/ 513674 h 513673"/>
                  <a:gd name="connsiteX4" fmla="*/ 61611 w 554222"/>
                  <a:gd name="connsiteY4" fmla="*/ 356756 h 513673"/>
                  <a:gd name="connsiteX5" fmla="*/ 391838 w 554222"/>
                  <a:gd name="connsiteY5" fmla="*/ 178237 h 513673"/>
                  <a:gd name="connsiteX6" fmla="*/ 532873 w 554222"/>
                  <a:gd name="connsiteY6" fmla="*/ 66552 h 513673"/>
                  <a:gd name="connsiteX7" fmla="*/ 541259 w 554222"/>
                  <a:gd name="connsiteY7" fmla="*/ 1752 h 513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4222" h="513673">
                    <a:moveTo>
                      <a:pt x="541259" y="1752"/>
                    </a:moveTo>
                    <a:cubicBezTo>
                      <a:pt x="372779" y="155113"/>
                      <a:pt x="253343" y="179889"/>
                      <a:pt x="253343" y="179889"/>
                    </a:cubicBezTo>
                    <a:cubicBezTo>
                      <a:pt x="253343" y="179889"/>
                      <a:pt x="47507" y="295640"/>
                      <a:pt x="12947" y="347607"/>
                    </a:cubicBezTo>
                    <a:cubicBezTo>
                      <a:pt x="-17801" y="393984"/>
                      <a:pt x="15870" y="513674"/>
                      <a:pt x="15870" y="513674"/>
                    </a:cubicBezTo>
                    <a:cubicBezTo>
                      <a:pt x="15870" y="513674"/>
                      <a:pt x="23366" y="391570"/>
                      <a:pt x="61611" y="356756"/>
                    </a:cubicBezTo>
                    <a:cubicBezTo>
                      <a:pt x="198454" y="232111"/>
                      <a:pt x="391838" y="178237"/>
                      <a:pt x="391838" y="178237"/>
                    </a:cubicBezTo>
                    <a:cubicBezTo>
                      <a:pt x="391838" y="178237"/>
                      <a:pt x="502252" y="74049"/>
                      <a:pt x="532873" y="66552"/>
                    </a:cubicBezTo>
                    <a:cubicBezTo>
                      <a:pt x="563495" y="59183"/>
                      <a:pt x="556379" y="-11970"/>
                      <a:pt x="541259" y="1752"/>
                    </a:cubicBezTo>
                  </a:path>
                </a:pathLst>
              </a:custGeom>
              <a:solidFill>
                <a:srgbClr val="FFFFFF">
                  <a:alpha val="20000"/>
                </a:srgbClr>
              </a:solidFill>
              <a:ln w="12694" cap="flat">
                <a:noFill/>
                <a:prstDash val="solid"/>
                <a:miter/>
              </a:ln>
            </p:spPr>
            <p:txBody>
              <a:bodyPr rtlCol="0" anchor="ctr"/>
              <a:lstStyle/>
              <a:p>
                <a:endParaRPr lang="bg-BG" sz="1808"/>
              </a:p>
            </p:txBody>
          </p:sp>
          <p:sp>
            <p:nvSpPr>
              <p:cNvPr id="59" name="Свободна форма: фигура 58">
                <a:extLst>
                  <a:ext uri="{FF2B5EF4-FFF2-40B4-BE49-F238E27FC236}">
                    <a16:creationId xmlns:a16="http://schemas.microsoft.com/office/drawing/2014/main" id="{17DA32E1-42A0-4798-BD4C-4AC2BE6139C8}"/>
                  </a:ext>
                </a:extLst>
              </p:cNvPr>
              <p:cNvSpPr/>
              <p:nvPr/>
            </p:nvSpPr>
            <p:spPr>
              <a:xfrm>
                <a:off x="1343777" y="1537726"/>
                <a:ext cx="379041" cy="538290"/>
              </a:xfrm>
              <a:custGeom>
                <a:avLst/>
                <a:gdLst>
                  <a:gd name="connsiteX0" fmla="*/ 0 w 379041"/>
                  <a:gd name="connsiteY0" fmla="*/ 380356 h 538290"/>
                  <a:gd name="connsiteX1" fmla="*/ 189445 w 379041"/>
                  <a:gd name="connsiteY1" fmla="*/ 246436 h 538290"/>
                  <a:gd name="connsiteX2" fmla="*/ 230231 w 379041"/>
                  <a:gd name="connsiteY2" fmla="*/ 99301 h 538290"/>
                  <a:gd name="connsiteX3" fmla="*/ 209902 w 379041"/>
                  <a:gd name="connsiteY3" fmla="*/ 62581 h 538290"/>
                  <a:gd name="connsiteX4" fmla="*/ 254753 w 379041"/>
                  <a:gd name="connsiteY4" fmla="*/ 62963 h 538290"/>
                  <a:gd name="connsiteX5" fmla="*/ 296175 w 379041"/>
                  <a:gd name="connsiteY5" fmla="*/ 44412 h 538290"/>
                  <a:gd name="connsiteX6" fmla="*/ 327686 w 379041"/>
                  <a:gd name="connsiteY6" fmla="*/ 19381 h 538290"/>
                  <a:gd name="connsiteX7" fmla="*/ 338613 w 379041"/>
                  <a:gd name="connsiteY7" fmla="*/ 4388 h 538290"/>
                  <a:gd name="connsiteX8" fmla="*/ 355765 w 379041"/>
                  <a:gd name="connsiteY8" fmla="*/ 1593 h 538290"/>
                  <a:gd name="connsiteX9" fmla="*/ 377620 w 379041"/>
                  <a:gd name="connsiteY9" fmla="*/ 70332 h 538290"/>
                  <a:gd name="connsiteX10" fmla="*/ 379017 w 379041"/>
                  <a:gd name="connsiteY10" fmla="*/ 72619 h 538290"/>
                  <a:gd name="connsiteX11" fmla="*/ 378255 w 379041"/>
                  <a:gd name="connsiteY11" fmla="*/ 75287 h 538290"/>
                  <a:gd name="connsiteX12" fmla="*/ 361991 w 379041"/>
                  <a:gd name="connsiteY12" fmla="*/ 108323 h 538290"/>
                  <a:gd name="connsiteX13" fmla="*/ 359196 w 379041"/>
                  <a:gd name="connsiteY13" fmla="*/ 112897 h 538290"/>
                  <a:gd name="connsiteX14" fmla="*/ 345220 w 379041"/>
                  <a:gd name="connsiteY14" fmla="*/ 118106 h 538290"/>
                  <a:gd name="connsiteX15" fmla="*/ 278641 w 379041"/>
                  <a:gd name="connsiteY15" fmla="*/ 203617 h 538290"/>
                  <a:gd name="connsiteX16" fmla="*/ 285375 w 379041"/>
                  <a:gd name="connsiteY16" fmla="*/ 240337 h 538290"/>
                  <a:gd name="connsiteX17" fmla="*/ 283977 w 379041"/>
                  <a:gd name="connsiteY17" fmla="*/ 251010 h 538290"/>
                  <a:gd name="connsiteX18" fmla="*/ 282706 w 379041"/>
                  <a:gd name="connsiteY18" fmla="*/ 254568 h 538290"/>
                  <a:gd name="connsiteX19" fmla="*/ 278387 w 379041"/>
                  <a:gd name="connsiteY19" fmla="*/ 257998 h 538290"/>
                  <a:gd name="connsiteX20" fmla="*/ 258311 w 379041"/>
                  <a:gd name="connsiteY20" fmla="*/ 274008 h 538290"/>
                  <a:gd name="connsiteX21" fmla="*/ 250179 w 379041"/>
                  <a:gd name="connsiteY21" fmla="*/ 301961 h 538290"/>
                  <a:gd name="connsiteX22" fmla="*/ 243318 w 379041"/>
                  <a:gd name="connsiteY22" fmla="*/ 324196 h 538290"/>
                  <a:gd name="connsiteX23" fmla="*/ 248401 w 379041"/>
                  <a:gd name="connsiteY23" fmla="*/ 349735 h 538290"/>
                  <a:gd name="connsiteX24" fmla="*/ 254627 w 379041"/>
                  <a:gd name="connsiteY24" fmla="*/ 361679 h 538290"/>
                  <a:gd name="connsiteX25" fmla="*/ 251323 w 379041"/>
                  <a:gd name="connsiteY25" fmla="*/ 380864 h 538290"/>
                  <a:gd name="connsiteX26" fmla="*/ 238490 w 379041"/>
                  <a:gd name="connsiteY26" fmla="*/ 391919 h 538290"/>
                  <a:gd name="connsiteX27" fmla="*/ 225403 w 379041"/>
                  <a:gd name="connsiteY27" fmla="*/ 410469 h 538290"/>
                  <a:gd name="connsiteX28" fmla="*/ 207487 w 379041"/>
                  <a:gd name="connsiteY28" fmla="*/ 450112 h 538290"/>
                  <a:gd name="connsiteX29" fmla="*/ 196815 w 379041"/>
                  <a:gd name="connsiteY29" fmla="*/ 486959 h 538290"/>
                  <a:gd name="connsiteX30" fmla="*/ 187666 w 379041"/>
                  <a:gd name="connsiteY30" fmla="*/ 518851 h 538290"/>
                  <a:gd name="connsiteX31" fmla="*/ 54254 w 379041"/>
                  <a:gd name="connsiteY31" fmla="*/ 538291 h 538290"/>
                  <a:gd name="connsiteX32" fmla="*/ 110541 w 379041"/>
                  <a:gd name="connsiteY32" fmla="*/ 372733 h 538290"/>
                  <a:gd name="connsiteX33" fmla="*/ 0 w 379041"/>
                  <a:gd name="connsiteY33" fmla="*/ 380356 h 538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79041" h="538290">
                    <a:moveTo>
                      <a:pt x="0" y="380356"/>
                    </a:moveTo>
                    <a:cubicBezTo>
                      <a:pt x="0" y="380356"/>
                      <a:pt x="161619" y="319876"/>
                      <a:pt x="189445" y="246436"/>
                    </a:cubicBezTo>
                    <a:cubicBezTo>
                      <a:pt x="217271" y="172996"/>
                      <a:pt x="230231" y="99301"/>
                      <a:pt x="230231" y="99301"/>
                    </a:cubicBezTo>
                    <a:lnTo>
                      <a:pt x="209902" y="62581"/>
                    </a:lnTo>
                    <a:cubicBezTo>
                      <a:pt x="209902" y="62581"/>
                      <a:pt x="219177" y="70840"/>
                      <a:pt x="254753" y="62963"/>
                    </a:cubicBezTo>
                    <a:cubicBezTo>
                      <a:pt x="269619" y="59659"/>
                      <a:pt x="283342" y="52289"/>
                      <a:pt x="296175" y="44412"/>
                    </a:cubicBezTo>
                    <a:cubicBezTo>
                      <a:pt x="307483" y="37424"/>
                      <a:pt x="320697" y="30944"/>
                      <a:pt x="327686" y="19381"/>
                    </a:cubicBezTo>
                    <a:cubicBezTo>
                      <a:pt x="330989" y="14045"/>
                      <a:pt x="333911" y="8454"/>
                      <a:pt x="338613" y="4388"/>
                    </a:cubicBezTo>
                    <a:cubicBezTo>
                      <a:pt x="343314" y="322"/>
                      <a:pt x="350429" y="-1584"/>
                      <a:pt x="355765" y="1593"/>
                    </a:cubicBezTo>
                    <a:cubicBezTo>
                      <a:pt x="358307" y="25988"/>
                      <a:pt x="361610" y="51908"/>
                      <a:pt x="377620" y="70332"/>
                    </a:cubicBezTo>
                    <a:cubicBezTo>
                      <a:pt x="378255" y="70967"/>
                      <a:pt x="378890" y="71730"/>
                      <a:pt x="379017" y="72619"/>
                    </a:cubicBezTo>
                    <a:cubicBezTo>
                      <a:pt x="379144" y="73508"/>
                      <a:pt x="378763" y="74525"/>
                      <a:pt x="378255" y="75287"/>
                    </a:cubicBezTo>
                    <a:cubicBezTo>
                      <a:pt x="372792" y="86341"/>
                      <a:pt x="367455" y="97268"/>
                      <a:pt x="361991" y="108323"/>
                    </a:cubicBezTo>
                    <a:cubicBezTo>
                      <a:pt x="361229" y="109974"/>
                      <a:pt x="360340" y="111499"/>
                      <a:pt x="359196" y="112897"/>
                    </a:cubicBezTo>
                    <a:cubicBezTo>
                      <a:pt x="355765" y="116709"/>
                      <a:pt x="350175" y="117344"/>
                      <a:pt x="345220" y="118106"/>
                    </a:cubicBezTo>
                    <a:cubicBezTo>
                      <a:pt x="303290" y="125349"/>
                      <a:pt x="284104" y="165245"/>
                      <a:pt x="278641" y="203617"/>
                    </a:cubicBezTo>
                    <a:cubicBezTo>
                      <a:pt x="276735" y="216577"/>
                      <a:pt x="285121" y="227758"/>
                      <a:pt x="285375" y="240337"/>
                    </a:cubicBezTo>
                    <a:cubicBezTo>
                      <a:pt x="285502" y="243895"/>
                      <a:pt x="284739" y="247452"/>
                      <a:pt x="283977" y="251010"/>
                    </a:cubicBezTo>
                    <a:cubicBezTo>
                      <a:pt x="283723" y="252281"/>
                      <a:pt x="283469" y="253551"/>
                      <a:pt x="282706" y="254568"/>
                    </a:cubicBezTo>
                    <a:cubicBezTo>
                      <a:pt x="281690" y="256092"/>
                      <a:pt x="280038" y="257109"/>
                      <a:pt x="278387" y="257998"/>
                    </a:cubicBezTo>
                    <a:cubicBezTo>
                      <a:pt x="272034" y="261810"/>
                      <a:pt x="262377" y="267528"/>
                      <a:pt x="258311" y="274008"/>
                    </a:cubicBezTo>
                    <a:cubicBezTo>
                      <a:pt x="253864" y="281377"/>
                      <a:pt x="252594" y="293575"/>
                      <a:pt x="250179" y="301961"/>
                    </a:cubicBezTo>
                    <a:cubicBezTo>
                      <a:pt x="248146" y="309076"/>
                      <a:pt x="244589" y="316954"/>
                      <a:pt x="243318" y="324196"/>
                    </a:cubicBezTo>
                    <a:cubicBezTo>
                      <a:pt x="242048" y="331820"/>
                      <a:pt x="244970" y="343001"/>
                      <a:pt x="248401" y="349735"/>
                    </a:cubicBezTo>
                    <a:cubicBezTo>
                      <a:pt x="250434" y="353801"/>
                      <a:pt x="253229" y="357358"/>
                      <a:pt x="254627" y="361679"/>
                    </a:cubicBezTo>
                    <a:cubicBezTo>
                      <a:pt x="256786" y="368032"/>
                      <a:pt x="255516" y="375528"/>
                      <a:pt x="251323" y="380864"/>
                    </a:cubicBezTo>
                    <a:cubicBezTo>
                      <a:pt x="247892" y="385312"/>
                      <a:pt x="242683" y="388107"/>
                      <a:pt x="238490" y="391919"/>
                    </a:cubicBezTo>
                    <a:cubicBezTo>
                      <a:pt x="232899" y="397001"/>
                      <a:pt x="229088" y="403862"/>
                      <a:pt x="225403" y="410469"/>
                    </a:cubicBezTo>
                    <a:cubicBezTo>
                      <a:pt x="218033" y="423683"/>
                      <a:pt x="211680" y="435627"/>
                      <a:pt x="207487" y="450112"/>
                    </a:cubicBezTo>
                    <a:cubicBezTo>
                      <a:pt x="203930" y="462436"/>
                      <a:pt x="200372" y="474634"/>
                      <a:pt x="196815" y="486959"/>
                    </a:cubicBezTo>
                    <a:cubicBezTo>
                      <a:pt x="196052" y="489373"/>
                      <a:pt x="189953" y="518470"/>
                      <a:pt x="187666" y="518851"/>
                    </a:cubicBezTo>
                    <a:lnTo>
                      <a:pt x="54254" y="538291"/>
                    </a:lnTo>
                    <a:cubicBezTo>
                      <a:pt x="54254" y="538291"/>
                      <a:pt x="126424" y="375401"/>
                      <a:pt x="110541" y="372733"/>
                    </a:cubicBezTo>
                    <a:cubicBezTo>
                      <a:pt x="94786" y="369810"/>
                      <a:pt x="0" y="380356"/>
                      <a:pt x="0" y="380356"/>
                    </a:cubicBezTo>
                  </a:path>
                </a:pathLst>
              </a:custGeom>
              <a:solidFill>
                <a:srgbClr val="E59580"/>
              </a:solidFill>
              <a:ln w="12694" cap="flat">
                <a:noFill/>
                <a:prstDash val="solid"/>
                <a:miter/>
              </a:ln>
            </p:spPr>
            <p:txBody>
              <a:bodyPr rtlCol="0" anchor="ctr"/>
              <a:lstStyle/>
              <a:p>
                <a:endParaRPr lang="bg-BG" sz="1808"/>
              </a:p>
            </p:txBody>
          </p:sp>
          <p:sp>
            <p:nvSpPr>
              <p:cNvPr id="60" name="Свободна форма: фигура 59">
                <a:extLst>
                  <a:ext uri="{FF2B5EF4-FFF2-40B4-BE49-F238E27FC236}">
                    <a16:creationId xmlns:a16="http://schemas.microsoft.com/office/drawing/2014/main" id="{C35FA10D-D95E-48F3-BDAA-CFAE5802D371}"/>
                  </a:ext>
                </a:extLst>
              </p:cNvPr>
              <p:cNvSpPr/>
              <p:nvPr/>
            </p:nvSpPr>
            <p:spPr>
              <a:xfrm>
                <a:off x="1267200" y="1920627"/>
                <a:ext cx="167058" cy="62077"/>
              </a:xfrm>
              <a:custGeom>
                <a:avLst/>
                <a:gdLst>
                  <a:gd name="connsiteX0" fmla="*/ 167042 w 167058"/>
                  <a:gd name="connsiteY0" fmla="*/ 1520 h 62077"/>
                  <a:gd name="connsiteX1" fmla="*/ 2247 w 167058"/>
                  <a:gd name="connsiteY1" fmla="*/ 15243 h 62077"/>
                  <a:gd name="connsiteX2" fmla="*/ 125367 w 167058"/>
                  <a:gd name="connsiteY2" fmla="*/ 54758 h 62077"/>
                  <a:gd name="connsiteX3" fmla="*/ 167042 w 167058"/>
                  <a:gd name="connsiteY3" fmla="*/ 1520 h 62077"/>
                </a:gdLst>
                <a:ahLst/>
                <a:cxnLst>
                  <a:cxn ang="0">
                    <a:pos x="connsiteX0" y="connsiteY0"/>
                  </a:cxn>
                  <a:cxn ang="0">
                    <a:pos x="connsiteX1" y="connsiteY1"/>
                  </a:cxn>
                  <a:cxn ang="0">
                    <a:pos x="connsiteX2" y="connsiteY2"/>
                  </a:cxn>
                  <a:cxn ang="0">
                    <a:pos x="connsiteX3" y="connsiteY3"/>
                  </a:cxn>
                </a:cxnLst>
                <a:rect l="l" t="t" r="r" b="b"/>
                <a:pathLst>
                  <a:path w="167058" h="62077">
                    <a:moveTo>
                      <a:pt x="167042" y="1520"/>
                    </a:moveTo>
                    <a:cubicBezTo>
                      <a:pt x="167042" y="1520"/>
                      <a:pt x="22830" y="-6739"/>
                      <a:pt x="2247" y="15243"/>
                    </a:cubicBezTo>
                    <a:cubicBezTo>
                      <a:pt x="-18337" y="37224"/>
                      <a:pt x="108849" y="29346"/>
                      <a:pt x="125367" y="54758"/>
                    </a:cubicBezTo>
                    <a:cubicBezTo>
                      <a:pt x="142012" y="80170"/>
                      <a:pt x="167805" y="33793"/>
                      <a:pt x="167042" y="1520"/>
                    </a:cubicBezTo>
                  </a:path>
                </a:pathLst>
              </a:custGeom>
              <a:solidFill>
                <a:srgbClr val="FFFFFF">
                  <a:alpha val="20000"/>
                </a:srgbClr>
              </a:solidFill>
              <a:ln w="12694" cap="flat">
                <a:noFill/>
                <a:prstDash val="solid"/>
                <a:miter/>
              </a:ln>
            </p:spPr>
            <p:txBody>
              <a:bodyPr rtlCol="0" anchor="ctr"/>
              <a:lstStyle/>
              <a:p>
                <a:endParaRPr lang="bg-BG" sz="1808"/>
              </a:p>
            </p:txBody>
          </p:sp>
        </p:grpSp>
        <p:sp>
          <p:nvSpPr>
            <p:cNvPr id="61" name="Свободна форма: фигура 60">
              <a:extLst>
                <a:ext uri="{FF2B5EF4-FFF2-40B4-BE49-F238E27FC236}">
                  <a16:creationId xmlns:a16="http://schemas.microsoft.com/office/drawing/2014/main" id="{7994BC3B-81BB-4337-B115-B6A770566260}"/>
                </a:ext>
              </a:extLst>
            </p:cNvPr>
            <p:cNvSpPr/>
            <p:nvPr/>
          </p:nvSpPr>
          <p:spPr>
            <a:xfrm>
              <a:off x="785987" y="346360"/>
              <a:ext cx="1809703" cy="1353306"/>
            </a:xfrm>
            <a:custGeom>
              <a:avLst/>
              <a:gdLst>
                <a:gd name="connsiteX0" fmla="*/ 978228 w 1809703"/>
                <a:gd name="connsiteY0" fmla="*/ 992459 h 1353306"/>
                <a:gd name="connsiteX1" fmla="*/ 992078 w 1809703"/>
                <a:gd name="connsiteY1" fmla="*/ 1068567 h 1353306"/>
                <a:gd name="connsiteX2" fmla="*/ 908473 w 1809703"/>
                <a:gd name="connsiteY2" fmla="*/ 1162845 h 1353306"/>
                <a:gd name="connsiteX3" fmla="*/ 767691 w 1809703"/>
                <a:gd name="connsiteY3" fmla="*/ 1254709 h 1353306"/>
                <a:gd name="connsiteX4" fmla="*/ 1755322 w 1809703"/>
                <a:gd name="connsiteY4" fmla="*/ 1353307 h 1353306"/>
                <a:gd name="connsiteX5" fmla="*/ 1809703 w 1809703"/>
                <a:gd name="connsiteY5" fmla="*/ 146753 h 1353306"/>
                <a:gd name="connsiteX6" fmla="*/ 89704 w 1809703"/>
                <a:gd name="connsiteY6" fmla="*/ 0 h 1353306"/>
                <a:gd name="connsiteX7" fmla="*/ 0 w 1809703"/>
                <a:gd name="connsiteY7" fmla="*/ 1239081 h 1353306"/>
                <a:gd name="connsiteX8" fmla="*/ 491084 w 1809703"/>
                <a:gd name="connsiteY8" fmla="*/ 1243147 h 1353306"/>
                <a:gd name="connsiteX9" fmla="*/ 703018 w 1809703"/>
                <a:gd name="connsiteY9" fmla="*/ 1149885 h 1353306"/>
                <a:gd name="connsiteX10" fmla="*/ 917875 w 1809703"/>
                <a:gd name="connsiteY10" fmla="*/ 996398 h 1353306"/>
                <a:gd name="connsiteX11" fmla="*/ 978228 w 1809703"/>
                <a:gd name="connsiteY11" fmla="*/ 992459 h 1353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09703" h="1353306">
                  <a:moveTo>
                    <a:pt x="978228" y="992459"/>
                  </a:moveTo>
                  <a:cubicBezTo>
                    <a:pt x="978228" y="992459"/>
                    <a:pt x="1009612" y="1022699"/>
                    <a:pt x="992078" y="1068567"/>
                  </a:cubicBezTo>
                  <a:cubicBezTo>
                    <a:pt x="974417" y="1114436"/>
                    <a:pt x="927277" y="1144676"/>
                    <a:pt x="908473" y="1162845"/>
                  </a:cubicBezTo>
                  <a:cubicBezTo>
                    <a:pt x="889668" y="1181015"/>
                    <a:pt x="849390" y="1253947"/>
                    <a:pt x="767691" y="1254709"/>
                  </a:cubicBezTo>
                  <a:lnTo>
                    <a:pt x="1755322" y="1353307"/>
                  </a:lnTo>
                  <a:lnTo>
                    <a:pt x="1809703" y="146753"/>
                  </a:lnTo>
                  <a:lnTo>
                    <a:pt x="89704" y="0"/>
                  </a:lnTo>
                  <a:lnTo>
                    <a:pt x="0" y="1239081"/>
                  </a:lnTo>
                  <a:lnTo>
                    <a:pt x="491084" y="1243147"/>
                  </a:lnTo>
                  <a:cubicBezTo>
                    <a:pt x="491084" y="1243147"/>
                    <a:pt x="571512" y="1193467"/>
                    <a:pt x="703018" y="1149885"/>
                  </a:cubicBezTo>
                  <a:cubicBezTo>
                    <a:pt x="792468" y="1120153"/>
                    <a:pt x="902120" y="1011899"/>
                    <a:pt x="917875" y="996398"/>
                  </a:cubicBezTo>
                  <a:cubicBezTo>
                    <a:pt x="933758" y="980770"/>
                    <a:pt x="947988" y="972129"/>
                    <a:pt x="978228" y="992459"/>
                  </a:cubicBezTo>
                </a:path>
              </a:pathLst>
            </a:custGeom>
            <a:solidFill>
              <a:srgbClr val="BE1E2D"/>
            </a:solidFill>
            <a:ln w="12694" cap="flat">
              <a:noFill/>
              <a:prstDash val="solid"/>
              <a:miter/>
            </a:ln>
          </p:spPr>
          <p:txBody>
            <a:bodyPr rtlCol="0" anchor="ctr"/>
            <a:lstStyle/>
            <a:p>
              <a:endParaRPr lang="bg-BG" sz="1808"/>
            </a:p>
          </p:txBody>
        </p:sp>
        <p:sp>
          <p:nvSpPr>
            <p:cNvPr id="103" name="Свободна форма: фигура 102">
              <a:extLst>
                <a:ext uri="{FF2B5EF4-FFF2-40B4-BE49-F238E27FC236}">
                  <a16:creationId xmlns:a16="http://schemas.microsoft.com/office/drawing/2014/main" id="{CEB34DAA-53F5-46EB-A655-C6BEEF95361E}"/>
                </a:ext>
              </a:extLst>
            </p:cNvPr>
            <p:cNvSpPr/>
            <p:nvPr/>
          </p:nvSpPr>
          <p:spPr>
            <a:xfrm>
              <a:off x="993475" y="543048"/>
              <a:ext cx="229341" cy="221718"/>
            </a:xfrm>
            <a:custGeom>
              <a:avLst/>
              <a:gdLst>
                <a:gd name="connsiteX0" fmla="*/ 37991 w 229341"/>
                <a:gd name="connsiteY0" fmla="*/ 221718 h 221718"/>
                <a:gd name="connsiteX1" fmla="*/ 0 w 229341"/>
                <a:gd name="connsiteY1" fmla="*/ 218288 h 221718"/>
                <a:gd name="connsiteX2" fmla="*/ 19313 w 229341"/>
                <a:gd name="connsiteY2" fmla="*/ 0 h 221718"/>
                <a:gd name="connsiteX3" fmla="*/ 229342 w 229341"/>
                <a:gd name="connsiteY3" fmla="*/ 17661 h 221718"/>
                <a:gd name="connsiteX4" fmla="*/ 226165 w 229341"/>
                <a:gd name="connsiteY4" fmla="*/ 55652 h 221718"/>
                <a:gd name="connsiteX5" fmla="*/ 54000 w 229341"/>
                <a:gd name="connsiteY5" fmla="*/ 41167 h 221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9341" h="221718">
                  <a:moveTo>
                    <a:pt x="37991" y="221718"/>
                  </a:moveTo>
                  <a:lnTo>
                    <a:pt x="0" y="218288"/>
                  </a:lnTo>
                  <a:lnTo>
                    <a:pt x="19313" y="0"/>
                  </a:lnTo>
                  <a:lnTo>
                    <a:pt x="229342" y="17661"/>
                  </a:lnTo>
                  <a:lnTo>
                    <a:pt x="226165" y="55652"/>
                  </a:lnTo>
                  <a:lnTo>
                    <a:pt x="54000" y="41167"/>
                  </a:lnTo>
                  <a:close/>
                </a:path>
              </a:pathLst>
            </a:custGeom>
            <a:solidFill>
              <a:srgbClr val="FFDD15"/>
            </a:solidFill>
            <a:ln w="12694" cap="flat">
              <a:noFill/>
              <a:prstDash val="solid"/>
              <a:miter/>
            </a:ln>
          </p:spPr>
          <p:txBody>
            <a:bodyPr rtlCol="0" anchor="ctr"/>
            <a:lstStyle/>
            <a:p>
              <a:endParaRPr lang="bg-BG" sz="1808"/>
            </a:p>
          </p:txBody>
        </p:sp>
        <p:sp>
          <p:nvSpPr>
            <p:cNvPr id="104" name="Свободна форма: фигура 103">
              <a:extLst>
                <a:ext uri="{FF2B5EF4-FFF2-40B4-BE49-F238E27FC236}">
                  <a16:creationId xmlns:a16="http://schemas.microsoft.com/office/drawing/2014/main" id="{D2C3C49A-B9C2-4795-9826-59A0B14C8F8E}"/>
                </a:ext>
              </a:extLst>
            </p:cNvPr>
            <p:cNvSpPr/>
            <p:nvPr/>
          </p:nvSpPr>
          <p:spPr>
            <a:xfrm>
              <a:off x="2246278" y="657528"/>
              <a:ext cx="221718" cy="229341"/>
            </a:xfrm>
            <a:custGeom>
              <a:avLst/>
              <a:gdLst>
                <a:gd name="connsiteX0" fmla="*/ 204057 w 221718"/>
                <a:gd name="connsiteY0" fmla="*/ 229342 h 229341"/>
                <a:gd name="connsiteX1" fmla="*/ 166066 w 221718"/>
                <a:gd name="connsiteY1" fmla="*/ 226165 h 229341"/>
                <a:gd name="connsiteX2" fmla="*/ 180551 w 221718"/>
                <a:gd name="connsiteY2" fmla="*/ 54000 h 229341"/>
                <a:gd name="connsiteX3" fmla="*/ 0 w 221718"/>
                <a:gd name="connsiteY3" fmla="*/ 37991 h 229341"/>
                <a:gd name="connsiteX4" fmla="*/ 3431 w 221718"/>
                <a:gd name="connsiteY4" fmla="*/ 0 h 229341"/>
                <a:gd name="connsiteX5" fmla="*/ 221718 w 221718"/>
                <a:gd name="connsiteY5" fmla="*/ 19313 h 229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1718" h="229341">
                  <a:moveTo>
                    <a:pt x="204057" y="229342"/>
                  </a:moveTo>
                  <a:lnTo>
                    <a:pt x="166066" y="226165"/>
                  </a:lnTo>
                  <a:lnTo>
                    <a:pt x="180551" y="54000"/>
                  </a:lnTo>
                  <a:lnTo>
                    <a:pt x="0" y="37991"/>
                  </a:lnTo>
                  <a:lnTo>
                    <a:pt x="3431" y="0"/>
                  </a:lnTo>
                  <a:lnTo>
                    <a:pt x="221718" y="19313"/>
                  </a:lnTo>
                  <a:close/>
                </a:path>
              </a:pathLst>
            </a:custGeom>
            <a:solidFill>
              <a:srgbClr val="FFDD15"/>
            </a:solidFill>
            <a:ln w="12694" cap="flat">
              <a:noFill/>
              <a:prstDash val="solid"/>
              <a:miter/>
            </a:ln>
          </p:spPr>
          <p:txBody>
            <a:bodyPr rtlCol="0" anchor="ctr"/>
            <a:lstStyle/>
            <a:p>
              <a:endParaRPr lang="bg-BG" sz="1808"/>
            </a:p>
          </p:txBody>
        </p:sp>
        <p:sp>
          <p:nvSpPr>
            <p:cNvPr id="105" name="Свободна форма: фигура 104">
              <a:extLst>
                <a:ext uri="{FF2B5EF4-FFF2-40B4-BE49-F238E27FC236}">
                  <a16:creationId xmlns:a16="http://schemas.microsoft.com/office/drawing/2014/main" id="{B6854B64-BFDA-4BE9-B1FC-3F88B0C9874A}"/>
                </a:ext>
              </a:extLst>
            </p:cNvPr>
            <p:cNvSpPr/>
            <p:nvPr/>
          </p:nvSpPr>
          <p:spPr>
            <a:xfrm>
              <a:off x="2197614" y="1166527"/>
              <a:ext cx="229341" cy="221718"/>
            </a:xfrm>
            <a:custGeom>
              <a:avLst/>
              <a:gdLst>
                <a:gd name="connsiteX0" fmla="*/ 209902 w 229341"/>
                <a:gd name="connsiteY0" fmla="*/ 221718 h 221718"/>
                <a:gd name="connsiteX1" fmla="*/ 0 w 229341"/>
                <a:gd name="connsiteY1" fmla="*/ 204057 h 221718"/>
                <a:gd name="connsiteX2" fmla="*/ 3176 w 229341"/>
                <a:gd name="connsiteY2" fmla="*/ 166066 h 221718"/>
                <a:gd name="connsiteX3" fmla="*/ 175341 w 229341"/>
                <a:gd name="connsiteY3" fmla="*/ 180551 h 221718"/>
                <a:gd name="connsiteX4" fmla="*/ 191351 w 229341"/>
                <a:gd name="connsiteY4" fmla="*/ 0 h 221718"/>
                <a:gd name="connsiteX5" fmla="*/ 229342 w 229341"/>
                <a:gd name="connsiteY5" fmla="*/ 3304 h 221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9341" h="221718">
                  <a:moveTo>
                    <a:pt x="209902" y="221718"/>
                  </a:moveTo>
                  <a:lnTo>
                    <a:pt x="0" y="204057"/>
                  </a:lnTo>
                  <a:lnTo>
                    <a:pt x="3176" y="166066"/>
                  </a:lnTo>
                  <a:lnTo>
                    <a:pt x="175341" y="180551"/>
                  </a:lnTo>
                  <a:lnTo>
                    <a:pt x="191351" y="0"/>
                  </a:lnTo>
                  <a:lnTo>
                    <a:pt x="229342" y="3304"/>
                  </a:lnTo>
                  <a:close/>
                </a:path>
              </a:pathLst>
            </a:custGeom>
            <a:solidFill>
              <a:srgbClr val="FFDD15"/>
            </a:solidFill>
            <a:ln w="12694" cap="flat">
              <a:noFill/>
              <a:prstDash val="solid"/>
              <a:miter/>
            </a:ln>
          </p:spPr>
          <p:txBody>
            <a:bodyPr rtlCol="0" anchor="ctr"/>
            <a:lstStyle/>
            <a:p>
              <a:endParaRPr lang="bg-BG" sz="1808"/>
            </a:p>
          </p:txBody>
        </p:sp>
        <p:sp>
          <p:nvSpPr>
            <p:cNvPr id="106" name="Свободна форма: фигура 105">
              <a:extLst>
                <a:ext uri="{FF2B5EF4-FFF2-40B4-BE49-F238E27FC236}">
                  <a16:creationId xmlns:a16="http://schemas.microsoft.com/office/drawing/2014/main" id="{25128B5F-D958-4D93-9CCE-CFD49644AC61}"/>
                </a:ext>
              </a:extLst>
            </p:cNvPr>
            <p:cNvSpPr/>
            <p:nvPr/>
          </p:nvSpPr>
          <p:spPr>
            <a:xfrm>
              <a:off x="952308" y="1044296"/>
              <a:ext cx="221718" cy="229341"/>
            </a:xfrm>
            <a:custGeom>
              <a:avLst/>
              <a:gdLst>
                <a:gd name="connsiteX0" fmla="*/ 218415 w 221718"/>
                <a:gd name="connsiteY0" fmla="*/ 229342 h 229341"/>
                <a:gd name="connsiteX1" fmla="*/ 0 w 221718"/>
                <a:gd name="connsiteY1" fmla="*/ 210029 h 229341"/>
                <a:gd name="connsiteX2" fmla="*/ 17661 w 221718"/>
                <a:gd name="connsiteY2" fmla="*/ 0 h 229341"/>
                <a:gd name="connsiteX3" fmla="*/ 55652 w 221718"/>
                <a:gd name="connsiteY3" fmla="*/ 3303 h 229341"/>
                <a:gd name="connsiteX4" fmla="*/ 41167 w 221718"/>
                <a:gd name="connsiteY4" fmla="*/ 175469 h 229341"/>
                <a:gd name="connsiteX5" fmla="*/ 221718 w 221718"/>
                <a:gd name="connsiteY5" fmla="*/ 191478 h 229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1718" h="229341">
                  <a:moveTo>
                    <a:pt x="218415" y="229342"/>
                  </a:moveTo>
                  <a:lnTo>
                    <a:pt x="0" y="210029"/>
                  </a:lnTo>
                  <a:lnTo>
                    <a:pt x="17661" y="0"/>
                  </a:lnTo>
                  <a:lnTo>
                    <a:pt x="55652" y="3303"/>
                  </a:lnTo>
                  <a:lnTo>
                    <a:pt x="41167" y="175469"/>
                  </a:lnTo>
                  <a:lnTo>
                    <a:pt x="221718" y="191478"/>
                  </a:lnTo>
                  <a:close/>
                </a:path>
              </a:pathLst>
            </a:custGeom>
            <a:solidFill>
              <a:srgbClr val="FFDD15"/>
            </a:solidFill>
            <a:ln w="12694" cap="flat">
              <a:noFill/>
              <a:prstDash val="solid"/>
              <a:miter/>
            </a:ln>
          </p:spPr>
          <p:txBody>
            <a:bodyPr rtlCol="0" anchor="ctr"/>
            <a:lstStyle/>
            <a:p>
              <a:endParaRPr lang="bg-BG" sz="1808"/>
            </a:p>
          </p:txBody>
        </p:sp>
      </p:grpSp>
      <p:sp>
        <p:nvSpPr>
          <p:cNvPr id="4" name="object 4"/>
          <p:cNvSpPr txBox="1"/>
          <p:nvPr/>
        </p:nvSpPr>
        <p:spPr>
          <a:xfrm>
            <a:off x="4940423" y="2683620"/>
            <a:ext cx="499518" cy="619453"/>
          </a:xfrm>
          <a:prstGeom prst="rect">
            <a:avLst/>
          </a:prstGeom>
        </p:spPr>
        <p:txBody>
          <a:bodyPr vert="horz" wrap="square" lIns="0" tIns="15949" rIns="0" bIns="0" rtlCol="0">
            <a:spAutoFit/>
          </a:bodyPr>
          <a:lstStyle/>
          <a:p>
            <a:pPr marL="12760">
              <a:spcBef>
                <a:spcPts val="126"/>
              </a:spcBef>
            </a:pPr>
            <a:r>
              <a:rPr sz="3868" spc="322" dirty="0">
                <a:solidFill>
                  <a:srgbClr val="FFFFFF"/>
                </a:solidFill>
                <a:latin typeface="Arial"/>
                <a:cs typeface="Arial"/>
              </a:rPr>
              <a:t>0</a:t>
            </a:r>
            <a:r>
              <a:rPr sz="3868" spc="-904" dirty="0">
                <a:solidFill>
                  <a:srgbClr val="FFFFFF"/>
                </a:solidFill>
                <a:latin typeface="Arial"/>
                <a:cs typeface="Arial"/>
              </a:rPr>
              <a:t>1</a:t>
            </a:r>
            <a:endParaRPr sz="3868" dirty="0">
              <a:latin typeface="Arial"/>
              <a:cs typeface="Arial"/>
            </a:endParaRPr>
          </a:p>
        </p:txBody>
      </p:sp>
      <p:sp>
        <p:nvSpPr>
          <p:cNvPr id="8" name="object 8"/>
          <p:cNvSpPr txBox="1"/>
          <p:nvPr/>
        </p:nvSpPr>
        <p:spPr>
          <a:xfrm>
            <a:off x="4886748" y="4562092"/>
            <a:ext cx="831448" cy="631658"/>
          </a:xfrm>
          <a:prstGeom prst="rect">
            <a:avLst/>
          </a:prstGeom>
        </p:spPr>
        <p:txBody>
          <a:bodyPr vert="horz" wrap="square" lIns="0" tIns="15949" rIns="0" bIns="0" rtlCol="0">
            <a:spAutoFit/>
          </a:bodyPr>
          <a:lstStyle/>
          <a:p>
            <a:pPr marL="12760">
              <a:spcBef>
                <a:spcPts val="126"/>
              </a:spcBef>
            </a:pPr>
            <a:r>
              <a:rPr sz="4000" spc="230" dirty="0">
                <a:solidFill>
                  <a:srgbClr val="FFFFFF"/>
                </a:solidFill>
                <a:latin typeface="Arial"/>
                <a:cs typeface="Arial"/>
              </a:rPr>
              <a:t>03</a:t>
            </a:r>
            <a:endParaRPr sz="4000" dirty="0">
              <a:latin typeface="Arial"/>
              <a:cs typeface="Arial"/>
            </a:endParaRPr>
          </a:p>
        </p:txBody>
      </p:sp>
      <p:sp>
        <p:nvSpPr>
          <p:cNvPr id="9" name="object 9"/>
          <p:cNvSpPr txBox="1"/>
          <p:nvPr/>
        </p:nvSpPr>
        <p:spPr>
          <a:xfrm>
            <a:off x="5408802" y="5499427"/>
            <a:ext cx="5302481" cy="667233"/>
          </a:xfrm>
          <a:prstGeom prst="rect">
            <a:avLst/>
          </a:prstGeom>
        </p:spPr>
        <p:txBody>
          <a:bodyPr vert="horz" wrap="square" lIns="0" tIns="150557" rIns="0" bIns="0" rtlCol="0">
            <a:spAutoFit/>
          </a:bodyPr>
          <a:lstStyle/>
          <a:p>
            <a:pPr lvl="0" algn="ctr">
              <a:lnSpc>
                <a:spcPct val="107000"/>
              </a:lnSpc>
              <a:spcAft>
                <a:spcPts val="80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Provision of appropriate treatment, care and support to women living with HIV, their children and families.</a:t>
            </a:r>
            <a:endParaRPr lang="en-NG" sz="16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1" name="object 11"/>
          <p:cNvSpPr txBox="1"/>
          <p:nvPr/>
        </p:nvSpPr>
        <p:spPr>
          <a:xfrm rot="302202">
            <a:off x="1297057" y="3565692"/>
            <a:ext cx="1343515" cy="646331"/>
          </a:xfrm>
          <a:prstGeom prst="rect">
            <a:avLst/>
          </a:prstGeom>
        </p:spPr>
        <p:txBody>
          <a:bodyPr vert="horz" wrap="square" lIns="0" tIns="0" rIns="0" bIns="0" rtlCol="0">
            <a:spAutoFit/>
          </a:bodyPr>
          <a:lstStyle/>
          <a:p>
            <a:pPr algn="ctr"/>
            <a:r>
              <a:rPr lang="en-US" sz="2100" b="1" spc="20" dirty="0">
                <a:solidFill>
                  <a:srgbClr val="FFDD14"/>
                </a:solidFill>
                <a:latin typeface="Noto Sans"/>
                <a:cs typeface="Noto Sans"/>
              </a:rPr>
              <a:t>PMTCT AIMS AT:</a:t>
            </a:r>
            <a:endParaRPr lang="en-US" sz="2100" dirty="0">
              <a:latin typeface="Noto Sans"/>
              <a:cs typeface="Noto Sans"/>
            </a:endParaRPr>
          </a:p>
        </p:txBody>
      </p:sp>
      <p:sp>
        <p:nvSpPr>
          <p:cNvPr id="114" name="object 9">
            <a:extLst>
              <a:ext uri="{FF2B5EF4-FFF2-40B4-BE49-F238E27FC236}">
                <a16:creationId xmlns:a16="http://schemas.microsoft.com/office/drawing/2014/main" id="{54A4B036-6ADF-4CE2-9C5F-FE9BDCE15F8E}"/>
              </a:ext>
            </a:extLst>
          </p:cNvPr>
          <p:cNvSpPr txBox="1"/>
          <p:nvPr/>
        </p:nvSpPr>
        <p:spPr>
          <a:xfrm>
            <a:off x="5563819" y="4508880"/>
            <a:ext cx="4183145" cy="973919"/>
          </a:xfrm>
          <a:prstGeom prst="rect">
            <a:avLst/>
          </a:prstGeom>
        </p:spPr>
        <p:txBody>
          <a:bodyPr vert="horz" wrap="square" lIns="0" tIns="150557" rIns="0" bIns="0" rtlCol="0">
            <a:spAutoFit/>
          </a:bodyPr>
          <a:lstStyle/>
          <a:p>
            <a:pPr lvl="0" algn="ctr">
              <a:lnSpc>
                <a:spcPct val="107000"/>
              </a:lnSpc>
              <a:spcAft>
                <a:spcPts val="800"/>
              </a:spcAft>
            </a:pPr>
            <a:r>
              <a:rPr lang="en-US" sz="1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Prevention of HIV transmission from women living with HIV to their infants.</a:t>
            </a:r>
          </a:p>
          <a:p>
            <a:pPr algn="ctr">
              <a:lnSpc>
                <a:spcPts val="1507"/>
              </a:lnSpc>
            </a:pPr>
            <a:r>
              <a:rPr lang="en-US" sz="1600" spc="40" dirty="0">
                <a:solidFill>
                  <a:schemeClr val="bg1"/>
                </a:solidFill>
                <a:latin typeface="Arial"/>
                <a:cs typeface="Arial"/>
              </a:rPr>
              <a:t>.</a:t>
            </a:r>
            <a:endParaRPr lang="en-US" sz="1600" dirty="0">
              <a:solidFill>
                <a:schemeClr val="bg1"/>
              </a:solidFill>
              <a:latin typeface="Arial"/>
              <a:cs typeface="Arial"/>
            </a:endParaRPr>
          </a:p>
        </p:txBody>
      </p:sp>
      <p:sp>
        <p:nvSpPr>
          <p:cNvPr id="116" name="object 9">
            <a:extLst>
              <a:ext uri="{FF2B5EF4-FFF2-40B4-BE49-F238E27FC236}">
                <a16:creationId xmlns:a16="http://schemas.microsoft.com/office/drawing/2014/main" id="{59593324-CE42-43CE-BB81-99D2EE79E81A}"/>
              </a:ext>
            </a:extLst>
          </p:cNvPr>
          <p:cNvSpPr txBox="1"/>
          <p:nvPr/>
        </p:nvSpPr>
        <p:spPr>
          <a:xfrm>
            <a:off x="5594985" y="3626201"/>
            <a:ext cx="4533305" cy="667233"/>
          </a:xfrm>
          <a:prstGeom prst="rect">
            <a:avLst/>
          </a:prstGeom>
        </p:spPr>
        <p:txBody>
          <a:bodyPr vert="horz" wrap="square" lIns="0" tIns="150557" rIns="0" bIns="0" rtlCol="0">
            <a:spAutoFit/>
          </a:bodyPr>
          <a:lstStyle/>
          <a:p>
            <a:pPr lvl="0" algn="ctr">
              <a:lnSpc>
                <a:spcPct val="107000"/>
              </a:lnSpc>
              <a:spcAft>
                <a:spcPts val="80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Prevention of unintended pregnancies among women living with HIV.</a:t>
            </a:r>
            <a:endParaRPr lang="en-NG" sz="16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17" name="object 9">
            <a:extLst>
              <a:ext uri="{FF2B5EF4-FFF2-40B4-BE49-F238E27FC236}">
                <a16:creationId xmlns:a16="http://schemas.microsoft.com/office/drawing/2014/main" id="{B7B931E9-DB27-45C7-AA77-E1632275590A}"/>
              </a:ext>
            </a:extLst>
          </p:cNvPr>
          <p:cNvSpPr txBox="1"/>
          <p:nvPr/>
        </p:nvSpPr>
        <p:spPr>
          <a:xfrm>
            <a:off x="4886748" y="3624601"/>
            <a:ext cx="690315" cy="582278"/>
          </a:xfrm>
          <a:prstGeom prst="rect">
            <a:avLst/>
          </a:prstGeom>
        </p:spPr>
        <p:txBody>
          <a:bodyPr vert="horz" wrap="square" lIns="0" tIns="150557" rIns="0" bIns="0" rtlCol="0">
            <a:spAutoFit/>
          </a:bodyPr>
          <a:lstStyle/>
          <a:p>
            <a:pPr marL="38279">
              <a:lnSpc>
                <a:spcPts val="2713"/>
              </a:lnSpc>
            </a:pPr>
            <a:r>
              <a:rPr lang="en-US" sz="5802" spc="482" baseline="-20202" dirty="0">
                <a:latin typeface="Arial"/>
                <a:cs typeface="Arial"/>
              </a:rPr>
              <a:t>02</a:t>
            </a:r>
            <a:endParaRPr lang="bg-BG" sz="1005" dirty="0">
              <a:latin typeface="Arial"/>
              <a:cs typeface="Arial"/>
            </a:endParaRPr>
          </a:p>
        </p:txBody>
      </p:sp>
      <p:sp>
        <p:nvSpPr>
          <p:cNvPr id="119" name="object 9">
            <a:extLst>
              <a:ext uri="{FF2B5EF4-FFF2-40B4-BE49-F238E27FC236}">
                <a16:creationId xmlns:a16="http://schemas.microsoft.com/office/drawing/2014/main" id="{4CF0CD29-97A0-4A67-8603-8834B0B6EF1A}"/>
              </a:ext>
            </a:extLst>
          </p:cNvPr>
          <p:cNvSpPr txBox="1"/>
          <p:nvPr/>
        </p:nvSpPr>
        <p:spPr>
          <a:xfrm>
            <a:off x="5917294" y="2593306"/>
            <a:ext cx="4507734" cy="973919"/>
          </a:xfrm>
          <a:prstGeom prst="rect">
            <a:avLst/>
          </a:prstGeom>
        </p:spPr>
        <p:txBody>
          <a:bodyPr vert="horz" wrap="square" lIns="0" tIns="150557" rIns="0" bIns="0" rtlCol="0">
            <a:spAutoFit/>
          </a:bodyPr>
          <a:lstStyle/>
          <a:p>
            <a:pPr lvl="0" algn="ctr">
              <a:lnSpc>
                <a:spcPct val="107000"/>
              </a:lnSpc>
              <a:spcAft>
                <a:spcPts val="800"/>
              </a:spcAft>
            </a:pPr>
            <a:r>
              <a:rPr lang="en-US" sz="1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Primary prevention of HIV infection in women of reproductive age and their partners.</a:t>
            </a:r>
            <a:endParaRPr lang="en-NG" sz="1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p>
            <a:pPr algn="ctr">
              <a:lnSpc>
                <a:spcPts val="1507"/>
              </a:lnSpc>
            </a:pPr>
            <a:r>
              <a:rPr sz="1400" spc="40" dirty="0">
                <a:solidFill>
                  <a:schemeClr val="bg1"/>
                </a:solidFill>
                <a:latin typeface="Arial"/>
                <a:cs typeface="Arial"/>
              </a:rPr>
              <a:t>.</a:t>
            </a:r>
            <a:endParaRPr sz="1400" dirty="0">
              <a:solidFill>
                <a:schemeClr val="bg1"/>
              </a:solidFill>
              <a:latin typeface="Arial"/>
              <a:cs typeface="Arial"/>
            </a:endParaRPr>
          </a:p>
        </p:txBody>
      </p:sp>
      <p:sp>
        <p:nvSpPr>
          <p:cNvPr id="3" name="Rectangle: Rounded Corners 2">
            <a:extLst>
              <a:ext uri="{FF2B5EF4-FFF2-40B4-BE49-F238E27FC236}">
                <a16:creationId xmlns:a16="http://schemas.microsoft.com/office/drawing/2014/main" id="{9981CC33-0D30-34BD-7036-1B708CD96C87}"/>
              </a:ext>
            </a:extLst>
          </p:cNvPr>
          <p:cNvSpPr/>
          <p:nvPr/>
        </p:nvSpPr>
        <p:spPr>
          <a:xfrm>
            <a:off x="614427" y="1140564"/>
            <a:ext cx="10605734" cy="1116612"/>
          </a:xfrm>
          <a:prstGeom prst="round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algn="ctr">
              <a:lnSpc>
                <a:spcPct val="107000"/>
              </a:lnSpc>
              <a:spcAft>
                <a:spcPts val="800"/>
              </a:spcAft>
            </a:pPr>
            <a:r>
              <a:rPr lang="en-US" sz="2000" dirty="0">
                <a:solidFill>
                  <a:schemeClr val="tx1"/>
                </a:solidFill>
                <a:effectLst/>
                <a:latin typeface="Trebuchet MS" panose="020B0603020202020204" pitchFamily="34" charset="0"/>
                <a:ea typeface="Calibri" panose="020F0502020204030204" pitchFamily="34" charset="0"/>
                <a:cs typeface="Times New Roman" panose="02020603050405020304" pitchFamily="18" charset="0"/>
              </a:rPr>
              <a:t>Prevention of mother to child transmission of HIV is the strategy for ensuring that HIV infection is not transmitted to an infant during pregnancy, delivery and lactation period.</a:t>
            </a:r>
            <a:endParaRPr lang="en-NG" sz="2000" dirty="0">
              <a:solidFill>
                <a:schemeClr val="tx1"/>
              </a:solidFill>
              <a:effectLst/>
              <a:latin typeface="Trebuchet MS" panose="020B0603020202020204" pitchFamily="34" charset="0"/>
              <a:ea typeface="Calibri" panose="020F0502020204030204" pitchFamily="34" charset="0"/>
              <a:cs typeface="Times New Roman" panose="02020603050405020304" pitchFamily="18" charset="0"/>
            </a:endParaRPr>
          </a:p>
        </p:txBody>
      </p:sp>
      <p:sp>
        <p:nvSpPr>
          <p:cNvPr id="124" name="object 8">
            <a:extLst>
              <a:ext uri="{FF2B5EF4-FFF2-40B4-BE49-F238E27FC236}">
                <a16:creationId xmlns:a16="http://schemas.microsoft.com/office/drawing/2014/main" id="{9841878F-16BA-14BB-5E18-12555852D1E4}"/>
              </a:ext>
            </a:extLst>
          </p:cNvPr>
          <p:cNvSpPr txBox="1"/>
          <p:nvPr/>
        </p:nvSpPr>
        <p:spPr>
          <a:xfrm>
            <a:off x="4806802" y="5510350"/>
            <a:ext cx="831448" cy="631658"/>
          </a:xfrm>
          <a:prstGeom prst="rect">
            <a:avLst/>
          </a:prstGeom>
        </p:spPr>
        <p:txBody>
          <a:bodyPr vert="horz" wrap="square" lIns="0" tIns="15949" rIns="0" bIns="0" rtlCol="0">
            <a:spAutoFit/>
          </a:bodyPr>
          <a:lstStyle/>
          <a:p>
            <a:pPr marL="12760">
              <a:spcBef>
                <a:spcPts val="126"/>
              </a:spcBef>
            </a:pPr>
            <a:r>
              <a:rPr sz="4000" spc="230" dirty="0">
                <a:latin typeface="Arial"/>
                <a:cs typeface="Arial"/>
              </a:rPr>
              <a:t>0</a:t>
            </a:r>
            <a:r>
              <a:rPr lang="en-US" sz="4000" spc="230" dirty="0">
                <a:latin typeface="Arial"/>
                <a:cs typeface="Arial"/>
              </a:rPr>
              <a:t>4</a:t>
            </a:r>
            <a:endParaRPr sz="4000" dirty="0">
              <a:latin typeface="Arial"/>
              <a:cs typeface="Arial"/>
            </a:endParaRPr>
          </a:p>
        </p:txBody>
      </p:sp>
      <p:sp>
        <p:nvSpPr>
          <p:cNvPr id="5" name="Title 1">
            <a:extLst>
              <a:ext uri="{FF2B5EF4-FFF2-40B4-BE49-F238E27FC236}">
                <a16:creationId xmlns:a16="http://schemas.microsoft.com/office/drawing/2014/main" id="{1B7E542F-AADF-D3CC-2461-597071B13F93}"/>
              </a:ext>
            </a:extLst>
          </p:cNvPr>
          <p:cNvSpPr txBox="1">
            <a:spLocks/>
          </p:cNvSpPr>
          <p:nvPr/>
        </p:nvSpPr>
        <p:spPr>
          <a:xfrm>
            <a:off x="0" y="0"/>
            <a:ext cx="10972800" cy="11430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5400" dirty="0">
                <a:solidFill>
                  <a:schemeClr val="tx2">
                    <a:lumMod val="75000"/>
                  </a:schemeClr>
                </a:solidFill>
              </a:rPr>
              <a:t>Overview of PMTCT</a:t>
            </a:r>
            <a:endParaRPr lang="en-NG" sz="5400" dirty="0">
              <a:solidFill>
                <a:schemeClr val="tx2">
                  <a:lumMod val="75000"/>
                </a:schemeClr>
              </a:solidFill>
            </a:endParaRPr>
          </a:p>
        </p:txBody>
      </p:sp>
    </p:spTree>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55B9098-9AE6-9C82-12F0-ACFCA9B449A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295399"/>
            <a:ext cx="12192000" cy="5105401"/>
          </a:xfrm>
          <a:prstGeom prst="rect">
            <a:avLst/>
          </a:prstGeom>
        </p:spPr>
      </p:pic>
      <p:sp>
        <p:nvSpPr>
          <p:cNvPr id="2" name="Title 1">
            <a:extLst>
              <a:ext uri="{FF2B5EF4-FFF2-40B4-BE49-F238E27FC236}">
                <a16:creationId xmlns:a16="http://schemas.microsoft.com/office/drawing/2014/main" id="{72469A85-9A5B-CD49-16AB-E7D17609D129}"/>
              </a:ext>
            </a:extLst>
          </p:cNvPr>
          <p:cNvSpPr txBox="1">
            <a:spLocks/>
          </p:cNvSpPr>
          <p:nvPr/>
        </p:nvSpPr>
        <p:spPr>
          <a:xfrm>
            <a:off x="0" y="0"/>
            <a:ext cx="10972800" cy="11430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5400" dirty="0">
                <a:solidFill>
                  <a:schemeClr val="tx2">
                    <a:lumMod val="75000"/>
                  </a:schemeClr>
                </a:solidFill>
              </a:rPr>
              <a:t>PMTCT Flow Chart</a:t>
            </a:r>
            <a:endParaRPr lang="en-NG" sz="5400" dirty="0">
              <a:solidFill>
                <a:schemeClr val="tx2">
                  <a:lumMod val="75000"/>
                </a:schemeClr>
              </a:solidFill>
            </a:endParaRPr>
          </a:p>
        </p:txBody>
      </p:sp>
    </p:spTree>
    <p:extLst>
      <p:ext uri="{BB962C8B-B14F-4D97-AF65-F5344CB8AC3E}">
        <p14:creationId xmlns:p14="http://schemas.microsoft.com/office/powerpoint/2010/main" val="167215322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CD4C486C-519C-FB86-9678-F38889AE118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143000"/>
            <a:ext cx="6096000" cy="5295900"/>
          </a:xfrm>
          <a:prstGeom prst="rect">
            <a:avLst/>
          </a:prstGeom>
        </p:spPr>
      </p:pic>
      <p:sp>
        <p:nvSpPr>
          <p:cNvPr id="12" name="Title 11">
            <a:extLst>
              <a:ext uri="{FF2B5EF4-FFF2-40B4-BE49-F238E27FC236}">
                <a16:creationId xmlns:a16="http://schemas.microsoft.com/office/drawing/2014/main" id="{81887424-3663-A4A8-70C4-49B1323A28C0}"/>
              </a:ext>
            </a:extLst>
          </p:cNvPr>
          <p:cNvSpPr>
            <a:spLocks noGrp="1"/>
          </p:cNvSpPr>
          <p:nvPr>
            <p:ph type="title"/>
          </p:nvPr>
        </p:nvSpPr>
        <p:spPr>
          <a:xfrm>
            <a:off x="6096000" y="2333626"/>
            <a:ext cx="5572126" cy="3286124"/>
          </a:xfrm>
        </p:spPr>
        <p:txBody>
          <a:bodyPr>
            <a:normAutofit/>
          </a:bodyPr>
          <a:lstStyle/>
          <a:p>
            <a:r>
              <a:rPr lang="en-US" sz="5500" b="1" dirty="0">
                <a:solidFill>
                  <a:schemeClr val="tx2"/>
                </a:solidFill>
              </a:rPr>
              <a:t>PMTCT Key Indicators</a:t>
            </a:r>
            <a:endParaRPr lang="en-NG" sz="5500" b="1" dirty="0">
              <a:solidFill>
                <a:schemeClr val="tx2"/>
              </a:solidFill>
            </a:endParaRPr>
          </a:p>
        </p:txBody>
      </p:sp>
    </p:spTree>
    <p:extLst>
      <p:ext uri="{BB962C8B-B14F-4D97-AF65-F5344CB8AC3E}">
        <p14:creationId xmlns:p14="http://schemas.microsoft.com/office/powerpoint/2010/main" val="103958303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AC5FD8C-1AF9-4BEB-A638-5263D7C2792C}"/>
              </a:ext>
            </a:extLst>
          </p:cNvPr>
          <p:cNvSpPr/>
          <p:nvPr/>
        </p:nvSpPr>
        <p:spPr>
          <a:xfrm>
            <a:off x="0" y="3494627"/>
            <a:ext cx="12172949" cy="1242634"/>
          </a:xfrm>
          <a:prstGeom prst="rect">
            <a:avLst/>
          </a:prstGeom>
          <a:solidFill>
            <a:srgbClr val="E7E6E6"/>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2" name="Title 1">
            <a:extLst>
              <a:ext uri="{FF2B5EF4-FFF2-40B4-BE49-F238E27FC236}">
                <a16:creationId xmlns:a16="http://schemas.microsoft.com/office/drawing/2014/main" id="{1BD024B5-574F-472D-AF3D-A31FBBD0B863}"/>
              </a:ext>
            </a:extLst>
          </p:cNvPr>
          <p:cNvSpPr>
            <a:spLocks noGrp="1"/>
          </p:cNvSpPr>
          <p:nvPr>
            <p:ph type="title"/>
          </p:nvPr>
        </p:nvSpPr>
        <p:spPr>
          <a:xfrm>
            <a:off x="0" y="0"/>
            <a:ext cx="10972800" cy="1143000"/>
          </a:xfrm>
        </p:spPr>
        <p:txBody>
          <a:bodyPr>
            <a:normAutofit/>
          </a:bodyPr>
          <a:lstStyle/>
          <a:p>
            <a:r>
              <a:rPr lang="en-US" sz="3600" dirty="0">
                <a:solidFill>
                  <a:schemeClr val="tx2">
                    <a:lumMod val="75000"/>
                  </a:schemeClr>
                </a:solidFill>
              </a:rPr>
              <a:t>PMTCT_STAT</a:t>
            </a:r>
            <a:endParaRPr lang="en-NG" sz="3600" dirty="0">
              <a:solidFill>
                <a:schemeClr val="tx2">
                  <a:lumMod val="75000"/>
                </a:schemeClr>
              </a:solidFill>
            </a:endParaRPr>
          </a:p>
        </p:txBody>
      </p:sp>
      <p:grpSp>
        <p:nvGrpSpPr>
          <p:cNvPr id="5" name="Group 4">
            <a:extLst>
              <a:ext uri="{FF2B5EF4-FFF2-40B4-BE49-F238E27FC236}">
                <a16:creationId xmlns:a16="http://schemas.microsoft.com/office/drawing/2014/main" id="{1133AD3F-77E3-CA29-D7B7-F85B4786A583}"/>
              </a:ext>
            </a:extLst>
          </p:cNvPr>
          <p:cNvGrpSpPr/>
          <p:nvPr/>
        </p:nvGrpSpPr>
        <p:grpSpPr>
          <a:xfrm>
            <a:off x="785655" y="1925936"/>
            <a:ext cx="2529744" cy="4226674"/>
            <a:chOff x="843884" y="2079348"/>
            <a:chExt cx="2529744" cy="1871686"/>
          </a:xfrm>
        </p:grpSpPr>
        <p:pic>
          <p:nvPicPr>
            <p:cNvPr id="6" name="Картина 75">
              <a:extLst>
                <a:ext uri="{FF2B5EF4-FFF2-40B4-BE49-F238E27FC236}">
                  <a16:creationId xmlns:a16="http://schemas.microsoft.com/office/drawing/2014/main" id="{6C58ADA0-4E71-7A4B-C233-F5406EA79A3B}"/>
                </a:ext>
              </a:extLst>
            </p:cNvPr>
            <p:cNvPicPr>
              <a:picLocks noChangeAspect="1"/>
            </p:cNvPicPr>
            <p:nvPr/>
          </p:nvPicPr>
          <p:blipFill>
            <a:blip r:embed="rId3"/>
            <a:stretch>
              <a:fillRect/>
            </a:stretch>
          </p:blipFill>
          <p:spPr>
            <a:xfrm>
              <a:off x="871728" y="2249234"/>
              <a:ext cx="2501900" cy="1701800"/>
            </a:xfrm>
            <a:custGeom>
              <a:avLst/>
              <a:gdLst>
                <a:gd name="connsiteX0" fmla="*/ 0 w 2501900"/>
                <a:gd name="connsiteY0" fmla="*/ 0 h 1701800"/>
                <a:gd name="connsiteX1" fmla="*/ 2508504 w 2501900"/>
                <a:gd name="connsiteY1" fmla="*/ 0 h 1701800"/>
                <a:gd name="connsiteX2" fmla="*/ 2508504 w 2501900"/>
                <a:gd name="connsiteY2" fmla="*/ 1706880 h 1701800"/>
                <a:gd name="connsiteX3" fmla="*/ 0 w 2501900"/>
                <a:gd name="connsiteY3" fmla="*/ 1706880 h 1701800"/>
              </a:gdLst>
              <a:ahLst/>
              <a:cxnLst>
                <a:cxn ang="0">
                  <a:pos x="connsiteX0" y="connsiteY0"/>
                </a:cxn>
                <a:cxn ang="0">
                  <a:pos x="connsiteX1" y="connsiteY1"/>
                </a:cxn>
                <a:cxn ang="0">
                  <a:pos x="connsiteX2" y="connsiteY2"/>
                </a:cxn>
                <a:cxn ang="0">
                  <a:pos x="connsiteX3" y="connsiteY3"/>
                </a:cxn>
              </a:cxnLst>
              <a:rect l="l" t="t" r="r" b="b"/>
              <a:pathLst>
                <a:path w="2501900" h="1701800">
                  <a:moveTo>
                    <a:pt x="0" y="0"/>
                  </a:moveTo>
                  <a:lnTo>
                    <a:pt x="2508504" y="0"/>
                  </a:lnTo>
                  <a:lnTo>
                    <a:pt x="2508504" y="1706880"/>
                  </a:lnTo>
                  <a:lnTo>
                    <a:pt x="0" y="1706880"/>
                  </a:lnTo>
                  <a:close/>
                </a:path>
              </a:pathLst>
            </a:custGeom>
            <a:ln/>
          </p:spPr>
        </p:pic>
        <p:sp>
          <p:nvSpPr>
            <p:cNvPr id="7" name="Свободна форма: фигура 76">
              <a:extLst>
                <a:ext uri="{FF2B5EF4-FFF2-40B4-BE49-F238E27FC236}">
                  <a16:creationId xmlns:a16="http://schemas.microsoft.com/office/drawing/2014/main" id="{41BABE07-E017-2B32-6332-47B1ACDB5325}"/>
                </a:ext>
              </a:extLst>
            </p:cNvPr>
            <p:cNvSpPr/>
            <p:nvPr/>
          </p:nvSpPr>
          <p:spPr>
            <a:xfrm>
              <a:off x="973455" y="2350643"/>
              <a:ext cx="2197100" cy="1397000"/>
            </a:xfrm>
            <a:custGeom>
              <a:avLst/>
              <a:gdLst>
                <a:gd name="connsiteX0" fmla="*/ 2138807 w 2197100"/>
                <a:gd name="connsiteY0" fmla="*/ 1398270 h 1397000"/>
                <a:gd name="connsiteX1" fmla="*/ 64897 w 2197100"/>
                <a:gd name="connsiteY1" fmla="*/ 1398270 h 1397000"/>
                <a:gd name="connsiteX2" fmla="*/ 0 w 2197100"/>
                <a:gd name="connsiteY2" fmla="*/ 1333373 h 1397000"/>
                <a:gd name="connsiteX3" fmla="*/ 0 w 2197100"/>
                <a:gd name="connsiteY3" fmla="*/ 64897 h 1397000"/>
                <a:gd name="connsiteX4" fmla="*/ 64897 w 2197100"/>
                <a:gd name="connsiteY4" fmla="*/ 0 h 1397000"/>
                <a:gd name="connsiteX5" fmla="*/ 2138807 w 2197100"/>
                <a:gd name="connsiteY5" fmla="*/ 0 h 1397000"/>
                <a:gd name="connsiteX6" fmla="*/ 2203704 w 2197100"/>
                <a:gd name="connsiteY6" fmla="*/ 64897 h 1397000"/>
                <a:gd name="connsiteX7" fmla="*/ 2203704 w 2197100"/>
                <a:gd name="connsiteY7" fmla="*/ 1333373 h 1397000"/>
                <a:gd name="connsiteX8" fmla="*/ 2138807 w 2197100"/>
                <a:gd name="connsiteY8" fmla="*/ 1398270 h 139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7100" h="1397000">
                  <a:moveTo>
                    <a:pt x="2138807" y="1398270"/>
                  </a:moveTo>
                  <a:lnTo>
                    <a:pt x="64897" y="1398270"/>
                  </a:lnTo>
                  <a:cubicBezTo>
                    <a:pt x="29083" y="1398270"/>
                    <a:pt x="0" y="1369187"/>
                    <a:pt x="0" y="1333373"/>
                  </a:cubicBezTo>
                  <a:lnTo>
                    <a:pt x="0" y="64897"/>
                  </a:lnTo>
                  <a:cubicBezTo>
                    <a:pt x="0" y="29083"/>
                    <a:pt x="29083" y="0"/>
                    <a:pt x="64897" y="0"/>
                  </a:cubicBezTo>
                  <a:lnTo>
                    <a:pt x="2138807" y="0"/>
                  </a:lnTo>
                  <a:cubicBezTo>
                    <a:pt x="2174621" y="0"/>
                    <a:pt x="2203704" y="29083"/>
                    <a:pt x="2203704" y="64897"/>
                  </a:cubicBezTo>
                  <a:lnTo>
                    <a:pt x="2203704" y="1333373"/>
                  </a:lnTo>
                  <a:cubicBezTo>
                    <a:pt x="2203704" y="1369187"/>
                    <a:pt x="2174621" y="1398270"/>
                    <a:pt x="2138807" y="1398270"/>
                  </a:cubicBezTo>
                </a:path>
              </a:pathLst>
            </a:custGeom>
            <a:solidFill>
              <a:srgbClr val="F4F4F4"/>
            </a:solidFill>
            <a:ln w="12689" cap="flat">
              <a:noFill/>
              <a:prstDash val="solid"/>
              <a:miter/>
            </a:ln>
          </p:spPr>
          <p:txBody>
            <a:bodyPr rtlCol="0" anchor="ctr"/>
            <a:lstStyle/>
            <a:p>
              <a:pPr algn="ctr"/>
              <a:r>
                <a:rPr lang="en-US" sz="1400" dirty="0">
                  <a:effectLst/>
                  <a:latin typeface="Calibri" panose="020F0502020204030204" pitchFamily="34" charset="0"/>
                  <a:ea typeface="Calibri" panose="020F0502020204030204" pitchFamily="34" charset="0"/>
                  <a:cs typeface="Times New Roman" panose="02020603050405020304" pitchFamily="18" charset="0"/>
                </a:rPr>
                <a:t>Percentage of pregnant women with known HIV status at antenatal care (includes those who already knew their HIV status prior to ANC)</a:t>
              </a:r>
              <a:endParaRPr lang="bg-BG" sz="1400" dirty="0"/>
            </a:p>
          </p:txBody>
        </p:sp>
        <p:pic>
          <p:nvPicPr>
            <p:cNvPr id="8" name="Картина 77">
              <a:extLst>
                <a:ext uri="{FF2B5EF4-FFF2-40B4-BE49-F238E27FC236}">
                  <a16:creationId xmlns:a16="http://schemas.microsoft.com/office/drawing/2014/main" id="{FAA37948-0743-F862-1314-FDC07A57BA95}"/>
                </a:ext>
              </a:extLst>
            </p:cNvPr>
            <p:cNvPicPr>
              <a:picLocks noChangeAspect="1"/>
            </p:cNvPicPr>
            <p:nvPr/>
          </p:nvPicPr>
          <p:blipFill>
            <a:blip r:embed="rId4"/>
            <a:stretch>
              <a:fillRect/>
            </a:stretch>
          </p:blipFill>
          <p:spPr>
            <a:xfrm>
              <a:off x="843884" y="2193214"/>
              <a:ext cx="2501900" cy="673100"/>
            </a:xfrm>
            <a:custGeom>
              <a:avLst/>
              <a:gdLst>
                <a:gd name="connsiteX0" fmla="*/ 0 w 2501900"/>
                <a:gd name="connsiteY0" fmla="*/ 0 h 673100"/>
                <a:gd name="connsiteX1" fmla="*/ 2508504 w 2501900"/>
                <a:gd name="connsiteY1" fmla="*/ 0 h 673100"/>
                <a:gd name="connsiteX2" fmla="*/ 2508504 w 2501900"/>
                <a:gd name="connsiteY2" fmla="*/ 676656 h 673100"/>
                <a:gd name="connsiteX3" fmla="*/ 0 w 2501900"/>
                <a:gd name="connsiteY3" fmla="*/ 676656 h 673100"/>
              </a:gdLst>
              <a:ahLst/>
              <a:cxnLst>
                <a:cxn ang="0">
                  <a:pos x="connsiteX0" y="connsiteY0"/>
                </a:cxn>
                <a:cxn ang="0">
                  <a:pos x="connsiteX1" y="connsiteY1"/>
                </a:cxn>
                <a:cxn ang="0">
                  <a:pos x="connsiteX2" y="connsiteY2"/>
                </a:cxn>
                <a:cxn ang="0">
                  <a:pos x="connsiteX3" y="connsiteY3"/>
                </a:cxn>
              </a:cxnLst>
              <a:rect l="l" t="t" r="r" b="b"/>
              <a:pathLst>
                <a:path w="2501900" h="673100">
                  <a:moveTo>
                    <a:pt x="0" y="0"/>
                  </a:moveTo>
                  <a:lnTo>
                    <a:pt x="2508504" y="0"/>
                  </a:lnTo>
                  <a:lnTo>
                    <a:pt x="2508504" y="676656"/>
                  </a:lnTo>
                  <a:lnTo>
                    <a:pt x="0" y="676656"/>
                  </a:lnTo>
                  <a:close/>
                </a:path>
              </a:pathLst>
            </a:custGeom>
            <a:ln/>
          </p:spPr>
        </p:pic>
        <p:sp>
          <p:nvSpPr>
            <p:cNvPr id="9" name="Свободна форма: фигура 79">
              <a:extLst>
                <a:ext uri="{FF2B5EF4-FFF2-40B4-BE49-F238E27FC236}">
                  <a16:creationId xmlns:a16="http://schemas.microsoft.com/office/drawing/2014/main" id="{84AAB4F2-64AB-2903-AEEC-41602F9CD501}"/>
                </a:ext>
              </a:extLst>
            </p:cNvPr>
            <p:cNvSpPr/>
            <p:nvPr/>
          </p:nvSpPr>
          <p:spPr>
            <a:xfrm>
              <a:off x="871728" y="2079348"/>
              <a:ext cx="2413000" cy="573638"/>
            </a:xfrm>
            <a:custGeom>
              <a:avLst/>
              <a:gdLst>
                <a:gd name="connsiteX0" fmla="*/ 2357120 w 2413000"/>
                <a:gd name="connsiteY0" fmla="*/ 613664 h 609600"/>
                <a:gd name="connsiteX1" fmla="*/ 64897 w 2413000"/>
                <a:gd name="connsiteY1" fmla="*/ 613664 h 609600"/>
                <a:gd name="connsiteX2" fmla="*/ 0 w 2413000"/>
                <a:gd name="connsiteY2" fmla="*/ 548767 h 609600"/>
                <a:gd name="connsiteX3" fmla="*/ 0 w 2413000"/>
                <a:gd name="connsiteY3" fmla="*/ 64897 h 609600"/>
                <a:gd name="connsiteX4" fmla="*/ 64897 w 2413000"/>
                <a:gd name="connsiteY4" fmla="*/ 0 h 609600"/>
                <a:gd name="connsiteX5" fmla="*/ 2357120 w 2413000"/>
                <a:gd name="connsiteY5" fmla="*/ 0 h 609600"/>
                <a:gd name="connsiteX6" fmla="*/ 2422017 w 2413000"/>
                <a:gd name="connsiteY6" fmla="*/ 64897 h 609600"/>
                <a:gd name="connsiteX7" fmla="*/ 2422017 w 2413000"/>
                <a:gd name="connsiteY7" fmla="*/ 548767 h 609600"/>
                <a:gd name="connsiteX8" fmla="*/ 2357120 w 2413000"/>
                <a:gd name="connsiteY8" fmla="*/ 613664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13000" h="609600">
                  <a:moveTo>
                    <a:pt x="2357120" y="613664"/>
                  </a:moveTo>
                  <a:lnTo>
                    <a:pt x="64897" y="613664"/>
                  </a:lnTo>
                  <a:cubicBezTo>
                    <a:pt x="29083" y="613664"/>
                    <a:pt x="0" y="584581"/>
                    <a:pt x="0" y="548767"/>
                  </a:cubicBezTo>
                  <a:lnTo>
                    <a:pt x="0" y="64897"/>
                  </a:lnTo>
                  <a:cubicBezTo>
                    <a:pt x="0" y="29083"/>
                    <a:pt x="29083" y="0"/>
                    <a:pt x="64897" y="0"/>
                  </a:cubicBezTo>
                  <a:lnTo>
                    <a:pt x="2357120" y="0"/>
                  </a:lnTo>
                  <a:cubicBezTo>
                    <a:pt x="2392934" y="0"/>
                    <a:pt x="2422017" y="29083"/>
                    <a:pt x="2422017" y="64897"/>
                  </a:cubicBezTo>
                  <a:lnTo>
                    <a:pt x="2422017" y="548767"/>
                  </a:lnTo>
                  <a:cubicBezTo>
                    <a:pt x="2422017" y="584708"/>
                    <a:pt x="2392934" y="613664"/>
                    <a:pt x="2357120" y="613664"/>
                  </a:cubicBezTo>
                </a:path>
              </a:pathLst>
            </a:custGeom>
            <a:solidFill>
              <a:schemeClr val="accent1"/>
            </a:solidFill>
            <a:ln w="12689" cap="flat">
              <a:noFill/>
              <a:prstDash val="solid"/>
              <a:miter/>
            </a:ln>
          </p:spPr>
          <p:txBody>
            <a:bodyPr rtlCol="0" anchor="ctr"/>
            <a:lstStyle/>
            <a:p>
              <a:r>
                <a:rPr lang="en-US" dirty="0"/>
                <a:t>          Description</a:t>
              </a:r>
              <a:endParaRPr lang="bg-BG" dirty="0"/>
            </a:p>
          </p:txBody>
        </p:sp>
      </p:grpSp>
      <p:grpSp>
        <p:nvGrpSpPr>
          <p:cNvPr id="19" name="Group 18">
            <a:extLst>
              <a:ext uri="{FF2B5EF4-FFF2-40B4-BE49-F238E27FC236}">
                <a16:creationId xmlns:a16="http://schemas.microsoft.com/office/drawing/2014/main" id="{2EA1526F-0DBB-53B8-AC8E-775264D398E6}"/>
              </a:ext>
            </a:extLst>
          </p:cNvPr>
          <p:cNvGrpSpPr/>
          <p:nvPr/>
        </p:nvGrpSpPr>
        <p:grpSpPr>
          <a:xfrm>
            <a:off x="5005230" y="1925936"/>
            <a:ext cx="2529744" cy="4226674"/>
            <a:chOff x="843884" y="2079348"/>
            <a:chExt cx="2529744" cy="1871686"/>
          </a:xfrm>
        </p:grpSpPr>
        <p:pic>
          <p:nvPicPr>
            <p:cNvPr id="20" name="Картина 75">
              <a:extLst>
                <a:ext uri="{FF2B5EF4-FFF2-40B4-BE49-F238E27FC236}">
                  <a16:creationId xmlns:a16="http://schemas.microsoft.com/office/drawing/2014/main" id="{E62E6D58-7EAB-5CC5-963C-32457C95ECDD}"/>
                </a:ext>
              </a:extLst>
            </p:cNvPr>
            <p:cNvPicPr>
              <a:picLocks noChangeAspect="1"/>
            </p:cNvPicPr>
            <p:nvPr/>
          </p:nvPicPr>
          <p:blipFill>
            <a:blip r:embed="rId3"/>
            <a:stretch>
              <a:fillRect/>
            </a:stretch>
          </p:blipFill>
          <p:spPr>
            <a:xfrm>
              <a:off x="871728" y="2249234"/>
              <a:ext cx="2501900" cy="1701800"/>
            </a:xfrm>
            <a:custGeom>
              <a:avLst/>
              <a:gdLst>
                <a:gd name="connsiteX0" fmla="*/ 0 w 2501900"/>
                <a:gd name="connsiteY0" fmla="*/ 0 h 1701800"/>
                <a:gd name="connsiteX1" fmla="*/ 2508504 w 2501900"/>
                <a:gd name="connsiteY1" fmla="*/ 0 h 1701800"/>
                <a:gd name="connsiteX2" fmla="*/ 2508504 w 2501900"/>
                <a:gd name="connsiteY2" fmla="*/ 1706880 h 1701800"/>
                <a:gd name="connsiteX3" fmla="*/ 0 w 2501900"/>
                <a:gd name="connsiteY3" fmla="*/ 1706880 h 1701800"/>
              </a:gdLst>
              <a:ahLst/>
              <a:cxnLst>
                <a:cxn ang="0">
                  <a:pos x="connsiteX0" y="connsiteY0"/>
                </a:cxn>
                <a:cxn ang="0">
                  <a:pos x="connsiteX1" y="connsiteY1"/>
                </a:cxn>
                <a:cxn ang="0">
                  <a:pos x="connsiteX2" y="connsiteY2"/>
                </a:cxn>
                <a:cxn ang="0">
                  <a:pos x="connsiteX3" y="connsiteY3"/>
                </a:cxn>
              </a:cxnLst>
              <a:rect l="l" t="t" r="r" b="b"/>
              <a:pathLst>
                <a:path w="2501900" h="1701800">
                  <a:moveTo>
                    <a:pt x="0" y="0"/>
                  </a:moveTo>
                  <a:lnTo>
                    <a:pt x="2508504" y="0"/>
                  </a:lnTo>
                  <a:lnTo>
                    <a:pt x="2508504" y="1706880"/>
                  </a:lnTo>
                  <a:lnTo>
                    <a:pt x="0" y="1706880"/>
                  </a:lnTo>
                  <a:close/>
                </a:path>
              </a:pathLst>
            </a:custGeom>
            <a:ln/>
          </p:spPr>
        </p:pic>
        <p:sp>
          <p:nvSpPr>
            <p:cNvPr id="21" name="Свободна форма: фигура 76">
              <a:extLst>
                <a:ext uri="{FF2B5EF4-FFF2-40B4-BE49-F238E27FC236}">
                  <a16:creationId xmlns:a16="http://schemas.microsoft.com/office/drawing/2014/main" id="{A8F78D0F-2B6C-B6ED-DF33-6E03410B9A6F}"/>
                </a:ext>
              </a:extLst>
            </p:cNvPr>
            <p:cNvSpPr/>
            <p:nvPr/>
          </p:nvSpPr>
          <p:spPr>
            <a:xfrm>
              <a:off x="973455" y="2350643"/>
              <a:ext cx="2197100" cy="1397000"/>
            </a:xfrm>
            <a:custGeom>
              <a:avLst/>
              <a:gdLst>
                <a:gd name="connsiteX0" fmla="*/ 2138807 w 2197100"/>
                <a:gd name="connsiteY0" fmla="*/ 1398270 h 1397000"/>
                <a:gd name="connsiteX1" fmla="*/ 64897 w 2197100"/>
                <a:gd name="connsiteY1" fmla="*/ 1398270 h 1397000"/>
                <a:gd name="connsiteX2" fmla="*/ 0 w 2197100"/>
                <a:gd name="connsiteY2" fmla="*/ 1333373 h 1397000"/>
                <a:gd name="connsiteX3" fmla="*/ 0 w 2197100"/>
                <a:gd name="connsiteY3" fmla="*/ 64897 h 1397000"/>
                <a:gd name="connsiteX4" fmla="*/ 64897 w 2197100"/>
                <a:gd name="connsiteY4" fmla="*/ 0 h 1397000"/>
                <a:gd name="connsiteX5" fmla="*/ 2138807 w 2197100"/>
                <a:gd name="connsiteY5" fmla="*/ 0 h 1397000"/>
                <a:gd name="connsiteX6" fmla="*/ 2203704 w 2197100"/>
                <a:gd name="connsiteY6" fmla="*/ 64897 h 1397000"/>
                <a:gd name="connsiteX7" fmla="*/ 2203704 w 2197100"/>
                <a:gd name="connsiteY7" fmla="*/ 1333373 h 1397000"/>
                <a:gd name="connsiteX8" fmla="*/ 2138807 w 2197100"/>
                <a:gd name="connsiteY8" fmla="*/ 1398270 h 139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7100" h="1397000">
                  <a:moveTo>
                    <a:pt x="2138807" y="1398270"/>
                  </a:moveTo>
                  <a:lnTo>
                    <a:pt x="64897" y="1398270"/>
                  </a:lnTo>
                  <a:cubicBezTo>
                    <a:pt x="29083" y="1398270"/>
                    <a:pt x="0" y="1369187"/>
                    <a:pt x="0" y="1333373"/>
                  </a:cubicBezTo>
                  <a:lnTo>
                    <a:pt x="0" y="64897"/>
                  </a:lnTo>
                  <a:cubicBezTo>
                    <a:pt x="0" y="29083"/>
                    <a:pt x="29083" y="0"/>
                    <a:pt x="64897" y="0"/>
                  </a:cubicBezTo>
                  <a:lnTo>
                    <a:pt x="2138807" y="0"/>
                  </a:lnTo>
                  <a:cubicBezTo>
                    <a:pt x="2174621" y="0"/>
                    <a:pt x="2203704" y="29083"/>
                    <a:pt x="2203704" y="64897"/>
                  </a:cubicBezTo>
                  <a:lnTo>
                    <a:pt x="2203704" y="1333373"/>
                  </a:lnTo>
                  <a:cubicBezTo>
                    <a:pt x="2203704" y="1369187"/>
                    <a:pt x="2174621" y="1398270"/>
                    <a:pt x="2138807" y="1398270"/>
                  </a:cubicBezTo>
                </a:path>
              </a:pathLst>
            </a:custGeom>
            <a:solidFill>
              <a:srgbClr val="F4F4F4"/>
            </a:solidFill>
            <a:ln w="12689" cap="flat">
              <a:noFill/>
              <a:prstDash val="solid"/>
              <a:miter/>
            </a:ln>
          </p:spPr>
          <p:txBody>
            <a:bodyPr rtlCol="0" anchor="ctr"/>
            <a:lstStyle/>
            <a:p>
              <a:pPr algn="ctr"/>
              <a:r>
                <a:rPr lang="en-US" sz="1400" dirty="0">
                  <a:effectLst/>
                  <a:latin typeface="Calibri" panose="020F0502020204030204" pitchFamily="34" charset="0"/>
                  <a:ea typeface="Calibri" panose="020F0502020204030204" pitchFamily="34" charset="0"/>
                  <a:cs typeface="Times New Roman" panose="02020603050405020304" pitchFamily="18" charset="0"/>
                </a:rPr>
                <a:t>Number of new ANC clients in the reporting period</a:t>
              </a:r>
              <a:endParaRPr lang="bg-BG" sz="1400" dirty="0"/>
            </a:p>
          </p:txBody>
        </p:sp>
        <p:pic>
          <p:nvPicPr>
            <p:cNvPr id="22" name="Картина 77">
              <a:extLst>
                <a:ext uri="{FF2B5EF4-FFF2-40B4-BE49-F238E27FC236}">
                  <a16:creationId xmlns:a16="http://schemas.microsoft.com/office/drawing/2014/main" id="{6A2E83C2-AF99-C499-43C2-324F693D95FE}"/>
                </a:ext>
              </a:extLst>
            </p:cNvPr>
            <p:cNvPicPr>
              <a:picLocks noChangeAspect="1"/>
            </p:cNvPicPr>
            <p:nvPr/>
          </p:nvPicPr>
          <p:blipFill>
            <a:blip r:embed="rId4"/>
            <a:stretch>
              <a:fillRect/>
            </a:stretch>
          </p:blipFill>
          <p:spPr>
            <a:xfrm>
              <a:off x="843884" y="2193214"/>
              <a:ext cx="2501900" cy="673100"/>
            </a:xfrm>
            <a:custGeom>
              <a:avLst/>
              <a:gdLst>
                <a:gd name="connsiteX0" fmla="*/ 0 w 2501900"/>
                <a:gd name="connsiteY0" fmla="*/ 0 h 673100"/>
                <a:gd name="connsiteX1" fmla="*/ 2508504 w 2501900"/>
                <a:gd name="connsiteY1" fmla="*/ 0 h 673100"/>
                <a:gd name="connsiteX2" fmla="*/ 2508504 w 2501900"/>
                <a:gd name="connsiteY2" fmla="*/ 676656 h 673100"/>
                <a:gd name="connsiteX3" fmla="*/ 0 w 2501900"/>
                <a:gd name="connsiteY3" fmla="*/ 676656 h 673100"/>
              </a:gdLst>
              <a:ahLst/>
              <a:cxnLst>
                <a:cxn ang="0">
                  <a:pos x="connsiteX0" y="connsiteY0"/>
                </a:cxn>
                <a:cxn ang="0">
                  <a:pos x="connsiteX1" y="connsiteY1"/>
                </a:cxn>
                <a:cxn ang="0">
                  <a:pos x="connsiteX2" y="connsiteY2"/>
                </a:cxn>
                <a:cxn ang="0">
                  <a:pos x="connsiteX3" y="connsiteY3"/>
                </a:cxn>
              </a:cxnLst>
              <a:rect l="l" t="t" r="r" b="b"/>
              <a:pathLst>
                <a:path w="2501900" h="673100">
                  <a:moveTo>
                    <a:pt x="0" y="0"/>
                  </a:moveTo>
                  <a:lnTo>
                    <a:pt x="2508504" y="0"/>
                  </a:lnTo>
                  <a:lnTo>
                    <a:pt x="2508504" y="676656"/>
                  </a:lnTo>
                  <a:lnTo>
                    <a:pt x="0" y="676656"/>
                  </a:lnTo>
                  <a:close/>
                </a:path>
              </a:pathLst>
            </a:custGeom>
            <a:ln/>
          </p:spPr>
        </p:pic>
        <p:sp>
          <p:nvSpPr>
            <p:cNvPr id="23" name="Свободна форма: фигура 79">
              <a:extLst>
                <a:ext uri="{FF2B5EF4-FFF2-40B4-BE49-F238E27FC236}">
                  <a16:creationId xmlns:a16="http://schemas.microsoft.com/office/drawing/2014/main" id="{94732E2C-5C7B-75AE-572C-977C1DE1FF5B}"/>
                </a:ext>
              </a:extLst>
            </p:cNvPr>
            <p:cNvSpPr/>
            <p:nvPr/>
          </p:nvSpPr>
          <p:spPr>
            <a:xfrm>
              <a:off x="871728" y="2079348"/>
              <a:ext cx="2413000" cy="573638"/>
            </a:xfrm>
            <a:custGeom>
              <a:avLst/>
              <a:gdLst>
                <a:gd name="connsiteX0" fmla="*/ 2357120 w 2413000"/>
                <a:gd name="connsiteY0" fmla="*/ 613664 h 609600"/>
                <a:gd name="connsiteX1" fmla="*/ 64897 w 2413000"/>
                <a:gd name="connsiteY1" fmla="*/ 613664 h 609600"/>
                <a:gd name="connsiteX2" fmla="*/ 0 w 2413000"/>
                <a:gd name="connsiteY2" fmla="*/ 548767 h 609600"/>
                <a:gd name="connsiteX3" fmla="*/ 0 w 2413000"/>
                <a:gd name="connsiteY3" fmla="*/ 64897 h 609600"/>
                <a:gd name="connsiteX4" fmla="*/ 64897 w 2413000"/>
                <a:gd name="connsiteY4" fmla="*/ 0 h 609600"/>
                <a:gd name="connsiteX5" fmla="*/ 2357120 w 2413000"/>
                <a:gd name="connsiteY5" fmla="*/ 0 h 609600"/>
                <a:gd name="connsiteX6" fmla="*/ 2422017 w 2413000"/>
                <a:gd name="connsiteY6" fmla="*/ 64897 h 609600"/>
                <a:gd name="connsiteX7" fmla="*/ 2422017 w 2413000"/>
                <a:gd name="connsiteY7" fmla="*/ 548767 h 609600"/>
                <a:gd name="connsiteX8" fmla="*/ 2357120 w 2413000"/>
                <a:gd name="connsiteY8" fmla="*/ 613664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13000" h="609600">
                  <a:moveTo>
                    <a:pt x="2357120" y="613664"/>
                  </a:moveTo>
                  <a:lnTo>
                    <a:pt x="64897" y="613664"/>
                  </a:lnTo>
                  <a:cubicBezTo>
                    <a:pt x="29083" y="613664"/>
                    <a:pt x="0" y="584581"/>
                    <a:pt x="0" y="548767"/>
                  </a:cubicBezTo>
                  <a:lnTo>
                    <a:pt x="0" y="64897"/>
                  </a:lnTo>
                  <a:cubicBezTo>
                    <a:pt x="0" y="29083"/>
                    <a:pt x="29083" y="0"/>
                    <a:pt x="64897" y="0"/>
                  </a:cubicBezTo>
                  <a:lnTo>
                    <a:pt x="2357120" y="0"/>
                  </a:lnTo>
                  <a:cubicBezTo>
                    <a:pt x="2392934" y="0"/>
                    <a:pt x="2422017" y="29083"/>
                    <a:pt x="2422017" y="64897"/>
                  </a:cubicBezTo>
                  <a:lnTo>
                    <a:pt x="2422017" y="548767"/>
                  </a:lnTo>
                  <a:cubicBezTo>
                    <a:pt x="2422017" y="584708"/>
                    <a:pt x="2392934" y="613664"/>
                    <a:pt x="2357120" y="613664"/>
                  </a:cubicBezTo>
                </a:path>
              </a:pathLst>
            </a:custGeom>
            <a:solidFill>
              <a:srgbClr val="92D050"/>
            </a:solidFill>
            <a:ln w="12689" cap="flat">
              <a:noFill/>
              <a:prstDash val="solid"/>
              <a:miter/>
            </a:ln>
          </p:spPr>
          <p:txBody>
            <a:bodyPr rtlCol="0" anchor="ctr"/>
            <a:lstStyle/>
            <a:p>
              <a:r>
                <a:rPr lang="en-US" dirty="0"/>
                <a:t>          Denominator</a:t>
              </a:r>
              <a:endParaRPr lang="bg-BG" dirty="0"/>
            </a:p>
          </p:txBody>
        </p:sp>
      </p:grpSp>
      <p:grpSp>
        <p:nvGrpSpPr>
          <p:cNvPr id="24" name="Group 23">
            <a:extLst>
              <a:ext uri="{FF2B5EF4-FFF2-40B4-BE49-F238E27FC236}">
                <a16:creationId xmlns:a16="http://schemas.microsoft.com/office/drawing/2014/main" id="{E6BC21EF-40CB-A3F6-C5F0-942D33E84DE3}"/>
              </a:ext>
            </a:extLst>
          </p:cNvPr>
          <p:cNvGrpSpPr/>
          <p:nvPr/>
        </p:nvGrpSpPr>
        <p:grpSpPr>
          <a:xfrm>
            <a:off x="9224805" y="1925936"/>
            <a:ext cx="2529744" cy="4226674"/>
            <a:chOff x="843884" y="2079348"/>
            <a:chExt cx="2529744" cy="1871686"/>
          </a:xfrm>
        </p:grpSpPr>
        <p:pic>
          <p:nvPicPr>
            <p:cNvPr id="25" name="Картина 75">
              <a:extLst>
                <a:ext uri="{FF2B5EF4-FFF2-40B4-BE49-F238E27FC236}">
                  <a16:creationId xmlns:a16="http://schemas.microsoft.com/office/drawing/2014/main" id="{2185EB07-98BE-F162-3F7B-E9C3C69373E3}"/>
                </a:ext>
              </a:extLst>
            </p:cNvPr>
            <p:cNvPicPr>
              <a:picLocks noChangeAspect="1"/>
            </p:cNvPicPr>
            <p:nvPr/>
          </p:nvPicPr>
          <p:blipFill>
            <a:blip r:embed="rId3"/>
            <a:stretch>
              <a:fillRect/>
            </a:stretch>
          </p:blipFill>
          <p:spPr>
            <a:xfrm>
              <a:off x="871728" y="2249234"/>
              <a:ext cx="2501900" cy="1701800"/>
            </a:xfrm>
            <a:custGeom>
              <a:avLst/>
              <a:gdLst>
                <a:gd name="connsiteX0" fmla="*/ 0 w 2501900"/>
                <a:gd name="connsiteY0" fmla="*/ 0 h 1701800"/>
                <a:gd name="connsiteX1" fmla="*/ 2508504 w 2501900"/>
                <a:gd name="connsiteY1" fmla="*/ 0 h 1701800"/>
                <a:gd name="connsiteX2" fmla="*/ 2508504 w 2501900"/>
                <a:gd name="connsiteY2" fmla="*/ 1706880 h 1701800"/>
                <a:gd name="connsiteX3" fmla="*/ 0 w 2501900"/>
                <a:gd name="connsiteY3" fmla="*/ 1706880 h 1701800"/>
              </a:gdLst>
              <a:ahLst/>
              <a:cxnLst>
                <a:cxn ang="0">
                  <a:pos x="connsiteX0" y="connsiteY0"/>
                </a:cxn>
                <a:cxn ang="0">
                  <a:pos x="connsiteX1" y="connsiteY1"/>
                </a:cxn>
                <a:cxn ang="0">
                  <a:pos x="connsiteX2" y="connsiteY2"/>
                </a:cxn>
                <a:cxn ang="0">
                  <a:pos x="connsiteX3" y="connsiteY3"/>
                </a:cxn>
              </a:cxnLst>
              <a:rect l="l" t="t" r="r" b="b"/>
              <a:pathLst>
                <a:path w="2501900" h="1701800">
                  <a:moveTo>
                    <a:pt x="0" y="0"/>
                  </a:moveTo>
                  <a:lnTo>
                    <a:pt x="2508504" y="0"/>
                  </a:lnTo>
                  <a:lnTo>
                    <a:pt x="2508504" y="1706880"/>
                  </a:lnTo>
                  <a:lnTo>
                    <a:pt x="0" y="1706880"/>
                  </a:lnTo>
                  <a:close/>
                </a:path>
              </a:pathLst>
            </a:custGeom>
            <a:ln/>
          </p:spPr>
        </p:pic>
        <p:sp>
          <p:nvSpPr>
            <p:cNvPr id="26" name="Свободна форма: фигура 76">
              <a:extLst>
                <a:ext uri="{FF2B5EF4-FFF2-40B4-BE49-F238E27FC236}">
                  <a16:creationId xmlns:a16="http://schemas.microsoft.com/office/drawing/2014/main" id="{320F1E17-FB82-A94E-033C-039418367EB4}"/>
                </a:ext>
              </a:extLst>
            </p:cNvPr>
            <p:cNvSpPr/>
            <p:nvPr/>
          </p:nvSpPr>
          <p:spPr>
            <a:xfrm>
              <a:off x="973455" y="2350643"/>
              <a:ext cx="2197100" cy="1397000"/>
            </a:xfrm>
            <a:custGeom>
              <a:avLst/>
              <a:gdLst>
                <a:gd name="connsiteX0" fmla="*/ 2138807 w 2197100"/>
                <a:gd name="connsiteY0" fmla="*/ 1398270 h 1397000"/>
                <a:gd name="connsiteX1" fmla="*/ 64897 w 2197100"/>
                <a:gd name="connsiteY1" fmla="*/ 1398270 h 1397000"/>
                <a:gd name="connsiteX2" fmla="*/ 0 w 2197100"/>
                <a:gd name="connsiteY2" fmla="*/ 1333373 h 1397000"/>
                <a:gd name="connsiteX3" fmla="*/ 0 w 2197100"/>
                <a:gd name="connsiteY3" fmla="*/ 64897 h 1397000"/>
                <a:gd name="connsiteX4" fmla="*/ 64897 w 2197100"/>
                <a:gd name="connsiteY4" fmla="*/ 0 h 1397000"/>
                <a:gd name="connsiteX5" fmla="*/ 2138807 w 2197100"/>
                <a:gd name="connsiteY5" fmla="*/ 0 h 1397000"/>
                <a:gd name="connsiteX6" fmla="*/ 2203704 w 2197100"/>
                <a:gd name="connsiteY6" fmla="*/ 64897 h 1397000"/>
                <a:gd name="connsiteX7" fmla="*/ 2203704 w 2197100"/>
                <a:gd name="connsiteY7" fmla="*/ 1333373 h 1397000"/>
                <a:gd name="connsiteX8" fmla="*/ 2138807 w 2197100"/>
                <a:gd name="connsiteY8" fmla="*/ 1398270 h 139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7100" h="1397000">
                  <a:moveTo>
                    <a:pt x="2138807" y="1398270"/>
                  </a:moveTo>
                  <a:lnTo>
                    <a:pt x="64897" y="1398270"/>
                  </a:lnTo>
                  <a:cubicBezTo>
                    <a:pt x="29083" y="1398270"/>
                    <a:pt x="0" y="1369187"/>
                    <a:pt x="0" y="1333373"/>
                  </a:cubicBezTo>
                  <a:lnTo>
                    <a:pt x="0" y="64897"/>
                  </a:lnTo>
                  <a:cubicBezTo>
                    <a:pt x="0" y="29083"/>
                    <a:pt x="29083" y="0"/>
                    <a:pt x="64897" y="0"/>
                  </a:cubicBezTo>
                  <a:lnTo>
                    <a:pt x="2138807" y="0"/>
                  </a:lnTo>
                  <a:cubicBezTo>
                    <a:pt x="2174621" y="0"/>
                    <a:pt x="2203704" y="29083"/>
                    <a:pt x="2203704" y="64897"/>
                  </a:cubicBezTo>
                  <a:lnTo>
                    <a:pt x="2203704" y="1333373"/>
                  </a:lnTo>
                  <a:cubicBezTo>
                    <a:pt x="2203704" y="1369187"/>
                    <a:pt x="2174621" y="1398270"/>
                    <a:pt x="2138807" y="1398270"/>
                  </a:cubicBezTo>
                </a:path>
              </a:pathLst>
            </a:custGeom>
            <a:solidFill>
              <a:srgbClr val="F4F4F4"/>
            </a:solidFill>
            <a:ln w="12689" cap="flat">
              <a:noFill/>
              <a:prstDash val="solid"/>
              <a:miter/>
            </a:ln>
          </p:spPr>
          <p:txBody>
            <a:bodyPr rtlCol="0" anchor="ctr"/>
            <a:lstStyle/>
            <a:p>
              <a:pPr algn="ctr"/>
              <a:r>
                <a:rPr lang="en-US" sz="1400" dirty="0">
                  <a:effectLst/>
                  <a:latin typeface="Calibri" panose="020F0502020204030204" pitchFamily="34" charset="0"/>
                  <a:ea typeface="Calibri" panose="020F0502020204030204" pitchFamily="34" charset="0"/>
                  <a:cs typeface="Times New Roman" panose="02020603050405020304" pitchFamily="18" charset="0"/>
                </a:rPr>
                <a:t>Number of pregnant women with known HIV status at first antenatal care visit (includes those who already knew their HIV status prior to ANC1)</a:t>
              </a:r>
              <a:endParaRPr lang="bg-BG" sz="1400" dirty="0"/>
            </a:p>
          </p:txBody>
        </p:sp>
        <p:pic>
          <p:nvPicPr>
            <p:cNvPr id="27" name="Картина 77">
              <a:extLst>
                <a:ext uri="{FF2B5EF4-FFF2-40B4-BE49-F238E27FC236}">
                  <a16:creationId xmlns:a16="http://schemas.microsoft.com/office/drawing/2014/main" id="{24678BD9-B6E0-922A-BF13-B658BE6D7E79}"/>
                </a:ext>
              </a:extLst>
            </p:cNvPr>
            <p:cNvPicPr>
              <a:picLocks noChangeAspect="1"/>
            </p:cNvPicPr>
            <p:nvPr/>
          </p:nvPicPr>
          <p:blipFill>
            <a:blip r:embed="rId4"/>
            <a:stretch>
              <a:fillRect/>
            </a:stretch>
          </p:blipFill>
          <p:spPr>
            <a:xfrm>
              <a:off x="843884" y="2193214"/>
              <a:ext cx="2501900" cy="673100"/>
            </a:xfrm>
            <a:custGeom>
              <a:avLst/>
              <a:gdLst>
                <a:gd name="connsiteX0" fmla="*/ 0 w 2501900"/>
                <a:gd name="connsiteY0" fmla="*/ 0 h 673100"/>
                <a:gd name="connsiteX1" fmla="*/ 2508504 w 2501900"/>
                <a:gd name="connsiteY1" fmla="*/ 0 h 673100"/>
                <a:gd name="connsiteX2" fmla="*/ 2508504 w 2501900"/>
                <a:gd name="connsiteY2" fmla="*/ 676656 h 673100"/>
                <a:gd name="connsiteX3" fmla="*/ 0 w 2501900"/>
                <a:gd name="connsiteY3" fmla="*/ 676656 h 673100"/>
              </a:gdLst>
              <a:ahLst/>
              <a:cxnLst>
                <a:cxn ang="0">
                  <a:pos x="connsiteX0" y="connsiteY0"/>
                </a:cxn>
                <a:cxn ang="0">
                  <a:pos x="connsiteX1" y="connsiteY1"/>
                </a:cxn>
                <a:cxn ang="0">
                  <a:pos x="connsiteX2" y="connsiteY2"/>
                </a:cxn>
                <a:cxn ang="0">
                  <a:pos x="connsiteX3" y="connsiteY3"/>
                </a:cxn>
              </a:cxnLst>
              <a:rect l="l" t="t" r="r" b="b"/>
              <a:pathLst>
                <a:path w="2501900" h="673100">
                  <a:moveTo>
                    <a:pt x="0" y="0"/>
                  </a:moveTo>
                  <a:lnTo>
                    <a:pt x="2508504" y="0"/>
                  </a:lnTo>
                  <a:lnTo>
                    <a:pt x="2508504" y="676656"/>
                  </a:lnTo>
                  <a:lnTo>
                    <a:pt x="0" y="676656"/>
                  </a:lnTo>
                  <a:close/>
                </a:path>
              </a:pathLst>
            </a:custGeom>
            <a:ln/>
          </p:spPr>
        </p:pic>
        <p:sp>
          <p:nvSpPr>
            <p:cNvPr id="28" name="Свободна форма: фигура 79">
              <a:extLst>
                <a:ext uri="{FF2B5EF4-FFF2-40B4-BE49-F238E27FC236}">
                  <a16:creationId xmlns:a16="http://schemas.microsoft.com/office/drawing/2014/main" id="{11C40151-090B-88ED-5F43-FB823F510F1C}"/>
                </a:ext>
              </a:extLst>
            </p:cNvPr>
            <p:cNvSpPr/>
            <p:nvPr/>
          </p:nvSpPr>
          <p:spPr>
            <a:xfrm>
              <a:off x="871728" y="2079348"/>
              <a:ext cx="2413000" cy="573638"/>
            </a:xfrm>
            <a:custGeom>
              <a:avLst/>
              <a:gdLst>
                <a:gd name="connsiteX0" fmla="*/ 2357120 w 2413000"/>
                <a:gd name="connsiteY0" fmla="*/ 613664 h 609600"/>
                <a:gd name="connsiteX1" fmla="*/ 64897 w 2413000"/>
                <a:gd name="connsiteY1" fmla="*/ 613664 h 609600"/>
                <a:gd name="connsiteX2" fmla="*/ 0 w 2413000"/>
                <a:gd name="connsiteY2" fmla="*/ 548767 h 609600"/>
                <a:gd name="connsiteX3" fmla="*/ 0 w 2413000"/>
                <a:gd name="connsiteY3" fmla="*/ 64897 h 609600"/>
                <a:gd name="connsiteX4" fmla="*/ 64897 w 2413000"/>
                <a:gd name="connsiteY4" fmla="*/ 0 h 609600"/>
                <a:gd name="connsiteX5" fmla="*/ 2357120 w 2413000"/>
                <a:gd name="connsiteY5" fmla="*/ 0 h 609600"/>
                <a:gd name="connsiteX6" fmla="*/ 2422017 w 2413000"/>
                <a:gd name="connsiteY6" fmla="*/ 64897 h 609600"/>
                <a:gd name="connsiteX7" fmla="*/ 2422017 w 2413000"/>
                <a:gd name="connsiteY7" fmla="*/ 548767 h 609600"/>
                <a:gd name="connsiteX8" fmla="*/ 2357120 w 2413000"/>
                <a:gd name="connsiteY8" fmla="*/ 613664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13000" h="609600">
                  <a:moveTo>
                    <a:pt x="2357120" y="613664"/>
                  </a:moveTo>
                  <a:lnTo>
                    <a:pt x="64897" y="613664"/>
                  </a:lnTo>
                  <a:cubicBezTo>
                    <a:pt x="29083" y="613664"/>
                    <a:pt x="0" y="584581"/>
                    <a:pt x="0" y="548767"/>
                  </a:cubicBezTo>
                  <a:lnTo>
                    <a:pt x="0" y="64897"/>
                  </a:lnTo>
                  <a:cubicBezTo>
                    <a:pt x="0" y="29083"/>
                    <a:pt x="29083" y="0"/>
                    <a:pt x="64897" y="0"/>
                  </a:cubicBezTo>
                  <a:lnTo>
                    <a:pt x="2357120" y="0"/>
                  </a:lnTo>
                  <a:cubicBezTo>
                    <a:pt x="2392934" y="0"/>
                    <a:pt x="2422017" y="29083"/>
                    <a:pt x="2422017" y="64897"/>
                  </a:cubicBezTo>
                  <a:lnTo>
                    <a:pt x="2422017" y="548767"/>
                  </a:lnTo>
                  <a:cubicBezTo>
                    <a:pt x="2422017" y="584708"/>
                    <a:pt x="2392934" y="613664"/>
                    <a:pt x="2357120" y="613664"/>
                  </a:cubicBezTo>
                </a:path>
              </a:pathLst>
            </a:custGeom>
            <a:solidFill>
              <a:schemeClr val="accent1"/>
            </a:solidFill>
            <a:ln w="12689" cap="flat">
              <a:noFill/>
              <a:prstDash val="solid"/>
              <a:miter/>
            </a:ln>
          </p:spPr>
          <p:txBody>
            <a:bodyPr rtlCol="0" anchor="ctr"/>
            <a:lstStyle/>
            <a:p>
              <a:r>
                <a:rPr lang="en-US" dirty="0"/>
                <a:t>          Numerator</a:t>
              </a:r>
              <a:endParaRPr lang="bg-BG" dirty="0"/>
            </a:p>
          </p:txBody>
        </p:sp>
      </p:grpSp>
      <p:sp>
        <p:nvSpPr>
          <p:cNvPr id="31" name="Freeform 251">
            <a:extLst>
              <a:ext uri="{FF2B5EF4-FFF2-40B4-BE49-F238E27FC236}">
                <a16:creationId xmlns:a16="http://schemas.microsoft.com/office/drawing/2014/main" id="{B861DED8-6089-EE9E-240A-891C94194D37}"/>
              </a:ext>
            </a:extLst>
          </p:cNvPr>
          <p:cNvSpPr>
            <a:spLocks/>
          </p:cNvSpPr>
          <p:nvPr/>
        </p:nvSpPr>
        <p:spPr bwMode="auto">
          <a:xfrm>
            <a:off x="3838661" y="3867388"/>
            <a:ext cx="248233" cy="363705"/>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solidFill>
            <a:srgbClr val="4454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Light"/>
            </a:endParaRPr>
          </a:p>
        </p:txBody>
      </p:sp>
      <p:sp>
        <p:nvSpPr>
          <p:cNvPr id="32" name="Freeform 251">
            <a:extLst>
              <a:ext uri="{FF2B5EF4-FFF2-40B4-BE49-F238E27FC236}">
                <a16:creationId xmlns:a16="http://schemas.microsoft.com/office/drawing/2014/main" id="{5035F5E8-ECC6-315B-60FE-1EA49C004617}"/>
              </a:ext>
            </a:extLst>
          </p:cNvPr>
          <p:cNvSpPr>
            <a:spLocks/>
          </p:cNvSpPr>
          <p:nvPr/>
        </p:nvSpPr>
        <p:spPr bwMode="auto">
          <a:xfrm>
            <a:off x="4040771" y="3867388"/>
            <a:ext cx="248233" cy="363705"/>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solidFill>
            <a:srgbClr val="4454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Light"/>
            </a:endParaRPr>
          </a:p>
        </p:txBody>
      </p:sp>
      <p:sp>
        <p:nvSpPr>
          <p:cNvPr id="34" name="Freeform 251">
            <a:extLst>
              <a:ext uri="{FF2B5EF4-FFF2-40B4-BE49-F238E27FC236}">
                <a16:creationId xmlns:a16="http://schemas.microsoft.com/office/drawing/2014/main" id="{2E4C47E6-6135-35D6-CF7C-2F438F39CBFF}"/>
              </a:ext>
            </a:extLst>
          </p:cNvPr>
          <p:cNvSpPr>
            <a:spLocks/>
          </p:cNvSpPr>
          <p:nvPr/>
        </p:nvSpPr>
        <p:spPr bwMode="auto">
          <a:xfrm>
            <a:off x="7876199" y="3867387"/>
            <a:ext cx="248233" cy="363705"/>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solidFill>
            <a:srgbClr val="4454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Light"/>
            </a:endParaRPr>
          </a:p>
        </p:txBody>
      </p:sp>
      <p:sp>
        <p:nvSpPr>
          <p:cNvPr id="35" name="Freeform 251">
            <a:extLst>
              <a:ext uri="{FF2B5EF4-FFF2-40B4-BE49-F238E27FC236}">
                <a16:creationId xmlns:a16="http://schemas.microsoft.com/office/drawing/2014/main" id="{9AB6035F-8A04-78C3-BBC4-6DB411572D6F}"/>
              </a:ext>
            </a:extLst>
          </p:cNvPr>
          <p:cNvSpPr>
            <a:spLocks/>
          </p:cNvSpPr>
          <p:nvPr/>
        </p:nvSpPr>
        <p:spPr bwMode="auto">
          <a:xfrm>
            <a:off x="8084942" y="3867386"/>
            <a:ext cx="248233" cy="363705"/>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solidFill>
            <a:srgbClr val="4454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Light"/>
            </a:endParaRPr>
          </a:p>
        </p:txBody>
      </p:sp>
    </p:spTree>
    <p:extLst>
      <p:ext uri="{BB962C8B-B14F-4D97-AF65-F5344CB8AC3E}">
        <p14:creationId xmlns:p14="http://schemas.microsoft.com/office/powerpoint/2010/main" val="225960210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AC5FD8C-1AF9-4BEB-A638-5263D7C2792C}"/>
              </a:ext>
            </a:extLst>
          </p:cNvPr>
          <p:cNvSpPr/>
          <p:nvPr/>
        </p:nvSpPr>
        <p:spPr>
          <a:xfrm>
            <a:off x="0" y="3494627"/>
            <a:ext cx="12172949" cy="1242634"/>
          </a:xfrm>
          <a:prstGeom prst="rect">
            <a:avLst/>
          </a:prstGeom>
          <a:solidFill>
            <a:srgbClr val="E7E6E6"/>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2" name="Title 1">
            <a:extLst>
              <a:ext uri="{FF2B5EF4-FFF2-40B4-BE49-F238E27FC236}">
                <a16:creationId xmlns:a16="http://schemas.microsoft.com/office/drawing/2014/main" id="{1BD024B5-574F-472D-AF3D-A31FBBD0B863}"/>
              </a:ext>
            </a:extLst>
          </p:cNvPr>
          <p:cNvSpPr>
            <a:spLocks noGrp="1"/>
          </p:cNvSpPr>
          <p:nvPr>
            <p:ph type="title"/>
          </p:nvPr>
        </p:nvSpPr>
        <p:spPr>
          <a:xfrm>
            <a:off x="0" y="0"/>
            <a:ext cx="10972800" cy="1143000"/>
          </a:xfrm>
        </p:spPr>
        <p:txBody>
          <a:bodyPr>
            <a:normAutofit/>
          </a:bodyPr>
          <a:lstStyle/>
          <a:p>
            <a:r>
              <a:rPr lang="en-US" sz="3600" dirty="0">
                <a:solidFill>
                  <a:schemeClr val="tx2">
                    <a:lumMod val="75000"/>
                  </a:schemeClr>
                </a:solidFill>
              </a:rPr>
              <a:t>PMTCT_STAT</a:t>
            </a:r>
            <a:endParaRPr lang="en-NG" sz="3600" dirty="0">
              <a:solidFill>
                <a:schemeClr val="tx2">
                  <a:lumMod val="75000"/>
                </a:schemeClr>
              </a:solidFill>
            </a:endParaRPr>
          </a:p>
        </p:txBody>
      </p:sp>
      <p:sp>
        <p:nvSpPr>
          <p:cNvPr id="31" name="Freeform 251">
            <a:extLst>
              <a:ext uri="{FF2B5EF4-FFF2-40B4-BE49-F238E27FC236}">
                <a16:creationId xmlns:a16="http://schemas.microsoft.com/office/drawing/2014/main" id="{B861DED8-6089-EE9E-240A-891C94194D37}"/>
              </a:ext>
            </a:extLst>
          </p:cNvPr>
          <p:cNvSpPr>
            <a:spLocks/>
          </p:cNvSpPr>
          <p:nvPr/>
        </p:nvSpPr>
        <p:spPr bwMode="auto">
          <a:xfrm>
            <a:off x="3838661" y="3867388"/>
            <a:ext cx="248233" cy="363705"/>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solidFill>
            <a:srgbClr val="4454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Light"/>
            </a:endParaRPr>
          </a:p>
        </p:txBody>
      </p:sp>
      <p:sp>
        <p:nvSpPr>
          <p:cNvPr id="32" name="Freeform 251">
            <a:extLst>
              <a:ext uri="{FF2B5EF4-FFF2-40B4-BE49-F238E27FC236}">
                <a16:creationId xmlns:a16="http://schemas.microsoft.com/office/drawing/2014/main" id="{5035F5E8-ECC6-315B-60FE-1EA49C004617}"/>
              </a:ext>
            </a:extLst>
          </p:cNvPr>
          <p:cNvSpPr>
            <a:spLocks/>
          </p:cNvSpPr>
          <p:nvPr/>
        </p:nvSpPr>
        <p:spPr bwMode="auto">
          <a:xfrm>
            <a:off x="4040771" y="3867388"/>
            <a:ext cx="248233" cy="363705"/>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solidFill>
            <a:srgbClr val="4454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Light"/>
            </a:endParaRPr>
          </a:p>
        </p:txBody>
      </p:sp>
      <p:sp>
        <p:nvSpPr>
          <p:cNvPr id="34" name="Freeform 251">
            <a:extLst>
              <a:ext uri="{FF2B5EF4-FFF2-40B4-BE49-F238E27FC236}">
                <a16:creationId xmlns:a16="http://schemas.microsoft.com/office/drawing/2014/main" id="{2E4C47E6-6135-35D6-CF7C-2F438F39CBFF}"/>
              </a:ext>
            </a:extLst>
          </p:cNvPr>
          <p:cNvSpPr>
            <a:spLocks/>
          </p:cNvSpPr>
          <p:nvPr/>
        </p:nvSpPr>
        <p:spPr bwMode="auto">
          <a:xfrm>
            <a:off x="7876199" y="3867387"/>
            <a:ext cx="248233" cy="363705"/>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solidFill>
            <a:srgbClr val="4454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Light"/>
            </a:endParaRPr>
          </a:p>
        </p:txBody>
      </p:sp>
      <p:sp>
        <p:nvSpPr>
          <p:cNvPr id="35" name="Freeform 251">
            <a:extLst>
              <a:ext uri="{FF2B5EF4-FFF2-40B4-BE49-F238E27FC236}">
                <a16:creationId xmlns:a16="http://schemas.microsoft.com/office/drawing/2014/main" id="{9AB6035F-8A04-78C3-BBC4-6DB411572D6F}"/>
              </a:ext>
            </a:extLst>
          </p:cNvPr>
          <p:cNvSpPr>
            <a:spLocks/>
          </p:cNvSpPr>
          <p:nvPr/>
        </p:nvSpPr>
        <p:spPr bwMode="auto">
          <a:xfrm>
            <a:off x="8084942" y="3867386"/>
            <a:ext cx="248233" cy="363705"/>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solidFill>
            <a:srgbClr val="4454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Light"/>
            </a:endParaRPr>
          </a:p>
        </p:txBody>
      </p:sp>
      <p:grpSp>
        <p:nvGrpSpPr>
          <p:cNvPr id="29" name="Group 28">
            <a:extLst>
              <a:ext uri="{FF2B5EF4-FFF2-40B4-BE49-F238E27FC236}">
                <a16:creationId xmlns:a16="http://schemas.microsoft.com/office/drawing/2014/main" id="{384E601B-B96F-4224-D79B-C7C5017A001A}"/>
              </a:ext>
            </a:extLst>
          </p:cNvPr>
          <p:cNvGrpSpPr/>
          <p:nvPr/>
        </p:nvGrpSpPr>
        <p:grpSpPr>
          <a:xfrm>
            <a:off x="203716" y="1781978"/>
            <a:ext cx="3688976" cy="4383048"/>
            <a:chOff x="583687" y="407303"/>
            <a:chExt cx="2652210" cy="2724586"/>
          </a:xfrm>
        </p:grpSpPr>
        <p:sp>
          <p:nvSpPr>
            <p:cNvPr id="30" name="Свободна форма: фигура 11">
              <a:extLst>
                <a:ext uri="{FF2B5EF4-FFF2-40B4-BE49-F238E27FC236}">
                  <a16:creationId xmlns:a16="http://schemas.microsoft.com/office/drawing/2014/main" id="{911F6F5A-6F05-A873-F036-D58091B0E75C}"/>
                </a:ext>
              </a:extLst>
            </p:cNvPr>
            <p:cNvSpPr/>
            <p:nvPr/>
          </p:nvSpPr>
          <p:spPr>
            <a:xfrm>
              <a:off x="677366" y="592080"/>
              <a:ext cx="2413000" cy="2413000"/>
            </a:xfrm>
            <a:custGeom>
              <a:avLst/>
              <a:gdLst>
                <a:gd name="connsiteX0" fmla="*/ 2422704 w 2413000"/>
                <a:gd name="connsiteY0" fmla="*/ 1249928 h 2413000"/>
                <a:gd name="connsiteX1" fmla="*/ 1806246 w 2413000"/>
                <a:gd name="connsiteY1" fmla="*/ 2259705 h 2413000"/>
                <a:gd name="connsiteX2" fmla="*/ 1647242 w 2413000"/>
                <a:gd name="connsiteY2" fmla="*/ 2330190 h 2413000"/>
                <a:gd name="connsiteX3" fmla="*/ 250115 w 2413000"/>
                <a:gd name="connsiteY3" fmla="*/ 1945126 h 2413000"/>
                <a:gd name="connsiteX4" fmla="*/ 132767 w 2413000"/>
                <a:gd name="connsiteY4" fmla="*/ 1759452 h 2413000"/>
                <a:gd name="connsiteX5" fmla="*/ 88825 w 2413000"/>
                <a:gd name="connsiteY5" fmla="*/ 705987 h 2413000"/>
                <a:gd name="connsiteX6" fmla="*/ 1371779 w 2413000"/>
                <a:gd name="connsiteY6" fmla="*/ 11551 h 2413000"/>
                <a:gd name="connsiteX7" fmla="*/ 1587425 w 2413000"/>
                <a:gd name="connsiteY7" fmla="*/ 62605 h 2413000"/>
                <a:gd name="connsiteX8" fmla="*/ 2410893 w 2413000"/>
                <a:gd name="connsiteY8" fmla="*/ 1003294 h 2413000"/>
                <a:gd name="connsiteX9" fmla="*/ 2422704 w 2413000"/>
                <a:gd name="connsiteY9" fmla="*/ 1249928 h 241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3000" h="2413000">
                  <a:moveTo>
                    <a:pt x="2422704" y="1249928"/>
                  </a:moveTo>
                  <a:cubicBezTo>
                    <a:pt x="2416354" y="1676648"/>
                    <a:pt x="2163497" y="2066030"/>
                    <a:pt x="1806246" y="2259705"/>
                  </a:cubicBezTo>
                  <a:cubicBezTo>
                    <a:pt x="1755192" y="2287391"/>
                    <a:pt x="1702106" y="2311013"/>
                    <a:pt x="1647242" y="2330190"/>
                  </a:cubicBezTo>
                  <a:cubicBezTo>
                    <a:pt x="1147878" y="2541391"/>
                    <a:pt x="564567" y="2349367"/>
                    <a:pt x="250115" y="1945126"/>
                  </a:cubicBezTo>
                  <a:cubicBezTo>
                    <a:pt x="205157" y="1887341"/>
                    <a:pt x="165787" y="1825365"/>
                    <a:pt x="132767" y="1759452"/>
                  </a:cubicBezTo>
                  <a:cubicBezTo>
                    <a:pt x="1068" y="1430268"/>
                    <a:pt x="-64718" y="1057142"/>
                    <a:pt x="88825" y="705987"/>
                  </a:cubicBezTo>
                  <a:cubicBezTo>
                    <a:pt x="308281" y="223133"/>
                    <a:pt x="835077" y="-62236"/>
                    <a:pt x="1371779" y="11551"/>
                  </a:cubicBezTo>
                  <a:cubicBezTo>
                    <a:pt x="1444931" y="22473"/>
                    <a:pt x="1517194" y="39618"/>
                    <a:pt x="1587425" y="62605"/>
                  </a:cubicBezTo>
                  <a:cubicBezTo>
                    <a:pt x="2008938" y="200527"/>
                    <a:pt x="2360855" y="548380"/>
                    <a:pt x="2410893" y="1003294"/>
                  </a:cubicBezTo>
                  <a:cubicBezTo>
                    <a:pt x="2423212" y="1082669"/>
                    <a:pt x="2427403" y="1165473"/>
                    <a:pt x="2422704" y="1249928"/>
                  </a:cubicBezTo>
                </a:path>
              </a:pathLst>
            </a:custGeom>
            <a:solidFill>
              <a:srgbClr val="FFFFFF"/>
            </a:solidFill>
            <a:ln w="12689" cap="flat">
              <a:noFill/>
              <a:prstDash val="solid"/>
              <a:miter/>
            </a:ln>
          </p:spPr>
          <p:txBody>
            <a:bodyPr rtlCol="0" anchor="ctr"/>
            <a:lstStyle/>
            <a:p>
              <a:endParaRPr lang="bg-BG"/>
            </a:p>
          </p:txBody>
        </p:sp>
        <p:sp>
          <p:nvSpPr>
            <p:cNvPr id="33" name="Свободна форма: фигура 12">
              <a:extLst>
                <a:ext uri="{FF2B5EF4-FFF2-40B4-BE49-F238E27FC236}">
                  <a16:creationId xmlns:a16="http://schemas.microsoft.com/office/drawing/2014/main" id="{D290E99A-E62F-B88E-9E0D-6ED6B9F2FEAE}"/>
                </a:ext>
              </a:extLst>
            </p:cNvPr>
            <p:cNvSpPr/>
            <p:nvPr/>
          </p:nvSpPr>
          <p:spPr>
            <a:xfrm>
              <a:off x="1406829" y="592140"/>
              <a:ext cx="1054100" cy="850900"/>
            </a:xfrm>
            <a:custGeom>
              <a:avLst/>
              <a:gdLst>
                <a:gd name="connsiteX0" fmla="*/ 642316 w 1054100"/>
                <a:gd name="connsiteY0" fmla="*/ 11491 h 850900"/>
                <a:gd name="connsiteX1" fmla="*/ 61672 w 1054100"/>
                <a:gd name="connsiteY1" fmla="*/ 70419 h 850900"/>
                <a:gd name="connsiteX2" fmla="*/ 66244 w 1054100"/>
                <a:gd name="connsiteY2" fmla="*/ 566227 h 850900"/>
                <a:gd name="connsiteX3" fmla="*/ 118187 w 1054100"/>
                <a:gd name="connsiteY3" fmla="*/ 647253 h 850900"/>
                <a:gd name="connsiteX4" fmla="*/ 728422 w 1054100"/>
                <a:gd name="connsiteY4" fmla="*/ 817052 h 850900"/>
                <a:gd name="connsiteX5" fmla="*/ 1032333 w 1054100"/>
                <a:gd name="connsiteY5" fmla="*/ 474660 h 850900"/>
                <a:gd name="connsiteX6" fmla="*/ 1051637 w 1054100"/>
                <a:gd name="connsiteY6" fmla="*/ 381315 h 850900"/>
                <a:gd name="connsiteX7" fmla="*/ 1014172 w 1054100"/>
                <a:gd name="connsiteY7" fmla="*/ 124775 h 850900"/>
                <a:gd name="connsiteX8" fmla="*/ 857962 w 1054100"/>
                <a:gd name="connsiteY8" fmla="*/ 62545 h 850900"/>
                <a:gd name="connsiteX9" fmla="*/ 642316 w 1054100"/>
                <a:gd name="connsiteY9" fmla="*/ 11491 h 850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54100" h="850900">
                  <a:moveTo>
                    <a:pt x="642316" y="11491"/>
                  </a:moveTo>
                  <a:cubicBezTo>
                    <a:pt x="442291" y="-15941"/>
                    <a:pt x="243536" y="6538"/>
                    <a:pt x="61672" y="70419"/>
                  </a:cubicBezTo>
                  <a:cubicBezTo>
                    <a:pt x="-26847" y="221803"/>
                    <a:pt x="-15417" y="412176"/>
                    <a:pt x="66244" y="566227"/>
                  </a:cubicBezTo>
                  <a:cubicBezTo>
                    <a:pt x="81230" y="594548"/>
                    <a:pt x="98629" y="621726"/>
                    <a:pt x="118187" y="647253"/>
                  </a:cubicBezTo>
                  <a:cubicBezTo>
                    <a:pt x="263602" y="832038"/>
                    <a:pt x="514173" y="901761"/>
                    <a:pt x="728422" y="817052"/>
                  </a:cubicBezTo>
                  <a:cubicBezTo>
                    <a:pt x="882346" y="753679"/>
                    <a:pt x="974167" y="617281"/>
                    <a:pt x="1032333" y="474660"/>
                  </a:cubicBezTo>
                  <a:cubicBezTo>
                    <a:pt x="1041858" y="444180"/>
                    <a:pt x="1048335" y="412811"/>
                    <a:pt x="1051637" y="381315"/>
                  </a:cubicBezTo>
                  <a:cubicBezTo>
                    <a:pt x="1060908" y="294701"/>
                    <a:pt x="1047192" y="205928"/>
                    <a:pt x="1014172" y="124775"/>
                  </a:cubicBezTo>
                  <a:cubicBezTo>
                    <a:pt x="963499" y="100772"/>
                    <a:pt x="911302" y="80071"/>
                    <a:pt x="857962" y="62545"/>
                  </a:cubicBezTo>
                  <a:cubicBezTo>
                    <a:pt x="787731" y="39558"/>
                    <a:pt x="715595" y="22413"/>
                    <a:pt x="642316" y="11491"/>
                  </a:cubicBezTo>
                </a:path>
              </a:pathLst>
            </a:custGeom>
            <a:solidFill>
              <a:srgbClr val="F1F0D7"/>
            </a:solidFill>
            <a:ln w="12689" cap="flat">
              <a:noFill/>
              <a:prstDash val="solid"/>
              <a:miter/>
            </a:ln>
          </p:spPr>
          <p:txBody>
            <a:bodyPr rtlCol="0" anchor="ctr"/>
            <a:lstStyle/>
            <a:p>
              <a:endParaRPr lang="bg-BG"/>
            </a:p>
          </p:txBody>
        </p:sp>
        <p:sp>
          <p:nvSpPr>
            <p:cNvPr id="36" name="Свободна форма: фигура 13">
              <a:extLst>
                <a:ext uri="{FF2B5EF4-FFF2-40B4-BE49-F238E27FC236}">
                  <a16:creationId xmlns:a16="http://schemas.microsoft.com/office/drawing/2014/main" id="{DABFA090-7E97-D4D9-C7A8-5454663A2952}"/>
                </a:ext>
              </a:extLst>
            </p:cNvPr>
            <p:cNvSpPr/>
            <p:nvPr/>
          </p:nvSpPr>
          <p:spPr>
            <a:xfrm>
              <a:off x="1425065" y="407303"/>
              <a:ext cx="914400" cy="927100"/>
            </a:xfrm>
            <a:custGeom>
              <a:avLst/>
              <a:gdLst>
                <a:gd name="connsiteX0" fmla="*/ 143512 w 914400"/>
                <a:gd name="connsiteY0" fmla="*/ 129780 h 927100"/>
                <a:gd name="connsiteX1" fmla="*/ 580011 w 914400"/>
                <a:gd name="connsiteY1" fmla="*/ 15988 h 927100"/>
                <a:gd name="connsiteX2" fmla="*/ 642368 w 914400"/>
                <a:gd name="connsiteY2" fmla="*/ 38721 h 927100"/>
                <a:gd name="connsiteX3" fmla="*/ 923800 w 914400"/>
                <a:gd name="connsiteY3" fmla="*/ 514208 h 927100"/>
                <a:gd name="connsiteX4" fmla="*/ 906782 w 914400"/>
                <a:gd name="connsiteY4" fmla="*/ 596251 h 927100"/>
                <a:gd name="connsiteX5" fmla="*/ 639828 w 914400"/>
                <a:gd name="connsiteY5" fmla="*/ 896860 h 927100"/>
                <a:gd name="connsiteX6" fmla="*/ 104015 w 914400"/>
                <a:gd name="connsiteY6" fmla="*/ 747762 h 927100"/>
                <a:gd name="connsiteX7" fmla="*/ 58295 w 914400"/>
                <a:gd name="connsiteY7" fmla="*/ 676642 h 927100"/>
                <a:gd name="connsiteX8" fmla="*/ 81409 w 914400"/>
                <a:gd name="connsiteY8" fmla="*/ 200519 h 927100"/>
                <a:gd name="connsiteX9" fmla="*/ 143512 w 914400"/>
                <a:gd name="connsiteY9" fmla="*/ 129780 h 927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4400" h="927100">
                  <a:moveTo>
                    <a:pt x="143512" y="129780"/>
                  </a:moveTo>
                  <a:cubicBezTo>
                    <a:pt x="258193" y="14337"/>
                    <a:pt x="430659" y="-25541"/>
                    <a:pt x="580011" y="15988"/>
                  </a:cubicBezTo>
                  <a:cubicBezTo>
                    <a:pt x="601347" y="21957"/>
                    <a:pt x="622175" y="29450"/>
                    <a:pt x="642368" y="38721"/>
                  </a:cubicBezTo>
                  <a:cubicBezTo>
                    <a:pt x="835281" y="113016"/>
                    <a:pt x="944501" y="320153"/>
                    <a:pt x="923800" y="514208"/>
                  </a:cubicBezTo>
                  <a:cubicBezTo>
                    <a:pt x="920879" y="541895"/>
                    <a:pt x="915164" y="569454"/>
                    <a:pt x="906782" y="596251"/>
                  </a:cubicBezTo>
                  <a:cubicBezTo>
                    <a:pt x="855728" y="721473"/>
                    <a:pt x="774956" y="841234"/>
                    <a:pt x="639828" y="896860"/>
                  </a:cubicBezTo>
                  <a:cubicBezTo>
                    <a:pt x="451741" y="971282"/>
                    <a:pt x="231650" y="910068"/>
                    <a:pt x="104015" y="747762"/>
                  </a:cubicBezTo>
                  <a:cubicBezTo>
                    <a:pt x="86870" y="725410"/>
                    <a:pt x="71503" y="701534"/>
                    <a:pt x="58295" y="676642"/>
                  </a:cubicBezTo>
                  <a:cubicBezTo>
                    <a:pt x="-20826" y="527163"/>
                    <a:pt x="-25271" y="338568"/>
                    <a:pt x="81409" y="200519"/>
                  </a:cubicBezTo>
                  <a:cubicBezTo>
                    <a:pt x="99062" y="175500"/>
                    <a:pt x="119890" y="151623"/>
                    <a:pt x="143512" y="129780"/>
                  </a:cubicBezTo>
                </a:path>
              </a:pathLst>
            </a:custGeom>
            <a:solidFill>
              <a:srgbClr val="83CC1B"/>
            </a:solidFill>
            <a:ln w="12689" cap="flat">
              <a:noFill/>
              <a:prstDash val="solid"/>
              <a:miter/>
            </a:ln>
          </p:spPr>
          <p:txBody>
            <a:bodyPr rtlCol="0" anchor="ctr"/>
            <a:lstStyle/>
            <a:p>
              <a:endParaRPr lang="bg-BG"/>
            </a:p>
          </p:txBody>
        </p:sp>
        <p:sp>
          <p:nvSpPr>
            <p:cNvPr id="37" name="Свободна форма: фигура 14">
              <a:extLst>
                <a:ext uri="{FF2B5EF4-FFF2-40B4-BE49-F238E27FC236}">
                  <a16:creationId xmlns:a16="http://schemas.microsoft.com/office/drawing/2014/main" id="{9C71F291-6856-E849-2045-23D7264219FA}"/>
                </a:ext>
              </a:extLst>
            </p:cNvPr>
            <p:cNvSpPr/>
            <p:nvPr/>
          </p:nvSpPr>
          <p:spPr>
            <a:xfrm>
              <a:off x="1591056" y="557657"/>
              <a:ext cx="749300" cy="774700"/>
            </a:xfrm>
            <a:custGeom>
              <a:avLst/>
              <a:gdLst>
                <a:gd name="connsiteX0" fmla="*/ 629920 w 749300"/>
                <a:gd name="connsiteY0" fmla="*/ 21209 h 774700"/>
                <a:gd name="connsiteX1" fmla="*/ 593852 w 749300"/>
                <a:gd name="connsiteY1" fmla="*/ 266573 h 774700"/>
                <a:gd name="connsiteX2" fmla="*/ 271399 w 749300"/>
                <a:gd name="connsiteY2" fmla="*/ 577850 h 774700"/>
                <a:gd name="connsiteX3" fmla="*/ 0 w 749300"/>
                <a:gd name="connsiteY3" fmla="*/ 661924 h 774700"/>
                <a:gd name="connsiteX4" fmla="*/ 473837 w 749300"/>
                <a:gd name="connsiteY4" fmla="*/ 746506 h 774700"/>
                <a:gd name="connsiteX5" fmla="*/ 740791 w 749300"/>
                <a:gd name="connsiteY5" fmla="*/ 445770 h 774700"/>
                <a:gd name="connsiteX6" fmla="*/ 757809 w 749300"/>
                <a:gd name="connsiteY6" fmla="*/ 363728 h 774700"/>
                <a:gd name="connsiteX7" fmla="*/ 638175 w 749300"/>
                <a:gd name="connsiteY7" fmla="*/ 0 h 774700"/>
                <a:gd name="connsiteX8" fmla="*/ 629920 w 749300"/>
                <a:gd name="connsiteY8" fmla="*/ 21209 h 774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9300" h="774700">
                  <a:moveTo>
                    <a:pt x="629920" y="21209"/>
                  </a:moveTo>
                  <a:cubicBezTo>
                    <a:pt x="606171" y="100711"/>
                    <a:pt x="622300" y="185928"/>
                    <a:pt x="593852" y="266573"/>
                  </a:cubicBezTo>
                  <a:cubicBezTo>
                    <a:pt x="538861" y="422148"/>
                    <a:pt x="416306" y="511683"/>
                    <a:pt x="271399" y="577850"/>
                  </a:cubicBezTo>
                  <a:cubicBezTo>
                    <a:pt x="185039" y="617220"/>
                    <a:pt x="92710" y="647192"/>
                    <a:pt x="0" y="661924"/>
                  </a:cubicBezTo>
                  <a:cubicBezTo>
                    <a:pt x="129794" y="774446"/>
                    <a:pt x="313309" y="809879"/>
                    <a:pt x="473837" y="746506"/>
                  </a:cubicBezTo>
                  <a:cubicBezTo>
                    <a:pt x="608965" y="690880"/>
                    <a:pt x="689737" y="570992"/>
                    <a:pt x="740791" y="445770"/>
                  </a:cubicBezTo>
                  <a:cubicBezTo>
                    <a:pt x="749173" y="418973"/>
                    <a:pt x="754761" y="391541"/>
                    <a:pt x="757809" y="363728"/>
                  </a:cubicBezTo>
                  <a:cubicBezTo>
                    <a:pt x="771652" y="233680"/>
                    <a:pt x="727075" y="97917"/>
                    <a:pt x="638175" y="0"/>
                  </a:cubicBezTo>
                  <a:cubicBezTo>
                    <a:pt x="634873" y="6731"/>
                    <a:pt x="632079" y="13716"/>
                    <a:pt x="629920" y="21209"/>
                  </a:cubicBezTo>
                </a:path>
              </a:pathLst>
            </a:custGeom>
            <a:solidFill>
              <a:srgbClr val="5DB723"/>
            </a:solidFill>
            <a:ln w="12689" cap="flat">
              <a:noFill/>
              <a:prstDash val="solid"/>
              <a:miter/>
            </a:ln>
          </p:spPr>
          <p:txBody>
            <a:bodyPr rtlCol="0" anchor="ctr"/>
            <a:lstStyle/>
            <a:p>
              <a:endParaRPr lang="bg-BG"/>
            </a:p>
          </p:txBody>
        </p:sp>
        <p:sp>
          <p:nvSpPr>
            <p:cNvPr id="38" name="Свободна форма: фигура 15">
              <a:extLst>
                <a:ext uri="{FF2B5EF4-FFF2-40B4-BE49-F238E27FC236}">
                  <a16:creationId xmlns:a16="http://schemas.microsoft.com/office/drawing/2014/main" id="{DBC6C10A-97E4-C6A4-3A0D-F73B29F8ADF9}"/>
                </a:ext>
              </a:extLst>
            </p:cNvPr>
            <p:cNvSpPr/>
            <p:nvPr/>
          </p:nvSpPr>
          <p:spPr>
            <a:xfrm>
              <a:off x="689991" y="1457452"/>
              <a:ext cx="2400300" cy="1549400"/>
            </a:xfrm>
            <a:custGeom>
              <a:avLst/>
              <a:gdLst>
                <a:gd name="connsiteX0" fmla="*/ 2398395 w 2400300"/>
                <a:gd name="connsiteY0" fmla="*/ 137922 h 1549400"/>
                <a:gd name="connsiteX1" fmla="*/ 2373122 w 2400300"/>
                <a:gd name="connsiteY1" fmla="*/ 0 h 1549400"/>
                <a:gd name="connsiteX2" fmla="*/ 2211197 w 2400300"/>
                <a:gd name="connsiteY2" fmla="*/ 837184 h 1549400"/>
                <a:gd name="connsiteX3" fmla="*/ 1736852 w 2400300"/>
                <a:gd name="connsiteY3" fmla="*/ 1171702 h 1549400"/>
                <a:gd name="connsiteX4" fmla="*/ 1234313 w 2400300"/>
                <a:gd name="connsiteY4" fmla="*/ 1282827 h 1549400"/>
                <a:gd name="connsiteX5" fmla="*/ 955421 w 2400300"/>
                <a:gd name="connsiteY5" fmla="*/ 1222375 h 1549400"/>
                <a:gd name="connsiteX6" fmla="*/ 736727 w 2400300"/>
                <a:gd name="connsiteY6" fmla="*/ 1105154 h 1549400"/>
                <a:gd name="connsiteX7" fmla="*/ 305308 w 2400300"/>
                <a:gd name="connsiteY7" fmla="*/ 875792 h 1549400"/>
                <a:gd name="connsiteX8" fmla="*/ 0 w 2400300"/>
                <a:gd name="connsiteY8" fmla="*/ 455930 h 1549400"/>
                <a:gd name="connsiteX9" fmla="*/ 120269 w 2400300"/>
                <a:gd name="connsiteY9" fmla="*/ 894334 h 1549400"/>
                <a:gd name="connsiteX10" fmla="*/ 237617 w 2400300"/>
                <a:gd name="connsiteY10" fmla="*/ 1080008 h 1549400"/>
                <a:gd name="connsiteX11" fmla="*/ 1634744 w 2400300"/>
                <a:gd name="connsiteY11" fmla="*/ 1464945 h 1549400"/>
                <a:gd name="connsiteX12" fmla="*/ 1793875 w 2400300"/>
                <a:gd name="connsiteY12" fmla="*/ 1394460 h 1549400"/>
                <a:gd name="connsiteX13" fmla="*/ 2410333 w 2400300"/>
                <a:gd name="connsiteY13" fmla="*/ 384683 h 1549400"/>
                <a:gd name="connsiteX14" fmla="*/ 2398395 w 2400300"/>
                <a:gd name="connsiteY14" fmla="*/ 137922 h 154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00300" h="1549400">
                  <a:moveTo>
                    <a:pt x="2398395" y="137922"/>
                  </a:moveTo>
                  <a:cubicBezTo>
                    <a:pt x="2393188" y="90805"/>
                    <a:pt x="2384552" y="44831"/>
                    <a:pt x="2373122" y="0"/>
                  </a:cubicBezTo>
                  <a:cubicBezTo>
                    <a:pt x="2423668" y="292608"/>
                    <a:pt x="2409190" y="593598"/>
                    <a:pt x="2211197" y="837184"/>
                  </a:cubicBezTo>
                  <a:cubicBezTo>
                    <a:pt x="2086483" y="990473"/>
                    <a:pt x="1911731" y="1086358"/>
                    <a:pt x="1736852" y="1171702"/>
                  </a:cubicBezTo>
                  <a:cubicBezTo>
                    <a:pt x="1576832" y="1249807"/>
                    <a:pt x="1413891" y="1294384"/>
                    <a:pt x="1234313" y="1282827"/>
                  </a:cubicBezTo>
                  <a:cubicBezTo>
                    <a:pt x="1138936" y="1276731"/>
                    <a:pt x="1044448" y="1257300"/>
                    <a:pt x="955421" y="1222375"/>
                  </a:cubicBezTo>
                  <a:cubicBezTo>
                    <a:pt x="877570" y="1191641"/>
                    <a:pt x="809752" y="1145032"/>
                    <a:pt x="736727" y="1105154"/>
                  </a:cubicBezTo>
                  <a:cubicBezTo>
                    <a:pt x="594106" y="1027176"/>
                    <a:pt x="438277" y="970788"/>
                    <a:pt x="305308" y="875792"/>
                  </a:cubicBezTo>
                  <a:cubicBezTo>
                    <a:pt x="148717" y="764032"/>
                    <a:pt x="51308" y="618363"/>
                    <a:pt x="0" y="455930"/>
                  </a:cubicBezTo>
                  <a:cubicBezTo>
                    <a:pt x="20447" y="606552"/>
                    <a:pt x="64389" y="754380"/>
                    <a:pt x="120269" y="894334"/>
                  </a:cubicBezTo>
                  <a:cubicBezTo>
                    <a:pt x="153162" y="960120"/>
                    <a:pt x="192659" y="1022223"/>
                    <a:pt x="237617" y="1080008"/>
                  </a:cubicBezTo>
                  <a:cubicBezTo>
                    <a:pt x="552069" y="1484249"/>
                    <a:pt x="1135380" y="1676273"/>
                    <a:pt x="1634744" y="1464945"/>
                  </a:cubicBezTo>
                  <a:cubicBezTo>
                    <a:pt x="1689608" y="1445768"/>
                    <a:pt x="1742821" y="1422019"/>
                    <a:pt x="1793875" y="1394460"/>
                  </a:cubicBezTo>
                  <a:cubicBezTo>
                    <a:pt x="2151126" y="1200912"/>
                    <a:pt x="2403856" y="811403"/>
                    <a:pt x="2410333" y="384683"/>
                  </a:cubicBezTo>
                  <a:cubicBezTo>
                    <a:pt x="2414778" y="300101"/>
                    <a:pt x="2410587" y="217297"/>
                    <a:pt x="2398395" y="137922"/>
                  </a:cubicBezTo>
                </a:path>
              </a:pathLst>
            </a:custGeom>
            <a:solidFill>
              <a:srgbClr val="F1F0D7"/>
            </a:solidFill>
            <a:ln w="12689" cap="flat">
              <a:noFill/>
              <a:prstDash val="solid"/>
              <a:miter/>
            </a:ln>
          </p:spPr>
          <p:txBody>
            <a:bodyPr rtlCol="0" anchor="ctr"/>
            <a:lstStyle/>
            <a:p>
              <a:endParaRPr lang="bg-BG"/>
            </a:p>
          </p:txBody>
        </p:sp>
        <p:sp>
          <p:nvSpPr>
            <p:cNvPr id="39" name="Свободна форма: фигура 16">
              <a:extLst>
                <a:ext uri="{FF2B5EF4-FFF2-40B4-BE49-F238E27FC236}">
                  <a16:creationId xmlns:a16="http://schemas.microsoft.com/office/drawing/2014/main" id="{4B2707B0-8623-967D-A968-02FDDB586EF5}"/>
                </a:ext>
              </a:extLst>
            </p:cNvPr>
            <p:cNvSpPr/>
            <p:nvPr/>
          </p:nvSpPr>
          <p:spPr>
            <a:xfrm>
              <a:off x="583687" y="1455489"/>
              <a:ext cx="1308100" cy="1676400"/>
            </a:xfrm>
            <a:custGeom>
              <a:avLst/>
              <a:gdLst>
                <a:gd name="connsiteX0" fmla="*/ 46360 w 1308100"/>
                <a:gd name="connsiteY0" fmla="*/ 1455 h 1676400"/>
                <a:gd name="connsiteX1" fmla="*/ 31374 w 1308100"/>
                <a:gd name="connsiteY1" fmla="*/ 704400 h 1676400"/>
                <a:gd name="connsiteX2" fmla="*/ 281437 w 1308100"/>
                <a:gd name="connsiteY2" fmla="*/ 1276408 h 1676400"/>
                <a:gd name="connsiteX3" fmla="*/ 741939 w 1308100"/>
                <a:gd name="connsiteY3" fmla="*/ 1597972 h 1676400"/>
                <a:gd name="connsiteX4" fmla="*/ 1299215 w 1308100"/>
                <a:gd name="connsiteY4" fmla="*/ 1668838 h 1676400"/>
                <a:gd name="connsiteX5" fmla="*/ 1293119 w 1308100"/>
                <a:gd name="connsiteY5" fmla="*/ 1624007 h 1676400"/>
                <a:gd name="connsiteX6" fmla="*/ 784738 w 1308100"/>
                <a:gd name="connsiteY6" fmla="*/ 1536377 h 1676400"/>
                <a:gd name="connsiteX7" fmla="*/ 334904 w 1308100"/>
                <a:gd name="connsiteY7" fmla="*/ 1238943 h 1676400"/>
                <a:gd name="connsiteX8" fmla="*/ 81031 w 1308100"/>
                <a:gd name="connsiteY8" fmla="*/ 705797 h 1676400"/>
                <a:gd name="connsiteX9" fmla="*/ 50297 w 1308100"/>
                <a:gd name="connsiteY9" fmla="*/ 2725 h 1676400"/>
                <a:gd name="connsiteX10" fmla="*/ 46360 w 1308100"/>
                <a:gd name="connsiteY10" fmla="*/ 1455 h 167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08100" h="1676400">
                  <a:moveTo>
                    <a:pt x="46360" y="1455"/>
                  </a:moveTo>
                  <a:cubicBezTo>
                    <a:pt x="-2027" y="237548"/>
                    <a:pt x="-21077" y="467037"/>
                    <a:pt x="31374" y="704400"/>
                  </a:cubicBezTo>
                  <a:cubicBezTo>
                    <a:pt x="75062" y="901885"/>
                    <a:pt x="151516" y="1118420"/>
                    <a:pt x="281437" y="1276408"/>
                  </a:cubicBezTo>
                  <a:cubicBezTo>
                    <a:pt x="401579" y="1422331"/>
                    <a:pt x="567441" y="1528884"/>
                    <a:pt x="741939" y="1597972"/>
                  </a:cubicBezTo>
                  <a:cubicBezTo>
                    <a:pt x="909325" y="1664139"/>
                    <a:pt x="1120399" y="1718749"/>
                    <a:pt x="1299215" y="1668838"/>
                  </a:cubicBezTo>
                  <a:cubicBezTo>
                    <a:pt x="1324869" y="1661599"/>
                    <a:pt x="1318265" y="1625785"/>
                    <a:pt x="1293119" y="1624007"/>
                  </a:cubicBezTo>
                  <a:cubicBezTo>
                    <a:pt x="1117605" y="1611307"/>
                    <a:pt x="951616" y="1599369"/>
                    <a:pt x="784738" y="1536377"/>
                  </a:cubicBezTo>
                  <a:cubicBezTo>
                    <a:pt x="616463" y="1473004"/>
                    <a:pt x="453776" y="1375595"/>
                    <a:pt x="334904" y="1238943"/>
                  </a:cubicBezTo>
                  <a:cubicBezTo>
                    <a:pt x="207269" y="1092385"/>
                    <a:pt x="129672" y="891471"/>
                    <a:pt x="81031" y="705797"/>
                  </a:cubicBezTo>
                  <a:cubicBezTo>
                    <a:pt x="21722" y="479356"/>
                    <a:pt x="5720" y="232976"/>
                    <a:pt x="50297" y="2725"/>
                  </a:cubicBezTo>
                  <a:cubicBezTo>
                    <a:pt x="50805" y="-69"/>
                    <a:pt x="46868" y="-1085"/>
                    <a:pt x="46360" y="1455"/>
                  </a:cubicBezTo>
                </a:path>
              </a:pathLst>
            </a:custGeom>
            <a:solidFill>
              <a:srgbClr val="B5D385"/>
            </a:solidFill>
            <a:ln w="12689" cap="flat">
              <a:noFill/>
              <a:prstDash val="solid"/>
              <a:miter/>
            </a:ln>
          </p:spPr>
          <p:txBody>
            <a:bodyPr rtlCol="0" anchor="ctr"/>
            <a:lstStyle/>
            <a:p>
              <a:endParaRPr lang="bg-BG"/>
            </a:p>
          </p:txBody>
        </p:sp>
        <p:sp>
          <p:nvSpPr>
            <p:cNvPr id="40" name="Свободна форма: фигура 17">
              <a:extLst>
                <a:ext uri="{FF2B5EF4-FFF2-40B4-BE49-F238E27FC236}">
                  <a16:creationId xmlns:a16="http://schemas.microsoft.com/office/drawing/2014/main" id="{9F6F68F7-4F0B-5983-EA2A-72727855002A}"/>
                </a:ext>
              </a:extLst>
            </p:cNvPr>
            <p:cNvSpPr/>
            <p:nvPr/>
          </p:nvSpPr>
          <p:spPr>
            <a:xfrm>
              <a:off x="2489350" y="671867"/>
              <a:ext cx="685800" cy="749300"/>
            </a:xfrm>
            <a:custGeom>
              <a:avLst/>
              <a:gdLst>
                <a:gd name="connsiteX0" fmla="*/ 6454 w 685800"/>
                <a:gd name="connsiteY0" fmla="*/ 24855 h 749300"/>
                <a:gd name="connsiteX1" fmla="*/ 673839 w 685800"/>
                <a:gd name="connsiteY1" fmla="*/ 745453 h 749300"/>
                <a:gd name="connsiteX2" fmla="*/ 692508 w 685800"/>
                <a:gd name="connsiteY2" fmla="*/ 737579 h 749300"/>
                <a:gd name="connsiteX3" fmla="*/ 16614 w 685800"/>
                <a:gd name="connsiteY3" fmla="*/ 852 h 749300"/>
                <a:gd name="connsiteX4" fmla="*/ 6454 w 685800"/>
                <a:gd name="connsiteY4" fmla="*/ 24855 h 749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 h="749300">
                  <a:moveTo>
                    <a:pt x="6454" y="24855"/>
                  </a:moveTo>
                  <a:cubicBezTo>
                    <a:pt x="324208" y="165571"/>
                    <a:pt x="536806" y="434176"/>
                    <a:pt x="673839" y="745453"/>
                  </a:cubicBezTo>
                  <a:cubicBezTo>
                    <a:pt x="678665" y="756375"/>
                    <a:pt x="694921" y="748374"/>
                    <a:pt x="692508" y="737579"/>
                  </a:cubicBezTo>
                  <a:cubicBezTo>
                    <a:pt x="615673" y="406871"/>
                    <a:pt x="321668" y="123788"/>
                    <a:pt x="16614" y="852"/>
                  </a:cubicBezTo>
                  <a:cubicBezTo>
                    <a:pt x="2898" y="-4736"/>
                    <a:pt x="-7135" y="18759"/>
                    <a:pt x="6454" y="24855"/>
                  </a:cubicBezTo>
                </a:path>
              </a:pathLst>
            </a:custGeom>
            <a:solidFill>
              <a:srgbClr val="B5D385"/>
            </a:solidFill>
            <a:ln w="12689" cap="flat">
              <a:noFill/>
              <a:prstDash val="solid"/>
              <a:miter/>
            </a:ln>
          </p:spPr>
          <p:txBody>
            <a:bodyPr rtlCol="0" anchor="ctr"/>
            <a:lstStyle/>
            <a:p>
              <a:endParaRPr lang="bg-BG"/>
            </a:p>
          </p:txBody>
        </p:sp>
        <p:sp>
          <p:nvSpPr>
            <p:cNvPr id="41" name="Свободна форма: фигура 19">
              <a:extLst>
                <a:ext uri="{FF2B5EF4-FFF2-40B4-BE49-F238E27FC236}">
                  <a16:creationId xmlns:a16="http://schemas.microsoft.com/office/drawing/2014/main" id="{9F72082B-63BE-2C5D-627E-6AE40CE91270}"/>
                </a:ext>
              </a:extLst>
            </p:cNvPr>
            <p:cNvSpPr/>
            <p:nvPr/>
          </p:nvSpPr>
          <p:spPr>
            <a:xfrm>
              <a:off x="641301" y="982061"/>
              <a:ext cx="254000" cy="368300"/>
            </a:xfrm>
            <a:custGeom>
              <a:avLst/>
              <a:gdLst>
                <a:gd name="connsiteX0" fmla="*/ 21004 w 254000"/>
                <a:gd name="connsiteY0" fmla="*/ 366298 h 368300"/>
                <a:gd name="connsiteX1" fmla="*/ 260399 w 254000"/>
                <a:gd name="connsiteY1" fmla="*/ 11587 h 368300"/>
                <a:gd name="connsiteX2" fmla="*/ 252271 w 254000"/>
                <a:gd name="connsiteY2" fmla="*/ 1046 h 368300"/>
                <a:gd name="connsiteX3" fmla="*/ 430 w 254000"/>
                <a:gd name="connsiteY3" fmla="*/ 360583 h 368300"/>
                <a:gd name="connsiteX4" fmla="*/ 21004 w 254000"/>
                <a:gd name="connsiteY4" fmla="*/ 366298 h 36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000" h="368300">
                  <a:moveTo>
                    <a:pt x="21004" y="366298"/>
                  </a:moveTo>
                  <a:cubicBezTo>
                    <a:pt x="71677" y="226852"/>
                    <a:pt x="155497" y="114584"/>
                    <a:pt x="260399" y="11587"/>
                  </a:cubicBezTo>
                  <a:cubicBezTo>
                    <a:pt x="265733" y="6253"/>
                    <a:pt x="258748" y="-3145"/>
                    <a:pt x="252271" y="1046"/>
                  </a:cubicBezTo>
                  <a:cubicBezTo>
                    <a:pt x="123874" y="82199"/>
                    <a:pt x="38530" y="215676"/>
                    <a:pt x="430" y="360583"/>
                  </a:cubicBezTo>
                  <a:cubicBezTo>
                    <a:pt x="-3126" y="374045"/>
                    <a:pt x="16432" y="379125"/>
                    <a:pt x="21004" y="366298"/>
                  </a:cubicBezTo>
                </a:path>
              </a:pathLst>
            </a:custGeom>
            <a:solidFill>
              <a:srgbClr val="B5D385"/>
            </a:solidFill>
            <a:ln w="12689" cap="flat">
              <a:noFill/>
              <a:prstDash val="solid"/>
              <a:miter/>
            </a:ln>
          </p:spPr>
          <p:txBody>
            <a:bodyPr rtlCol="0" anchor="ctr"/>
            <a:lstStyle/>
            <a:p>
              <a:endParaRPr lang="bg-BG"/>
            </a:p>
          </p:txBody>
        </p:sp>
        <p:sp>
          <p:nvSpPr>
            <p:cNvPr id="42" name="Свободна форма: фигура 20">
              <a:extLst>
                <a:ext uri="{FF2B5EF4-FFF2-40B4-BE49-F238E27FC236}">
                  <a16:creationId xmlns:a16="http://schemas.microsoft.com/office/drawing/2014/main" id="{DEBAAFAC-C565-46AE-7382-6E219F62C9D9}"/>
                </a:ext>
              </a:extLst>
            </p:cNvPr>
            <p:cNvSpPr/>
            <p:nvPr/>
          </p:nvSpPr>
          <p:spPr>
            <a:xfrm>
              <a:off x="2257997" y="2005855"/>
              <a:ext cx="977900" cy="1066800"/>
            </a:xfrm>
            <a:custGeom>
              <a:avLst/>
              <a:gdLst>
                <a:gd name="connsiteX0" fmla="*/ 965898 w 977900"/>
                <a:gd name="connsiteY0" fmla="*/ 4555 h 1066800"/>
                <a:gd name="connsiteX1" fmla="*/ 603059 w 977900"/>
                <a:gd name="connsiteY1" fmla="*/ 633967 h 1066800"/>
                <a:gd name="connsiteX2" fmla="*/ 9461 w 977900"/>
                <a:gd name="connsiteY2" fmla="*/ 1052686 h 1066800"/>
                <a:gd name="connsiteX3" fmla="*/ 13017 w 977900"/>
                <a:gd name="connsiteY3" fmla="*/ 1078848 h 1066800"/>
                <a:gd name="connsiteX4" fmla="*/ 344233 w 977900"/>
                <a:gd name="connsiteY4" fmla="*/ 921241 h 1066800"/>
                <a:gd name="connsiteX5" fmla="*/ 626427 w 977900"/>
                <a:gd name="connsiteY5" fmla="*/ 676512 h 1066800"/>
                <a:gd name="connsiteX6" fmla="*/ 846772 w 977900"/>
                <a:gd name="connsiteY6" fmla="*/ 372474 h 1066800"/>
                <a:gd name="connsiteX7" fmla="*/ 978725 w 977900"/>
                <a:gd name="connsiteY7" fmla="*/ 7984 h 1066800"/>
                <a:gd name="connsiteX8" fmla="*/ 965898 w 977900"/>
                <a:gd name="connsiteY8" fmla="*/ 4555 h 106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7900" h="1066800">
                  <a:moveTo>
                    <a:pt x="965898" y="4555"/>
                  </a:moveTo>
                  <a:cubicBezTo>
                    <a:pt x="876871" y="229980"/>
                    <a:pt x="756602" y="445753"/>
                    <a:pt x="603059" y="633967"/>
                  </a:cubicBezTo>
                  <a:cubicBezTo>
                    <a:pt x="454469" y="816085"/>
                    <a:pt x="244665" y="1004045"/>
                    <a:pt x="9461" y="1052686"/>
                  </a:cubicBezTo>
                  <a:cubicBezTo>
                    <a:pt x="-5144" y="1055734"/>
                    <a:pt x="-1969" y="1079737"/>
                    <a:pt x="13017" y="1078848"/>
                  </a:cubicBezTo>
                  <a:cubicBezTo>
                    <a:pt x="135699" y="1071482"/>
                    <a:pt x="247332" y="990329"/>
                    <a:pt x="344233" y="921241"/>
                  </a:cubicBezTo>
                  <a:cubicBezTo>
                    <a:pt x="447230" y="847708"/>
                    <a:pt x="540067" y="769984"/>
                    <a:pt x="626427" y="676512"/>
                  </a:cubicBezTo>
                  <a:cubicBezTo>
                    <a:pt x="715835" y="579611"/>
                    <a:pt x="787590" y="491600"/>
                    <a:pt x="846772" y="372474"/>
                  </a:cubicBezTo>
                  <a:cubicBezTo>
                    <a:pt x="904430" y="256269"/>
                    <a:pt x="952690" y="135365"/>
                    <a:pt x="978725" y="7984"/>
                  </a:cubicBezTo>
                  <a:cubicBezTo>
                    <a:pt x="980249" y="-398"/>
                    <a:pt x="968946" y="-3192"/>
                    <a:pt x="965898" y="4555"/>
                  </a:cubicBezTo>
                </a:path>
              </a:pathLst>
            </a:custGeom>
            <a:solidFill>
              <a:srgbClr val="B5D385"/>
            </a:solidFill>
            <a:ln w="12689" cap="flat">
              <a:noFill/>
              <a:prstDash val="solid"/>
              <a:miter/>
            </a:ln>
          </p:spPr>
          <p:txBody>
            <a:bodyPr rtlCol="0" anchor="ctr"/>
            <a:lstStyle/>
            <a:p>
              <a:endParaRPr lang="bg-BG"/>
            </a:p>
          </p:txBody>
        </p:sp>
        <p:sp>
          <p:nvSpPr>
            <p:cNvPr id="43" name="Свободна форма: фигура 21">
              <a:extLst>
                <a:ext uri="{FF2B5EF4-FFF2-40B4-BE49-F238E27FC236}">
                  <a16:creationId xmlns:a16="http://schemas.microsoft.com/office/drawing/2014/main" id="{C3F7BE0D-12A4-B6A1-C2D4-00F83F207F80}"/>
                </a:ext>
              </a:extLst>
            </p:cNvPr>
            <p:cNvSpPr/>
            <p:nvPr/>
          </p:nvSpPr>
          <p:spPr>
            <a:xfrm>
              <a:off x="1103626" y="657128"/>
              <a:ext cx="215900" cy="139700"/>
            </a:xfrm>
            <a:custGeom>
              <a:avLst/>
              <a:gdLst>
                <a:gd name="connsiteX0" fmla="*/ 28706 w 215900"/>
                <a:gd name="connsiteY0" fmla="*/ 144369 h 139700"/>
                <a:gd name="connsiteX1" fmla="*/ 125988 w 215900"/>
                <a:gd name="connsiteY1" fmla="*/ 69439 h 139700"/>
                <a:gd name="connsiteX2" fmla="*/ 218063 w 215900"/>
                <a:gd name="connsiteY2" fmla="*/ 20671 h 139700"/>
                <a:gd name="connsiteX3" fmla="*/ 212475 w 215900"/>
                <a:gd name="connsiteY3" fmla="*/ 97 h 139700"/>
                <a:gd name="connsiteX4" fmla="*/ 5211 w 215900"/>
                <a:gd name="connsiteY4" fmla="*/ 121001 h 139700"/>
                <a:gd name="connsiteX5" fmla="*/ 28706 w 215900"/>
                <a:gd name="connsiteY5" fmla="*/ 144369 h 13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5900" h="139700">
                  <a:moveTo>
                    <a:pt x="28706" y="144369"/>
                  </a:moveTo>
                  <a:cubicBezTo>
                    <a:pt x="59059" y="116556"/>
                    <a:pt x="90809" y="90775"/>
                    <a:pt x="125988" y="69439"/>
                  </a:cubicBezTo>
                  <a:cubicBezTo>
                    <a:pt x="155706" y="51532"/>
                    <a:pt x="188599" y="38832"/>
                    <a:pt x="218063" y="20671"/>
                  </a:cubicBezTo>
                  <a:cubicBezTo>
                    <a:pt x="226572" y="15464"/>
                    <a:pt x="224032" y="-1427"/>
                    <a:pt x="212475" y="97"/>
                  </a:cubicBezTo>
                  <a:cubicBezTo>
                    <a:pt x="133100" y="10257"/>
                    <a:pt x="62107" y="68677"/>
                    <a:pt x="5211" y="121001"/>
                  </a:cubicBezTo>
                  <a:cubicBezTo>
                    <a:pt x="-10537" y="135352"/>
                    <a:pt x="12958" y="158847"/>
                    <a:pt x="28706" y="144369"/>
                  </a:cubicBezTo>
                </a:path>
              </a:pathLst>
            </a:custGeom>
            <a:solidFill>
              <a:srgbClr val="B5D385"/>
            </a:solidFill>
            <a:ln w="12689" cap="flat">
              <a:noFill/>
              <a:prstDash val="solid"/>
              <a:miter/>
            </a:ln>
          </p:spPr>
          <p:txBody>
            <a:bodyPr rtlCol="0" anchor="ctr"/>
            <a:lstStyle/>
            <a:p>
              <a:endParaRPr lang="bg-BG"/>
            </a:p>
          </p:txBody>
        </p:sp>
        <p:sp>
          <p:nvSpPr>
            <p:cNvPr id="44" name="Свободна форма: фигура 23">
              <a:extLst>
                <a:ext uri="{FF2B5EF4-FFF2-40B4-BE49-F238E27FC236}">
                  <a16:creationId xmlns:a16="http://schemas.microsoft.com/office/drawing/2014/main" id="{4DD3DC03-7316-EA02-E257-5E65D887AAEB}"/>
                </a:ext>
              </a:extLst>
            </p:cNvPr>
            <p:cNvSpPr/>
            <p:nvPr/>
          </p:nvSpPr>
          <p:spPr>
            <a:xfrm>
              <a:off x="1362964" y="907161"/>
              <a:ext cx="25400" cy="25400"/>
            </a:xfrm>
            <a:custGeom>
              <a:avLst/>
              <a:gdLst>
                <a:gd name="connsiteX0" fmla="*/ 33655 w 25400"/>
                <a:gd name="connsiteY0" fmla="*/ 15748 h 25400"/>
                <a:gd name="connsiteX1" fmla="*/ 0 w 25400"/>
                <a:gd name="connsiteY1" fmla="*/ 20447 h 25400"/>
                <a:gd name="connsiteX2" fmla="*/ 17907 w 25400"/>
                <a:gd name="connsiteY2" fmla="*/ 0 h 25400"/>
                <a:gd name="connsiteX3" fmla="*/ 33655 w 25400"/>
                <a:gd name="connsiteY3" fmla="*/ 15748 h 25400"/>
              </a:gdLst>
              <a:ahLst/>
              <a:cxnLst>
                <a:cxn ang="0">
                  <a:pos x="connsiteX0" y="connsiteY0"/>
                </a:cxn>
                <a:cxn ang="0">
                  <a:pos x="connsiteX1" y="connsiteY1"/>
                </a:cxn>
                <a:cxn ang="0">
                  <a:pos x="connsiteX2" y="connsiteY2"/>
                </a:cxn>
                <a:cxn ang="0">
                  <a:pos x="connsiteX3" y="connsiteY3"/>
                </a:cxn>
              </a:cxnLst>
              <a:rect l="l" t="t" r="r" b="b"/>
              <a:pathLst>
                <a:path w="25400" h="25400">
                  <a:moveTo>
                    <a:pt x="33655" y="15748"/>
                  </a:moveTo>
                  <a:cubicBezTo>
                    <a:pt x="22352" y="42799"/>
                    <a:pt x="11176" y="31623"/>
                    <a:pt x="0" y="20447"/>
                  </a:cubicBezTo>
                  <a:cubicBezTo>
                    <a:pt x="11176" y="9271"/>
                    <a:pt x="11176" y="9271"/>
                    <a:pt x="17907" y="0"/>
                  </a:cubicBezTo>
                  <a:cubicBezTo>
                    <a:pt x="26543" y="0"/>
                    <a:pt x="33655" y="7112"/>
                    <a:pt x="33655" y="15748"/>
                  </a:cubicBezTo>
                </a:path>
              </a:pathLst>
            </a:custGeom>
            <a:solidFill>
              <a:srgbClr val="5DB723"/>
            </a:solidFill>
            <a:ln w="12689" cap="flat">
              <a:noFill/>
              <a:prstDash val="solid"/>
              <a:miter/>
            </a:ln>
          </p:spPr>
          <p:txBody>
            <a:bodyPr rtlCol="0" anchor="ctr"/>
            <a:lstStyle/>
            <a:p>
              <a:endParaRPr lang="bg-BG"/>
            </a:p>
          </p:txBody>
        </p:sp>
        <p:sp>
          <p:nvSpPr>
            <p:cNvPr id="45" name="Свободна форма: фигура 24">
              <a:extLst>
                <a:ext uri="{FF2B5EF4-FFF2-40B4-BE49-F238E27FC236}">
                  <a16:creationId xmlns:a16="http://schemas.microsoft.com/office/drawing/2014/main" id="{81D44499-6569-F412-7347-8635BBF12605}"/>
                </a:ext>
              </a:extLst>
            </p:cNvPr>
            <p:cNvSpPr/>
            <p:nvPr/>
          </p:nvSpPr>
          <p:spPr>
            <a:xfrm>
              <a:off x="1396492" y="1063687"/>
              <a:ext cx="25400" cy="25400"/>
            </a:xfrm>
            <a:custGeom>
              <a:avLst/>
              <a:gdLst>
                <a:gd name="connsiteX0" fmla="*/ 32385 w 25400"/>
                <a:gd name="connsiteY0" fmla="*/ 21782 h 25400"/>
                <a:gd name="connsiteX1" fmla="*/ 0 w 25400"/>
                <a:gd name="connsiteY1" fmla="*/ 9590 h 25400"/>
                <a:gd name="connsiteX2" fmla="*/ 26416 w 25400"/>
                <a:gd name="connsiteY2" fmla="*/ 192 h 25400"/>
                <a:gd name="connsiteX3" fmla="*/ 32385 w 25400"/>
                <a:gd name="connsiteY3" fmla="*/ 21782 h 25400"/>
              </a:gdLst>
              <a:ahLst/>
              <a:cxnLst>
                <a:cxn ang="0">
                  <a:pos x="connsiteX0" y="connsiteY0"/>
                </a:cxn>
                <a:cxn ang="0">
                  <a:pos x="connsiteX1" y="connsiteY1"/>
                </a:cxn>
                <a:cxn ang="0">
                  <a:pos x="connsiteX2" y="connsiteY2"/>
                </a:cxn>
                <a:cxn ang="0">
                  <a:pos x="connsiteX3" y="connsiteY3"/>
                </a:cxn>
              </a:cxnLst>
              <a:rect l="l" t="t" r="r" b="b"/>
              <a:pathLst>
                <a:path w="25400" h="25400">
                  <a:moveTo>
                    <a:pt x="32385" y="21782"/>
                  </a:moveTo>
                  <a:cubicBezTo>
                    <a:pt x="11176" y="43118"/>
                    <a:pt x="0" y="31942"/>
                    <a:pt x="0" y="9590"/>
                  </a:cubicBezTo>
                  <a:cubicBezTo>
                    <a:pt x="0" y="9590"/>
                    <a:pt x="11176" y="-1586"/>
                    <a:pt x="26416" y="192"/>
                  </a:cubicBezTo>
                  <a:cubicBezTo>
                    <a:pt x="34036" y="4383"/>
                    <a:pt x="36703" y="14162"/>
                    <a:pt x="32385" y="21782"/>
                  </a:cubicBezTo>
                </a:path>
              </a:pathLst>
            </a:custGeom>
            <a:solidFill>
              <a:srgbClr val="5DB723"/>
            </a:solidFill>
            <a:ln w="12689" cap="flat">
              <a:noFill/>
              <a:prstDash val="solid"/>
              <a:miter/>
            </a:ln>
          </p:spPr>
          <p:txBody>
            <a:bodyPr rtlCol="0" anchor="ctr"/>
            <a:lstStyle/>
            <a:p>
              <a:endParaRPr lang="bg-BG"/>
            </a:p>
          </p:txBody>
        </p:sp>
        <p:sp>
          <p:nvSpPr>
            <p:cNvPr id="46" name="Свободна форма: фигура 25">
              <a:extLst>
                <a:ext uri="{FF2B5EF4-FFF2-40B4-BE49-F238E27FC236}">
                  <a16:creationId xmlns:a16="http://schemas.microsoft.com/office/drawing/2014/main" id="{2B142C3F-1649-A313-1FDD-A510D2109931}"/>
                </a:ext>
              </a:extLst>
            </p:cNvPr>
            <p:cNvSpPr/>
            <p:nvPr/>
          </p:nvSpPr>
          <p:spPr>
            <a:xfrm>
              <a:off x="1497330" y="1203960"/>
              <a:ext cx="25400" cy="25400"/>
            </a:xfrm>
            <a:custGeom>
              <a:avLst/>
              <a:gdLst>
                <a:gd name="connsiteX0" fmla="*/ 31496 w 25400"/>
                <a:gd name="connsiteY0" fmla="*/ 21717 h 25400"/>
                <a:gd name="connsiteX1" fmla="*/ 0 w 25400"/>
                <a:gd name="connsiteY1" fmla="*/ 3556 h 25400"/>
                <a:gd name="connsiteX2" fmla="*/ 25527 w 25400"/>
                <a:gd name="connsiteY2" fmla="*/ 0 h 25400"/>
                <a:gd name="connsiteX3" fmla="*/ 31496 w 25400"/>
                <a:gd name="connsiteY3" fmla="*/ 21717 h 25400"/>
              </a:gdLst>
              <a:ahLst/>
              <a:cxnLst>
                <a:cxn ang="0">
                  <a:pos x="connsiteX0" y="connsiteY0"/>
                </a:cxn>
                <a:cxn ang="0">
                  <a:pos x="connsiteX1" y="connsiteY1"/>
                </a:cxn>
                <a:cxn ang="0">
                  <a:pos x="connsiteX2" y="connsiteY2"/>
                </a:cxn>
                <a:cxn ang="0">
                  <a:pos x="connsiteX3" y="connsiteY3"/>
                </a:cxn>
              </a:cxnLst>
              <a:rect l="l" t="t" r="r" b="b"/>
              <a:pathLst>
                <a:path w="25400" h="25400">
                  <a:moveTo>
                    <a:pt x="31496" y="21717"/>
                  </a:moveTo>
                  <a:cubicBezTo>
                    <a:pt x="11176" y="37084"/>
                    <a:pt x="0" y="25908"/>
                    <a:pt x="0" y="3556"/>
                  </a:cubicBezTo>
                  <a:cubicBezTo>
                    <a:pt x="11176" y="3556"/>
                    <a:pt x="11176" y="3556"/>
                    <a:pt x="25527" y="0"/>
                  </a:cubicBezTo>
                  <a:cubicBezTo>
                    <a:pt x="33147" y="4445"/>
                    <a:pt x="35814" y="14224"/>
                    <a:pt x="31496" y="21717"/>
                  </a:cubicBezTo>
                </a:path>
              </a:pathLst>
            </a:custGeom>
            <a:solidFill>
              <a:srgbClr val="5DB723"/>
            </a:solidFill>
            <a:ln w="12689" cap="flat">
              <a:noFill/>
              <a:prstDash val="solid"/>
              <a:miter/>
            </a:ln>
          </p:spPr>
          <p:txBody>
            <a:bodyPr rtlCol="0" anchor="ctr"/>
            <a:lstStyle/>
            <a:p>
              <a:endParaRPr lang="bg-BG"/>
            </a:p>
          </p:txBody>
        </p:sp>
        <p:sp>
          <p:nvSpPr>
            <p:cNvPr id="47" name="Свободна форма: фигура 26">
              <a:extLst>
                <a:ext uri="{FF2B5EF4-FFF2-40B4-BE49-F238E27FC236}">
                  <a16:creationId xmlns:a16="http://schemas.microsoft.com/office/drawing/2014/main" id="{BB335A08-3B53-7D21-99A5-B68056764635}"/>
                </a:ext>
              </a:extLst>
            </p:cNvPr>
            <p:cNvSpPr/>
            <p:nvPr/>
          </p:nvSpPr>
          <p:spPr>
            <a:xfrm>
              <a:off x="2136140" y="1159590"/>
              <a:ext cx="215900" cy="165100"/>
            </a:xfrm>
            <a:custGeom>
              <a:avLst/>
              <a:gdLst>
                <a:gd name="connsiteX0" fmla="*/ 0 w 215900"/>
                <a:gd name="connsiteY0" fmla="*/ 173402 h 165100"/>
                <a:gd name="connsiteX1" fmla="*/ 209550 w 215900"/>
                <a:gd name="connsiteY1" fmla="*/ 41957 h 165100"/>
                <a:gd name="connsiteX2" fmla="*/ 129794 w 215900"/>
                <a:gd name="connsiteY2" fmla="*/ 77263 h 165100"/>
                <a:gd name="connsiteX3" fmla="*/ 0 w 215900"/>
                <a:gd name="connsiteY3" fmla="*/ 173402 h 165100"/>
              </a:gdLst>
              <a:ahLst/>
              <a:cxnLst>
                <a:cxn ang="0">
                  <a:pos x="connsiteX0" y="connsiteY0"/>
                </a:cxn>
                <a:cxn ang="0">
                  <a:pos x="connsiteX1" y="connsiteY1"/>
                </a:cxn>
                <a:cxn ang="0">
                  <a:pos x="connsiteX2" y="connsiteY2"/>
                </a:cxn>
                <a:cxn ang="0">
                  <a:pos x="connsiteX3" y="connsiteY3"/>
                </a:cxn>
              </a:cxnLst>
              <a:rect l="l" t="t" r="r" b="b"/>
              <a:pathLst>
                <a:path w="215900" h="165100">
                  <a:moveTo>
                    <a:pt x="0" y="173402"/>
                  </a:moveTo>
                  <a:cubicBezTo>
                    <a:pt x="0" y="173402"/>
                    <a:pt x="182372" y="133778"/>
                    <a:pt x="209550" y="41957"/>
                  </a:cubicBezTo>
                  <a:cubicBezTo>
                    <a:pt x="236855" y="-49864"/>
                    <a:pt x="172593" y="30908"/>
                    <a:pt x="129794" y="77263"/>
                  </a:cubicBezTo>
                  <a:cubicBezTo>
                    <a:pt x="87122" y="123618"/>
                    <a:pt x="0" y="173402"/>
                    <a:pt x="0" y="173402"/>
                  </a:cubicBezTo>
                </a:path>
              </a:pathLst>
            </a:custGeom>
            <a:solidFill>
              <a:srgbClr val="5DB723"/>
            </a:solidFill>
            <a:ln w="12689" cap="flat">
              <a:noFill/>
              <a:prstDash val="solid"/>
              <a:miter/>
            </a:ln>
          </p:spPr>
          <p:txBody>
            <a:bodyPr rtlCol="0" anchor="ctr"/>
            <a:lstStyle/>
            <a:p>
              <a:endParaRPr lang="bg-BG"/>
            </a:p>
          </p:txBody>
        </p:sp>
        <p:sp>
          <p:nvSpPr>
            <p:cNvPr id="48" name="Свободна форма: фигура 27">
              <a:extLst>
                <a:ext uri="{FF2B5EF4-FFF2-40B4-BE49-F238E27FC236}">
                  <a16:creationId xmlns:a16="http://schemas.microsoft.com/office/drawing/2014/main" id="{11A1A586-660E-62CE-47C0-70FBBD17564E}"/>
                </a:ext>
              </a:extLst>
            </p:cNvPr>
            <p:cNvSpPr/>
            <p:nvPr/>
          </p:nvSpPr>
          <p:spPr>
            <a:xfrm>
              <a:off x="1442985" y="476377"/>
              <a:ext cx="114300" cy="88900"/>
            </a:xfrm>
            <a:custGeom>
              <a:avLst/>
              <a:gdLst>
                <a:gd name="connsiteX0" fmla="*/ 114670 w 114300"/>
                <a:gd name="connsiteY0" fmla="*/ 0 h 88900"/>
                <a:gd name="connsiteX1" fmla="*/ 6466 w 114300"/>
                <a:gd name="connsiteY1" fmla="*/ 55626 h 88900"/>
                <a:gd name="connsiteX2" fmla="*/ 62473 w 114300"/>
                <a:gd name="connsiteY2" fmla="*/ 58293 h 88900"/>
                <a:gd name="connsiteX3" fmla="*/ 114670 w 114300"/>
                <a:gd name="connsiteY3" fmla="*/ 0 h 88900"/>
              </a:gdLst>
              <a:ahLst/>
              <a:cxnLst>
                <a:cxn ang="0">
                  <a:pos x="connsiteX0" y="connsiteY0"/>
                </a:cxn>
                <a:cxn ang="0">
                  <a:pos x="connsiteX1" y="connsiteY1"/>
                </a:cxn>
                <a:cxn ang="0">
                  <a:pos x="connsiteX2" y="connsiteY2"/>
                </a:cxn>
                <a:cxn ang="0">
                  <a:pos x="connsiteX3" y="connsiteY3"/>
                </a:cxn>
              </a:cxnLst>
              <a:rect l="l" t="t" r="r" b="b"/>
              <a:pathLst>
                <a:path w="114300" h="88900">
                  <a:moveTo>
                    <a:pt x="114670" y="0"/>
                  </a:moveTo>
                  <a:cubicBezTo>
                    <a:pt x="114670" y="0"/>
                    <a:pt x="28564" y="12065"/>
                    <a:pt x="6466" y="55626"/>
                  </a:cubicBezTo>
                  <a:cubicBezTo>
                    <a:pt x="-15632" y="99187"/>
                    <a:pt x="22849" y="104775"/>
                    <a:pt x="62473" y="58293"/>
                  </a:cubicBezTo>
                  <a:cubicBezTo>
                    <a:pt x="101970" y="11557"/>
                    <a:pt x="114670" y="0"/>
                    <a:pt x="114670" y="0"/>
                  </a:cubicBezTo>
                </a:path>
              </a:pathLst>
            </a:custGeom>
            <a:solidFill>
              <a:srgbClr val="83CC1B"/>
            </a:solidFill>
            <a:ln w="12689" cap="flat">
              <a:noFill/>
              <a:prstDash val="solid"/>
              <a:miter/>
            </a:ln>
          </p:spPr>
          <p:txBody>
            <a:bodyPr rtlCol="0" anchor="ctr"/>
            <a:lstStyle/>
            <a:p>
              <a:endParaRPr lang="bg-BG"/>
            </a:p>
          </p:txBody>
        </p:sp>
      </p:grpSp>
      <p:sp>
        <p:nvSpPr>
          <p:cNvPr id="4" name="object 3">
            <a:extLst>
              <a:ext uri="{FF2B5EF4-FFF2-40B4-BE49-F238E27FC236}">
                <a16:creationId xmlns:a16="http://schemas.microsoft.com/office/drawing/2014/main" id="{447E4D88-761A-CF30-99B8-4699A11B9155}"/>
              </a:ext>
            </a:extLst>
          </p:cNvPr>
          <p:cNvSpPr txBox="1"/>
          <p:nvPr/>
        </p:nvSpPr>
        <p:spPr>
          <a:xfrm>
            <a:off x="946021" y="3739406"/>
            <a:ext cx="2214950" cy="1329210"/>
          </a:xfrm>
          <a:prstGeom prst="rect">
            <a:avLst/>
          </a:prstGeom>
        </p:spPr>
        <p:txBody>
          <a:bodyPr vert="horz" wrap="square" lIns="0" tIns="12700" rIns="0" bIns="0" rtlCol="0">
            <a:spAutoFit/>
          </a:bodyPr>
          <a:lstStyle/>
          <a:p>
            <a:pPr marL="452755" marR="160655" indent="-285750">
              <a:lnSpc>
                <a:spcPct val="118600"/>
              </a:lnSpc>
              <a:spcBef>
                <a:spcPts val="100"/>
              </a:spcBef>
              <a:buFont typeface="Arial" panose="020B0604020202020204" pitchFamily="34" charset="0"/>
              <a:buChar char="•"/>
            </a:pPr>
            <a:r>
              <a:rPr lang="en-US" sz="1400" dirty="0">
                <a:latin typeface="+mj-lt"/>
                <a:cs typeface="Arial"/>
              </a:rPr>
              <a:t>ANC Register.</a:t>
            </a:r>
          </a:p>
          <a:p>
            <a:pPr marL="452755" marR="160655" indent="-285750">
              <a:lnSpc>
                <a:spcPct val="118600"/>
              </a:lnSpc>
              <a:spcBef>
                <a:spcPts val="100"/>
              </a:spcBef>
              <a:buFont typeface="Arial" panose="020B0604020202020204" pitchFamily="34" charset="0"/>
              <a:buChar char="•"/>
            </a:pPr>
            <a:r>
              <a:rPr lang="en-US" sz="1400" dirty="0">
                <a:latin typeface="+mj-lt"/>
                <a:cs typeface="Arial"/>
              </a:rPr>
              <a:t>PMTCT </a:t>
            </a:r>
            <a:r>
              <a:rPr lang="en-US" sz="1400" dirty="0" err="1">
                <a:latin typeface="+mj-lt"/>
                <a:cs typeface="Arial"/>
              </a:rPr>
              <a:t>HTS_Register</a:t>
            </a:r>
            <a:endParaRPr lang="en-US" sz="1400" dirty="0">
              <a:latin typeface="+mj-lt"/>
              <a:cs typeface="Arial"/>
            </a:endParaRPr>
          </a:p>
          <a:p>
            <a:pPr marL="452755" marR="160655" indent="-285750">
              <a:lnSpc>
                <a:spcPct val="118600"/>
              </a:lnSpc>
              <a:spcBef>
                <a:spcPts val="100"/>
              </a:spcBef>
              <a:buFont typeface="Arial" panose="020B0604020202020204" pitchFamily="34" charset="0"/>
              <a:buChar char="•"/>
            </a:pPr>
            <a:r>
              <a:rPr lang="en-US" sz="1400" dirty="0">
                <a:latin typeface="+mj-lt"/>
                <a:cs typeface="Arial"/>
              </a:rPr>
              <a:t>Reported Quarterly.</a:t>
            </a:r>
          </a:p>
          <a:p>
            <a:pPr marL="452755" marR="160655" indent="-285750" algn="ctr">
              <a:lnSpc>
                <a:spcPct val="118600"/>
              </a:lnSpc>
              <a:spcBef>
                <a:spcPts val="100"/>
              </a:spcBef>
              <a:buFont typeface="Arial" panose="020B0604020202020204" pitchFamily="34" charset="0"/>
              <a:buChar char="•"/>
            </a:pPr>
            <a:endParaRPr lang="en-US" sz="1400" dirty="0">
              <a:latin typeface="+mj-lt"/>
              <a:cs typeface="Arial"/>
            </a:endParaRPr>
          </a:p>
          <a:p>
            <a:pPr marL="167005" marR="160655" algn="ctr">
              <a:lnSpc>
                <a:spcPct val="118600"/>
              </a:lnSpc>
              <a:spcBef>
                <a:spcPts val="100"/>
              </a:spcBef>
            </a:pPr>
            <a:endParaRPr sz="1400" dirty="0">
              <a:latin typeface="+mj-lt"/>
              <a:cs typeface="Arial"/>
            </a:endParaRPr>
          </a:p>
        </p:txBody>
      </p:sp>
      <p:sp>
        <p:nvSpPr>
          <p:cNvPr id="66" name="object 3">
            <a:extLst>
              <a:ext uri="{FF2B5EF4-FFF2-40B4-BE49-F238E27FC236}">
                <a16:creationId xmlns:a16="http://schemas.microsoft.com/office/drawing/2014/main" id="{6AD237E3-4261-FDB5-251F-3E41385BE1E1}"/>
              </a:ext>
            </a:extLst>
          </p:cNvPr>
          <p:cNvSpPr txBox="1"/>
          <p:nvPr/>
        </p:nvSpPr>
        <p:spPr>
          <a:xfrm>
            <a:off x="1266731" y="2109338"/>
            <a:ext cx="1494241" cy="579774"/>
          </a:xfrm>
          <a:prstGeom prst="rect">
            <a:avLst/>
          </a:prstGeom>
        </p:spPr>
        <p:txBody>
          <a:bodyPr vert="horz" wrap="square" lIns="0" tIns="12700" rIns="0" bIns="0" rtlCol="0">
            <a:spAutoFit/>
          </a:bodyPr>
          <a:lstStyle/>
          <a:p>
            <a:pPr marL="167005" marR="160655" algn="ctr">
              <a:lnSpc>
                <a:spcPct val="118600"/>
              </a:lnSpc>
              <a:spcBef>
                <a:spcPts val="100"/>
              </a:spcBef>
            </a:pPr>
            <a:r>
              <a:rPr lang="en-US" sz="1600" b="1" dirty="0">
                <a:latin typeface="+mj-lt"/>
                <a:cs typeface="Arial"/>
              </a:rPr>
              <a:t>Data Source / Reporting</a:t>
            </a:r>
            <a:endParaRPr sz="1600" b="1" dirty="0">
              <a:latin typeface="+mj-lt"/>
              <a:cs typeface="Arial"/>
            </a:endParaRPr>
          </a:p>
        </p:txBody>
      </p:sp>
      <p:grpSp>
        <p:nvGrpSpPr>
          <p:cNvPr id="67" name="Group 66">
            <a:extLst>
              <a:ext uri="{FF2B5EF4-FFF2-40B4-BE49-F238E27FC236}">
                <a16:creationId xmlns:a16="http://schemas.microsoft.com/office/drawing/2014/main" id="{8B709D4C-472F-BB09-74F5-02836FBFA798}"/>
              </a:ext>
            </a:extLst>
          </p:cNvPr>
          <p:cNvGrpSpPr/>
          <p:nvPr/>
        </p:nvGrpSpPr>
        <p:grpSpPr>
          <a:xfrm>
            <a:off x="4325551" y="1781978"/>
            <a:ext cx="3688976" cy="4383048"/>
            <a:chOff x="583687" y="407303"/>
            <a:chExt cx="2652210" cy="2724586"/>
          </a:xfrm>
        </p:grpSpPr>
        <p:sp>
          <p:nvSpPr>
            <p:cNvPr id="68" name="Свободна форма: фигура 11">
              <a:extLst>
                <a:ext uri="{FF2B5EF4-FFF2-40B4-BE49-F238E27FC236}">
                  <a16:creationId xmlns:a16="http://schemas.microsoft.com/office/drawing/2014/main" id="{D294A893-52A7-B840-50A7-8CCD77E64043}"/>
                </a:ext>
              </a:extLst>
            </p:cNvPr>
            <p:cNvSpPr/>
            <p:nvPr/>
          </p:nvSpPr>
          <p:spPr>
            <a:xfrm>
              <a:off x="677366" y="592080"/>
              <a:ext cx="2413000" cy="2413000"/>
            </a:xfrm>
            <a:custGeom>
              <a:avLst/>
              <a:gdLst>
                <a:gd name="connsiteX0" fmla="*/ 2422704 w 2413000"/>
                <a:gd name="connsiteY0" fmla="*/ 1249928 h 2413000"/>
                <a:gd name="connsiteX1" fmla="*/ 1806246 w 2413000"/>
                <a:gd name="connsiteY1" fmla="*/ 2259705 h 2413000"/>
                <a:gd name="connsiteX2" fmla="*/ 1647242 w 2413000"/>
                <a:gd name="connsiteY2" fmla="*/ 2330190 h 2413000"/>
                <a:gd name="connsiteX3" fmla="*/ 250115 w 2413000"/>
                <a:gd name="connsiteY3" fmla="*/ 1945126 h 2413000"/>
                <a:gd name="connsiteX4" fmla="*/ 132767 w 2413000"/>
                <a:gd name="connsiteY4" fmla="*/ 1759452 h 2413000"/>
                <a:gd name="connsiteX5" fmla="*/ 88825 w 2413000"/>
                <a:gd name="connsiteY5" fmla="*/ 705987 h 2413000"/>
                <a:gd name="connsiteX6" fmla="*/ 1371779 w 2413000"/>
                <a:gd name="connsiteY6" fmla="*/ 11551 h 2413000"/>
                <a:gd name="connsiteX7" fmla="*/ 1587425 w 2413000"/>
                <a:gd name="connsiteY7" fmla="*/ 62605 h 2413000"/>
                <a:gd name="connsiteX8" fmla="*/ 2410893 w 2413000"/>
                <a:gd name="connsiteY8" fmla="*/ 1003294 h 2413000"/>
                <a:gd name="connsiteX9" fmla="*/ 2422704 w 2413000"/>
                <a:gd name="connsiteY9" fmla="*/ 1249928 h 241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3000" h="2413000">
                  <a:moveTo>
                    <a:pt x="2422704" y="1249928"/>
                  </a:moveTo>
                  <a:cubicBezTo>
                    <a:pt x="2416354" y="1676648"/>
                    <a:pt x="2163497" y="2066030"/>
                    <a:pt x="1806246" y="2259705"/>
                  </a:cubicBezTo>
                  <a:cubicBezTo>
                    <a:pt x="1755192" y="2287391"/>
                    <a:pt x="1702106" y="2311013"/>
                    <a:pt x="1647242" y="2330190"/>
                  </a:cubicBezTo>
                  <a:cubicBezTo>
                    <a:pt x="1147878" y="2541391"/>
                    <a:pt x="564567" y="2349367"/>
                    <a:pt x="250115" y="1945126"/>
                  </a:cubicBezTo>
                  <a:cubicBezTo>
                    <a:pt x="205157" y="1887341"/>
                    <a:pt x="165787" y="1825365"/>
                    <a:pt x="132767" y="1759452"/>
                  </a:cubicBezTo>
                  <a:cubicBezTo>
                    <a:pt x="1068" y="1430268"/>
                    <a:pt x="-64718" y="1057142"/>
                    <a:pt x="88825" y="705987"/>
                  </a:cubicBezTo>
                  <a:cubicBezTo>
                    <a:pt x="308281" y="223133"/>
                    <a:pt x="835077" y="-62236"/>
                    <a:pt x="1371779" y="11551"/>
                  </a:cubicBezTo>
                  <a:cubicBezTo>
                    <a:pt x="1444931" y="22473"/>
                    <a:pt x="1517194" y="39618"/>
                    <a:pt x="1587425" y="62605"/>
                  </a:cubicBezTo>
                  <a:cubicBezTo>
                    <a:pt x="2008938" y="200527"/>
                    <a:pt x="2360855" y="548380"/>
                    <a:pt x="2410893" y="1003294"/>
                  </a:cubicBezTo>
                  <a:cubicBezTo>
                    <a:pt x="2423212" y="1082669"/>
                    <a:pt x="2427403" y="1165473"/>
                    <a:pt x="2422704" y="1249928"/>
                  </a:cubicBezTo>
                </a:path>
              </a:pathLst>
            </a:custGeom>
            <a:solidFill>
              <a:srgbClr val="FFFFFF"/>
            </a:solidFill>
            <a:ln w="12689" cap="flat">
              <a:noFill/>
              <a:prstDash val="solid"/>
              <a:miter/>
            </a:ln>
          </p:spPr>
          <p:txBody>
            <a:bodyPr rtlCol="0" anchor="ctr"/>
            <a:lstStyle/>
            <a:p>
              <a:endParaRPr lang="bg-BG" dirty="0"/>
            </a:p>
          </p:txBody>
        </p:sp>
        <p:sp>
          <p:nvSpPr>
            <p:cNvPr id="69" name="Свободна форма: фигура 12">
              <a:extLst>
                <a:ext uri="{FF2B5EF4-FFF2-40B4-BE49-F238E27FC236}">
                  <a16:creationId xmlns:a16="http://schemas.microsoft.com/office/drawing/2014/main" id="{00AC17DA-3827-9558-24F9-D233691207DA}"/>
                </a:ext>
              </a:extLst>
            </p:cNvPr>
            <p:cNvSpPr/>
            <p:nvPr/>
          </p:nvSpPr>
          <p:spPr>
            <a:xfrm>
              <a:off x="1406829" y="592140"/>
              <a:ext cx="1054100" cy="850900"/>
            </a:xfrm>
            <a:custGeom>
              <a:avLst/>
              <a:gdLst>
                <a:gd name="connsiteX0" fmla="*/ 642316 w 1054100"/>
                <a:gd name="connsiteY0" fmla="*/ 11491 h 850900"/>
                <a:gd name="connsiteX1" fmla="*/ 61672 w 1054100"/>
                <a:gd name="connsiteY1" fmla="*/ 70419 h 850900"/>
                <a:gd name="connsiteX2" fmla="*/ 66244 w 1054100"/>
                <a:gd name="connsiteY2" fmla="*/ 566227 h 850900"/>
                <a:gd name="connsiteX3" fmla="*/ 118187 w 1054100"/>
                <a:gd name="connsiteY3" fmla="*/ 647253 h 850900"/>
                <a:gd name="connsiteX4" fmla="*/ 728422 w 1054100"/>
                <a:gd name="connsiteY4" fmla="*/ 817052 h 850900"/>
                <a:gd name="connsiteX5" fmla="*/ 1032333 w 1054100"/>
                <a:gd name="connsiteY5" fmla="*/ 474660 h 850900"/>
                <a:gd name="connsiteX6" fmla="*/ 1051637 w 1054100"/>
                <a:gd name="connsiteY6" fmla="*/ 381315 h 850900"/>
                <a:gd name="connsiteX7" fmla="*/ 1014172 w 1054100"/>
                <a:gd name="connsiteY7" fmla="*/ 124775 h 850900"/>
                <a:gd name="connsiteX8" fmla="*/ 857962 w 1054100"/>
                <a:gd name="connsiteY8" fmla="*/ 62545 h 850900"/>
                <a:gd name="connsiteX9" fmla="*/ 642316 w 1054100"/>
                <a:gd name="connsiteY9" fmla="*/ 11491 h 850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54100" h="850900">
                  <a:moveTo>
                    <a:pt x="642316" y="11491"/>
                  </a:moveTo>
                  <a:cubicBezTo>
                    <a:pt x="442291" y="-15941"/>
                    <a:pt x="243536" y="6538"/>
                    <a:pt x="61672" y="70419"/>
                  </a:cubicBezTo>
                  <a:cubicBezTo>
                    <a:pt x="-26847" y="221803"/>
                    <a:pt x="-15417" y="412176"/>
                    <a:pt x="66244" y="566227"/>
                  </a:cubicBezTo>
                  <a:cubicBezTo>
                    <a:pt x="81230" y="594548"/>
                    <a:pt x="98629" y="621726"/>
                    <a:pt x="118187" y="647253"/>
                  </a:cubicBezTo>
                  <a:cubicBezTo>
                    <a:pt x="263602" y="832038"/>
                    <a:pt x="514173" y="901761"/>
                    <a:pt x="728422" y="817052"/>
                  </a:cubicBezTo>
                  <a:cubicBezTo>
                    <a:pt x="882346" y="753679"/>
                    <a:pt x="974167" y="617281"/>
                    <a:pt x="1032333" y="474660"/>
                  </a:cubicBezTo>
                  <a:cubicBezTo>
                    <a:pt x="1041858" y="444180"/>
                    <a:pt x="1048335" y="412811"/>
                    <a:pt x="1051637" y="381315"/>
                  </a:cubicBezTo>
                  <a:cubicBezTo>
                    <a:pt x="1060908" y="294701"/>
                    <a:pt x="1047192" y="205928"/>
                    <a:pt x="1014172" y="124775"/>
                  </a:cubicBezTo>
                  <a:cubicBezTo>
                    <a:pt x="963499" y="100772"/>
                    <a:pt x="911302" y="80071"/>
                    <a:pt x="857962" y="62545"/>
                  </a:cubicBezTo>
                  <a:cubicBezTo>
                    <a:pt x="787731" y="39558"/>
                    <a:pt x="715595" y="22413"/>
                    <a:pt x="642316" y="11491"/>
                  </a:cubicBezTo>
                </a:path>
              </a:pathLst>
            </a:custGeom>
            <a:solidFill>
              <a:srgbClr val="F1F0D7"/>
            </a:solidFill>
            <a:ln w="12689" cap="flat">
              <a:noFill/>
              <a:prstDash val="solid"/>
              <a:miter/>
            </a:ln>
          </p:spPr>
          <p:txBody>
            <a:bodyPr rtlCol="0" anchor="ctr"/>
            <a:lstStyle/>
            <a:p>
              <a:endParaRPr lang="bg-BG"/>
            </a:p>
          </p:txBody>
        </p:sp>
        <p:sp>
          <p:nvSpPr>
            <p:cNvPr id="70" name="Свободна форма: фигура 13">
              <a:extLst>
                <a:ext uri="{FF2B5EF4-FFF2-40B4-BE49-F238E27FC236}">
                  <a16:creationId xmlns:a16="http://schemas.microsoft.com/office/drawing/2014/main" id="{B56C289E-B2C6-98FA-3341-FA11B7172AE4}"/>
                </a:ext>
              </a:extLst>
            </p:cNvPr>
            <p:cNvSpPr/>
            <p:nvPr/>
          </p:nvSpPr>
          <p:spPr>
            <a:xfrm>
              <a:off x="1425065" y="407303"/>
              <a:ext cx="914400" cy="927100"/>
            </a:xfrm>
            <a:custGeom>
              <a:avLst/>
              <a:gdLst>
                <a:gd name="connsiteX0" fmla="*/ 143512 w 914400"/>
                <a:gd name="connsiteY0" fmla="*/ 129780 h 927100"/>
                <a:gd name="connsiteX1" fmla="*/ 580011 w 914400"/>
                <a:gd name="connsiteY1" fmla="*/ 15988 h 927100"/>
                <a:gd name="connsiteX2" fmla="*/ 642368 w 914400"/>
                <a:gd name="connsiteY2" fmla="*/ 38721 h 927100"/>
                <a:gd name="connsiteX3" fmla="*/ 923800 w 914400"/>
                <a:gd name="connsiteY3" fmla="*/ 514208 h 927100"/>
                <a:gd name="connsiteX4" fmla="*/ 906782 w 914400"/>
                <a:gd name="connsiteY4" fmla="*/ 596251 h 927100"/>
                <a:gd name="connsiteX5" fmla="*/ 639828 w 914400"/>
                <a:gd name="connsiteY5" fmla="*/ 896860 h 927100"/>
                <a:gd name="connsiteX6" fmla="*/ 104015 w 914400"/>
                <a:gd name="connsiteY6" fmla="*/ 747762 h 927100"/>
                <a:gd name="connsiteX7" fmla="*/ 58295 w 914400"/>
                <a:gd name="connsiteY7" fmla="*/ 676642 h 927100"/>
                <a:gd name="connsiteX8" fmla="*/ 81409 w 914400"/>
                <a:gd name="connsiteY8" fmla="*/ 200519 h 927100"/>
                <a:gd name="connsiteX9" fmla="*/ 143512 w 914400"/>
                <a:gd name="connsiteY9" fmla="*/ 129780 h 927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4400" h="927100">
                  <a:moveTo>
                    <a:pt x="143512" y="129780"/>
                  </a:moveTo>
                  <a:cubicBezTo>
                    <a:pt x="258193" y="14337"/>
                    <a:pt x="430659" y="-25541"/>
                    <a:pt x="580011" y="15988"/>
                  </a:cubicBezTo>
                  <a:cubicBezTo>
                    <a:pt x="601347" y="21957"/>
                    <a:pt x="622175" y="29450"/>
                    <a:pt x="642368" y="38721"/>
                  </a:cubicBezTo>
                  <a:cubicBezTo>
                    <a:pt x="835281" y="113016"/>
                    <a:pt x="944501" y="320153"/>
                    <a:pt x="923800" y="514208"/>
                  </a:cubicBezTo>
                  <a:cubicBezTo>
                    <a:pt x="920879" y="541895"/>
                    <a:pt x="915164" y="569454"/>
                    <a:pt x="906782" y="596251"/>
                  </a:cubicBezTo>
                  <a:cubicBezTo>
                    <a:pt x="855728" y="721473"/>
                    <a:pt x="774956" y="841234"/>
                    <a:pt x="639828" y="896860"/>
                  </a:cubicBezTo>
                  <a:cubicBezTo>
                    <a:pt x="451741" y="971282"/>
                    <a:pt x="231650" y="910068"/>
                    <a:pt x="104015" y="747762"/>
                  </a:cubicBezTo>
                  <a:cubicBezTo>
                    <a:pt x="86870" y="725410"/>
                    <a:pt x="71503" y="701534"/>
                    <a:pt x="58295" y="676642"/>
                  </a:cubicBezTo>
                  <a:cubicBezTo>
                    <a:pt x="-20826" y="527163"/>
                    <a:pt x="-25271" y="338568"/>
                    <a:pt x="81409" y="200519"/>
                  </a:cubicBezTo>
                  <a:cubicBezTo>
                    <a:pt x="99062" y="175500"/>
                    <a:pt x="119890" y="151623"/>
                    <a:pt x="143512" y="129780"/>
                  </a:cubicBezTo>
                </a:path>
              </a:pathLst>
            </a:custGeom>
            <a:solidFill>
              <a:schemeClr val="tx2"/>
            </a:solidFill>
            <a:ln w="12689" cap="flat">
              <a:noFill/>
              <a:prstDash val="solid"/>
              <a:miter/>
            </a:ln>
          </p:spPr>
          <p:txBody>
            <a:bodyPr rtlCol="0" anchor="ctr"/>
            <a:lstStyle/>
            <a:p>
              <a:endParaRPr lang="bg-BG" dirty="0"/>
            </a:p>
          </p:txBody>
        </p:sp>
        <p:sp>
          <p:nvSpPr>
            <p:cNvPr id="71" name="Свободна форма: фигура 14">
              <a:extLst>
                <a:ext uri="{FF2B5EF4-FFF2-40B4-BE49-F238E27FC236}">
                  <a16:creationId xmlns:a16="http://schemas.microsoft.com/office/drawing/2014/main" id="{82E26C4C-8908-E803-2192-D89A8A99F42C}"/>
                </a:ext>
              </a:extLst>
            </p:cNvPr>
            <p:cNvSpPr/>
            <p:nvPr/>
          </p:nvSpPr>
          <p:spPr>
            <a:xfrm>
              <a:off x="1591056" y="557657"/>
              <a:ext cx="749300" cy="774700"/>
            </a:xfrm>
            <a:custGeom>
              <a:avLst/>
              <a:gdLst>
                <a:gd name="connsiteX0" fmla="*/ 629920 w 749300"/>
                <a:gd name="connsiteY0" fmla="*/ 21209 h 774700"/>
                <a:gd name="connsiteX1" fmla="*/ 593852 w 749300"/>
                <a:gd name="connsiteY1" fmla="*/ 266573 h 774700"/>
                <a:gd name="connsiteX2" fmla="*/ 271399 w 749300"/>
                <a:gd name="connsiteY2" fmla="*/ 577850 h 774700"/>
                <a:gd name="connsiteX3" fmla="*/ 0 w 749300"/>
                <a:gd name="connsiteY3" fmla="*/ 661924 h 774700"/>
                <a:gd name="connsiteX4" fmla="*/ 473837 w 749300"/>
                <a:gd name="connsiteY4" fmla="*/ 746506 h 774700"/>
                <a:gd name="connsiteX5" fmla="*/ 740791 w 749300"/>
                <a:gd name="connsiteY5" fmla="*/ 445770 h 774700"/>
                <a:gd name="connsiteX6" fmla="*/ 757809 w 749300"/>
                <a:gd name="connsiteY6" fmla="*/ 363728 h 774700"/>
                <a:gd name="connsiteX7" fmla="*/ 638175 w 749300"/>
                <a:gd name="connsiteY7" fmla="*/ 0 h 774700"/>
                <a:gd name="connsiteX8" fmla="*/ 629920 w 749300"/>
                <a:gd name="connsiteY8" fmla="*/ 21209 h 774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9300" h="774700">
                  <a:moveTo>
                    <a:pt x="629920" y="21209"/>
                  </a:moveTo>
                  <a:cubicBezTo>
                    <a:pt x="606171" y="100711"/>
                    <a:pt x="622300" y="185928"/>
                    <a:pt x="593852" y="266573"/>
                  </a:cubicBezTo>
                  <a:cubicBezTo>
                    <a:pt x="538861" y="422148"/>
                    <a:pt x="416306" y="511683"/>
                    <a:pt x="271399" y="577850"/>
                  </a:cubicBezTo>
                  <a:cubicBezTo>
                    <a:pt x="185039" y="617220"/>
                    <a:pt x="92710" y="647192"/>
                    <a:pt x="0" y="661924"/>
                  </a:cubicBezTo>
                  <a:cubicBezTo>
                    <a:pt x="129794" y="774446"/>
                    <a:pt x="313309" y="809879"/>
                    <a:pt x="473837" y="746506"/>
                  </a:cubicBezTo>
                  <a:cubicBezTo>
                    <a:pt x="608965" y="690880"/>
                    <a:pt x="689737" y="570992"/>
                    <a:pt x="740791" y="445770"/>
                  </a:cubicBezTo>
                  <a:cubicBezTo>
                    <a:pt x="749173" y="418973"/>
                    <a:pt x="754761" y="391541"/>
                    <a:pt x="757809" y="363728"/>
                  </a:cubicBezTo>
                  <a:cubicBezTo>
                    <a:pt x="771652" y="233680"/>
                    <a:pt x="727075" y="97917"/>
                    <a:pt x="638175" y="0"/>
                  </a:cubicBezTo>
                  <a:cubicBezTo>
                    <a:pt x="634873" y="6731"/>
                    <a:pt x="632079" y="13716"/>
                    <a:pt x="629920" y="21209"/>
                  </a:cubicBezTo>
                </a:path>
              </a:pathLst>
            </a:custGeom>
            <a:solidFill>
              <a:schemeClr val="tx2"/>
            </a:solidFill>
            <a:ln w="12689" cap="flat">
              <a:noFill/>
              <a:prstDash val="solid"/>
              <a:miter/>
            </a:ln>
          </p:spPr>
          <p:txBody>
            <a:bodyPr rtlCol="0" anchor="ctr"/>
            <a:lstStyle/>
            <a:p>
              <a:endParaRPr lang="bg-BG"/>
            </a:p>
          </p:txBody>
        </p:sp>
        <p:sp>
          <p:nvSpPr>
            <p:cNvPr id="72" name="Свободна форма: фигура 15">
              <a:extLst>
                <a:ext uri="{FF2B5EF4-FFF2-40B4-BE49-F238E27FC236}">
                  <a16:creationId xmlns:a16="http://schemas.microsoft.com/office/drawing/2014/main" id="{E4DE420D-EC81-37C8-8C7E-A5F4A87B592B}"/>
                </a:ext>
              </a:extLst>
            </p:cNvPr>
            <p:cNvSpPr/>
            <p:nvPr/>
          </p:nvSpPr>
          <p:spPr>
            <a:xfrm>
              <a:off x="689991" y="1457452"/>
              <a:ext cx="2400300" cy="1549400"/>
            </a:xfrm>
            <a:custGeom>
              <a:avLst/>
              <a:gdLst>
                <a:gd name="connsiteX0" fmla="*/ 2398395 w 2400300"/>
                <a:gd name="connsiteY0" fmla="*/ 137922 h 1549400"/>
                <a:gd name="connsiteX1" fmla="*/ 2373122 w 2400300"/>
                <a:gd name="connsiteY1" fmla="*/ 0 h 1549400"/>
                <a:gd name="connsiteX2" fmla="*/ 2211197 w 2400300"/>
                <a:gd name="connsiteY2" fmla="*/ 837184 h 1549400"/>
                <a:gd name="connsiteX3" fmla="*/ 1736852 w 2400300"/>
                <a:gd name="connsiteY3" fmla="*/ 1171702 h 1549400"/>
                <a:gd name="connsiteX4" fmla="*/ 1234313 w 2400300"/>
                <a:gd name="connsiteY4" fmla="*/ 1282827 h 1549400"/>
                <a:gd name="connsiteX5" fmla="*/ 955421 w 2400300"/>
                <a:gd name="connsiteY5" fmla="*/ 1222375 h 1549400"/>
                <a:gd name="connsiteX6" fmla="*/ 736727 w 2400300"/>
                <a:gd name="connsiteY6" fmla="*/ 1105154 h 1549400"/>
                <a:gd name="connsiteX7" fmla="*/ 305308 w 2400300"/>
                <a:gd name="connsiteY7" fmla="*/ 875792 h 1549400"/>
                <a:gd name="connsiteX8" fmla="*/ 0 w 2400300"/>
                <a:gd name="connsiteY8" fmla="*/ 455930 h 1549400"/>
                <a:gd name="connsiteX9" fmla="*/ 120269 w 2400300"/>
                <a:gd name="connsiteY9" fmla="*/ 894334 h 1549400"/>
                <a:gd name="connsiteX10" fmla="*/ 237617 w 2400300"/>
                <a:gd name="connsiteY10" fmla="*/ 1080008 h 1549400"/>
                <a:gd name="connsiteX11" fmla="*/ 1634744 w 2400300"/>
                <a:gd name="connsiteY11" fmla="*/ 1464945 h 1549400"/>
                <a:gd name="connsiteX12" fmla="*/ 1793875 w 2400300"/>
                <a:gd name="connsiteY12" fmla="*/ 1394460 h 1549400"/>
                <a:gd name="connsiteX13" fmla="*/ 2410333 w 2400300"/>
                <a:gd name="connsiteY13" fmla="*/ 384683 h 1549400"/>
                <a:gd name="connsiteX14" fmla="*/ 2398395 w 2400300"/>
                <a:gd name="connsiteY14" fmla="*/ 137922 h 154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00300" h="1549400">
                  <a:moveTo>
                    <a:pt x="2398395" y="137922"/>
                  </a:moveTo>
                  <a:cubicBezTo>
                    <a:pt x="2393188" y="90805"/>
                    <a:pt x="2384552" y="44831"/>
                    <a:pt x="2373122" y="0"/>
                  </a:cubicBezTo>
                  <a:cubicBezTo>
                    <a:pt x="2423668" y="292608"/>
                    <a:pt x="2409190" y="593598"/>
                    <a:pt x="2211197" y="837184"/>
                  </a:cubicBezTo>
                  <a:cubicBezTo>
                    <a:pt x="2086483" y="990473"/>
                    <a:pt x="1911731" y="1086358"/>
                    <a:pt x="1736852" y="1171702"/>
                  </a:cubicBezTo>
                  <a:cubicBezTo>
                    <a:pt x="1576832" y="1249807"/>
                    <a:pt x="1413891" y="1294384"/>
                    <a:pt x="1234313" y="1282827"/>
                  </a:cubicBezTo>
                  <a:cubicBezTo>
                    <a:pt x="1138936" y="1276731"/>
                    <a:pt x="1044448" y="1257300"/>
                    <a:pt x="955421" y="1222375"/>
                  </a:cubicBezTo>
                  <a:cubicBezTo>
                    <a:pt x="877570" y="1191641"/>
                    <a:pt x="809752" y="1145032"/>
                    <a:pt x="736727" y="1105154"/>
                  </a:cubicBezTo>
                  <a:cubicBezTo>
                    <a:pt x="594106" y="1027176"/>
                    <a:pt x="438277" y="970788"/>
                    <a:pt x="305308" y="875792"/>
                  </a:cubicBezTo>
                  <a:cubicBezTo>
                    <a:pt x="148717" y="764032"/>
                    <a:pt x="51308" y="618363"/>
                    <a:pt x="0" y="455930"/>
                  </a:cubicBezTo>
                  <a:cubicBezTo>
                    <a:pt x="20447" y="606552"/>
                    <a:pt x="64389" y="754380"/>
                    <a:pt x="120269" y="894334"/>
                  </a:cubicBezTo>
                  <a:cubicBezTo>
                    <a:pt x="153162" y="960120"/>
                    <a:pt x="192659" y="1022223"/>
                    <a:pt x="237617" y="1080008"/>
                  </a:cubicBezTo>
                  <a:cubicBezTo>
                    <a:pt x="552069" y="1484249"/>
                    <a:pt x="1135380" y="1676273"/>
                    <a:pt x="1634744" y="1464945"/>
                  </a:cubicBezTo>
                  <a:cubicBezTo>
                    <a:pt x="1689608" y="1445768"/>
                    <a:pt x="1742821" y="1422019"/>
                    <a:pt x="1793875" y="1394460"/>
                  </a:cubicBezTo>
                  <a:cubicBezTo>
                    <a:pt x="2151126" y="1200912"/>
                    <a:pt x="2403856" y="811403"/>
                    <a:pt x="2410333" y="384683"/>
                  </a:cubicBezTo>
                  <a:cubicBezTo>
                    <a:pt x="2414778" y="300101"/>
                    <a:pt x="2410587" y="217297"/>
                    <a:pt x="2398395" y="137922"/>
                  </a:cubicBezTo>
                </a:path>
              </a:pathLst>
            </a:custGeom>
            <a:solidFill>
              <a:srgbClr val="F1F0D7"/>
            </a:solidFill>
            <a:ln w="12689" cap="flat">
              <a:noFill/>
              <a:prstDash val="solid"/>
              <a:miter/>
            </a:ln>
          </p:spPr>
          <p:txBody>
            <a:bodyPr rtlCol="0" anchor="ctr"/>
            <a:lstStyle/>
            <a:p>
              <a:endParaRPr lang="bg-BG"/>
            </a:p>
          </p:txBody>
        </p:sp>
        <p:sp>
          <p:nvSpPr>
            <p:cNvPr id="73" name="Свободна форма: фигура 16">
              <a:extLst>
                <a:ext uri="{FF2B5EF4-FFF2-40B4-BE49-F238E27FC236}">
                  <a16:creationId xmlns:a16="http://schemas.microsoft.com/office/drawing/2014/main" id="{3FA8DFB9-F8DD-9AB2-6EDC-365ED6661251}"/>
                </a:ext>
              </a:extLst>
            </p:cNvPr>
            <p:cNvSpPr/>
            <p:nvPr/>
          </p:nvSpPr>
          <p:spPr>
            <a:xfrm>
              <a:off x="583687" y="1455489"/>
              <a:ext cx="1308100" cy="1676400"/>
            </a:xfrm>
            <a:custGeom>
              <a:avLst/>
              <a:gdLst>
                <a:gd name="connsiteX0" fmla="*/ 46360 w 1308100"/>
                <a:gd name="connsiteY0" fmla="*/ 1455 h 1676400"/>
                <a:gd name="connsiteX1" fmla="*/ 31374 w 1308100"/>
                <a:gd name="connsiteY1" fmla="*/ 704400 h 1676400"/>
                <a:gd name="connsiteX2" fmla="*/ 281437 w 1308100"/>
                <a:gd name="connsiteY2" fmla="*/ 1276408 h 1676400"/>
                <a:gd name="connsiteX3" fmla="*/ 741939 w 1308100"/>
                <a:gd name="connsiteY3" fmla="*/ 1597972 h 1676400"/>
                <a:gd name="connsiteX4" fmla="*/ 1299215 w 1308100"/>
                <a:gd name="connsiteY4" fmla="*/ 1668838 h 1676400"/>
                <a:gd name="connsiteX5" fmla="*/ 1293119 w 1308100"/>
                <a:gd name="connsiteY5" fmla="*/ 1624007 h 1676400"/>
                <a:gd name="connsiteX6" fmla="*/ 784738 w 1308100"/>
                <a:gd name="connsiteY6" fmla="*/ 1536377 h 1676400"/>
                <a:gd name="connsiteX7" fmla="*/ 334904 w 1308100"/>
                <a:gd name="connsiteY7" fmla="*/ 1238943 h 1676400"/>
                <a:gd name="connsiteX8" fmla="*/ 81031 w 1308100"/>
                <a:gd name="connsiteY8" fmla="*/ 705797 h 1676400"/>
                <a:gd name="connsiteX9" fmla="*/ 50297 w 1308100"/>
                <a:gd name="connsiteY9" fmla="*/ 2725 h 1676400"/>
                <a:gd name="connsiteX10" fmla="*/ 46360 w 1308100"/>
                <a:gd name="connsiteY10" fmla="*/ 1455 h 167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08100" h="1676400">
                  <a:moveTo>
                    <a:pt x="46360" y="1455"/>
                  </a:moveTo>
                  <a:cubicBezTo>
                    <a:pt x="-2027" y="237548"/>
                    <a:pt x="-21077" y="467037"/>
                    <a:pt x="31374" y="704400"/>
                  </a:cubicBezTo>
                  <a:cubicBezTo>
                    <a:pt x="75062" y="901885"/>
                    <a:pt x="151516" y="1118420"/>
                    <a:pt x="281437" y="1276408"/>
                  </a:cubicBezTo>
                  <a:cubicBezTo>
                    <a:pt x="401579" y="1422331"/>
                    <a:pt x="567441" y="1528884"/>
                    <a:pt x="741939" y="1597972"/>
                  </a:cubicBezTo>
                  <a:cubicBezTo>
                    <a:pt x="909325" y="1664139"/>
                    <a:pt x="1120399" y="1718749"/>
                    <a:pt x="1299215" y="1668838"/>
                  </a:cubicBezTo>
                  <a:cubicBezTo>
                    <a:pt x="1324869" y="1661599"/>
                    <a:pt x="1318265" y="1625785"/>
                    <a:pt x="1293119" y="1624007"/>
                  </a:cubicBezTo>
                  <a:cubicBezTo>
                    <a:pt x="1117605" y="1611307"/>
                    <a:pt x="951616" y="1599369"/>
                    <a:pt x="784738" y="1536377"/>
                  </a:cubicBezTo>
                  <a:cubicBezTo>
                    <a:pt x="616463" y="1473004"/>
                    <a:pt x="453776" y="1375595"/>
                    <a:pt x="334904" y="1238943"/>
                  </a:cubicBezTo>
                  <a:cubicBezTo>
                    <a:pt x="207269" y="1092385"/>
                    <a:pt x="129672" y="891471"/>
                    <a:pt x="81031" y="705797"/>
                  </a:cubicBezTo>
                  <a:cubicBezTo>
                    <a:pt x="21722" y="479356"/>
                    <a:pt x="5720" y="232976"/>
                    <a:pt x="50297" y="2725"/>
                  </a:cubicBezTo>
                  <a:cubicBezTo>
                    <a:pt x="50805" y="-69"/>
                    <a:pt x="46868" y="-1085"/>
                    <a:pt x="46360" y="1455"/>
                  </a:cubicBezTo>
                </a:path>
              </a:pathLst>
            </a:custGeom>
            <a:solidFill>
              <a:schemeClr val="tx2"/>
            </a:solidFill>
            <a:ln w="12689" cap="flat">
              <a:noFill/>
              <a:prstDash val="solid"/>
              <a:miter/>
            </a:ln>
          </p:spPr>
          <p:txBody>
            <a:bodyPr rtlCol="0" anchor="ctr"/>
            <a:lstStyle/>
            <a:p>
              <a:endParaRPr lang="bg-BG"/>
            </a:p>
          </p:txBody>
        </p:sp>
        <p:sp>
          <p:nvSpPr>
            <p:cNvPr id="74" name="Свободна форма: фигура 17">
              <a:extLst>
                <a:ext uri="{FF2B5EF4-FFF2-40B4-BE49-F238E27FC236}">
                  <a16:creationId xmlns:a16="http://schemas.microsoft.com/office/drawing/2014/main" id="{4F8E777A-830C-4F91-9E31-537F0C7788E8}"/>
                </a:ext>
              </a:extLst>
            </p:cNvPr>
            <p:cNvSpPr/>
            <p:nvPr/>
          </p:nvSpPr>
          <p:spPr>
            <a:xfrm>
              <a:off x="2489350" y="671867"/>
              <a:ext cx="685800" cy="749300"/>
            </a:xfrm>
            <a:custGeom>
              <a:avLst/>
              <a:gdLst>
                <a:gd name="connsiteX0" fmla="*/ 6454 w 685800"/>
                <a:gd name="connsiteY0" fmla="*/ 24855 h 749300"/>
                <a:gd name="connsiteX1" fmla="*/ 673839 w 685800"/>
                <a:gd name="connsiteY1" fmla="*/ 745453 h 749300"/>
                <a:gd name="connsiteX2" fmla="*/ 692508 w 685800"/>
                <a:gd name="connsiteY2" fmla="*/ 737579 h 749300"/>
                <a:gd name="connsiteX3" fmla="*/ 16614 w 685800"/>
                <a:gd name="connsiteY3" fmla="*/ 852 h 749300"/>
                <a:gd name="connsiteX4" fmla="*/ 6454 w 685800"/>
                <a:gd name="connsiteY4" fmla="*/ 24855 h 749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 h="749300">
                  <a:moveTo>
                    <a:pt x="6454" y="24855"/>
                  </a:moveTo>
                  <a:cubicBezTo>
                    <a:pt x="324208" y="165571"/>
                    <a:pt x="536806" y="434176"/>
                    <a:pt x="673839" y="745453"/>
                  </a:cubicBezTo>
                  <a:cubicBezTo>
                    <a:pt x="678665" y="756375"/>
                    <a:pt x="694921" y="748374"/>
                    <a:pt x="692508" y="737579"/>
                  </a:cubicBezTo>
                  <a:cubicBezTo>
                    <a:pt x="615673" y="406871"/>
                    <a:pt x="321668" y="123788"/>
                    <a:pt x="16614" y="852"/>
                  </a:cubicBezTo>
                  <a:cubicBezTo>
                    <a:pt x="2898" y="-4736"/>
                    <a:pt x="-7135" y="18759"/>
                    <a:pt x="6454" y="24855"/>
                  </a:cubicBezTo>
                </a:path>
              </a:pathLst>
            </a:custGeom>
            <a:solidFill>
              <a:schemeClr val="tx2"/>
            </a:solidFill>
            <a:ln w="12689" cap="flat">
              <a:noFill/>
              <a:prstDash val="solid"/>
              <a:miter/>
            </a:ln>
          </p:spPr>
          <p:txBody>
            <a:bodyPr rtlCol="0" anchor="ctr"/>
            <a:lstStyle/>
            <a:p>
              <a:endParaRPr lang="bg-BG"/>
            </a:p>
          </p:txBody>
        </p:sp>
        <p:sp>
          <p:nvSpPr>
            <p:cNvPr id="75" name="Свободна форма: фигура 19">
              <a:extLst>
                <a:ext uri="{FF2B5EF4-FFF2-40B4-BE49-F238E27FC236}">
                  <a16:creationId xmlns:a16="http://schemas.microsoft.com/office/drawing/2014/main" id="{697314DB-3B80-C18E-725F-77B25904A0BE}"/>
                </a:ext>
              </a:extLst>
            </p:cNvPr>
            <p:cNvSpPr/>
            <p:nvPr/>
          </p:nvSpPr>
          <p:spPr>
            <a:xfrm>
              <a:off x="641301" y="982061"/>
              <a:ext cx="254000" cy="368300"/>
            </a:xfrm>
            <a:custGeom>
              <a:avLst/>
              <a:gdLst>
                <a:gd name="connsiteX0" fmla="*/ 21004 w 254000"/>
                <a:gd name="connsiteY0" fmla="*/ 366298 h 368300"/>
                <a:gd name="connsiteX1" fmla="*/ 260399 w 254000"/>
                <a:gd name="connsiteY1" fmla="*/ 11587 h 368300"/>
                <a:gd name="connsiteX2" fmla="*/ 252271 w 254000"/>
                <a:gd name="connsiteY2" fmla="*/ 1046 h 368300"/>
                <a:gd name="connsiteX3" fmla="*/ 430 w 254000"/>
                <a:gd name="connsiteY3" fmla="*/ 360583 h 368300"/>
                <a:gd name="connsiteX4" fmla="*/ 21004 w 254000"/>
                <a:gd name="connsiteY4" fmla="*/ 366298 h 36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000" h="368300">
                  <a:moveTo>
                    <a:pt x="21004" y="366298"/>
                  </a:moveTo>
                  <a:cubicBezTo>
                    <a:pt x="71677" y="226852"/>
                    <a:pt x="155497" y="114584"/>
                    <a:pt x="260399" y="11587"/>
                  </a:cubicBezTo>
                  <a:cubicBezTo>
                    <a:pt x="265733" y="6253"/>
                    <a:pt x="258748" y="-3145"/>
                    <a:pt x="252271" y="1046"/>
                  </a:cubicBezTo>
                  <a:cubicBezTo>
                    <a:pt x="123874" y="82199"/>
                    <a:pt x="38530" y="215676"/>
                    <a:pt x="430" y="360583"/>
                  </a:cubicBezTo>
                  <a:cubicBezTo>
                    <a:pt x="-3126" y="374045"/>
                    <a:pt x="16432" y="379125"/>
                    <a:pt x="21004" y="366298"/>
                  </a:cubicBezTo>
                </a:path>
              </a:pathLst>
            </a:custGeom>
            <a:solidFill>
              <a:schemeClr val="tx2"/>
            </a:solidFill>
            <a:ln w="12689" cap="flat">
              <a:noFill/>
              <a:prstDash val="solid"/>
              <a:miter/>
            </a:ln>
          </p:spPr>
          <p:txBody>
            <a:bodyPr rtlCol="0" anchor="ctr"/>
            <a:lstStyle/>
            <a:p>
              <a:endParaRPr lang="bg-BG"/>
            </a:p>
          </p:txBody>
        </p:sp>
        <p:sp>
          <p:nvSpPr>
            <p:cNvPr id="76" name="Свободна форма: фигура 20">
              <a:extLst>
                <a:ext uri="{FF2B5EF4-FFF2-40B4-BE49-F238E27FC236}">
                  <a16:creationId xmlns:a16="http://schemas.microsoft.com/office/drawing/2014/main" id="{59F0FC6B-6B05-A02D-2904-83985F9B32FC}"/>
                </a:ext>
              </a:extLst>
            </p:cNvPr>
            <p:cNvSpPr/>
            <p:nvPr/>
          </p:nvSpPr>
          <p:spPr>
            <a:xfrm>
              <a:off x="2257997" y="2005855"/>
              <a:ext cx="977900" cy="1066800"/>
            </a:xfrm>
            <a:custGeom>
              <a:avLst/>
              <a:gdLst>
                <a:gd name="connsiteX0" fmla="*/ 965898 w 977900"/>
                <a:gd name="connsiteY0" fmla="*/ 4555 h 1066800"/>
                <a:gd name="connsiteX1" fmla="*/ 603059 w 977900"/>
                <a:gd name="connsiteY1" fmla="*/ 633967 h 1066800"/>
                <a:gd name="connsiteX2" fmla="*/ 9461 w 977900"/>
                <a:gd name="connsiteY2" fmla="*/ 1052686 h 1066800"/>
                <a:gd name="connsiteX3" fmla="*/ 13017 w 977900"/>
                <a:gd name="connsiteY3" fmla="*/ 1078848 h 1066800"/>
                <a:gd name="connsiteX4" fmla="*/ 344233 w 977900"/>
                <a:gd name="connsiteY4" fmla="*/ 921241 h 1066800"/>
                <a:gd name="connsiteX5" fmla="*/ 626427 w 977900"/>
                <a:gd name="connsiteY5" fmla="*/ 676512 h 1066800"/>
                <a:gd name="connsiteX6" fmla="*/ 846772 w 977900"/>
                <a:gd name="connsiteY6" fmla="*/ 372474 h 1066800"/>
                <a:gd name="connsiteX7" fmla="*/ 978725 w 977900"/>
                <a:gd name="connsiteY7" fmla="*/ 7984 h 1066800"/>
                <a:gd name="connsiteX8" fmla="*/ 965898 w 977900"/>
                <a:gd name="connsiteY8" fmla="*/ 4555 h 106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7900" h="1066800">
                  <a:moveTo>
                    <a:pt x="965898" y="4555"/>
                  </a:moveTo>
                  <a:cubicBezTo>
                    <a:pt x="876871" y="229980"/>
                    <a:pt x="756602" y="445753"/>
                    <a:pt x="603059" y="633967"/>
                  </a:cubicBezTo>
                  <a:cubicBezTo>
                    <a:pt x="454469" y="816085"/>
                    <a:pt x="244665" y="1004045"/>
                    <a:pt x="9461" y="1052686"/>
                  </a:cubicBezTo>
                  <a:cubicBezTo>
                    <a:pt x="-5144" y="1055734"/>
                    <a:pt x="-1969" y="1079737"/>
                    <a:pt x="13017" y="1078848"/>
                  </a:cubicBezTo>
                  <a:cubicBezTo>
                    <a:pt x="135699" y="1071482"/>
                    <a:pt x="247332" y="990329"/>
                    <a:pt x="344233" y="921241"/>
                  </a:cubicBezTo>
                  <a:cubicBezTo>
                    <a:pt x="447230" y="847708"/>
                    <a:pt x="540067" y="769984"/>
                    <a:pt x="626427" y="676512"/>
                  </a:cubicBezTo>
                  <a:cubicBezTo>
                    <a:pt x="715835" y="579611"/>
                    <a:pt x="787590" y="491600"/>
                    <a:pt x="846772" y="372474"/>
                  </a:cubicBezTo>
                  <a:cubicBezTo>
                    <a:pt x="904430" y="256269"/>
                    <a:pt x="952690" y="135365"/>
                    <a:pt x="978725" y="7984"/>
                  </a:cubicBezTo>
                  <a:cubicBezTo>
                    <a:pt x="980249" y="-398"/>
                    <a:pt x="968946" y="-3192"/>
                    <a:pt x="965898" y="4555"/>
                  </a:cubicBezTo>
                </a:path>
              </a:pathLst>
            </a:custGeom>
            <a:solidFill>
              <a:schemeClr val="tx2"/>
            </a:solidFill>
            <a:ln w="12689" cap="flat">
              <a:noFill/>
              <a:prstDash val="solid"/>
              <a:miter/>
            </a:ln>
          </p:spPr>
          <p:txBody>
            <a:bodyPr rtlCol="0" anchor="ctr"/>
            <a:lstStyle/>
            <a:p>
              <a:endParaRPr lang="bg-BG" dirty="0"/>
            </a:p>
          </p:txBody>
        </p:sp>
        <p:sp>
          <p:nvSpPr>
            <p:cNvPr id="77" name="Свободна форма: фигура 21">
              <a:extLst>
                <a:ext uri="{FF2B5EF4-FFF2-40B4-BE49-F238E27FC236}">
                  <a16:creationId xmlns:a16="http://schemas.microsoft.com/office/drawing/2014/main" id="{CA73F2D3-7275-9BCB-E01D-522DD2A379BA}"/>
                </a:ext>
              </a:extLst>
            </p:cNvPr>
            <p:cNvSpPr/>
            <p:nvPr/>
          </p:nvSpPr>
          <p:spPr>
            <a:xfrm>
              <a:off x="1103626" y="657128"/>
              <a:ext cx="215900" cy="139700"/>
            </a:xfrm>
            <a:custGeom>
              <a:avLst/>
              <a:gdLst>
                <a:gd name="connsiteX0" fmla="*/ 28706 w 215900"/>
                <a:gd name="connsiteY0" fmla="*/ 144369 h 139700"/>
                <a:gd name="connsiteX1" fmla="*/ 125988 w 215900"/>
                <a:gd name="connsiteY1" fmla="*/ 69439 h 139700"/>
                <a:gd name="connsiteX2" fmla="*/ 218063 w 215900"/>
                <a:gd name="connsiteY2" fmla="*/ 20671 h 139700"/>
                <a:gd name="connsiteX3" fmla="*/ 212475 w 215900"/>
                <a:gd name="connsiteY3" fmla="*/ 97 h 139700"/>
                <a:gd name="connsiteX4" fmla="*/ 5211 w 215900"/>
                <a:gd name="connsiteY4" fmla="*/ 121001 h 139700"/>
                <a:gd name="connsiteX5" fmla="*/ 28706 w 215900"/>
                <a:gd name="connsiteY5" fmla="*/ 144369 h 13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5900" h="139700">
                  <a:moveTo>
                    <a:pt x="28706" y="144369"/>
                  </a:moveTo>
                  <a:cubicBezTo>
                    <a:pt x="59059" y="116556"/>
                    <a:pt x="90809" y="90775"/>
                    <a:pt x="125988" y="69439"/>
                  </a:cubicBezTo>
                  <a:cubicBezTo>
                    <a:pt x="155706" y="51532"/>
                    <a:pt x="188599" y="38832"/>
                    <a:pt x="218063" y="20671"/>
                  </a:cubicBezTo>
                  <a:cubicBezTo>
                    <a:pt x="226572" y="15464"/>
                    <a:pt x="224032" y="-1427"/>
                    <a:pt x="212475" y="97"/>
                  </a:cubicBezTo>
                  <a:cubicBezTo>
                    <a:pt x="133100" y="10257"/>
                    <a:pt x="62107" y="68677"/>
                    <a:pt x="5211" y="121001"/>
                  </a:cubicBezTo>
                  <a:cubicBezTo>
                    <a:pt x="-10537" y="135352"/>
                    <a:pt x="12958" y="158847"/>
                    <a:pt x="28706" y="144369"/>
                  </a:cubicBezTo>
                </a:path>
              </a:pathLst>
            </a:custGeom>
            <a:solidFill>
              <a:schemeClr val="tx2"/>
            </a:solidFill>
            <a:ln w="12689" cap="flat">
              <a:noFill/>
              <a:prstDash val="solid"/>
              <a:miter/>
            </a:ln>
          </p:spPr>
          <p:txBody>
            <a:bodyPr rtlCol="0" anchor="ctr"/>
            <a:lstStyle/>
            <a:p>
              <a:endParaRPr lang="bg-BG"/>
            </a:p>
          </p:txBody>
        </p:sp>
        <p:sp>
          <p:nvSpPr>
            <p:cNvPr id="78" name="Свободна форма: фигура 23">
              <a:extLst>
                <a:ext uri="{FF2B5EF4-FFF2-40B4-BE49-F238E27FC236}">
                  <a16:creationId xmlns:a16="http://schemas.microsoft.com/office/drawing/2014/main" id="{95A3E9BD-A04A-D201-D16A-7E182B014033}"/>
                </a:ext>
              </a:extLst>
            </p:cNvPr>
            <p:cNvSpPr/>
            <p:nvPr/>
          </p:nvSpPr>
          <p:spPr>
            <a:xfrm>
              <a:off x="1362964" y="907161"/>
              <a:ext cx="25400" cy="25400"/>
            </a:xfrm>
            <a:custGeom>
              <a:avLst/>
              <a:gdLst>
                <a:gd name="connsiteX0" fmla="*/ 33655 w 25400"/>
                <a:gd name="connsiteY0" fmla="*/ 15748 h 25400"/>
                <a:gd name="connsiteX1" fmla="*/ 0 w 25400"/>
                <a:gd name="connsiteY1" fmla="*/ 20447 h 25400"/>
                <a:gd name="connsiteX2" fmla="*/ 17907 w 25400"/>
                <a:gd name="connsiteY2" fmla="*/ 0 h 25400"/>
                <a:gd name="connsiteX3" fmla="*/ 33655 w 25400"/>
                <a:gd name="connsiteY3" fmla="*/ 15748 h 25400"/>
              </a:gdLst>
              <a:ahLst/>
              <a:cxnLst>
                <a:cxn ang="0">
                  <a:pos x="connsiteX0" y="connsiteY0"/>
                </a:cxn>
                <a:cxn ang="0">
                  <a:pos x="connsiteX1" y="connsiteY1"/>
                </a:cxn>
                <a:cxn ang="0">
                  <a:pos x="connsiteX2" y="connsiteY2"/>
                </a:cxn>
                <a:cxn ang="0">
                  <a:pos x="connsiteX3" y="connsiteY3"/>
                </a:cxn>
              </a:cxnLst>
              <a:rect l="l" t="t" r="r" b="b"/>
              <a:pathLst>
                <a:path w="25400" h="25400">
                  <a:moveTo>
                    <a:pt x="33655" y="15748"/>
                  </a:moveTo>
                  <a:cubicBezTo>
                    <a:pt x="22352" y="42799"/>
                    <a:pt x="11176" y="31623"/>
                    <a:pt x="0" y="20447"/>
                  </a:cubicBezTo>
                  <a:cubicBezTo>
                    <a:pt x="11176" y="9271"/>
                    <a:pt x="11176" y="9271"/>
                    <a:pt x="17907" y="0"/>
                  </a:cubicBezTo>
                  <a:cubicBezTo>
                    <a:pt x="26543" y="0"/>
                    <a:pt x="33655" y="7112"/>
                    <a:pt x="33655" y="15748"/>
                  </a:cubicBezTo>
                </a:path>
              </a:pathLst>
            </a:custGeom>
            <a:solidFill>
              <a:schemeClr val="tx2"/>
            </a:solidFill>
            <a:ln w="12689" cap="flat">
              <a:noFill/>
              <a:prstDash val="solid"/>
              <a:miter/>
            </a:ln>
          </p:spPr>
          <p:txBody>
            <a:bodyPr rtlCol="0" anchor="ctr"/>
            <a:lstStyle/>
            <a:p>
              <a:endParaRPr lang="bg-BG"/>
            </a:p>
          </p:txBody>
        </p:sp>
        <p:sp>
          <p:nvSpPr>
            <p:cNvPr id="79" name="Свободна форма: фигура 24">
              <a:extLst>
                <a:ext uri="{FF2B5EF4-FFF2-40B4-BE49-F238E27FC236}">
                  <a16:creationId xmlns:a16="http://schemas.microsoft.com/office/drawing/2014/main" id="{620BFEDB-2B1F-01D0-827E-2B4A249892AA}"/>
                </a:ext>
              </a:extLst>
            </p:cNvPr>
            <p:cNvSpPr/>
            <p:nvPr/>
          </p:nvSpPr>
          <p:spPr>
            <a:xfrm>
              <a:off x="1396492" y="1063687"/>
              <a:ext cx="25400" cy="25400"/>
            </a:xfrm>
            <a:custGeom>
              <a:avLst/>
              <a:gdLst>
                <a:gd name="connsiteX0" fmla="*/ 32385 w 25400"/>
                <a:gd name="connsiteY0" fmla="*/ 21782 h 25400"/>
                <a:gd name="connsiteX1" fmla="*/ 0 w 25400"/>
                <a:gd name="connsiteY1" fmla="*/ 9590 h 25400"/>
                <a:gd name="connsiteX2" fmla="*/ 26416 w 25400"/>
                <a:gd name="connsiteY2" fmla="*/ 192 h 25400"/>
                <a:gd name="connsiteX3" fmla="*/ 32385 w 25400"/>
                <a:gd name="connsiteY3" fmla="*/ 21782 h 25400"/>
              </a:gdLst>
              <a:ahLst/>
              <a:cxnLst>
                <a:cxn ang="0">
                  <a:pos x="connsiteX0" y="connsiteY0"/>
                </a:cxn>
                <a:cxn ang="0">
                  <a:pos x="connsiteX1" y="connsiteY1"/>
                </a:cxn>
                <a:cxn ang="0">
                  <a:pos x="connsiteX2" y="connsiteY2"/>
                </a:cxn>
                <a:cxn ang="0">
                  <a:pos x="connsiteX3" y="connsiteY3"/>
                </a:cxn>
              </a:cxnLst>
              <a:rect l="l" t="t" r="r" b="b"/>
              <a:pathLst>
                <a:path w="25400" h="25400">
                  <a:moveTo>
                    <a:pt x="32385" y="21782"/>
                  </a:moveTo>
                  <a:cubicBezTo>
                    <a:pt x="11176" y="43118"/>
                    <a:pt x="0" y="31942"/>
                    <a:pt x="0" y="9590"/>
                  </a:cubicBezTo>
                  <a:cubicBezTo>
                    <a:pt x="0" y="9590"/>
                    <a:pt x="11176" y="-1586"/>
                    <a:pt x="26416" y="192"/>
                  </a:cubicBezTo>
                  <a:cubicBezTo>
                    <a:pt x="34036" y="4383"/>
                    <a:pt x="36703" y="14162"/>
                    <a:pt x="32385" y="21782"/>
                  </a:cubicBezTo>
                </a:path>
              </a:pathLst>
            </a:custGeom>
            <a:solidFill>
              <a:schemeClr val="tx2"/>
            </a:solidFill>
            <a:ln w="12689" cap="flat">
              <a:noFill/>
              <a:prstDash val="solid"/>
              <a:miter/>
            </a:ln>
          </p:spPr>
          <p:txBody>
            <a:bodyPr rtlCol="0" anchor="ctr"/>
            <a:lstStyle/>
            <a:p>
              <a:endParaRPr lang="bg-BG"/>
            </a:p>
          </p:txBody>
        </p:sp>
        <p:sp>
          <p:nvSpPr>
            <p:cNvPr id="80" name="Свободна форма: фигура 25">
              <a:extLst>
                <a:ext uri="{FF2B5EF4-FFF2-40B4-BE49-F238E27FC236}">
                  <a16:creationId xmlns:a16="http://schemas.microsoft.com/office/drawing/2014/main" id="{B6C5A872-888D-1DDA-65B1-39C064904FB5}"/>
                </a:ext>
              </a:extLst>
            </p:cNvPr>
            <p:cNvSpPr/>
            <p:nvPr/>
          </p:nvSpPr>
          <p:spPr>
            <a:xfrm>
              <a:off x="1497330" y="1203960"/>
              <a:ext cx="25400" cy="25400"/>
            </a:xfrm>
            <a:custGeom>
              <a:avLst/>
              <a:gdLst>
                <a:gd name="connsiteX0" fmla="*/ 31496 w 25400"/>
                <a:gd name="connsiteY0" fmla="*/ 21717 h 25400"/>
                <a:gd name="connsiteX1" fmla="*/ 0 w 25400"/>
                <a:gd name="connsiteY1" fmla="*/ 3556 h 25400"/>
                <a:gd name="connsiteX2" fmla="*/ 25527 w 25400"/>
                <a:gd name="connsiteY2" fmla="*/ 0 h 25400"/>
                <a:gd name="connsiteX3" fmla="*/ 31496 w 25400"/>
                <a:gd name="connsiteY3" fmla="*/ 21717 h 25400"/>
              </a:gdLst>
              <a:ahLst/>
              <a:cxnLst>
                <a:cxn ang="0">
                  <a:pos x="connsiteX0" y="connsiteY0"/>
                </a:cxn>
                <a:cxn ang="0">
                  <a:pos x="connsiteX1" y="connsiteY1"/>
                </a:cxn>
                <a:cxn ang="0">
                  <a:pos x="connsiteX2" y="connsiteY2"/>
                </a:cxn>
                <a:cxn ang="0">
                  <a:pos x="connsiteX3" y="connsiteY3"/>
                </a:cxn>
              </a:cxnLst>
              <a:rect l="l" t="t" r="r" b="b"/>
              <a:pathLst>
                <a:path w="25400" h="25400">
                  <a:moveTo>
                    <a:pt x="31496" y="21717"/>
                  </a:moveTo>
                  <a:cubicBezTo>
                    <a:pt x="11176" y="37084"/>
                    <a:pt x="0" y="25908"/>
                    <a:pt x="0" y="3556"/>
                  </a:cubicBezTo>
                  <a:cubicBezTo>
                    <a:pt x="11176" y="3556"/>
                    <a:pt x="11176" y="3556"/>
                    <a:pt x="25527" y="0"/>
                  </a:cubicBezTo>
                  <a:cubicBezTo>
                    <a:pt x="33147" y="4445"/>
                    <a:pt x="35814" y="14224"/>
                    <a:pt x="31496" y="21717"/>
                  </a:cubicBezTo>
                </a:path>
              </a:pathLst>
            </a:custGeom>
            <a:solidFill>
              <a:schemeClr val="tx2"/>
            </a:solidFill>
            <a:ln w="12689" cap="flat">
              <a:noFill/>
              <a:prstDash val="solid"/>
              <a:miter/>
            </a:ln>
          </p:spPr>
          <p:txBody>
            <a:bodyPr rtlCol="0" anchor="ctr"/>
            <a:lstStyle/>
            <a:p>
              <a:endParaRPr lang="bg-BG"/>
            </a:p>
          </p:txBody>
        </p:sp>
        <p:sp>
          <p:nvSpPr>
            <p:cNvPr id="81" name="Свободна форма: фигура 26">
              <a:extLst>
                <a:ext uri="{FF2B5EF4-FFF2-40B4-BE49-F238E27FC236}">
                  <a16:creationId xmlns:a16="http://schemas.microsoft.com/office/drawing/2014/main" id="{99CB44B4-FD6F-A415-4910-C63B138009E9}"/>
                </a:ext>
              </a:extLst>
            </p:cNvPr>
            <p:cNvSpPr/>
            <p:nvPr/>
          </p:nvSpPr>
          <p:spPr>
            <a:xfrm>
              <a:off x="2136140" y="1159590"/>
              <a:ext cx="215900" cy="165100"/>
            </a:xfrm>
            <a:custGeom>
              <a:avLst/>
              <a:gdLst>
                <a:gd name="connsiteX0" fmla="*/ 0 w 215900"/>
                <a:gd name="connsiteY0" fmla="*/ 173402 h 165100"/>
                <a:gd name="connsiteX1" fmla="*/ 209550 w 215900"/>
                <a:gd name="connsiteY1" fmla="*/ 41957 h 165100"/>
                <a:gd name="connsiteX2" fmla="*/ 129794 w 215900"/>
                <a:gd name="connsiteY2" fmla="*/ 77263 h 165100"/>
                <a:gd name="connsiteX3" fmla="*/ 0 w 215900"/>
                <a:gd name="connsiteY3" fmla="*/ 173402 h 165100"/>
              </a:gdLst>
              <a:ahLst/>
              <a:cxnLst>
                <a:cxn ang="0">
                  <a:pos x="connsiteX0" y="connsiteY0"/>
                </a:cxn>
                <a:cxn ang="0">
                  <a:pos x="connsiteX1" y="connsiteY1"/>
                </a:cxn>
                <a:cxn ang="0">
                  <a:pos x="connsiteX2" y="connsiteY2"/>
                </a:cxn>
                <a:cxn ang="0">
                  <a:pos x="connsiteX3" y="connsiteY3"/>
                </a:cxn>
              </a:cxnLst>
              <a:rect l="l" t="t" r="r" b="b"/>
              <a:pathLst>
                <a:path w="215900" h="165100">
                  <a:moveTo>
                    <a:pt x="0" y="173402"/>
                  </a:moveTo>
                  <a:cubicBezTo>
                    <a:pt x="0" y="173402"/>
                    <a:pt x="182372" y="133778"/>
                    <a:pt x="209550" y="41957"/>
                  </a:cubicBezTo>
                  <a:cubicBezTo>
                    <a:pt x="236855" y="-49864"/>
                    <a:pt x="172593" y="30908"/>
                    <a:pt x="129794" y="77263"/>
                  </a:cubicBezTo>
                  <a:cubicBezTo>
                    <a:pt x="87122" y="123618"/>
                    <a:pt x="0" y="173402"/>
                    <a:pt x="0" y="173402"/>
                  </a:cubicBezTo>
                </a:path>
              </a:pathLst>
            </a:custGeom>
            <a:solidFill>
              <a:schemeClr val="tx2"/>
            </a:solidFill>
            <a:ln w="12689" cap="flat">
              <a:noFill/>
              <a:prstDash val="solid"/>
              <a:miter/>
            </a:ln>
          </p:spPr>
          <p:txBody>
            <a:bodyPr rtlCol="0" anchor="ctr"/>
            <a:lstStyle/>
            <a:p>
              <a:endParaRPr lang="bg-BG"/>
            </a:p>
          </p:txBody>
        </p:sp>
        <p:sp>
          <p:nvSpPr>
            <p:cNvPr id="82" name="Свободна форма: фигура 27">
              <a:extLst>
                <a:ext uri="{FF2B5EF4-FFF2-40B4-BE49-F238E27FC236}">
                  <a16:creationId xmlns:a16="http://schemas.microsoft.com/office/drawing/2014/main" id="{BF415BB7-657A-2A6C-7027-2AE7006C8405}"/>
                </a:ext>
              </a:extLst>
            </p:cNvPr>
            <p:cNvSpPr/>
            <p:nvPr/>
          </p:nvSpPr>
          <p:spPr>
            <a:xfrm>
              <a:off x="1442985" y="476377"/>
              <a:ext cx="114300" cy="88900"/>
            </a:xfrm>
            <a:custGeom>
              <a:avLst/>
              <a:gdLst>
                <a:gd name="connsiteX0" fmla="*/ 114670 w 114300"/>
                <a:gd name="connsiteY0" fmla="*/ 0 h 88900"/>
                <a:gd name="connsiteX1" fmla="*/ 6466 w 114300"/>
                <a:gd name="connsiteY1" fmla="*/ 55626 h 88900"/>
                <a:gd name="connsiteX2" fmla="*/ 62473 w 114300"/>
                <a:gd name="connsiteY2" fmla="*/ 58293 h 88900"/>
                <a:gd name="connsiteX3" fmla="*/ 114670 w 114300"/>
                <a:gd name="connsiteY3" fmla="*/ 0 h 88900"/>
              </a:gdLst>
              <a:ahLst/>
              <a:cxnLst>
                <a:cxn ang="0">
                  <a:pos x="connsiteX0" y="connsiteY0"/>
                </a:cxn>
                <a:cxn ang="0">
                  <a:pos x="connsiteX1" y="connsiteY1"/>
                </a:cxn>
                <a:cxn ang="0">
                  <a:pos x="connsiteX2" y="connsiteY2"/>
                </a:cxn>
                <a:cxn ang="0">
                  <a:pos x="connsiteX3" y="connsiteY3"/>
                </a:cxn>
              </a:cxnLst>
              <a:rect l="l" t="t" r="r" b="b"/>
              <a:pathLst>
                <a:path w="114300" h="88900">
                  <a:moveTo>
                    <a:pt x="114670" y="0"/>
                  </a:moveTo>
                  <a:cubicBezTo>
                    <a:pt x="114670" y="0"/>
                    <a:pt x="28564" y="12065"/>
                    <a:pt x="6466" y="55626"/>
                  </a:cubicBezTo>
                  <a:cubicBezTo>
                    <a:pt x="-15632" y="99187"/>
                    <a:pt x="22849" y="104775"/>
                    <a:pt x="62473" y="58293"/>
                  </a:cubicBezTo>
                  <a:cubicBezTo>
                    <a:pt x="101970" y="11557"/>
                    <a:pt x="114670" y="0"/>
                    <a:pt x="114670" y="0"/>
                  </a:cubicBezTo>
                </a:path>
              </a:pathLst>
            </a:custGeom>
            <a:solidFill>
              <a:schemeClr val="tx2"/>
            </a:solidFill>
            <a:ln w="12689" cap="flat">
              <a:noFill/>
              <a:prstDash val="solid"/>
              <a:miter/>
            </a:ln>
          </p:spPr>
          <p:txBody>
            <a:bodyPr rtlCol="0" anchor="ctr"/>
            <a:lstStyle/>
            <a:p>
              <a:endParaRPr lang="bg-BG"/>
            </a:p>
          </p:txBody>
        </p:sp>
      </p:grpSp>
      <p:sp>
        <p:nvSpPr>
          <p:cNvPr id="10" name="object 3">
            <a:extLst>
              <a:ext uri="{FF2B5EF4-FFF2-40B4-BE49-F238E27FC236}">
                <a16:creationId xmlns:a16="http://schemas.microsoft.com/office/drawing/2014/main" id="{C8346B9B-8C78-555C-9786-14FDED6B0F52}"/>
              </a:ext>
            </a:extLst>
          </p:cNvPr>
          <p:cNvSpPr txBox="1"/>
          <p:nvPr/>
        </p:nvSpPr>
        <p:spPr>
          <a:xfrm>
            <a:off x="5383543" y="2340342"/>
            <a:ext cx="1547862" cy="286745"/>
          </a:xfrm>
          <a:prstGeom prst="rect">
            <a:avLst/>
          </a:prstGeom>
        </p:spPr>
        <p:txBody>
          <a:bodyPr vert="horz" wrap="square" lIns="0" tIns="12700" rIns="0" bIns="0" rtlCol="0">
            <a:spAutoFit/>
          </a:bodyPr>
          <a:lstStyle/>
          <a:p>
            <a:pPr marL="167005" marR="160655" algn="ctr">
              <a:lnSpc>
                <a:spcPct val="118600"/>
              </a:lnSpc>
              <a:spcBef>
                <a:spcPts val="100"/>
              </a:spcBef>
            </a:pPr>
            <a:r>
              <a:rPr lang="en-US" sz="1600" b="1" dirty="0">
                <a:solidFill>
                  <a:schemeClr val="bg1"/>
                </a:solidFill>
                <a:latin typeface="+mj-lt"/>
                <a:cs typeface="Arial"/>
              </a:rPr>
              <a:t>Data Quality</a:t>
            </a:r>
            <a:endParaRPr sz="1600" b="1" dirty="0">
              <a:solidFill>
                <a:schemeClr val="bg1"/>
              </a:solidFill>
              <a:latin typeface="+mj-lt"/>
              <a:cs typeface="Arial"/>
            </a:endParaRPr>
          </a:p>
        </p:txBody>
      </p:sp>
      <p:grpSp>
        <p:nvGrpSpPr>
          <p:cNvPr id="100" name="Group 99">
            <a:extLst>
              <a:ext uri="{FF2B5EF4-FFF2-40B4-BE49-F238E27FC236}">
                <a16:creationId xmlns:a16="http://schemas.microsoft.com/office/drawing/2014/main" id="{0C140023-832E-D31A-3200-E478C742FD5C}"/>
              </a:ext>
            </a:extLst>
          </p:cNvPr>
          <p:cNvGrpSpPr/>
          <p:nvPr/>
        </p:nvGrpSpPr>
        <p:grpSpPr>
          <a:xfrm>
            <a:off x="8447386" y="1832417"/>
            <a:ext cx="3688976" cy="4383048"/>
            <a:chOff x="583687" y="407303"/>
            <a:chExt cx="2652210" cy="2724586"/>
          </a:xfrm>
        </p:grpSpPr>
        <p:sp>
          <p:nvSpPr>
            <p:cNvPr id="101" name="Свободна форма: фигура 11">
              <a:extLst>
                <a:ext uri="{FF2B5EF4-FFF2-40B4-BE49-F238E27FC236}">
                  <a16:creationId xmlns:a16="http://schemas.microsoft.com/office/drawing/2014/main" id="{0A890819-F2B9-A1BD-1D1A-DE9987E0E0D6}"/>
                </a:ext>
              </a:extLst>
            </p:cNvPr>
            <p:cNvSpPr/>
            <p:nvPr/>
          </p:nvSpPr>
          <p:spPr>
            <a:xfrm>
              <a:off x="677366" y="592080"/>
              <a:ext cx="2413000" cy="2413000"/>
            </a:xfrm>
            <a:custGeom>
              <a:avLst/>
              <a:gdLst>
                <a:gd name="connsiteX0" fmla="*/ 2422704 w 2413000"/>
                <a:gd name="connsiteY0" fmla="*/ 1249928 h 2413000"/>
                <a:gd name="connsiteX1" fmla="*/ 1806246 w 2413000"/>
                <a:gd name="connsiteY1" fmla="*/ 2259705 h 2413000"/>
                <a:gd name="connsiteX2" fmla="*/ 1647242 w 2413000"/>
                <a:gd name="connsiteY2" fmla="*/ 2330190 h 2413000"/>
                <a:gd name="connsiteX3" fmla="*/ 250115 w 2413000"/>
                <a:gd name="connsiteY3" fmla="*/ 1945126 h 2413000"/>
                <a:gd name="connsiteX4" fmla="*/ 132767 w 2413000"/>
                <a:gd name="connsiteY4" fmla="*/ 1759452 h 2413000"/>
                <a:gd name="connsiteX5" fmla="*/ 88825 w 2413000"/>
                <a:gd name="connsiteY5" fmla="*/ 705987 h 2413000"/>
                <a:gd name="connsiteX6" fmla="*/ 1371779 w 2413000"/>
                <a:gd name="connsiteY6" fmla="*/ 11551 h 2413000"/>
                <a:gd name="connsiteX7" fmla="*/ 1587425 w 2413000"/>
                <a:gd name="connsiteY7" fmla="*/ 62605 h 2413000"/>
                <a:gd name="connsiteX8" fmla="*/ 2410893 w 2413000"/>
                <a:gd name="connsiteY8" fmla="*/ 1003294 h 2413000"/>
                <a:gd name="connsiteX9" fmla="*/ 2422704 w 2413000"/>
                <a:gd name="connsiteY9" fmla="*/ 1249928 h 241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3000" h="2413000">
                  <a:moveTo>
                    <a:pt x="2422704" y="1249928"/>
                  </a:moveTo>
                  <a:cubicBezTo>
                    <a:pt x="2416354" y="1676648"/>
                    <a:pt x="2163497" y="2066030"/>
                    <a:pt x="1806246" y="2259705"/>
                  </a:cubicBezTo>
                  <a:cubicBezTo>
                    <a:pt x="1755192" y="2287391"/>
                    <a:pt x="1702106" y="2311013"/>
                    <a:pt x="1647242" y="2330190"/>
                  </a:cubicBezTo>
                  <a:cubicBezTo>
                    <a:pt x="1147878" y="2541391"/>
                    <a:pt x="564567" y="2349367"/>
                    <a:pt x="250115" y="1945126"/>
                  </a:cubicBezTo>
                  <a:cubicBezTo>
                    <a:pt x="205157" y="1887341"/>
                    <a:pt x="165787" y="1825365"/>
                    <a:pt x="132767" y="1759452"/>
                  </a:cubicBezTo>
                  <a:cubicBezTo>
                    <a:pt x="1068" y="1430268"/>
                    <a:pt x="-64718" y="1057142"/>
                    <a:pt x="88825" y="705987"/>
                  </a:cubicBezTo>
                  <a:cubicBezTo>
                    <a:pt x="308281" y="223133"/>
                    <a:pt x="835077" y="-62236"/>
                    <a:pt x="1371779" y="11551"/>
                  </a:cubicBezTo>
                  <a:cubicBezTo>
                    <a:pt x="1444931" y="22473"/>
                    <a:pt x="1517194" y="39618"/>
                    <a:pt x="1587425" y="62605"/>
                  </a:cubicBezTo>
                  <a:cubicBezTo>
                    <a:pt x="2008938" y="200527"/>
                    <a:pt x="2360855" y="548380"/>
                    <a:pt x="2410893" y="1003294"/>
                  </a:cubicBezTo>
                  <a:cubicBezTo>
                    <a:pt x="2423212" y="1082669"/>
                    <a:pt x="2427403" y="1165473"/>
                    <a:pt x="2422704" y="1249928"/>
                  </a:cubicBezTo>
                </a:path>
              </a:pathLst>
            </a:custGeom>
            <a:solidFill>
              <a:srgbClr val="FFFFFF"/>
            </a:solidFill>
            <a:ln w="12689" cap="flat">
              <a:noFill/>
              <a:prstDash val="solid"/>
              <a:miter/>
            </a:ln>
          </p:spPr>
          <p:txBody>
            <a:bodyPr rtlCol="0" anchor="ctr"/>
            <a:lstStyle/>
            <a:p>
              <a:endParaRPr lang="bg-BG"/>
            </a:p>
          </p:txBody>
        </p:sp>
        <p:sp>
          <p:nvSpPr>
            <p:cNvPr id="102" name="Свободна форма: фигура 12">
              <a:extLst>
                <a:ext uri="{FF2B5EF4-FFF2-40B4-BE49-F238E27FC236}">
                  <a16:creationId xmlns:a16="http://schemas.microsoft.com/office/drawing/2014/main" id="{2C8A9956-91B8-D029-163E-188B35CC51F4}"/>
                </a:ext>
              </a:extLst>
            </p:cNvPr>
            <p:cNvSpPr/>
            <p:nvPr/>
          </p:nvSpPr>
          <p:spPr>
            <a:xfrm>
              <a:off x="1406829" y="592140"/>
              <a:ext cx="1054100" cy="850900"/>
            </a:xfrm>
            <a:custGeom>
              <a:avLst/>
              <a:gdLst>
                <a:gd name="connsiteX0" fmla="*/ 642316 w 1054100"/>
                <a:gd name="connsiteY0" fmla="*/ 11491 h 850900"/>
                <a:gd name="connsiteX1" fmla="*/ 61672 w 1054100"/>
                <a:gd name="connsiteY1" fmla="*/ 70419 h 850900"/>
                <a:gd name="connsiteX2" fmla="*/ 66244 w 1054100"/>
                <a:gd name="connsiteY2" fmla="*/ 566227 h 850900"/>
                <a:gd name="connsiteX3" fmla="*/ 118187 w 1054100"/>
                <a:gd name="connsiteY3" fmla="*/ 647253 h 850900"/>
                <a:gd name="connsiteX4" fmla="*/ 728422 w 1054100"/>
                <a:gd name="connsiteY4" fmla="*/ 817052 h 850900"/>
                <a:gd name="connsiteX5" fmla="*/ 1032333 w 1054100"/>
                <a:gd name="connsiteY5" fmla="*/ 474660 h 850900"/>
                <a:gd name="connsiteX6" fmla="*/ 1051637 w 1054100"/>
                <a:gd name="connsiteY6" fmla="*/ 381315 h 850900"/>
                <a:gd name="connsiteX7" fmla="*/ 1014172 w 1054100"/>
                <a:gd name="connsiteY7" fmla="*/ 124775 h 850900"/>
                <a:gd name="connsiteX8" fmla="*/ 857962 w 1054100"/>
                <a:gd name="connsiteY8" fmla="*/ 62545 h 850900"/>
                <a:gd name="connsiteX9" fmla="*/ 642316 w 1054100"/>
                <a:gd name="connsiteY9" fmla="*/ 11491 h 850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54100" h="850900">
                  <a:moveTo>
                    <a:pt x="642316" y="11491"/>
                  </a:moveTo>
                  <a:cubicBezTo>
                    <a:pt x="442291" y="-15941"/>
                    <a:pt x="243536" y="6538"/>
                    <a:pt x="61672" y="70419"/>
                  </a:cubicBezTo>
                  <a:cubicBezTo>
                    <a:pt x="-26847" y="221803"/>
                    <a:pt x="-15417" y="412176"/>
                    <a:pt x="66244" y="566227"/>
                  </a:cubicBezTo>
                  <a:cubicBezTo>
                    <a:pt x="81230" y="594548"/>
                    <a:pt x="98629" y="621726"/>
                    <a:pt x="118187" y="647253"/>
                  </a:cubicBezTo>
                  <a:cubicBezTo>
                    <a:pt x="263602" y="832038"/>
                    <a:pt x="514173" y="901761"/>
                    <a:pt x="728422" y="817052"/>
                  </a:cubicBezTo>
                  <a:cubicBezTo>
                    <a:pt x="882346" y="753679"/>
                    <a:pt x="974167" y="617281"/>
                    <a:pt x="1032333" y="474660"/>
                  </a:cubicBezTo>
                  <a:cubicBezTo>
                    <a:pt x="1041858" y="444180"/>
                    <a:pt x="1048335" y="412811"/>
                    <a:pt x="1051637" y="381315"/>
                  </a:cubicBezTo>
                  <a:cubicBezTo>
                    <a:pt x="1060908" y="294701"/>
                    <a:pt x="1047192" y="205928"/>
                    <a:pt x="1014172" y="124775"/>
                  </a:cubicBezTo>
                  <a:cubicBezTo>
                    <a:pt x="963499" y="100772"/>
                    <a:pt x="911302" y="80071"/>
                    <a:pt x="857962" y="62545"/>
                  </a:cubicBezTo>
                  <a:cubicBezTo>
                    <a:pt x="787731" y="39558"/>
                    <a:pt x="715595" y="22413"/>
                    <a:pt x="642316" y="11491"/>
                  </a:cubicBezTo>
                </a:path>
              </a:pathLst>
            </a:custGeom>
            <a:solidFill>
              <a:srgbClr val="F1F0D7"/>
            </a:solidFill>
            <a:ln w="12689" cap="flat">
              <a:noFill/>
              <a:prstDash val="solid"/>
              <a:miter/>
            </a:ln>
          </p:spPr>
          <p:txBody>
            <a:bodyPr rtlCol="0" anchor="ctr"/>
            <a:lstStyle/>
            <a:p>
              <a:endParaRPr lang="bg-BG"/>
            </a:p>
          </p:txBody>
        </p:sp>
        <p:sp>
          <p:nvSpPr>
            <p:cNvPr id="103" name="Свободна форма: фигура 13">
              <a:extLst>
                <a:ext uri="{FF2B5EF4-FFF2-40B4-BE49-F238E27FC236}">
                  <a16:creationId xmlns:a16="http://schemas.microsoft.com/office/drawing/2014/main" id="{6860A326-E300-02E8-C336-B0980B1388CB}"/>
                </a:ext>
              </a:extLst>
            </p:cNvPr>
            <p:cNvSpPr/>
            <p:nvPr/>
          </p:nvSpPr>
          <p:spPr>
            <a:xfrm>
              <a:off x="1425065" y="407303"/>
              <a:ext cx="914400" cy="927100"/>
            </a:xfrm>
            <a:custGeom>
              <a:avLst/>
              <a:gdLst>
                <a:gd name="connsiteX0" fmla="*/ 143512 w 914400"/>
                <a:gd name="connsiteY0" fmla="*/ 129780 h 927100"/>
                <a:gd name="connsiteX1" fmla="*/ 580011 w 914400"/>
                <a:gd name="connsiteY1" fmla="*/ 15988 h 927100"/>
                <a:gd name="connsiteX2" fmla="*/ 642368 w 914400"/>
                <a:gd name="connsiteY2" fmla="*/ 38721 h 927100"/>
                <a:gd name="connsiteX3" fmla="*/ 923800 w 914400"/>
                <a:gd name="connsiteY3" fmla="*/ 514208 h 927100"/>
                <a:gd name="connsiteX4" fmla="*/ 906782 w 914400"/>
                <a:gd name="connsiteY4" fmla="*/ 596251 h 927100"/>
                <a:gd name="connsiteX5" fmla="*/ 639828 w 914400"/>
                <a:gd name="connsiteY5" fmla="*/ 896860 h 927100"/>
                <a:gd name="connsiteX6" fmla="*/ 104015 w 914400"/>
                <a:gd name="connsiteY6" fmla="*/ 747762 h 927100"/>
                <a:gd name="connsiteX7" fmla="*/ 58295 w 914400"/>
                <a:gd name="connsiteY7" fmla="*/ 676642 h 927100"/>
                <a:gd name="connsiteX8" fmla="*/ 81409 w 914400"/>
                <a:gd name="connsiteY8" fmla="*/ 200519 h 927100"/>
                <a:gd name="connsiteX9" fmla="*/ 143512 w 914400"/>
                <a:gd name="connsiteY9" fmla="*/ 129780 h 927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4400" h="927100">
                  <a:moveTo>
                    <a:pt x="143512" y="129780"/>
                  </a:moveTo>
                  <a:cubicBezTo>
                    <a:pt x="258193" y="14337"/>
                    <a:pt x="430659" y="-25541"/>
                    <a:pt x="580011" y="15988"/>
                  </a:cubicBezTo>
                  <a:cubicBezTo>
                    <a:pt x="601347" y="21957"/>
                    <a:pt x="622175" y="29450"/>
                    <a:pt x="642368" y="38721"/>
                  </a:cubicBezTo>
                  <a:cubicBezTo>
                    <a:pt x="835281" y="113016"/>
                    <a:pt x="944501" y="320153"/>
                    <a:pt x="923800" y="514208"/>
                  </a:cubicBezTo>
                  <a:cubicBezTo>
                    <a:pt x="920879" y="541895"/>
                    <a:pt x="915164" y="569454"/>
                    <a:pt x="906782" y="596251"/>
                  </a:cubicBezTo>
                  <a:cubicBezTo>
                    <a:pt x="855728" y="721473"/>
                    <a:pt x="774956" y="841234"/>
                    <a:pt x="639828" y="896860"/>
                  </a:cubicBezTo>
                  <a:cubicBezTo>
                    <a:pt x="451741" y="971282"/>
                    <a:pt x="231650" y="910068"/>
                    <a:pt x="104015" y="747762"/>
                  </a:cubicBezTo>
                  <a:cubicBezTo>
                    <a:pt x="86870" y="725410"/>
                    <a:pt x="71503" y="701534"/>
                    <a:pt x="58295" y="676642"/>
                  </a:cubicBezTo>
                  <a:cubicBezTo>
                    <a:pt x="-20826" y="527163"/>
                    <a:pt x="-25271" y="338568"/>
                    <a:pt x="81409" y="200519"/>
                  </a:cubicBezTo>
                  <a:cubicBezTo>
                    <a:pt x="99062" y="175500"/>
                    <a:pt x="119890" y="151623"/>
                    <a:pt x="143512" y="129780"/>
                  </a:cubicBezTo>
                </a:path>
              </a:pathLst>
            </a:custGeom>
            <a:solidFill>
              <a:srgbClr val="83CC1B"/>
            </a:solidFill>
            <a:ln w="12689" cap="flat">
              <a:noFill/>
              <a:prstDash val="solid"/>
              <a:miter/>
            </a:ln>
          </p:spPr>
          <p:txBody>
            <a:bodyPr rtlCol="0" anchor="ctr"/>
            <a:lstStyle/>
            <a:p>
              <a:endParaRPr lang="bg-BG"/>
            </a:p>
          </p:txBody>
        </p:sp>
        <p:sp>
          <p:nvSpPr>
            <p:cNvPr id="104" name="Свободна форма: фигура 14">
              <a:extLst>
                <a:ext uri="{FF2B5EF4-FFF2-40B4-BE49-F238E27FC236}">
                  <a16:creationId xmlns:a16="http://schemas.microsoft.com/office/drawing/2014/main" id="{A370B719-E309-F261-2684-CFF61C9C6592}"/>
                </a:ext>
              </a:extLst>
            </p:cNvPr>
            <p:cNvSpPr/>
            <p:nvPr/>
          </p:nvSpPr>
          <p:spPr>
            <a:xfrm>
              <a:off x="1591056" y="557657"/>
              <a:ext cx="749300" cy="774700"/>
            </a:xfrm>
            <a:custGeom>
              <a:avLst/>
              <a:gdLst>
                <a:gd name="connsiteX0" fmla="*/ 629920 w 749300"/>
                <a:gd name="connsiteY0" fmla="*/ 21209 h 774700"/>
                <a:gd name="connsiteX1" fmla="*/ 593852 w 749300"/>
                <a:gd name="connsiteY1" fmla="*/ 266573 h 774700"/>
                <a:gd name="connsiteX2" fmla="*/ 271399 w 749300"/>
                <a:gd name="connsiteY2" fmla="*/ 577850 h 774700"/>
                <a:gd name="connsiteX3" fmla="*/ 0 w 749300"/>
                <a:gd name="connsiteY3" fmla="*/ 661924 h 774700"/>
                <a:gd name="connsiteX4" fmla="*/ 473837 w 749300"/>
                <a:gd name="connsiteY4" fmla="*/ 746506 h 774700"/>
                <a:gd name="connsiteX5" fmla="*/ 740791 w 749300"/>
                <a:gd name="connsiteY5" fmla="*/ 445770 h 774700"/>
                <a:gd name="connsiteX6" fmla="*/ 757809 w 749300"/>
                <a:gd name="connsiteY6" fmla="*/ 363728 h 774700"/>
                <a:gd name="connsiteX7" fmla="*/ 638175 w 749300"/>
                <a:gd name="connsiteY7" fmla="*/ 0 h 774700"/>
                <a:gd name="connsiteX8" fmla="*/ 629920 w 749300"/>
                <a:gd name="connsiteY8" fmla="*/ 21209 h 774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9300" h="774700">
                  <a:moveTo>
                    <a:pt x="629920" y="21209"/>
                  </a:moveTo>
                  <a:cubicBezTo>
                    <a:pt x="606171" y="100711"/>
                    <a:pt x="622300" y="185928"/>
                    <a:pt x="593852" y="266573"/>
                  </a:cubicBezTo>
                  <a:cubicBezTo>
                    <a:pt x="538861" y="422148"/>
                    <a:pt x="416306" y="511683"/>
                    <a:pt x="271399" y="577850"/>
                  </a:cubicBezTo>
                  <a:cubicBezTo>
                    <a:pt x="185039" y="617220"/>
                    <a:pt x="92710" y="647192"/>
                    <a:pt x="0" y="661924"/>
                  </a:cubicBezTo>
                  <a:cubicBezTo>
                    <a:pt x="129794" y="774446"/>
                    <a:pt x="313309" y="809879"/>
                    <a:pt x="473837" y="746506"/>
                  </a:cubicBezTo>
                  <a:cubicBezTo>
                    <a:pt x="608965" y="690880"/>
                    <a:pt x="689737" y="570992"/>
                    <a:pt x="740791" y="445770"/>
                  </a:cubicBezTo>
                  <a:cubicBezTo>
                    <a:pt x="749173" y="418973"/>
                    <a:pt x="754761" y="391541"/>
                    <a:pt x="757809" y="363728"/>
                  </a:cubicBezTo>
                  <a:cubicBezTo>
                    <a:pt x="771652" y="233680"/>
                    <a:pt x="727075" y="97917"/>
                    <a:pt x="638175" y="0"/>
                  </a:cubicBezTo>
                  <a:cubicBezTo>
                    <a:pt x="634873" y="6731"/>
                    <a:pt x="632079" y="13716"/>
                    <a:pt x="629920" y="21209"/>
                  </a:cubicBezTo>
                </a:path>
              </a:pathLst>
            </a:custGeom>
            <a:solidFill>
              <a:srgbClr val="5DB723"/>
            </a:solidFill>
            <a:ln w="12689" cap="flat">
              <a:noFill/>
              <a:prstDash val="solid"/>
              <a:miter/>
            </a:ln>
          </p:spPr>
          <p:txBody>
            <a:bodyPr rtlCol="0" anchor="ctr"/>
            <a:lstStyle/>
            <a:p>
              <a:endParaRPr lang="bg-BG"/>
            </a:p>
          </p:txBody>
        </p:sp>
        <p:sp>
          <p:nvSpPr>
            <p:cNvPr id="105" name="Свободна форма: фигура 15">
              <a:extLst>
                <a:ext uri="{FF2B5EF4-FFF2-40B4-BE49-F238E27FC236}">
                  <a16:creationId xmlns:a16="http://schemas.microsoft.com/office/drawing/2014/main" id="{739ECA3D-416D-06C5-5348-BC12010E2271}"/>
                </a:ext>
              </a:extLst>
            </p:cNvPr>
            <p:cNvSpPr/>
            <p:nvPr/>
          </p:nvSpPr>
          <p:spPr>
            <a:xfrm>
              <a:off x="689991" y="1457452"/>
              <a:ext cx="2400300" cy="1549400"/>
            </a:xfrm>
            <a:custGeom>
              <a:avLst/>
              <a:gdLst>
                <a:gd name="connsiteX0" fmla="*/ 2398395 w 2400300"/>
                <a:gd name="connsiteY0" fmla="*/ 137922 h 1549400"/>
                <a:gd name="connsiteX1" fmla="*/ 2373122 w 2400300"/>
                <a:gd name="connsiteY1" fmla="*/ 0 h 1549400"/>
                <a:gd name="connsiteX2" fmla="*/ 2211197 w 2400300"/>
                <a:gd name="connsiteY2" fmla="*/ 837184 h 1549400"/>
                <a:gd name="connsiteX3" fmla="*/ 1736852 w 2400300"/>
                <a:gd name="connsiteY3" fmla="*/ 1171702 h 1549400"/>
                <a:gd name="connsiteX4" fmla="*/ 1234313 w 2400300"/>
                <a:gd name="connsiteY4" fmla="*/ 1282827 h 1549400"/>
                <a:gd name="connsiteX5" fmla="*/ 955421 w 2400300"/>
                <a:gd name="connsiteY5" fmla="*/ 1222375 h 1549400"/>
                <a:gd name="connsiteX6" fmla="*/ 736727 w 2400300"/>
                <a:gd name="connsiteY6" fmla="*/ 1105154 h 1549400"/>
                <a:gd name="connsiteX7" fmla="*/ 305308 w 2400300"/>
                <a:gd name="connsiteY7" fmla="*/ 875792 h 1549400"/>
                <a:gd name="connsiteX8" fmla="*/ 0 w 2400300"/>
                <a:gd name="connsiteY8" fmla="*/ 455930 h 1549400"/>
                <a:gd name="connsiteX9" fmla="*/ 120269 w 2400300"/>
                <a:gd name="connsiteY9" fmla="*/ 894334 h 1549400"/>
                <a:gd name="connsiteX10" fmla="*/ 237617 w 2400300"/>
                <a:gd name="connsiteY10" fmla="*/ 1080008 h 1549400"/>
                <a:gd name="connsiteX11" fmla="*/ 1634744 w 2400300"/>
                <a:gd name="connsiteY11" fmla="*/ 1464945 h 1549400"/>
                <a:gd name="connsiteX12" fmla="*/ 1793875 w 2400300"/>
                <a:gd name="connsiteY12" fmla="*/ 1394460 h 1549400"/>
                <a:gd name="connsiteX13" fmla="*/ 2410333 w 2400300"/>
                <a:gd name="connsiteY13" fmla="*/ 384683 h 1549400"/>
                <a:gd name="connsiteX14" fmla="*/ 2398395 w 2400300"/>
                <a:gd name="connsiteY14" fmla="*/ 137922 h 154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00300" h="1549400">
                  <a:moveTo>
                    <a:pt x="2398395" y="137922"/>
                  </a:moveTo>
                  <a:cubicBezTo>
                    <a:pt x="2393188" y="90805"/>
                    <a:pt x="2384552" y="44831"/>
                    <a:pt x="2373122" y="0"/>
                  </a:cubicBezTo>
                  <a:cubicBezTo>
                    <a:pt x="2423668" y="292608"/>
                    <a:pt x="2409190" y="593598"/>
                    <a:pt x="2211197" y="837184"/>
                  </a:cubicBezTo>
                  <a:cubicBezTo>
                    <a:pt x="2086483" y="990473"/>
                    <a:pt x="1911731" y="1086358"/>
                    <a:pt x="1736852" y="1171702"/>
                  </a:cubicBezTo>
                  <a:cubicBezTo>
                    <a:pt x="1576832" y="1249807"/>
                    <a:pt x="1413891" y="1294384"/>
                    <a:pt x="1234313" y="1282827"/>
                  </a:cubicBezTo>
                  <a:cubicBezTo>
                    <a:pt x="1138936" y="1276731"/>
                    <a:pt x="1044448" y="1257300"/>
                    <a:pt x="955421" y="1222375"/>
                  </a:cubicBezTo>
                  <a:cubicBezTo>
                    <a:pt x="877570" y="1191641"/>
                    <a:pt x="809752" y="1145032"/>
                    <a:pt x="736727" y="1105154"/>
                  </a:cubicBezTo>
                  <a:cubicBezTo>
                    <a:pt x="594106" y="1027176"/>
                    <a:pt x="438277" y="970788"/>
                    <a:pt x="305308" y="875792"/>
                  </a:cubicBezTo>
                  <a:cubicBezTo>
                    <a:pt x="148717" y="764032"/>
                    <a:pt x="51308" y="618363"/>
                    <a:pt x="0" y="455930"/>
                  </a:cubicBezTo>
                  <a:cubicBezTo>
                    <a:pt x="20447" y="606552"/>
                    <a:pt x="64389" y="754380"/>
                    <a:pt x="120269" y="894334"/>
                  </a:cubicBezTo>
                  <a:cubicBezTo>
                    <a:pt x="153162" y="960120"/>
                    <a:pt x="192659" y="1022223"/>
                    <a:pt x="237617" y="1080008"/>
                  </a:cubicBezTo>
                  <a:cubicBezTo>
                    <a:pt x="552069" y="1484249"/>
                    <a:pt x="1135380" y="1676273"/>
                    <a:pt x="1634744" y="1464945"/>
                  </a:cubicBezTo>
                  <a:cubicBezTo>
                    <a:pt x="1689608" y="1445768"/>
                    <a:pt x="1742821" y="1422019"/>
                    <a:pt x="1793875" y="1394460"/>
                  </a:cubicBezTo>
                  <a:cubicBezTo>
                    <a:pt x="2151126" y="1200912"/>
                    <a:pt x="2403856" y="811403"/>
                    <a:pt x="2410333" y="384683"/>
                  </a:cubicBezTo>
                  <a:cubicBezTo>
                    <a:pt x="2414778" y="300101"/>
                    <a:pt x="2410587" y="217297"/>
                    <a:pt x="2398395" y="137922"/>
                  </a:cubicBezTo>
                </a:path>
              </a:pathLst>
            </a:custGeom>
            <a:solidFill>
              <a:srgbClr val="F1F0D7"/>
            </a:solidFill>
            <a:ln w="12689" cap="flat">
              <a:noFill/>
              <a:prstDash val="solid"/>
              <a:miter/>
            </a:ln>
          </p:spPr>
          <p:txBody>
            <a:bodyPr rtlCol="0" anchor="ctr"/>
            <a:lstStyle/>
            <a:p>
              <a:endParaRPr lang="bg-BG"/>
            </a:p>
          </p:txBody>
        </p:sp>
        <p:sp>
          <p:nvSpPr>
            <p:cNvPr id="106" name="Свободна форма: фигура 16">
              <a:extLst>
                <a:ext uri="{FF2B5EF4-FFF2-40B4-BE49-F238E27FC236}">
                  <a16:creationId xmlns:a16="http://schemas.microsoft.com/office/drawing/2014/main" id="{1C5BAA28-F361-1253-08FC-D884EF5C7AB2}"/>
                </a:ext>
              </a:extLst>
            </p:cNvPr>
            <p:cNvSpPr/>
            <p:nvPr/>
          </p:nvSpPr>
          <p:spPr>
            <a:xfrm>
              <a:off x="583687" y="1455489"/>
              <a:ext cx="1308100" cy="1676400"/>
            </a:xfrm>
            <a:custGeom>
              <a:avLst/>
              <a:gdLst>
                <a:gd name="connsiteX0" fmla="*/ 46360 w 1308100"/>
                <a:gd name="connsiteY0" fmla="*/ 1455 h 1676400"/>
                <a:gd name="connsiteX1" fmla="*/ 31374 w 1308100"/>
                <a:gd name="connsiteY1" fmla="*/ 704400 h 1676400"/>
                <a:gd name="connsiteX2" fmla="*/ 281437 w 1308100"/>
                <a:gd name="connsiteY2" fmla="*/ 1276408 h 1676400"/>
                <a:gd name="connsiteX3" fmla="*/ 741939 w 1308100"/>
                <a:gd name="connsiteY3" fmla="*/ 1597972 h 1676400"/>
                <a:gd name="connsiteX4" fmla="*/ 1299215 w 1308100"/>
                <a:gd name="connsiteY4" fmla="*/ 1668838 h 1676400"/>
                <a:gd name="connsiteX5" fmla="*/ 1293119 w 1308100"/>
                <a:gd name="connsiteY5" fmla="*/ 1624007 h 1676400"/>
                <a:gd name="connsiteX6" fmla="*/ 784738 w 1308100"/>
                <a:gd name="connsiteY6" fmla="*/ 1536377 h 1676400"/>
                <a:gd name="connsiteX7" fmla="*/ 334904 w 1308100"/>
                <a:gd name="connsiteY7" fmla="*/ 1238943 h 1676400"/>
                <a:gd name="connsiteX8" fmla="*/ 81031 w 1308100"/>
                <a:gd name="connsiteY8" fmla="*/ 705797 h 1676400"/>
                <a:gd name="connsiteX9" fmla="*/ 50297 w 1308100"/>
                <a:gd name="connsiteY9" fmla="*/ 2725 h 1676400"/>
                <a:gd name="connsiteX10" fmla="*/ 46360 w 1308100"/>
                <a:gd name="connsiteY10" fmla="*/ 1455 h 167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08100" h="1676400">
                  <a:moveTo>
                    <a:pt x="46360" y="1455"/>
                  </a:moveTo>
                  <a:cubicBezTo>
                    <a:pt x="-2027" y="237548"/>
                    <a:pt x="-21077" y="467037"/>
                    <a:pt x="31374" y="704400"/>
                  </a:cubicBezTo>
                  <a:cubicBezTo>
                    <a:pt x="75062" y="901885"/>
                    <a:pt x="151516" y="1118420"/>
                    <a:pt x="281437" y="1276408"/>
                  </a:cubicBezTo>
                  <a:cubicBezTo>
                    <a:pt x="401579" y="1422331"/>
                    <a:pt x="567441" y="1528884"/>
                    <a:pt x="741939" y="1597972"/>
                  </a:cubicBezTo>
                  <a:cubicBezTo>
                    <a:pt x="909325" y="1664139"/>
                    <a:pt x="1120399" y="1718749"/>
                    <a:pt x="1299215" y="1668838"/>
                  </a:cubicBezTo>
                  <a:cubicBezTo>
                    <a:pt x="1324869" y="1661599"/>
                    <a:pt x="1318265" y="1625785"/>
                    <a:pt x="1293119" y="1624007"/>
                  </a:cubicBezTo>
                  <a:cubicBezTo>
                    <a:pt x="1117605" y="1611307"/>
                    <a:pt x="951616" y="1599369"/>
                    <a:pt x="784738" y="1536377"/>
                  </a:cubicBezTo>
                  <a:cubicBezTo>
                    <a:pt x="616463" y="1473004"/>
                    <a:pt x="453776" y="1375595"/>
                    <a:pt x="334904" y="1238943"/>
                  </a:cubicBezTo>
                  <a:cubicBezTo>
                    <a:pt x="207269" y="1092385"/>
                    <a:pt x="129672" y="891471"/>
                    <a:pt x="81031" y="705797"/>
                  </a:cubicBezTo>
                  <a:cubicBezTo>
                    <a:pt x="21722" y="479356"/>
                    <a:pt x="5720" y="232976"/>
                    <a:pt x="50297" y="2725"/>
                  </a:cubicBezTo>
                  <a:cubicBezTo>
                    <a:pt x="50805" y="-69"/>
                    <a:pt x="46868" y="-1085"/>
                    <a:pt x="46360" y="1455"/>
                  </a:cubicBezTo>
                </a:path>
              </a:pathLst>
            </a:custGeom>
            <a:solidFill>
              <a:srgbClr val="B5D385"/>
            </a:solidFill>
            <a:ln w="12689" cap="flat">
              <a:noFill/>
              <a:prstDash val="solid"/>
              <a:miter/>
            </a:ln>
          </p:spPr>
          <p:txBody>
            <a:bodyPr rtlCol="0" anchor="ctr"/>
            <a:lstStyle/>
            <a:p>
              <a:endParaRPr lang="bg-BG"/>
            </a:p>
          </p:txBody>
        </p:sp>
        <p:sp>
          <p:nvSpPr>
            <p:cNvPr id="107" name="Свободна форма: фигура 17">
              <a:extLst>
                <a:ext uri="{FF2B5EF4-FFF2-40B4-BE49-F238E27FC236}">
                  <a16:creationId xmlns:a16="http://schemas.microsoft.com/office/drawing/2014/main" id="{AA8870A4-608B-4763-A354-95A20D4643B4}"/>
                </a:ext>
              </a:extLst>
            </p:cNvPr>
            <p:cNvSpPr/>
            <p:nvPr/>
          </p:nvSpPr>
          <p:spPr>
            <a:xfrm>
              <a:off x="2489350" y="671867"/>
              <a:ext cx="685800" cy="749300"/>
            </a:xfrm>
            <a:custGeom>
              <a:avLst/>
              <a:gdLst>
                <a:gd name="connsiteX0" fmla="*/ 6454 w 685800"/>
                <a:gd name="connsiteY0" fmla="*/ 24855 h 749300"/>
                <a:gd name="connsiteX1" fmla="*/ 673839 w 685800"/>
                <a:gd name="connsiteY1" fmla="*/ 745453 h 749300"/>
                <a:gd name="connsiteX2" fmla="*/ 692508 w 685800"/>
                <a:gd name="connsiteY2" fmla="*/ 737579 h 749300"/>
                <a:gd name="connsiteX3" fmla="*/ 16614 w 685800"/>
                <a:gd name="connsiteY3" fmla="*/ 852 h 749300"/>
                <a:gd name="connsiteX4" fmla="*/ 6454 w 685800"/>
                <a:gd name="connsiteY4" fmla="*/ 24855 h 749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 h="749300">
                  <a:moveTo>
                    <a:pt x="6454" y="24855"/>
                  </a:moveTo>
                  <a:cubicBezTo>
                    <a:pt x="324208" y="165571"/>
                    <a:pt x="536806" y="434176"/>
                    <a:pt x="673839" y="745453"/>
                  </a:cubicBezTo>
                  <a:cubicBezTo>
                    <a:pt x="678665" y="756375"/>
                    <a:pt x="694921" y="748374"/>
                    <a:pt x="692508" y="737579"/>
                  </a:cubicBezTo>
                  <a:cubicBezTo>
                    <a:pt x="615673" y="406871"/>
                    <a:pt x="321668" y="123788"/>
                    <a:pt x="16614" y="852"/>
                  </a:cubicBezTo>
                  <a:cubicBezTo>
                    <a:pt x="2898" y="-4736"/>
                    <a:pt x="-7135" y="18759"/>
                    <a:pt x="6454" y="24855"/>
                  </a:cubicBezTo>
                </a:path>
              </a:pathLst>
            </a:custGeom>
            <a:solidFill>
              <a:srgbClr val="B5D385"/>
            </a:solidFill>
            <a:ln w="12689" cap="flat">
              <a:noFill/>
              <a:prstDash val="solid"/>
              <a:miter/>
            </a:ln>
          </p:spPr>
          <p:txBody>
            <a:bodyPr rtlCol="0" anchor="ctr"/>
            <a:lstStyle/>
            <a:p>
              <a:endParaRPr lang="bg-BG"/>
            </a:p>
          </p:txBody>
        </p:sp>
        <p:sp>
          <p:nvSpPr>
            <p:cNvPr id="108" name="Свободна форма: фигура 19">
              <a:extLst>
                <a:ext uri="{FF2B5EF4-FFF2-40B4-BE49-F238E27FC236}">
                  <a16:creationId xmlns:a16="http://schemas.microsoft.com/office/drawing/2014/main" id="{94BAA8CB-637C-98FD-C8AA-050FC95F9A6E}"/>
                </a:ext>
              </a:extLst>
            </p:cNvPr>
            <p:cNvSpPr/>
            <p:nvPr/>
          </p:nvSpPr>
          <p:spPr>
            <a:xfrm>
              <a:off x="641301" y="982061"/>
              <a:ext cx="254000" cy="368300"/>
            </a:xfrm>
            <a:custGeom>
              <a:avLst/>
              <a:gdLst>
                <a:gd name="connsiteX0" fmla="*/ 21004 w 254000"/>
                <a:gd name="connsiteY0" fmla="*/ 366298 h 368300"/>
                <a:gd name="connsiteX1" fmla="*/ 260399 w 254000"/>
                <a:gd name="connsiteY1" fmla="*/ 11587 h 368300"/>
                <a:gd name="connsiteX2" fmla="*/ 252271 w 254000"/>
                <a:gd name="connsiteY2" fmla="*/ 1046 h 368300"/>
                <a:gd name="connsiteX3" fmla="*/ 430 w 254000"/>
                <a:gd name="connsiteY3" fmla="*/ 360583 h 368300"/>
                <a:gd name="connsiteX4" fmla="*/ 21004 w 254000"/>
                <a:gd name="connsiteY4" fmla="*/ 366298 h 36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000" h="368300">
                  <a:moveTo>
                    <a:pt x="21004" y="366298"/>
                  </a:moveTo>
                  <a:cubicBezTo>
                    <a:pt x="71677" y="226852"/>
                    <a:pt x="155497" y="114584"/>
                    <a:pt x="260399" y="11587"/>
                  </a:cubicBezTo>
                  <a:cubicBezTo>
                    <a:pt x="265733" y="6253"/>
                    <a:pt x="258748" y="-3145"/>
                    <a:pt x="252271" y="1046"/>
                  </a:cubicBezTo>
                  <a:cubicBezTo>
                    <a:pt x="123874" y="82199"/>
                    <a:pt x="38530" y="215676"/>
                    <a:pt x="430" y="360583"/>
                  </a:cubicBezTo>
                  <a:cubicBezTo>
                    <a:pt x="-3126" y="374045"/>
                    <a:pt x="16432" y="379125"/>
                    <a:pt x="21004" y="366298"/>
                  </a:cubicBezTo>
                </a:path>
              </a:pathLst>
            </a:custGeom>
            <a:solidFill>
              <a:srgbClr val="B5D385"/>
            </a:solidFill>
            <a:ln w="12689" cap="flat">
              <a:noFill/>
              <a:prstDash val="solid"/>
              <a:miter/>
            </a:ln>
          </p:spPr>
          <p:txBody>
            <a:bodyPr rtlCol="0" anchor="ctr"/>
            <a:lstStyle/>
            <a:p>
              <a:endParaRPr lang="bg-BG"/>
            </a:p>
          </p:txBody>
        </p:sp>
        <p:sp>
          <p:nvSpPr>
            <p:cNvPr id="109" name="Свободна форма: фигура 20">
              <a:extLst>
                <a:ext uri="{FF2B5EF4-FFF2-40B4-BE49-F238E27FC236}">
                  <a16:creationId xmlns:a16="http://schemas.microsoft.com/office/drawing/2014/main" id="{64314E24-5F50-0453-162A-65E4A4346C28}"/>
                </a:ext>
              </a:extLst>
            </p:cNvPr>
            <p:cNvSpPr/>
            <p:nvPr/>
          </p:nvSpPr>
          <p:spPr>
            <a:xfrm>
              <a:off x="2257997" y="2005855"/>
              <a:ext cx="977900" cy="1066800"/>
            </a:xfrm>
            <a:custGeom>
              <a:avLst/>
              <a:gdLst>
                <a:gd name="connsiteX0" fmla="*/ 965898 w 977900"/>
                <a:gd name="connsiteY0" fmla="*/ 4555 h 1066800"/>
                <a:gd name="connsiteX1" fmla="*/ 603059 w 977900"/>
                <a:gd name="connsiteY1" fmla="*/ 633967 h 1066800"/>
                <a:gd name="connsiteX2" fmla="*/ 9461 w 977900"/>
                <a:gd name="connsiteY2" fmla="*/ 1052686 h 1066800"/>
                <a:gd name="connsiteX3" fmla="*/ 13017 w 977900"/>
                <a:gd name="connsiteY3" fmla="*/ 1078848 h 1066800"/>
                <a:gd name="connsiteX4" fmla="*/ 344233 w 977900"/>
                <a:gd name="connsiteY4" fmla="*/ 921241 h 1066800"/>
                <a:gd name="connsiteX5" fmla="*/ 626427 w 977900"/>
                <a:gd name="connsiteY5" fmla="*/ 676512 h 1066800"/>
                <a:gd name="connsiteX6" fmla="*/ 846772 w 977900"/>
                <a:gd name="connsiteY6" fmla="*/ 372474 h 1066800"/>
                <a:gd name="connsiteX7" fmla="*/ 978725 w 977900"/>
                <a:gd name="connsiteY7" fmla="*/ 7984 h 1066800"/>
                <a:gd name="connsiteX8" fmla="*/ 965898 w 977900"/>
                <a:gd name="connsiteY8" fmla="*/ 4555 h 106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7900" h="1066800">
                  <a:moveTo>
                    <a:pt x="965898" y="4555"/>
                  </a:moveTo>
                  <a:cubicBezTo>
                    <a:pt x="876871" y="229980"/>
                    <a:pt x="756602" y="445753"/>
                    <a:pt x="603059" y="633967"/>
                  </a:cubicBezTo>
                  <a:cubicBezTo>
                    <a:pt x="454469" y="816085"/>
                    <a:pt x="244665" y="1004045"/>
                    <a:pt x="9461" y="1052686"/>
                  </a:cubicBezTo>
                  <a:cubicBezTo>
                    <a:pt x="-5144" y="1055734"/>
                    <a:pt x="-1969" y="1079737"/>
                    <a:pt x="13017" y="1078848"/>
                  </a:cubicBezTo>
                  <a:cubicBezTo>
                    <a:pt x="135699" y="1071482"/>
                    <a:pt x="247332" y="990329"/>
                    <a:pt x="344233" y="921241"/>
                  </a:cubicBezTo>
                  <a:cubicBezTo>
                    <a:pt x="447230" y="847708"/>
                    <a:pt x="540067" y="769984"/>
                    <a:pt x="626427" y="676512"/>
                  </a:cubicBezTo>
                  <a:cubicBezTo>
                    <a:pt x="715835" y="579611"/>
                    <a:pt x="787590" y="491600"/>
                    <a:pt x="846772" y="372474"/>
                  </a:cubicBezTo>
                  <a:cubicBezTo>
                    <a:pt x="904430" y="256269"/>
                    <a:pt x="952690" y="135365"/>
                    <a:pt x="978725" y="7984"/>
                  </a:cubicBezTo>
                  <a:cubicBezTo>
                    <a:pt x="980249" y="-398"/>
                    <a:pt x="968946" y="-3192"/>
                    <a:pt x="965898" y="4555"/>
                  </a:cubicBezTo>
                </a:path>
              </a:pathLst>
            </a:custGeom>
            <a:solidFill>
              <a:srgbClr val="B5D385"/>
            </a:solidFill>
            <a:ln w="12689" cap="flat">
              <a:noFill/>
              <a:prstDash val="solid"/>
              <a:miter/>
            </a:ln>
          </p:spPr>
          <p:txBody>
            <a:bodyPr rtlCol="0" anchor="ctr"/>
            <a:lstStyle/>
            <a:p>
              <a:endParaRPr lang="bg-BG"/>
            </a:p>
          </p:txBody>
        </p:sp>
        <p:sp>
          <p:nvSpPr>
            <p:cNvPr id="110" name="Свободна форма: фигура 21">
              <a:extLst>
                <a:ext uri="{FF2B5EF4-FFF2-40B4-BE49-F238E27FC236}">
                  <a16:creationId xmlns:a16="http://schemas.microsoft.com/office/drawing/2014/main" id="{C5378BF5-AED8-6686-6836-7BA008471EE9}"/>
                </a:ext>
              </a:extLst>
            </p:cNvPr>
            <p:cNvSpPr/>
            <p:nvPr/>
          </p:nvSpPr>
          <p:spPr>
            <a:xfrm>
              <a:off x="1103626" y="657128"/>
              <a:ext cx="215900" cy="139700"/>
            </a:xfrm>
            <a:custGeom>
              <a:avLst/>
              <a:gdLst>
                <a:gd name="connsiteX0" fmla="*/ 28706 w 215900"/>
                <a:gd name="connsiteY0" fmla="*/ 144369 h 139700"/>
                <a:gd name="connsiteX1" fmla="*/ 125988 w 215900"/>
                <a:gd name="connsiteY1" fmla="*/ 69439 h 139700"/>
                <a:gd name="connsiteX2" fmla="*/ 218063 w 215900"/>
                <a:gd name="connsiteY2" fmla="*/ 20671 h 139700"/>
                <a:gd name="connsiteX3" fmla="*/ 212475 w 215900"/>
                <a:gd name="connsiteY3" fmla="*/ 97 h 139700"/>
                <a:gd name="connsiteX4" fmla="*/ 5211 w 215900"/>
                <a:gd name="connsiteY4" fmla="*/ 121001 h 139700"/>
                <a:gd name="connsiteX5" fmla="*/ 28706 w 215900"/>
                <a:gd name="connsiteY5" fmla="*/ 144369 h 13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5900" h="139700">
                  <a:moveTo>
                    <a:pt x="28706" y="144369"/>
                  </a:moveTo>
                  <a:cubicBezTo>
                    <a:pt x="59059" y="116556"/>
                    <a:pt x="90809" y="90775"/>
                    <a:pt x="125988" y="69439"/>
                  </a:cubicBezTo>
                  <a:cubicBezTo>
                    <a:pt x="155706" y="51532"/>
                    <a:pt x="188599" y="38832"/>
                    <a:pt x="218063" y="20671"/>
                  </a:cubicBezTo>
                  <a:cubicBezTo>
                    <a:pt x="226572" y="15464"/>
                    <a:pt x="224032" y="-1427"/>
                    <a:pt x="212475" y="97"/>
                  </a:cubicBezTo>
                  <a:cubicBezTo>
                    <a:pt x="133100" y="10257"/>
                    <a:pt x="62107" y="68677"/>
                    <a:pt x="5211" y="121001"/>
                  </a:cubicBezTo>
                  <a:cubicBezTo>
                    <a:pt x="-10537" y="135352"/>
                    <a:pt x="12958" y="158847"/>
                    <a:pt x="28706" y="144369"/>
                  </a:cubicBezTo>
                </a:path>
              </a:pathLst>
            </a:custGeom>
            <a:solidFill>
              <a:srgbClr val="B5D385"/>
            </a:solidFill>
            <a:ln w="12689" cap="flat">
              <a:noFill/>
              <a:prstDash val="solid"/>
              <a:miter/>
            </a:ln>
          </p:spPr>
          <p:txBody>
            <a:bodyPr rtlCol="0" anchor="ctr"/>
            <a:lstStyle/>
            <a:p>
              <a:endParaRPr lang="bg-BG"/>
            </a:p>
          </p:txBody>
        </p:sp>
        <p:sp>
          <p:nvSpPr>
            <p:cNvPr id="111" name="Свободна форма: фигура 23">
              <a:extLst>
                <a:ext uri="{FF2B5EF4-FFF2-40B4-BE49-F238E27FC236}">
                  <a16:creationId xmlns:a16="http://schemas.microsoft.com/office/drawing/2014/main" id="{1085D145-3D96-BBD7-E525-93595D1D018F}"/>
                </a:ext>
              </a:extLst>
            </p:cNvPr>
            <p:cNvSpPr/>
            <p:nvPr/>
          </p:nvSpPr>
          <p:spPr>
            <a:xfrm>
              <a:off x="1362964" y="907161"/>
              <a:ext cx="25400" cy="25400"/>
            </a:xfrm>
            <a:custGeom>
              <a:avLst/>
              <a:gdLst>
                <a:gd name="connsiteX0" fmla="*/ 33655 w 25400"/>
                <a:gd name="connsiteY0" fmla="*/ 15748 h 25400"/>
                <a:gd name="connsiteX1" fmla="*/ 0 w 25400"/>
                <a:gd name="connsiteY1" fmla="*/ 20447 h 25400"/>
                <a:gd name="connsiteX2" fmla="*/ 17907 w 25400"/>
                <a:gd name="connsiteY2" fmla="*/ 0 h 25400"/>
                <a:gd name="connsiteX3" fmla="*/ 33655 w 25400"/>
                <a:gd name="connsiteY3" fmla="*/ 15748 h 25400"/>
              </a:gdLst>
              <a:ahLst/>
              <a:cxnLst>
                <a:cxn ang="0">
                  <a:pos x="connsiteX0" y="connsiteY0"/>
                </a:cxn>
                <a:cxn ang="0">
                  <a:pos x="connsiteX1" y="connsiteY1"/>
                </a:cxn>
                <a:cxn ang="0">
                  <a:pos x="connsiteX2" y="connsiteY2"/>
                </a:cxn>
                <a:cxn ang="0">
                  <a:pos x="connsiteX3" y="connsiteY3"/>
                </a:cxn>
              </a:cxnLst>
              <a:rect l="l" t="t" r="r" b="b"/>
              <a:pathLst>
                <a:path w="25400" h="25400">
                  <a:moveTo>
                    <a:pt x="33655" y="15748"/>
                  </a:moveTo>
                  <a:cubicBezTo>
                    <a:pt x="22352" y="42799"/>
                    <a:pt x="11176" y="31623"/>
                    <a:pt x="0" y="20447"/>
                  </a:cubicBezTo>
                  <a:cubicBezTo>
                    <a:pt x="11176" y="9271"/>
                    <a:pt x="11176" y="9271"/>
                    <a:pt x="17907" y="0"/>
                  </a:cubicBezTo>
                  <a:cubicBezTo>
                    <a:pt x="26543" y="0"/>
                    <a:pt x="33655" y="7112"/>
                    <a:pt x="33655" y="15748"/>
                  </a:cubicBezTo>
                </a:path>
              </a:pathLst>
            </a:custGeom>
            <a:solidFill>
              <a:srgbClr val="5DB723"/>
            </a:solidFill>
            <a:ln w="12689" cap="flat">
              <a:noFill/>
              <a:prstDash val="solid"/>
              <a:miter/>
            </a:ln>
          </p:spPr>
          <p:txBody>
            <a:bodyPr rtlCol="0" anchor="ctr"/>
            <a:lstStyle/>
            <a:p>
              <a:endParaRPr lang="bg-BG"/>
            </a:p>
          </p:txBody>
        </p:sp>
        <p:sp>
          <p:nvSpPr>
            <p:cNvPr id="112" name="Свободна форма: фигура 24">
              <a:extLst>
                <a:ext uri="{FF2B5EF4-FFF2-40B4-BE49-F238E27FC236}">
                  <a16:creationId xmlns:a16="http://schemas.microsoft.com/office/drawing/2014/main" id="{F5A032D0-B1F6-1E54-8800-B913839B10F9}"/>
                </a:ext>
              </a:extLst>
            </p:cNvPr>
            <p:cNvSpPr/>
            <p:nvPr/>
          </p:nvSpPr>
          <p:spPr>
            <a:xfrm>
              <a:off x="1396492" y="1063687"/>
              <a:ext cx="25400" cy="25400"/>
            </a:xfrm>
            <a:custGeom>
              <a:avLst/>
              <a:gdLst>
                <a:gd name="connsiteX0" fmla="*/ 32385 w 25400"/>
                <a:gd name="connsiteY0" fmla="*/ 21782 h 25400"/>
                <a:gd name="connsiteX1" fmla="*/ 0 w 25400"/>
                <a:gd name="connsiteY1" fmla="*/ 9590 h 25400"/>
                <a:gd name="connsiteX2" fmla="*/ 26416 w 25400"/>
                <a:gd name="connsiteY2" fmla="*/ 192 h 25400"/>
                <a:gd name="connsiteX3" fmla="*/ 32385 w 25400"/>
                <a:gd name="connsiteY3" fmla="*/ 21782 h 25400"/>
              </a:gdLst>
              <a:ahLst/>
              <a:cxnLst>
                <a:cxn ang="0">
                  <a:pos x="connsiteX0" y="connsiteY0"/>
                </a:cxn>
                <a:cxn ang="0">
                  <a:pos x="connsiteX1" y="connsiteY1"/>
                </a:cxn>
                <a:cxn ang="0">
                  <a:pos x="connsiteX2" y="connsiteY2"/>
                </a:cxn>
                <a:cxn ang="0">
                  <a:pos x="connsiteX3" y="connsiteY3"/>
                </a:cxn>
              </a:cxnLst>
              <a:rect l="l" t="t" r="r" b="b"/>
              <a:pathLst>
                <a:path w="25400" h="25400">
                  <a:moveTo>
                    <a:pt x="32385" y="21782"/>
                  </a:moveTo>
                  <a:cubicBezTo>
                    <a:pt x="11176" y="43118"/>
                    <a:pt x="0" y="31942"/>
                    <a:pt x="0" y="9590"/>
                  </a:cubicBezTo>
                  <a:cubicBezTo>
                    <a:pt x="0" y="9590"/>
                    <a:pt x="11176" y="-1586"/>
                    <a:pt x="26416" y="192"/>
                  </a:cubicBezTo>
                  <a:cubicBezTo>
                    <a:pt x="34036" y="4383"/>
                    <a:pt x="36703" y="14162"/>
                    <a:pt x="32385" y="21782"/>
                  </a:cubicBezTo>
                </a:path>
              </a:pathLst>
            </a:custGeom>
            <a:solidFill>
              <a:srgbClr val="5DB723"/>
            </a:solidFill>
            <a:ln w="12689" cap="flat">
              <a:noFill/>
              <a:prstDash val="solid"/>
              <a:miter/>
            </a:ln>
          </p:spPr>
          <p:txBody>
            <a:bodyPr rtlCol="0" anchor="ctr"/>
            <a:lstStyle/>
            <a:p>
              <a:endParaRPr lang="bg-BG"/>
            </a:p>
          </p:txBody>
        </p:sp>
        <p:sp>
          <p:nvSpPr>
            <p:cNvPr id="113" name="Свободна форма: фигура 25">
              <a:extLst>
                <a:ext uri="{FF2B5EF4-FFF2-40B4-BE49-F238E27FC236}">
                  <a16:creationId xmlns:a16="http://schemas.microsoft.com/office/drawing/2014/main" id="{7386178D-32EF-CB81-E7DB-02809C00F294}"/>
                </a:ext>
              </a:extLst>
            </p:cNvPr>
            <p:cNvSpPr/>
            <p:nvPr/>
          </p:nvSpPr>
          <p:spPr>
            <a:xfrm>
              <a:off x="1497330" y="1203960"/>
              <a:ext cx="25400" cy="25400"/>
            </a:xfrm>
            <a:custGeom>
              <a:avLst/>
              <a:gdLst>
                <a:gd name="connsiteX0" fmla="*/ 31496 w 25400"/>
                <a:gd name="connsiteY0" fmla="*/ 21717 h 25400"/>
                <a:gd name="connsiteX1" fmla="*/ 0 w 25400"/>
                <a:gd name="connsiteY1" fmla="*/ 3556 h 25400"/>
                <a:gd name="connsiteX2" fmla="*/ 25527 w 25400"/>
                <a:gd name="connsiteY2" fmla="*/ 0 h 25400"/>
                <a:gd name="connsiteX3" fmla="*/ 31496 w 25400"/>
                <a:gd name="connsiteY3" fmla="*/ 21717 h 25400"/>
              </a:gdLst>
              <a:ahLst/>
              <a:cxnLst>
                <a:cxn ang="0">
                  <a:pos x="connsiteX0" y="connsiteY0"/>
                </a:cxn>
                <a:cxn ang="0">
                  <a:pos x="connsiteX1" y="connsiteY1"/>
                </a:cxn>
                <a:cxn ang="0">
                  <a:pos x="connsiteX2" y="connsiteY2"/>
                </a:cxn>
                <a:cxn ang="0">
                  <a:pos x="connsiteX3" y="connsiteY3"/>
                </a:cxn>
              </a:cxnLst>
              <a:rect l="l" t="t" r="r" b="b"/>
              <a:pathLst>
                <a:path w="25400" h="25400">
                  <a:moveTo>
                    <a:pt x="31496" y="21717"/>
                  </a:moveTo>
                  <a:cubicBezTo>
                    <a:pt x="11176" y="37084"/>
                    <a:pt x="0" y="25908"/>
                    <a:pt x="0" y="3556"/>
                  </a:cubicBezTo>
                  <a:cubicBezTo>
                    <a:pt x="11176" y="3556"/>
                    <a:pt x="11176" y="3556"/>
                    <a:pt x="25527" y="0"/>
                  </a:cubicBezTo>
                  <a:cubicBezTo>
                    <a:pt x="33147" y="4445"/>
                    <a:pt x="35814" y="14224"/>
                    <a:pt x="31496" y="21717"/>
                  </a:cubicBezTo>
                </a:path>
              </a:pathLst>
            </a:custGeom>
            <a:solidFill>
              <a:srgbClr val="5DB723"/>
            </a:solidFill>
            <a:ln w="12689" cap="flat">
              <a:noFill/>
              <a:prstDash val="solid"/>
              <a:miter/>
            </a:ln>
          </p:spPr>
          <p:txBody>
            <a:bodyPr rtlCol="0" anchor="ctr"/>
            <a:lstStyle/>
            <a:p>
              <a:endParaRPr lang="bg-BG"/>
            </a:p>
          </p:txBody>
        </p:sp>
        <p:sp>
          <p:nvSpPr>
            <p:cNvPr id="114" name="Свободна форма: фигура 26">
              <a:extLst>
                <a:ext uri="{FF2B5EF4-FFF2-40B4-BE49-F238E27FC236}">
                  <a16:creationId xmlns:a16="http://schemas.microsoft.com/office/drawing/2014/main" id="{8062C822-8576-B5F0-E4C0-541F96114F27}"/>
                </a:ext>
              </a:extLst>
            </p:cNvPr>
            <p:cNvSpPr/>
            <p:nvPr/>
          </p:nvSpPr>
          <p:spPr>
            <a:xfrm>
              <a:off x="2136140" y="1159590"/>
              <a:ext cx="215900" cy="165100"/>
            </a:xfrm>
            <a:custGeom>
              <a:avLst/>
              <a:gdLst>
                <a:gd name="connsiteX0" fmla="*/ 0 w 215900"/>
                <a:gd name="connsiteY0" fmla="*/ 173402 h 165100"/>
                <a:gd name="connsiteX1" fmla="*/ 209550 w 215900"/>
                <a:gd name="connsiteY1" fmla="*/ 41957 h 165100"/>
                <a:gd name="connsiteX2" fmla="*/ 129794 w 215900"/>
                <a:gd name="connsiteY2" fmla="*/ 77263 h 165100"/>
                <a:gd name="connsiteX3" fmla="*/ 0 w 215900"/>
                <a:gd name="connsiteY3" fmla="*/ 173402 h 165100"/>
              </a:gdLst>
              <a:ahLst/>
              <a:cxnLst>
                <a:cxn ang="0">
                  <a:pos x="connsiteX0" y="connsiteY0"/>
                </a:cxn>
                <a:cxn ang="0">
                  <a:pos x="connsiteX1" y="connsiteY1"/>
                </a:cxn>
                <a:cxn ang="0">
                  <a:pos x="connsiteX2" y="connsiteY2"/>
                </a:cxn>
                <a:cxn ang="0">
                  <a:pos x="connsiteX3" y="connsiteY3"/>
                </a:cxn>
              </a:cxnLst>
              <a:rect l="l" t="t" r="r" b="b"/>
              <a:pathLst>
                <a:path w="215900" h="165100">
                  <a:moveTo>
                    <a:pt x="0" y="173402"/>
                  </a:moveTo>
                  <a:cubicBezTo>
                    <a:pt x="0" y="173402"/>
                    <a:pt x="182372" y="133778"/>
                    <a:pt x="209550" y="41957"/>
                  </a:cubicBezTo>
                  <a:cubicBezTo>
                    <a:pt x="236855" y="-49864"/>
                    <a:pt x="172593" y="30908"/>
                    <a:pt x="129794" y="77263"/>
                  </a:cubicBezTo>
                  <a:cubicBezTo>
                    <a:pt x="87122" y="123618"/>
                    <a:pt x="0" y="173402"/>
                    <a:pt x="0" y="173402"/>
                  </a:cubicBezTo>
                </a:path>
              </a:pathLst>
            </a:custGeom>
            <a:solidFill>
              <a:srgbClr val="5DB723"/>
            </a:solidFill>
            <a:ln w="12689" cap="flat">
              <a:noFill/>
              <a:prstDash val="solid"/>
              <a:miter/>
            </a:ln>
          </p:spPr>
          <p:txBody>
            <a:bodyPr rtlCol="0" anchor="ctr"/>
            <a:lstStyle/>
            <a:p>
              <a:endParaRPr lang="bg-BG"/>
            </a:p>
          </p:txBody>
        </p:sp>
        <p:sp>
          <p:nvSpPr>
            <p:cNvPr id="115" name="Свободна форма: фигура 27">
              <a:extLst>
                <a:ext uri="{FF2B5EF4-FFF2-40B4-BE49-F238E27FC236}">
                  <a16:creationId xmlns:a16="http://schemas.microsoft.com/office/drawing/2014/main" id="{BC3716B4-AB8E-6C80-4367-1FD0B3E60163}"/>
                </a:ext>
              </a:extLst>
            </p:cNvPr>
            <p:cNvSpPr/>
            <p:nvPr/>
          </p:nvSpPr>
          <p:spPr>
            <a:xfrm>
              <a:off x="1442985" y="476377"/>
              <a:ext cx="114300" cy="88900"/>
            </a:xfrm>
            <a:custGeom>
              <a:avLst/>
              <a:gdLst>
                <a:gd name="connsiteX0" fmla="*/ 114670 w 114300"/>
                <a:gd name="connsiteY0" fmla="*/ 0 h 88900"/>
                <a:gd name="connsiteX1" fmla="*/ 6466 w 114300"/>
                <a:gd name="connsiteY1" fmla="*/ 55626 h 88900"/>
                <a:gd name="connsiteX2" fmla="*/ 62473 w 114300"/>
                <a:gd name="connsiteY2" fmla="*/ 58293 h 88900"/>
                <a:gd name="connsiteX3" fmla="*/ 114670 w 114300"/>
                <a:gd name="connsiteY3" fmla="*/ 0 h 88900"/>
              </a:gdLst>
              <a:ahLst/>
              <a:cxnLst>
                <a:cxn ang="0">
                  <a:pos x="connsiteX0" y="connsiteY0"/>
                </a:cxn>
                <a:cxn ang="0">
                  <a:pos x="connsiteX1" y="connsiteY1"/>
                </a:cxn>
                <a:cxn ang="0">
                  <a:pos x="connsiteX2" y="connsiteY2"/>
                </a:cxn>
                <a:cxn ang="0">
                  <a:pos x="connsiteX3" y="connsiteY3"/>
                </a:cxn>
              </a:cxnLst>
              <a:rect l="l" t="t" r="r" b="b"/>
              <a:pathLst>
                <a:path w="114300" h="88900">
                  <a:moveTo>
                    <a:pt x="114670" y="0"/>
                  </a:moveTo>
                  <a:cubicBezTo>
                    <a:pt x="114670" y="0"/>
                    <a:pt x="28564" y="12065"/>
                    <a:pt x="6466" y="55626"/>
                  </a:cubicBezTo>
                  <a:cubicBezTo>
                    <a:pt x="-15632" y="99187"/>
                    <a:pt x="22849" y="104775"/>
                    <a:pt x="62473" y="58293"/>
                  </a:cubicBezTo>
                  <a:cubicBezTo>
                    <a:pt x="101970" y="11557"/>
                    <a:pt x="114670" y="0"/>
                    <a:pt x="114670" y="0"/>
                  </a:cubicBezTo>
                </a:path>
              </a:pathLst>
            </a:custGeom>
            <a:solidFill>
              <a:srgbClr val="83CC1B"/>
            </a:solidFill>
            <a:ln w="12689" cap="flat">
              <a:noFill/>
              <a:prstDash val="solid"/>
              <a:miter/>
            </a:ln>
          </p:spPr>
          <p:txBody>
            <a:bodyPr rtlCol="0" anchor="ctr"/>
            <a:lstStyle/>
            <a:p>
              <a:endParaRPr lang="bg-BG"/>
            </a:p>
          </p:txBody>
        </p:sp>
      </p:grpSp>
      <p:sp>
        <p:nvSpPr>
          <p:cNvPr id="116" name="object 3">
            <a:extLst>
              <a:ext uri="{FF2B5EF4-FFF2-40B4-BE49-F238E27FC236}">
                <a16:creationId xmlns:a16="http://schemas.microsoft.com/office/drawing/2014/main" id="{E15AA5AE-984D-D879-F3C5-3885FE4918E5}"/>
              </a:ext>
            </a:extLst>
          </p:cNvPr>
          <p:cNvSpPr txBox="1"/>
          <p:nvPr/>
        </p:nvSpPr>
        <p:spPr>
          <a:xfrm>
            <a:off x="9470870" y="2336325"/>
            <a:ext cx="1599021" cy="286745"/>
          </a:xfrm>
          <a:prstGeom prst="rect">
            <a:avLst/>
          </a:prstGeom>
        </p:spPr>
        <p:txBody>
          <a:bodyPr vert="horz" wrap="square" lIns="0" tIns="12700" rIns="0" bIns="0" rtlCol="0">
            <a:spAutoFit/>
          </a:bodyPr>
          <a:lstStyle/>
          <a:p>
            <a:pPr marL="167005" marR="160655" algn="ctr">
              <a:lnSpc>
                <a:spcPct val="118600"/>
              </a:lnSpc>
              <a:spcBef>
                <a:spcPts val="100"/>
              </a:spcBef>
            </a:pPr>
            <a:r>
              <a:rPr lang="en-US" sz="1600" b="1" dirty="0">
                <a:latin typeface="+mj-lt"/>
                <a:cs typeface="Arial"/>
              </a:rPr>
              <a:t>Disaggregation</a:t>
            </a:r>
            <a:endParaRPr sz="1600" b="1" dirty="0">
              <a:latin typeface="+mj-lt"/>
              <a:cs typeface="Arial"/>
            </a:endParaRPr>
          </a:p>
        </p:txBody>
      </p:sp>
      <p:sp>
        <p:nvSpPr>
          <p:cNvPr id="11" name="object 3">
            <a:extLst>
              <a:ext uri="{FF2B5EF4-FFF2-40B4-BE49-F238E27FC236}">
                <a16:creationId xmlns:a16="http://schemas.microsoft.com/office/drawing/2014/main" id="{CE6E0FFA-5B4A-069D-CB84-6158266F4201}"/>
              </a:ext>
            </a:extLst>
          </p:cNvPr>
          <p:cNvSpPr txBox="1"/>
          <p:nvPr/>
        </p:nvSpPr>
        <p:spPr>
          <a:xfrm>
            <a:off x="4899708" y="3690813"/>
            <a:ext cx="2490576" cy="1027845"/>
          </a:xfrm>
          <a:prstGeom prst="rect">
            <a:avLst/>
          </a:prstGeom>
        </p:spPr>
        <p:txBody>
          <a:bodyPr vert="horz" wrap="square" lIns="0" tIns="12700" rIns="0" bIns="0" rtlCol="0">
            <a:spAutoFit/>
          </a:bodyPr>
          <a:lstStyle/>
          <a:p>
            <a:pPr marL="167005" marR="160655" algn="ctr">
              <a:lnSpc>
                <a:spcPct val="118600"/>
              </a:lnSpc>
              <a:spcBef>
                <a:spcPts val="100"/>
              </a:spcBef>
            </a:pPr>
            <a:r>
              <a:rPr lang="en-US" sz="1400" dirty="0">
                <a:latin typeface="+mj-lt"/>
                <a:cs typeface="Arial"/>
              </a:rPr>
              <a:t>Numerator</a:t>
            </a:r>
            <a:r>
              <a:rPr lang="en-US" sz="1400" dirty="0">
                <a:latin typeface="Arial"/>
                <a:cs typeface="Arial"/>
              </a:rPr>
              <a:t> </a:t>
            </a:r>
            <a:r>
              <a:rPr lang="en-US" sz="1400" b="0" dirty="0"/>
              <a:t>≤ Denominator. </a:t>
            </a:r>
            <a:r>
              <a:rPr lang="en-US" sz="1400" b="0" dirty="0" err="1"/>
              <a:t>i.e</a:t>
            </a:r>
            <a:r>
              <a:rPr lang="en-US" sz="1400" b="0" dirty="0"/>
              <a:t> % should not be greater than 100%</a:t>
            </a:r>
            <a:endParaRPr lang="en-US" sz="1400" dirty="0">
              <a:latin typeface="Arial"/>
              <a:cs typeface="Arial"/>
            </a:endParaRPr>
          </a:p>
          <a:p>
            <a:pPr marL="167005" marR="160655" algn="ctr">
              <a:lnSpc>
                <a:spcPct val="118600"/>
              </a:lnSpc>
              <a:spcBef>
                <a:spcPts val="100"/>
              </a:spcBef>
            </a:pPr>
            <a:endParaRPr sz="1400" dirty="0">
              <a:latin typeface="Arial"/>
              <a:cs typeface="Arial"/>
            </a:endParaRPr>
          </a:p>
        </p:txBody>
      </p:sp>
      <p:sp>
        <p:nvSpPr>
          <p:cNvPr id="118" name="object 3">
            <a:extLst>
              <a:ext uri="{FF2B5EF4-FFF2-40B4-BE49-F238E27FC236}">
                <a16:creationId xmlns:a16="http://schemas.microsoft.com/office/drawing/2014/main" id="{A4D33D79-1807-20C2-D5A5-3022E4EA8C46}"/>
              </a:ext>
            </a:extLst>
          </p:cNvPr>
          <p:cNvSpPr txBox="1"/>
          <p:nvPr/>
        </p:nvSpPr>
        <p:spPr>
          <a:xfrm>
            <a:off x="9244684" y="3636439"/>
            <a:ext cx="2214950" cy="1598386"/>
          </a:xfrm>
          <a:prstGeom prst="rect">
            <a:avLst/>
          </a:prstGeom>
        </p:spPr>
        <p:txBody>
          <a:bodyPr vert="horz" wrap="square" lIns="0" tIns="12700" rIns="0" bIns="0" rtlCol="0">
            <a:spAutoFit/>
          </a:bodyPr>
          <a:lstStyle/>
          <a:p>
            <a:pPr marL="167005" marR="160655" algn="ctr">
              <a:lnSpc>
                <a:spcPct val="118600"/>
              </a:lnSpc>
              <a:spcBef>
                <a:spcPts val="100"/>
              </a:spcBef>
            </a:pPr>
            <a:r>
              <a:rPr lang="en-US" sz="1400" dirty="0">
                <a:latin typeface="+mj-lt"/>
                <a:cs typeface="Arial"/>
              </a:rPr>
              <a:t>Status and age:</a:t>
            </a:r>
          </a:p>
          <a:p>
            <a:pPr marL="452755" marR="160655" indent="-285750">
              <a:lnSpc>
                <a:spcPct val="118600"/>
              </a:lnSpc>
              <a:spcBef>
                <a:spcPts val="100"/>
              </a:spcBef>
              <a:buFont typeface="Arial" panose="020B0604020202020204" pitchFamily="34" charset="0"/>
              <a:buChar char="•"/>
            </a:pPr>
            <a:r>
              <a:rPr lang="en-US" sz="1400" dirty="0">
                <a:latin typeface="+mj-lt"/>
                <a:cs typeface="Arial"/>
              </a:rPr>
              <a:t>5-year age band</a:t>
            </a:r>
          </a:p>
          <a:p>
            <a:pPr marL="452755" marR="160655" indent="-285750">
              <a:lnSpc>
                <a:spcPct val="118600"/>
              </a:lnSpc>
              <a:spcBef>
                <a:spcPts val="100"/>
              </a:spcBef>
              <a:buFont typeface="Arial" panose="020B0604020202020204" pitchFamily="34" charset="0"/>
              <a:buChar char="•"/>
            </a:pPr>
            <a:r>
              <a:rPr lang="en-US" sz="1400" dirty="0">
                <a:latin typeface="+mj-lt"/>
                <a:cs typeface="Arial"/>
              </a:rPr>
              <a:t>Known Positive</a:t>
            </a:r>
          </a:p>
          <a:p>
            <a:pPr marL="452755" marR="160655" indent="-285750">
              <a:lnSpc>
                <a:spcPct val="118600"/>
              </a:lnSpc>
              <a:spcBef>
                <a:spcPts val="100"/>
              </a:spcBef>
              <a:buFont typeface="Arial" panose="020B0604020202020204" pitchFamily="34" charset="0"/>
              <a:buChar char="•"/>
            </a:pPr>
            <a:r>
              <a:rPr lang="en-US" sz="1400" dirty="0">
                <a:latin typeface="+mj-lt"/>
                <a:cs typeface="Arial"/>
              </a:rPr>
              <a:t>Newly tested Positive</a:t>
            </a:r>
          </a:p>
          <a:p>
            <a:pPr marL="452755" marR="160655" indent="-285750">
              <a:lnSpc>
                <a:spcPct val="118600"/>
              </a:lnSpc>
              <a:spcBef>
                <a:spcPts val="100"/>
              </a:spcBef>
              <a:buFont typeface="Arial" panose="020B0604020202020204" pitchFamily="34" charset="0"/>
              <a:buChar char="•"/>
            </a:pPr>
            <a:r>
              <a:rPr lang="en-US" sz="1400" dirty="0">
                <a:latin typeface="+mj-lt"/>
                <a:cs typeface="Arial"/>
              </a:rPr>
              <a:t>New Negatives.</a:t>
            </a:r>
          </a:p>
          <a:p>
            <a:pPr marL="452755" marR="160655" indent="-285750" algn="ctr">
              <a:lnSpc>
                <a:spcPct val="118600"/>
              </a:lnSpc>
              <a:spcBef>
                <a:spcPts val="100"/>
              </a:spcBef>
              <a:buFont typeface="Arial" panose="020B0604020202020204" pitchFamily="34" charset="0"/>
              <a:buChar char="•"/>
            </a:pPr>
            <a:endParaRPr sz="1400" dirty="0">
              <a:latin typeface="+mj-lt"/>
              <a:cs typeface="Arial"/>
            </a:endParaRPr>
          </a:p>
        </p:txBody>
      </p:sp>
    </p:spTree>
    <p:extLst>
      <p:ext uri="{BB962C8B-B14F-4D97-AF65-F5344CB8AC3E}">
        <p14:creationId xmlns:p14="http://schemas.microsoft.com/office/powerpoint/2010/main" val="2914050094"/>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AC5FD8C-1AF9-4BEB-A638-5263D7C2792C}"/>
              </a:ext>
            </a:extLst>
          </p:cNvPr>
          <p:cNvSpPr/>
          <p:nvPr/>
        </p:nvSpPr>
        <p:spPr>
          <a:xfrm>
            <a:off x="0" y="3494627"/>
            <a:ext cx="12172949" cy="1242634"/>
          </a:xfrm>
          <a:prstGeom prst="rect">
            <a:avLst/>
          </a:prstGeom>
          <a:solidFill>
            <a:srgbClr val="E7E6E6"/>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2" name="Title 1">
            <a:extLst>
              <a:ext uri="{FF2B5EF4-FFF2-40B4-BE49-F238E27FC236}">
                <a16:creationId xmlns:a16="http://schemas.microsoft.com/office/drawing/2014/main" id="{1BD024B5-574F-472D-AF3D-A31FBBD0B863}"/>
              </a:ext>
            </a:extLst>
          </p:cNvPr>
          <p:cNvSpPr>
            <a:spLocks noGrp="1"/>
          </p:cNvSpPr>
          <p:nvPr>
            <p:ph type="title"/>
          </p:nvPr>
        </p:nvSpPr>
        <p:spPr>
          <a:xfrm>
            <a:off x="0" y="0"/>
            <a:ext cx="10972800" cy="1143000"/>
          </a:xfrm>
        </p:spPr>
        <p:txBody>
          <a:bodyPr>
            <a:normAutofit/>
          </a:bodyPr>
          <a:lstStyle/>
          <a:p>
            <a:r>
              <a:rPr lang="en-US" sz="3600" dirty="0">
                <a:solidFill>
                  <a:schemeClr val="tx2">
                    <a:lumMod val="75000"/>
                  </a:schemeClr>
                </a:solidFill>
              </a:rPr>
              <a:t>PMTCT_ART</a:t>
            </a:r>
            <a:endParaRPr lang="en-NG" sz="3600" dirty="0">
              <a:solidFill>
                <a:schemeClr val="tx2">
                  <a:lumMod val="75000"/>
                </a:schemeClr>
              </a:solidFill>
            </a:endParaRPr>
          </a:p>
        </p:txBody>
      </p:sp>
      <p:grpSp>
        <p:nvGrpSpPr>
          <p:cNvPr id="5" name="Group 4">
            <a:extLst>
              <a:ext uri="{FF2B5EF4-FFF2-40B4-BE49-F238E27FC236}">
                <a16:creationId xmlns:a16="http://schemas.microsoft.com/office/drawing/2014/main" id="{1133AD3F-77E3-CA29-D7B7-F85B4786A583}"/>
              </a:ext>
            </a:extLst>
          </p:cNvPr>
          <p:cNvGrpSpPr/>
          <p:nvPr/>
        </p:nvGrpSpPr>
        <p:grpSpPr>
          <a:xfrm>
            <a:off x="785655" y="1925936"/>
            <a:ext cx="2529744" cy="4226674"/>
            <a:chOff x="843884" y="2079348"/>
            <a:chExt cx="2529744" cy="1871686"/>
          </a:xfrm>
        </p:grpSpPr>
        <p:pic>
          <p:nvPicPr>
            <p:cNvPr id="6" name="Картина 75">
              <a:extLst>
                <a:ext uri="{FF2B5EF4-FFF2-40B4-BE49-F238E27FC236}">
                  <a16:creationId xmlns:a16="http://schemas.microsoft.com/office/drawing/2014/main" id="{6C58ADA0-4E71-7A4B-C233-F5406EA79A3B}"/>
                </a:ext>
              </a:extLst>
            </p:cNvPr>
            <p:cNvPicPr>
              <a:picLocks noChangeAspect="1"/>
            </p:cNvPicPr>
            <p:nvPr/>
          </p:nvPicPr>
          <p:blipFill>
            <a:blip r:embed="rId3"/>
            <a:stretch>
              <a:fillRect/>
            </a:stretch>
          </p:blipFill>
          <p:spPr>
            <a:xfrm>
              <a:off x="871728" y="2249234"/>
              <a:ext cx="2501900" cy="1701800"/>
            </a:xfrm>
            <a:custGeom>
              <a:avLst/>
              <a:gdLst>
                <a:gd name="connsiteX0" fmla="*/ 0 w 2501900"/>
                <a:gd name="connsiteY0" fmla="*/ 0 h 1701800"/>
                <a:gd name="connsiteX1" fmla="*/ 2508504 w 2501900"/>
                <a:gd name="connsiteY1" fmla="*/ 0 h 1701800"/>
                <a:gd name="connsiteX2" fmla="*/ 2508504 w 2501900"/>
                <a:gd name="connsiteY2" fmla="*/ 1706880 h 1701800"/>
                <a:gd name="connsiteX3" fmla="*/ 0 w 2501900"/>
                <a:gd name="connsiteY3" fmla="*/ 1706880 h 1701800"/>
              </a:gdLst>
              <a:ahLst/>
              <a:cxnLst>
                <a:cxn ang="0">
                  <a:pos x="connsiteX0" y="connsiteY0"/>
                </a:cxn>
                <a:cxn ang="0">
                  <a:pos x="connsiteX1" y="connsiteY1"/>
                </a:cxn>
                <a:cxn ang="0">
                  <a:pos x="connsiteX2" y="connsiteY2"/>
                </a:cxn>
                <a:cxn ang="0">
                  <a:pos x="connsiteX3" y="connsiteY3"/>
                </a:cxn>
              </a:cxnLst>
              <a:rect l="l" t="t" r="r" b="b"/>
              <a:pathLst>
                <a:path w="2501900" h="1701800">
                  <a:moveTo>
                    <a:pt x="0" y="0"/>
                  </a:moveTo>
                  <a:lnTo>
                    <a:pt x="2508504" y="0"/>
                  </a:lnTo>
                  <a:lnTo>
                    <a:pt x="2508504" y="1706880"/>
                  </a:lnTo>
                  <a:lnTo>
                    <a:pt x="0" y="1706880"/>
                  </a:lnTo>
                  <a:close/>
                </a:path>
              </a:pathLst>
            </a:custGeom>
            <a:ln/>
          </p:spPr>
        </p:pic>
        <p:sp>
          <p:nvSpPr>
            <p:cNvPr id="7" name="Свободна форма: фигура 76">
              <a:extLst>
                <a:ext uri="{FF2B5EF4-FFF2-40B4-BE49-F238E27FC236}">
                  <a16:creationId xmlns:a16="http://schemas.microsoft.com/office/drawing/2014/main" id="{41BABE07-E017-2B32-6332-47B1ACDB5325}"/>
                </a:ext>
              </a:extLst>
            </p:cNvPr>
            <p:cNvSpPr/>
            <p:nvPr/>
          </p:nvSpPr>
          <p:spPr>
            <a:xfrm>
              <a:off x="973455" y="2350643"/>
              <a:ext cx="2197100" cy="1397000"/>
            </a:xfrm>
            <a:custGeom>
              <a:avLst/>
              <a:gdLst>
                <a:gd name="connsiteX0" fmla="*/ 2138807 w 2197100"/>
                <a:gd name="connsiteY0" fmla="*/ 1398270 h 1397000"/>
                <a:gd name="connsiteX1" fmla="*/ 64897 w 2197100"/>
                <a:gd name="connsiteY1" fmla="*/ 1398270 h 1397000"/>
                <a:gd name="connsiteX2" fmla="*/ 0 w 2197100"/>
                <a:gd name="connsiteY2" fmla="*/ 1333373 h 1397000"/>
                <a:gd name="connsiteX3" fmla="*/ 0 w 2197100"/>
                <a:gd name="connsiteY3" fmla="*/ 64897 h 1397000"/>
                <a:gd name="connsiteX4" fmla="*/ 64897 w 2197100"/>
                <a:gd name="connsiteY4" fmla="*/ 0 h 1397000"/>
                <a:gd name="connsiteX5" fmla="*/ 2138807 w 2197100"/>
                <a:gd name="connsiteY5" fmla="*/ 0 h 1397000"/>
                <a:gd name="connsiteX6" fmla="*/ 2203704 w 2197100"/>
                <a:gd name="connsiteY6" fmla="*/ 64897 h 1397000"/>
                <a:gd name="connsiteX7" fmla="*/ 2203704 w 2197100"/>
                <a:gd name="connsiteY7" fmla="*/ 1333373 h 1397000"/>
                <a:gd name="connsiteX8" fmla="*/ 2138807 w 2197100"/>
                <a:gd name="connsiteY8" fmla="*/ 1398270 h 139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7100" h="1397000">
                  <a:moveTo>
                    <a:pt x="2138807" y="1398270"/>
                  </a:moveTo>
                  <a:lnTo>
                    <a:pt x="64897" y="1398270"/>
                  </a:lnTo>
                  <a:cubicBezTo>
                    <a:pt x="29083" y="1398270"/>
                    <a:pt x="0" y="1369187"/>
                    <a:pt x="0" y="1333373"/>
                  </a:cubicBezTo>
                  <a:lnTo>
                    <a:pt x="0" y="64897"/>
                  </a:lnTo>
                  <a:cubicBezTo>
                    <a:pt x="0" y="29083"/>
                    <a:pt x="29083" y="0"/>
                    <a:pt x="64897" y="0"/>
                  </a:cubicBezTo>
                  <a:lnTo>
                    <a:pt x="2138807" y="0"/>
                  </a:lnTo>
                  <a:cubicBezTo>
                    <a:pt x="2174621" y="0"/>
                    <a:pt x="2203704" y="29083"/>
                    <a:pt x="2203704" y="64897"/>
                  </a:cubicBezTo>
                  <a:lnTo>
                    <a:pt x="2203704" y="1333373"/>
                  </a:lnTo>
                  <a:cubicBezTo>
                    <a:pt x="2203704" y="1369187"/>
                    <a:pt x="2174621" y="1398270"/>
                    <a:pt x="2138807" y="1398270"/>
                  </a:cubicBezTo>
                </a:path>
              </a:pathLst>
            </a:custGeom>
            <a:solidFill>
              <a:srgbClr val="F4F4F4"/>
            </a:solidFill>
            <a:ln w="12689" cap="flat">
              <a:noFill/>
              <a:prstDash val="solid"/>
              <a:miter/>
            </a:ln>
          </p:spPr>
          <p:txBody>
            <a:bodyPr rtlCol="0" anchor="ctr"/>
            <a:lstStyle/>
            <a:p>
              <a:pPr algn="ctr"/>
              <a:r>
                <a:rPr lang="en-US" sz="1400" dirty="0">
                  <a:effectLst/>
                  <a:latin typeface="Calibri" panose="020F0502020204030204" pitchFamily="34" charset="0"/>
                  <a:ea typeface="Calibri" panose="020F0502020204030204" pitchFamily="34" charset="0"/>
                  <a:cs typeface="Times New Roman" panose="02020603050405020304" pitchFamily="18" charset="0"/>
                </a:rPr>
                <a:t>Percentage of HIV-positive pregnant women who received ART to reduce the risk of mother-to-child-transmission (MTCT) during pregnancy.</a:t>
              </a:r>
              <a:endParaRPr lang="bg-BG" sz="1400" dirty="0"/>
            </a:p>
          </p:txBody>
        </p:sp>
        <p:pic>
          <p:nvPicPr>
            <p:cNvPr id="8" name="Картина 77">
              <a:extLst>
                <a:ext uri="{FF2B5EF4-FFF2-40B4-BE49-F238E27FC236}">
                  <a16:creationId xmlns:a16="http://schemas.microsoft.com/office/drawing/2014/main" id="{FAA37948-0743-F862-1314-FDC07A57BA95}"/>
                </a:ext>
              </a:extLst>
            </p:cNvPr>
            <p:cNvPicPr>
              <a:picLocks noChangeAspect="1"/>
            </p:cNvPicPr>
            <p:nvPr/>
          </p:nvPicPr>
          <p:blipFill>
            <a:blip r:embed="rId4"/>
            <a:stretch>
              <a:fillRect/>
            </a:stretch>
          </p:blipFill>
          <p:spPr>
            <a:xfrm>
              <a:off x="843884" y="2193214"/>
              <a:ext cx="2501900" cy="673100"/>
            </a:xfrm>
            <a:custGeom>
              <a:avLst/>
              <a:gdLst>
                <a:gd name="connsiteX0" fmla="*/ 0 w 2501900"/>
                <a:gd name="connsiteY0" fmla="*/ 0 h 673100"/>
                <a:gd name="connsiteX1" fmla="*/ 2508504 w 2501900"/>
                <a:gd name="connsiteY1" fmla="*/ 0 h 673100"/>
                <a:gd name="connsiteX2" fmla="*/ 2508504 w 2501900"/>
                <a:gd name="connsiteY2" fmla="*/ 676656 h 673100"/>
                <a:gd name="connsiteX3" fmla="*/ 0 w 2501900"/>
                <a:gd name="connsiteY3" fmla="*/ 676656 h 673100"/>
              </a:gdLst>
              <a:ahLst/>
              <a:cxnLst>
                <a:cxn ang="0">
                  <a:pos x="connsiteX0" y="connsiteY0"/>
                </a:cxn>
                <a:cxn ang="0">
                  <a:pos x="connsiteX1" y="connsiteY1"/>
                </a:cxn>
                <a:cxn ang="0">
                  <a:pos x="connsiteX2" y="connsiteY2"/>
                </a:cxn>
                <a:cxn ang="0">
                  <a:pos x="connsiteX3" y="connsiteY3"/>
                </a:cxn>
              </a:cxnLst>
              <a:rect l="l" t="t" r="r" b="b"/>
              <a:pathLst>
                <a:path w="2501900" h="673100">
                  <a:moveTo>
                    <a:pt x="0" y="0"/>
                  </a:moveTo>
                  <a:lnTo>
                    <a:pt x="2508504" y="0"/>
                  </a:lnTo>
                  <a:lnTo>
                    <a:pt x="2508504" y="676656"/>
                  </a:lnTo>
                  <a:lnTo>
                    <a:pt x="0" y="676656"/>
                  </a:lnTo>
                  <a:close/>
                </a:path>
              </a:pathLst>
            </a:custGeom>
            <a:ln/>
          </p:spPr>
        </p:pic>
        <p:sp>
          <p:nvSpPr>
            <p:cNvPr id="9" name="Свободна форма: фигура 79">
              <a:extLst>
                <a:ext uri="{FF2B5EF4-FFF2-40B4-BE49-F238E27FC236}">
                  <a16:creationId xmlns:a16="http://schemas.microsoft.com/office/drawing/2014/main" id="{84AAB4F2-64AB-2903-AEEC-41602F9CD501}"/>
                </a:ext>
              </a:extLst>
            </p:cNvPr>
            <p:cNvSpPr/>
            <p:nvPr/>
          </p:nvSpPr>
          <p:spPr>
            <a:xfrm>
              <a:off x="871728" y="2079348"/>
              <a:ext cx="2413000" cy="573638"/>
            </a:xfrm>
            <a:custGeom>
              <a:avLst/>
              <a:gdLst>
                <a:gd name="connsiteX0" fmla="*/ 2357120 w 2413000"/>
                <a:gd name="connsiteY0" fmla="*/ 613664 h 609600"/>
                <a:gd name="connsiteX1" fmla="*/ 64897 w 2413000"/>
                <a:gd name="connsiteY1" fmla="*/ 613664 h 609600"/>
                <a:gd name="connsiteX2" fmla="*/ 0 w 2413000"/>
                <a:gd name="connsiteY2" fmla="*/ 548767 h 609600"/>
                <a:gd name="connsiteX3" fmla="*/ 0 w 2413000"/>
                <a:gd name="connsiteY3" fmla="*/ 64897 h 609600"/>
                <a:gd name="connsiteX4" fmla="*/ 64897 w 2413000"/>
                <a:gd name="connsiteY4" fmla="*/ 0 h 609600"/>
                <a:gd name="connsiteX5" fmla="*/ 2357120 w 2413000"/>
                <a:gd name="connsiteY5" fmla="*/ 0 h 609600"/>
                <a:gd name="connsiteX6" fmla="*/ 2422017 w 2413000"/>
                <a:gd name="connsiteY6" fmla="*/ 64897 h 609600"/>
                <a:gd name="connsiteX7" fmla="*/ 2422017 w 2413000"/>
                <a:gd name="connsiteY7" fmla="*/ 548767 h 609600"/>
                <a:gd name="connsiteX8" fmla="*/ 2357120 w 2413000"/>
                <a:gd name="connsiteY8" fmla="*/ 613664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13000" h="609600">
                  <a:moveTo>
                    <a:pt x="2357120" y="613664"/>
                  </a:moveTo>
                  <a:lnTo>
                    <a:pt x="64897" y="613664"/>
                  </a:lnTo>
                  <a:cubicBezTo>
                    <a:pt x="29083" y="613664"/>
                    <a:pt x="0" y="584581"/>
                    <a:pt x="0" y="548767"/>
                  </a:cubicBezTo>
                  <a:lnTo>
                    <a:pt x="0" y="64897"/>
                  </a:lnTo>
                  <a:cubicBezTo>
                    <a:pt x="0" y="29083"/>
                    <a:pt x="29083" y="0"/>
                    <a:pt x="64897" y="0"/>
                  </a:cubicBezTo>
                  <a:lnTo>
                    <a:pt x="2357120" y="0"/>
                  </a:lnTo>
                  <a:cubicBezTo>
                    <a:pt x="2392934" y="0"/>
                    <a:pt x="2422017" y="29083"/>
                    <a:pt x="2422017" y="64897"/>
                  </a:cubicBezTo>
                  <a:lnTo>
                    <a:pt x="2422017" y="548767"/>
                  </a:lnTo>
                  <a:cubicBezTo>
                    <a:pt x="2422017" y="584708"/>
                    <a:pt x="2392934" y="613664"/>
                    <a:pt x="2357120" y="613664"/>
                  </a:cubicBezTo>
                </a:path>
              </a:pathLst>
            </a:custGeom>
            <a:solidFill>
              <a:schemeClr val="accent1"/>
            </a:solidFill>
            <a:ln w="12689" cap="flat">
              <a:noFill/>
              <a:prstDash val="solid"/>
              <a:miter/>
            </a:ln>
          </p:spPr>
          <p:txBody>
            <a:bodyPr rtlCol="0" anchor="ctr"/>
            <a:lstStyle/>
            <a:p>
              <a:r>
                <a:rPr lang="en-US" dirty="0"/>
                <a:t>          Description</a:t>
              </a:r>
              <a:endParaRPr lang="bg-BG" dirty="0"/>
            </a:p>
          </p:txBody>
        </p:sp>
      </p:grpSp>
      <p:grpSp>
        <p:nvGrpSpPr>
          <p:cNvPr id="19" name="Group 18">
            <a:extLst>
              <a:ext uri="{FF2B5EF4-FFF2-40B4-BE49-F238E27FC236}">
                <a16:creationId xmlns:a16="http://schemas.microsoft.com/office/drawing/2014/main" id="{2EA1526F-0DBB-53B8-AC8E-775264D398E6}"/>
              </a:ext>
            </a:extLst>
          </p:cNvPr>
          <p:cNvGrpSpPr/>
          <p:nvPr/>
        </p:nvGrpSpPr>
        <p:grpSpPr>
          <a:xfrm>
            <a:off x="5005230" y="1925936"/>
            <a:ext cx="2529744" cy="4226674"/>
            <a:chOff x="843884" y="2079348"/>
            <a:chExt cx="2529744" cy="1871686"/>
          </a:xfrm>
        </p:grpSpPr>
        <p:pic>
          <p:nvPicPr>
            <p:cNvPr id="20" name="Картина 75">
              <a:extLst>
                <a:ext uri="{FF2B5EF4-FFF2-40B4-BE49-F238E27FC236}">
                  <a16:creationId xmlns:a16="http://schemas.microsoft.com/office/drawing/2014/main" id="{E62E6D58-7EAB-5CC5-963C-32457C95ECDD}"/>
                </a:ext>
              </a:extLst>
            </p:cNvPr>
            <p:cNvPicPr>
              <a:picLocks noChangeAspect="1"/>
            </p:cNvPicPr>
            <p:nvPr/>
          </p:nvPicPr>
          <p:blipFill>
            <a:blip r:embed="rId3"/>
            <a:stretch>
              <a:fillRect/>
            </a:stretch>
          </p:blipFill>
          <p:spPr>
            <a:xfrm>
              <a:off x="871728" y="2249234"/>
              <a:ext cx="2501900" cy="1701800"/>
            </a:xfrm>
            <a:custGeom>
              <a:avLst/>
              <a:gdLst>
                <a:gd name="connsiteX0" fmla="*/ 0 w 2501900"/>
                <a:gd name="connsiteY0" fmla="*/ 0 h 1701800"/>
                <a:gd name="connsiteX1" fmla="*/ 2508504 w 2501900"/>
                <a:gd name="connsiteY1" fmla="*/ 0 h 1701800"/>
                <a:gd name="connsiteX2" fmla="*/ 2508504 w 2501900"/>
                <a:gd name="connsiteY2" fmla="*/ 1706880 h 1701800"/>
                <a:gd name="connsiteX3" fmla="*/ 0 w 2501900"/>
                <a:gd name="connsiteY3" fmla="*/ 1706880 h 1701800"/>
              </a:gdLst>
              <a:ahLst/>
              <a:cxnLst>
                <a:cxn ang="0">
                  <a:pos x="connsiteX0" y="connsiteY0"/>
                </a:cxn>
                <a:cxn ang="0">
                  <a:pos x="connsiteX1" y="connsiteY1"/>
                </a:cxn>
                <a:cxn ang="0">
                  <a:pos x="connsiteX2" y="connsiteY2"/>
                </a:cxn>
                <a:cxn ang="0">
                  <a:pos x="connsiteX3" y="connsiteY3"/>
                </a:cxn>
              </a:cxnLst>
              <a:rect l="l" t="t" r="r" b="b"/>
              <a:pathLst>
                <a:path w="2501900" h="1701800">
                  <a:moveTo>
                    <a:pt x="0" y="0"/>
                  </a:moveTo>
                  <a:lnTo>
                    <a:pt x="2508504" y="0"/>
                  </a:lnTo>
                  <a:lnTo>
                    <a:pt x="2508504" y="1706880"/>
                  </a:lnTo>
                  <a:lnTo>
                    <a:pt x="0" y="1706880"/>
                  </a:lnTo>
                  <a:close/>
                </a:path>
              </a:pathLst>
            </a:custGeom>
            <a:ln/>
          </p:spPr>
        </p:pic>
        <p:sp>
          <p:nvSpPr>
            <p:cNvPr id="21" name="Свободна форма: фигура 76">
              <a:extLst>
                <a:ext uri="{FF2B5EF4-FFF2-40B4-BE49-F238E27FC236}">
                  <a16:creationId xmlns:a16="http://schemas.microsoft.com/office/drawing/2014/main" id="{A8F78D0F-2B6C-B6ED-DF33-6E03410B9A6F}"/>
                </a:ext>
              </a:extLst>
            </p:cNvPr>
            <p:cNvSpPr/>
            <p:nvPr/>
          </p:nvSpPr>
          <p:spPr>
            <a:xfrm>
              <a:off x="973455" y="2350643"/>
              <a:ext cx="2197100" cy="1397000"/>
            </a:xfrm>
            <a:custGeom>
              <a:avLst/>
              <a:gdLst>
                <a:gd name="connsiteX0" fmla="*/ 2138807 w 2197100"/>
                <a:gd name="connsiteY0" fmla="*/ 1398270 h 1397000"/>
                <a:gd name="connsiteX1" fmla="*/ 64897 w 2197100"/>
                <a:gd name="connsiteY1" fmla="*/ 1398270 h 1397000"/>
                <a:gd name="connsiteX2" fmla="*/ 0 w 2197100"/>
                <a:gd name="connsiteY2" fmla="*/ 1333373 h 1397000"/>
                <a:gd name="connsiteX3" fmla="*/ 0 w 2197100"/>
                <a:gd name="connsiteY3" fmla="*/ 64897 h 1397000"/>
                <a:gd name="connsiteX4" fmla="*/ 64897 w 2197100"/>
                <a:gd name="connsiteY4" fmla="*/ 0 h 1397000"/>
                <a:gd name="connsiteX5" fmla="*/ 2138807 w 2197100"/>
                <a:gd name="connsiteY5" fmla="*/ 0 h 1397000"/>
                <a:gd name="connsiteX6" fmla="*/ 2203704 w 2197100"/>
                <a:gd name="connsiteY6" fmla="*/ 64897 h 1397000"/>
                <a:gd name="connsiteX7" fmla="*/ 2203704 w 2197100"/>
                <a:gd name="connsiteY7" fmla="*/ 1333373 h 1397000"/>
                <a:gd name="connsiteX8" fmla="*/ 2138807 w 2197100"/>
                <a:gd name="connsiteY8" fmla="*/ 1398270 h 139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7100" h="1397000">
                  <a:moveTo>
                    <a:pt x="2138807" y="1398270"/>
                  </a:moveTo>
                  <a:lnTo>
                    <a:pt x="64897" y="1398270"/>
                  </a:lnTo>
                  <a:cubicBezTo>
                    <a:pt x="29083" y="1398270"/>
                    <a:pt x="0" y="1369187"/>
                    <a:pt x="0" y="1333373"/>
                  </a:cubicBezTo>
                  <a:lnTo>
                    <a:pt x="0" y="64897"/>
                  </a:lnTo>
                  <a:cubicBezTo>
                    <a:pt x="0" y="29083"/>
                    <a:pt x="29083" y="0"/>
                    <a:pt x="64897" y="0"/>
                  </a:cubicBezTo>
                  <a:lnTo>
                    <a:pt x="2138807" y="0"/>
                  </a:lnTo>
                  <a:cubicBezTo>
                    <a:pt x="2174621" y="0"/>
                    <a:pt x="2203704" y="29083"/>
                    <a:pt x="2203704" y="64897"/>
                  </a:cubicBezTo>
                  <a:lnTo>
                    <a:pt x="2203704" y="1333373"/>
                  </a:lnTo>
                  <a:cubicBezTo>
                    <a:pt x="2203704" y="1369187"/>
                    <a:pt x="2174621" y="1398270"/>
                    <a:pt x="2138807" y="1398270"/>
                  </a:cubicBezTo>
                </a:path>
              </a:pathLst>
            </a:custGeom>
            <a:solidFill>
              <a:srgbClr val="F4F4F4"/>
            </a:solidFill>
            <a:ln w="12689" cap="flat">
              <a:noFill/>
              <a:prstDash val="solid"/>
              <a:miter/>
            </a:ln>
          </p:spPr>
          <p:txBody>
            <a:bodyPr rtlCol="0" anchor="ctr"/>
            <a:lstStyle/>
            <a:p>
              <a:pPr algn="ctr"/>
              <a:r>
                <a:rPr lang="en-US" sz="1400" dirty="0">
                  <a:effectLst/>
                  <a:latin typeface="Calibri" panose="020F0502020204030204" pitchFamily="34" charset="0"/>
                  <a:ea typeface="Calibri" panose="020F0502020204030204" pitchFamily="34" charset="0"/>
                  <a:cs typeface="Times New Roman" panose="02020603050405020304" pitchFamily="18" charset="0"/>
                </a:rPr>
                <a:t>Number of pregnant women with known HIV positive status at first antenatal care visit.</a:t>
              </a:r>
              <a:endParaRPr lang="en-NG" sz="1400" dirty="0">
                <a:effectLst/>
                <a:latin typeface="Calibri" panose="020F0502020204030204" pitchFamily="34" charset="0"/>
                <a:ea typeface="Calibri" panose="020F0502020204030204" pitchFamily="34" charset="0"/>
                <a:cs typeface="Times New Roman" panose="02020603050405020304" pitchFamily="18" charset="0"/>
              </a:endParaRPr>
            </a:p>
            <a:p>
              <a:pPr algn="ctr"/>
              <a:endParaRPr lang="bg-BG" sz="1400" dirty="0"/>
            </a:p>
          </p:txBody>
        </p:sp>
        <p:pic>
          <p:nvPicPr>
            <p:cNvPr id="22" name="Картина 77">
              <a:extLst>
                <a:ext uri="{FF2B5EF4-FFF2-40B4-BE49-F238E27FC236}">
                  <a16:creationId xmlns:a16="http://schemas.microsoft.com/office/drawing/2014/main" id="{6A2E83C2-AF99-C499-43C2-324F693D95FE}"/>
                </a:ext>
              </a:extLst>
            </p:cNvPr>
            <p:cNvPicPr>
              <a:picLocks noChangeAspect="1"/>
            </p:cNvPicPr>
            <p:nvPr/>
          </p:nvPicPr>
          <p:blipFill>
            <a:blip r:embed="rId4"/>
            <a:stretch>
              <a:fillRect/>
            </a:stretch>
          </p:blipFill>
          <p:spPr>
            <a:xfrm>
              <a:off x="843884" y="2193214"/>
              <a:ext cx="2501900" cy="673100"/>
            </a:xfrm>
            <a:custGeom>
              <a:avLst/>
              <a:gdLst>
                <a:gd name="connsiteX0" fmla="*/ 0 w 2501900"/>
                <a:gd name="connsiteY0" fmla="*/ 0 h 673100"/>
                <a:gd name="connsiteX1" fmla="*/ 2508504 w 2501900"/>
                <a:gd name="connsiteY1" fmla="*/ 0 h 673100"/>
                <a:gd name="connsiteX2" fmla="*/ 2508504 w 2501900"/>
                <a:gd name="connsiteY2" fmla="*/ 676656 h 673100"/>
                <a:gd name="connsiteX3" fmla="*/ 0 w 2501900"/>
                <a:gd name="connsiteY3" fmla="*/ 676656 h 673100"/>
              </a:gdLst>
              <a:ahLst/>
              <a:cxnLst>
                <a:cxn ang="0">
                  <a:pos x="connsiteX0" y="connsiteY0"/>
                </a:cxn>
                <a:cxn ang="0">
                  <a:pos x="connsiteX1" y="connsiteY1"/>
                </a:cxn>
                <a:cxn ang="0">
                  <a:pos x="connsiteX2" y="connsiteY2"/>
                </a:cxn>
                <a:cxn ang="0">
                  <a:pos x="connsiteX3" y="connsiteY3"/>
                </a:cxn>
              </a:cxnLst>
              <a:rect l="l" t="t" r="r" b="b"/>
              <a:pathLst>
                <a:path w="2501900" h="673100">
                  <a:moveTo>
                    <a:pt x="0" y="0"/>
                  </a:moveTo>
                  <a:lnTo>
                    <a:pt x="2508504" y="0"/>
                  </a:lnTo>
                  <a:lnTo>
                    <a:pt x="2508504" y="676656"/>
                  </a:lnTo>
                  <a:lnTo>
                    <a:pt x="0" y="676656"/>
                  </a:lnTo>
                  <a:close/>
                </a:path>
              </a:pathLst>
            </a:custGeom>
            <a:ln/>
          </p:spPr>
        </p:pic>
        <p:sp>
          <p:nvSpPr>
            <p:cNvPr id="23" name="Свободна форма: фигура 79">
              <a:extLst>
                <a:ext uri="{FF2B5EF4-FFF2-40B4-BE49-F238E27FC236}">
                  <a16:creationId xmlns:a16="http://schemas.microsoft.com/office/drawing/2014/main" id="{94732E2C-5C7B-75AE-572C-977C1DE1FF5B}"/>
                </a:ext>
              </a:extLst>
            </p:cNvPr>
            <p:cNvSpPr/>
            <p:nvPr/>
          </p:nvSpPr>
          <p:spPr>
            <a:xfrm>
              <a:off x="871728" y="2079348"/>
              <a:ext cx="2413000" cy="573638"/>
            </a:xfrm>
            <a:custGeom>
              <a:avLst/>
              <a:gdLst>
                <a:gd name="connsiteX0" fmla="*/ 2357120 w 2413000"/>
                <a:gd name="connsiteY0" fmla="*/ 613664 h 609600"/>
                <a:gd name="connsiteX1" fmla="*/ 64897 w 2413000"/>
                <a:gd name="connsiteY1" fmla="*/ 613664 h 609600"/>
                <a:gd name="connsiteX2" fmla="*/ 0 w 2413000"/>
                <a:gd name="connsiteY2" fmla="*/ 548767 h 609600"/>
                <a:gd name="connsiteX3" fmla="*/ 0 w 2413000"/>
                <a:gd name="connsiteY3" fmla="*/ 64897 h 609600"/>
                <a:gd name="connsiteX4" fmla="*/ 64897 w 2413000"/>
                <a:gd name="connsiteY4" fmla="*/ 0 h 609600"/>
                <a:gd name="connsiteX5" fmla="*/ 2357120 w 2413000"/>
                <a:gd name="connsiteY5" fmla="*/ 0 h 609600"/>
                <a:gd name="connsiteX6" fmla="*/ 2422017 w 2413000"/>
                <a:gd name="connsiteY6" fmla="*/ 64897 h 609600"/>
                <a:gd name="connsiteX7" fmla="*/ 2422017 w 2413000"/>
                <a:gd name="connsiteY7" fmla="*/ 548767 h 609600"/>
                <a:gd name="connsiteX8" fmla="*/ 2357120 w 2413000"/>
                <a:gd name="connsiteY8" fmla="*/ 613664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13000" h="609600">
                  <a:moveTo>
                    <a:pt x="2357120" y="613664"/>
                  </a:moveTo>
                  <a:lnTo>
                    <a:pt x="64897" y="613664"/>
                  </a:lnTo>
                  <a:cubicBezTo>
                    <a:pt x="29083" y="613664"/>
                    <a:pt x="0" y="584581"/>
                    <a:pt x="0" y="548767"/>
                  </a:cubicBezTo>
                  <a:lnTo>
                    <a:pt x="0" y="64897"/>
                  </a:lnTo>
                  <a:cubicBezTo>
                    <a:pt x="0" y="29083"/>
                    <a:pt x="29083" y="0"/>
                    <a:pt x="64897" y="0"/>
                  </a:cubicBezTo>
                  <a:lnTo>
                    <a:pt x="2357120" y="0"/>
                  </a:lnTo>
                  <a:cubicBezTo>
                    <a:pt x="2392934" y="0"/>
                    <a:pt x="2422017" y="29083"/>
                    <a:pt x="2422017" y="64897"/>
                  </a:cubicBezTo>
                  <a:lnTo>
                    <a:pt x="2422017" y="548767"/>
                  </a:lnTo>
                  <a:cubicBezTo>
                    <a:pt x="2422017" y="584708"/>
                    <a:pt x="2392934" y="613664"/>
                    <a:pt x="2357120" y="613664"/>
                  </a:cubicBezTo>
                </a:path>
              </a:pathLst>
            </a:custGeom>
            <a:solidFill>
              <a:srgbClr val="92D050"/>
            </a:solidFill>
            <a:ln w="12689" cap="flat">
              <a:noFill/>
              <a:prstDash val="solid"/>
              <a:miter/>
            </a:ln>
          </p:spPr>
          <p:txBody>
            <a:bodyPr rtlCol="0" anchor="ctr"/>
            <a:lstStyle/>
            <a:p>
              <a:r>
                <a:rPr lang="en-US" dirty="0"/>
                <a:t>          Denominator</a:t>
              </a:r>
              <a:endParaRPr lang="bg-BG" dirty="0"/>
            </a:p>
          </p:txBody>
        </p:sp>
      </p:grpSp>
      <p:grpSp>
        <p:nvGrpSpPr>
          <p:cNvPr id="24" name="Group 23">
            <a:extLst>
              <a:ext uri="{FF2B5EF4-FFF2-40B4-BE49-F238E27FC236}">
                <a16:creationId xmlns:a16="http://schemas.microsoft.com/office/drawing/2014/main" id="{E6BC21EF-40CB-A3F6-C5F0-942D33E84DE3}"/>
              </a:ext>
            </a:extLst>
          </p:cNvPr>
          <p:cNvGrpSpPr/>
          <p:nvPr/>
        </p:nvGrpSpPr>
        <p:grpSpPr>
          <a:xfrm>
            <a:off x="9224805" y="1925936"/>
            <a:ext cx="2529744" cy="4226674"/>
            <a:chOff x="843884" y="2079348"/>
            <a:chExt cx="2529744" cy="1871686"/>
          </a:xfrm>
        </p:grpSpPr>
        <p:pic>
          <p:nvPicPr>
            <p:cNvPr id="25" name="Картина 75">
              <a:extLst>
                <a:ext uri="{FF2B5EF4-FFF2-40B4-BE49-F238E27FC236}">
                  <a16:creationId xmlns:a16="http://schemas.microsoft.com/office/drawing/2014/main" id="{2185EB07-98BE-F162-3F7B-E9C3C69373E3}"/>
                </a:ext>
              </a:extLst>
            </p:cNvPr>
            <p:cNvPicPr>
              <a:picLocks noChangeAspect="1"/>
            </p:cNvPicPr>
            <p:nvPr/>
          </p:nvPicPr>
          <p:blipFill>
            <a:blip r:embed="rId3"/>
            <a:stretch>
              <a:fillRect/>
            </a:stretch>
          </p:blipFill>
          <p:spPr>
            <a:xfrm>
              <a:off x="871728" y="2249234"/>
              <a:ext cx="2501900" cy="1701800"/>
            </a:xfrm>
            <a:custGeom>
              <a:avLst/>
              <a:gdLst>
                <a:gd name="connsiteX0" fmla="*/ 0 w 2501900"/>
                <a:gd name="connsiteY0" fmla="*/ 0 h 1701800"/>
                <a:gd name="connsiteX1" fmla="*/ 2508504 w 2501900"/>
                <a:gd name="connsiteY1" fmla="*/ 0 h 1701800"/>
                <a:gd name="connsiteX2" fmla="*/ 2508504 w 2501900"/>
                <a:gd name="connsiteY2" fmla="*/ 1706880 h 1701800"/>
                <a:gd name="connsiteX3" fmla="*/ 0 w 2501900"/>
                <a:gd name="connsiteY3" fmla="*/ 1706880 h 1701800"/>
              </a:gdLst>
              <a:ahLst/>
              <a:cxnLst>
                <a:cxn ang="0">
                  <a:pos x="connsiteX0" y="connsiteY0"/>
                </a:cxn>
                <a:cxn ang="0">
                  <a:pos x="connsiteX1" y="connsiteY1"/>
                </a:cxn>
                <a:cxn ang="0">
                  <a:pos x="connsiteX2" y="connsiteY2"/>
                </a:cxn>
                <a:cxn ang="0">
                  <a:pos x="connsiteX3" y="connsiteY3"/>
                </a:cxn>
              </a:cxnLst>
              <a:rect l="l" t="t" r="r" b="b"/>
              <a:pathLst>
                <a:path w="2501900" h="1701800">
                  <a:moveTo>
                    <a:pt x="0" y="0"/>
                  </a:moveTo>
                  <a:lnTo>
                    <a:pt x="2508504" y="0"/>
                  </a:lnTo>
                  <a:lnTo>
                    <a:pt x="2508504" y="1706880"/>
                  </a:lnTo>
                  <a:lnTo>
                    <a:pt x="0" y="1706880"/>
                  </a:lnTo>
                  <a:close/>
                </a:path>
              </a:pathLst>
            </a:custGeom>
            <a:ln/>
          </p:spPr>
        </p:pic>
        <p:sp>
          <p:nvSpPr>
            <p:cNvPr id="26" name="Свободна форма: фигура 76">
              <a:extLst>
                <a:ext uri="{FF2B5EF4-FFF2-40B4-BE49-F238E27FC236}">
                  <a16:creationId xmlns:a16="http://schemas.microsoft.com/office/drawing/2014/main" id="{320F1E17-FB82-A94E-033C-039418367EB4}"/>
                </a:ext>
              </a:extLst>
            </p:cNvPr>
            <p:cNvSpPr/>
            <p:nvPr/>
          </p:nvSpPr>
          <p:spPr>
            <a:xfrm>
              <a:off x="973455" y="2350643"/>
              <a:ext cx="2197100" cy="1397000"/>
            </a:xfrm>
            <a:custGeom>
              <a:avLst/>
              <a:gdLst>
                <a:gd name="connsiteX0" fmla="*/ 2138807 w 2197100"/>
                <a:gd name="connsiteY0" fmla="*/ 1398270 h 1397000"/>
                <a:gd name="connsiteX1" fmla="*/ 64897 w 2197100"/>
                <a:gd name="connsiteY1" fmla="*/ 1398270 h 1397000"/>
                <a:gd name="connsiteX2" fmla="*/ 0 w 2197100"/>
                <a:gd name="connsiteY2" fmla="*/ 1333373 h 1397000"/>
                <a:gd name="connsiteX3" fmla="*/ 0 w 2197100"/>
                <a:gd name="connsiteY3" fmla="*/ 64897 h 1397000"/>
                <a:gd name="connsiteX4" fmla="*/ 64897 w 2197100"/>
                <a:gd name="connsiteY4" fmla="*/ 0 h 1397000"/>
                <a:gd name="connsiteX5" fmla="*/ 2138807 w 2197100"/>
                <a:gd name="connsiteY5" fmla="*/ 0 h 1397000"/>
                <a:gd name="connsiteX6" fmla="*/ 2203704 w 2197100"/>
                <a:gd name="connsiteY6" fmla="*/ 64897 h 1397000"/>
                <a:gd name="connsiteX7" fmla="*/ 2203704 w 2197100"/>
                <a:gd name="connsiteY7" fmla="*/ 1333373 h 1397000"/>
                <a:gd name="connsiteX8" fmla="*/ 2138807 w 2197100"/>
                <a:gd name="connsiteY8" fmla="*/ 1398270 h 139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7100" h="1397000">
                  <a:moveTo>
                    <a:pt x="2138807" y="1398270"/>
                  </a:moveTo>
                  <a:lnTo>
                    <a:pt x="64897" y="1398270"/>
                  </a:lnTo>
                  <a:cubicBezTo>
                    <a:pt x="29083" y="1398270"/>
                    <a:pt x="0" y="1369187"/>
                    <a:pt x="0" y="1333373"/>
                  </a:cubicBezTo>
                  <a:lnTo>
                    <a:pt x="0" y="64897"/>
                  </a:lnTo>
                  <a:cubicBezTo>
                    <a:pt x="0" y="29083"/>
                    <a:pt x="29083" y="0"/>
                    <a:pt x="64897" y="0"/>
                  </a:cubicBezTo>
                  <a:lnTo>
                    <a:pt x="2138807" y="0"/>
                  </a:lnTo>
                  <a:cubicBezTo>
                    <a:pt x="2174621" y="0"/>
                    <a:pt x="2203704" y="29083"/>
                    <a:pt x="2203704" y="64897"/>
                  </a:cubicBezTo>
                  <a:lnTo>
                    <a:pt x="2203704" y="1333373"/>
                  </a:lnTo>
                  <a:cubicBezTo>
                    <a:pt x="2203704" y="1369187"/>
                    <a:pt x="2174621" y="1398270"/>
                    <a:pt x="2138807" y="1398270"/>
                  </a:cubicBezTo>
                </a:path>
              </a:pathLst>
            </a:custGeom>
            <a:solidFill>
              <a:srgbClr val="F4F4F4"/>
            </a:solidFill>
            <a:ln w="12689" cap="flat">
              <a:noFill/>
              <a:prstDash val="solid"/>
              <a:miter/>
            </a:ln>
          </p:spPr>
          <p:txBody>
            <a:bodyPr rtlCol="0" anchor="ctr"/>
            <a:lstStyle/>
            <a:p>
              <a:pPr algn="ct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p>
              <a:pPr algn="ctr"/>
              <a:r>
                <a:rPr lang="en-US" sz="1400" dirty="0">
                  <a:effectLst/>
                  <a:latin typeface="Calibri" panose="020F0502020204030204" pitchFamily="34" charset="0"/>
                  <a:ea typeface="Calibri" panose="020F0502020204030204" pitchFamily="34" charset="0"/>
                  <a:cs typeface="Times New Roman" panose="02020603050405020304" pitchFamily="18" charset="0"/>
                </a:rPr>
                <a:t>Number of HIV-positive pregnant women who received ART to reduce the risk of mother-to-child-transmission during pregnancy.</a:t>
              </a:r>
              <a:endParaRPr lang="bg-BG" sz="1400" dirty="0"/>
            </a:p>
          </p:txBody>
        </p:sp>
        <p:pic>
          <p:nvPicPr>
            <p:cNvPr id="27" name="Картина 77">
              <a:extLst>
                <a:ext uri="{FF2B5EF4-FFF2-40B4-BE49-F238E27FC236}">
                  <a16:creationId xmlns:a16="http://schemas.microsoft.com/office/drawing/2014/main" id="{24678BD9-B6E0-922A-BF13-B658BE6D7E79}"/>
                </a:ext>
              </a:extLst>
            </p:cNvPr>
            <p:cNvPicPr>
              <a:picLocks noChangeAspect="1"/>
            </p:cNvPicPr>
            <p:nvPr/>
          </p:nvPicPr>
          <p:blipFill>
            <a:blip r:embed="rId4"/>
            <a:stretch>
              <a:fillRect/>
            </a:stretch>
          </p:blipFill>
          <p:spPr>
            <a:xfrm>
              <a:off x="843884" y="2193214"/>
              <a:ext cx="2501900" cy="673100"/>
            </a:xfrm>
            <a:custGeom>
              <a:avLst/>
              <a:gdLst>
                <a:gd name="connsiteX0" fmla="*/ 0 w 2501900"/>
                <a:gd name="connsiteY0" fmla="*/ 0 h 673100"/>
                <a:gd name="connsiteX1" fmla="*/ 2508504 w 2501900"/>
                <a:gd name="connsiteY1" fmla="*/ 0 h 673100"/>
                <a:gd name="connsiteX2" fmla="*/ 2508504 w 2501900"/>
                <a:gd name="connsiteY2" fmla="*/ 676656 h 673100"/>
                <a:gd name="connsiteX3" fmla="*/ 0 w 2501900"/>
                <a:gd name="connsiteY3" fmla="*/ 676656 h 673100"/>
              </a:gdLst>
              <a:ahLst/>
              <a:cxnLst>
                <a:cxn ang="0">
                  <a:pos x="connsiteX0" y="connsiteY0"/>
                </a:cxn>
                <a:cxn ang="0">
                  <a:pos x="connsiteX1" y="connsiteY1"/>
                </a:cxn>
                <a:cxn ang="0">
                  <a:pos x="connsiteX2" y="connsiteY2"/>
                </a:cxn>
                <a:cxn ang="0">
                  <a:pos x="connsiteX3" y="connsiteY3"/>
                </a:cxn>
              </a:cxnLst>
              <a:rect l="l" t="t" r="r" b="b"/>
              <a:pathLst>
                <a:path w="2501900" h="673100">
                  <a:moveTo>
                    <a:pt x="0" y="0"/>
                  </a:moveTo>
                  <a:lnTo>
                    <a:pt x="2508504" y="0"/>
                  </a:lnTo>
                  <a:lnTo>
                    <a:pt x="2508504" y="676656"/>
                  </a:lnTo>
                  <a:lnTo>
                    <a:pt x="0" y="676656"/>
                  </a:lnTo>
                  <a:close/>
                </a:path>
              </a:pathLst>
            </a:custGeom>
            <a:ln/>
          </p:spPr>
        </p:pic>
        <p:sp>
          <p:nvSpPr>
            <p:cNvPr id="28" name="Свободна форма: фигура 79">
              <a:extLst>
                <a:ext uri="{FF2B5EF4-FFF2-40B4-BE49-F238E27FC236}">
                  <a16:creationId xmlns:a16="http://schemas.microsoft.com/office/drawing/2014/main" id="{11C40151-090B-88ED-5F43-FB823F510F1C}"/>
                </a:ext>
              </a:extLst>
            </p:cNvPr>
            <p:cNvSpPr/>
            <p:nvPr/>
          </p:nvSpPr>
          <p:spPr>
            <a:xfrm>
              <a:off x="871728" y="2079348"/>
              <a:ext cx="2413000" cy="573638"/>
            </a:xfrm>
            <a:custGeom>
              <a:avLst/>
              <a:gdLst>
                <a:gd name="connsiteX0" fmla="*/ 2357120 w 2413000"/>
                <a:gd name="connsiteY0" fmla="*/ 613664 h 609600"/>
                <a:gd name="connsiteX1" fmla="*/ 64897 w 2413000"/>
                <a:gd name="connsiteY1" fmla="*/ 613664 h 609600"/>
                <a:gd name="connsiteX2" fmla="*/ 0 w 2413000"/>
                <a:gd name="connsiteY2" fmla="*/ 548767 h 609600"/>
                <a:gd name="connsiteX3" fmla="*/ 0 w 2413000"/>
                <a:gd name="connsiteY3" fmla="*/ 64897 h 609600"/>
                <a:gd name="connsiteX4" fmla="*/ 64897 w 2413000"/>
                <a:gd name="connsiteY4" fmla="*/ 0 h 609600"/>
                <a:gd name="connsiteX5" fmla="*/ 2357120 w 2413000"/>
                <a:gd name="connsiteY5" fmla="*/ 0 h 609600"/>
                <a:gd name="connsiteX6" fmla="*/ 2422017 w 2413000"/>
                <a:gd name="connsiteY6" fmla="*/ 64897 h 609600"/>
                <a:gd name="connsiteX7" fmla="*/ 2422017 w 2413000"/>
                <a:gd name="connsiteY7" fmla="*/ 548767 h 609600"/>
                <a:gd name="connsiteX8" fmla="*/ 2357120 w 2413000"/>
                <a:gd name="connsiteY8" fmla="*/ 613664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13000" h="609600">
                  <a:moveTo>
                    <a:pt x="2357120" y="613664"/>
                  </a:moveTo>
                  <a:lnTo>
                    <a:pt x="64897" y="613664"/>
                  </a:lnTo>
                  <a:cubicBezTo>
                    <a:pt x="29083" y="613664"/>
                    <a:pt x="0" y="584581"/>
                    <a:pt x="0" y="548767"/>
                  </a:cubicBezTo>
                  <a:lnTo>
                    <a:pt x="0" y="64897"/>
                  </a:lnTo>
                  <a:cubicBezTo>
                    <a:pt x="0" y="29083"/>
                    <a:pt x="29083" y="0"/>
                    <a:pt x="64897" y="0"/>
                  </a:cubicBezTo>
                  <a:lnTo>
                    <a:pt x="2357120" y="0"/>
                  </a:lnTo>
                  <a:cubicBezTo>
                    <a:pt x="2392934" y="0"/>
                    <a:pt x="2422017" y="29083"/>
                    <a:pt x="2422017" y="64897"/>
                  </a:cubicBezTo>
                  <a:lnTo>
                    <a:pt x="2422017" y="548767"/>
                  </a:lnTo>
                  <a:cubicBezTo>
                    <a:pt x="2422017" y="584708"/>
                    <a:pt x="2392934" y="613664"/>
                    <a:pt x="2357120" y="613664"/>
                  </a:cubicBezTo>
                </a:path>
              </a:pathLst>
            </a:custGeom>
            <a:solidFill>
              <a:schemeClr val="accent1"/>
            </a:solidFill>
            <a:ln w="12689" cap="flat">
              <a:noFill/>
              <a:prstDash val="solid"/>
              <a:miter/>
            </a:ln>
          </p:spPr>
          <p:txBody>
            <a:bodyPr rtlCol="0" anchor="ctr"/>
            <a:lstStyle/>
            <a:p>
              <a:r>
                <a:rPr lang="en-US" dirty="0"/>
                <a:t>          Numerator</a:t>
              </a:r>
              <a:endParaRPr lang="bg-BG" dirty="0"/>
            </a:p>
          </p:txBody>
        </p:sp>
      </p:grpSp>
      <p:sp>
        <p:nvSpPr>
          <p:cNvPr id="31" name="Freeform 251">
            <a:extLst>
              <a:ext uri="{FF2B5EF4-FFF2-40B4-BE49-F238E27FC236}">
                <a16:creationId xmlns:a16="http://schemas.microsoft.com/office/drawing/2014/main" id="{B861DED8-6089-EE9E-240A-891C94194D37}"/>
              </a:ext>
            </a:extLst>
          </p:cNvPr>
          <p:cNvSpPr>
            <a:spLocks/>
          </p:cNvSpPr>
          <p:nvPr/>
        </p:nvSpPr>
        <p:spPr bwMode="auto">
          <a:xfrm>
            <a:off x="3838661" y="3867388"/>
            <a:ext cx="248233" cy="363705"/>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solidFill>
            <a:srgbClr val="4454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Light"/>
            </a:endParaRPr>
          </a:p>
        </p:txBody>
      </p:sp>
      <p:sp>
        <p:nvSpPr>
          <p:cNvPr id="32" name="Freeform 251">
            <a:extLst>
              <a:ext uri="{FF2B5EF4-FFF2-40B4-BE49-F238E27FC236}">
                <a16:creationId xmlns:a16="http://schemas.microsoft.com/office/drawing/2014/main" id="{5035F5E8-ECC6-315B-60FE-1EA49C004617}"/>
              </a:ext>
            </a:extLst>
          </p:cNvPr>
          <p:cNvSpPr>
            <a:spLocks/>
          </p:cNvSpPr>
          <p:nvPr/>
        </p:nvSpPr>
        <p:spPr bwMode="auto">
          <a:xfrm>
            <a:off x="4040771" y="3867388"/>
            <a:ext cx="248233" cy="363705"/>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solidFill>
            <a:srgbClr val="4454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Light"/>
            </a:endParaRPr>
          </a:p>
        </p:txBody>
      </p:sp>
      <p:sp>
        <p:nvSpPr>
          <p:cNvPr id="34" name="Freeform 251">
            <a:extLst>
              <a:ext uri="{FF2B5EF4-FFF2-40B4-BE49-F238E27FC236}">
                <a16:creationId xmlns:a16="http://schemas.microsoft.com/office/drawing/2014/main" id="{2E4C47E6-6135-35D6-CF7C-2F438F39CBFF}"/>
              </a:ext>
            </a:extLst>
          </p:cNvPr>
          <p:cNvSpPr>
            <a:spLocks/>
          </p:cNvSpPr>
          <p:nvPr/>
        </p:nvSpPr>
        <p:spPr bwMode="auto">
          <a:xfrm>
            <a:off x="7876199" y="3867387"/>
            <a:ext cx="248233" cy="363705"/>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solidFill>
            <a:srgbClr val="4454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Light"/>
            </a:endParaRPr>
          </a:p>
        </p:txBody>
      </p:sp>
      <p:sp>
        <p:nvSpPr>
          <p:cNvPr id="35" name="Freeform 251">
            <a:extLst>
              <a:ext uri="{FF2B5EF4-FFF2-40B4-BE49-F238E27FC236}">
                <a16:creationId xmlns:a16="http://schemas.microsoft.com/office/drawing/2014/main" id="{9AB6035F-8A04-78C3-BBC4-6DB411572D6F}"/>
              </a:ext>
            </a:extLst>
          </p:cNvPr>
          <p:cNvSpPr>
            <a:spLocks/>
          </p:cNvSpPr>
          <p:nvPr/>
        </p:nvSpPr>
        <p:spPr bwMode="auto">
          <a:xfrm>
            <a:off x="8084942" y="3867386"/>
            <a:ext cx="248233" cy="363705"/>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solidFill>
            <a:srgbClr val="4454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Light"/>
            </a:endParaRPr>
          </a:p>
        </p:txBody>
      </p:sp>
    </p:spTree>
    <p:extLst>
      <p:ext uri="{BB962C8B-B14F-4D97-AF65-F5344CB8AC3E}">
        <p14:creationId xmlns:p14="http://schemas.microsoft.com/office/powerpoint/2010/main" val="227833700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AC5FD8C-1AF9-4BEB-A638-5263D7C2792C}"/>
              </a:ext>
            </a:extLst>
          </p:cNvPr>
          <p:cNvSpPr/>
          <p:nvPr/>
        </p:nvSpPr>
        <p:spPr>
          <a:xfrm>
            <a:off x="0" y="3494627"/>
            <a:ext cx="12172949" cy="1242634"/>
          </a:xfrm>
          <a:prstGeom prst="rect">
            <a:avLst/>
          </a:prstGeom>
          <a:solidFill>
            <a:srgbClr val="E7E6E6"/>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2" name="Title 1">
            <a:extLst>
              <a:ext uri="{FF2B5EF4-FFF2-40B4-BE49-F238E27FC236}">
                <a16:creationId xmlns:a16="http://schemas.microsoft.com/office/drawing/2014/main" id="{1BD024B5-574F-472D-AF3D-A31FBBD0B863}"/>
              </a:ext>
            </a:extLst>
          </p:cNvPr>
          <p:cNvSpPr>
            <a:spLocks noGrp="1"/>
          </p:cNvSpPr>
          <p:nvPr>
            <p:ph type="title"/>
          </p:nvPr>
        </p:nvSpPr>
        <p:spPr>
          <a:xfrm>
            <a:off x="0" y="0"/>
            <a:ext cx="10972800" cy="1143000"/>
          </a:xfrm>
        </p:spPr>
        <p:txBody>
          <a:bodyPr>
            <a:normAutofit/>
          </a:bodyPr>
          <a:lstStyle/>
          <a:p>
            <a:r>
              <a:rPr lang="en-US" sz="3600" dirty="0">
                <a:solidFill>
                  <a:schemeClr val="tx2">
                    <a:lumMod val="75000"/>
                  </a:schemeClr>
                </a:solidFill>
              </a:rPr>
              <a:t>PMTCT_ART</a:t>
            </a:r>
            <a:endParaRPr lang="en-NG" sz="3600" dirty="0">
              <a:solidFill>
                <a:schemeClr val="tx2">
                  <a:lumMod val="75000"/>
                </a:schemeClr>
              </a:solidFill>
            </a:endParaRPr>
          </a:p>
        </p:txBody>
      </p:sp>
      <p:sp>
        <p:nvSpPr>
          <p:cNvPr id="31" name="Freeform 251">
            <a:extLst>
              <a:ext uri="{FF2B5EF4-FFF2-40B4-BE49-F238E27FC236}">
                <a16:creationId xmlns:a16="http://schemas.microsoft.com/office/drawing/2014/main" id="{B861DED8-6089-EE9E-240A-891C94194D37}"/>
              </a:ext>
            </a:extLst>
          </p:cNvPr>
          <p:cNvSpPr>
            <a:spLocks/>
          </p:cNvSpPr>
          <p:nvPr/>
        </p:nvSpPr>
        <p:spPr bwMode="auto">
          <a:xfrm>
            <a:off x="3838661" y="3867388"/>
            <a:ext cx="248233" cy="363705"/>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solidFill>
            <a:srgbClr val="4454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Light"/>
            </a:endParaRPr>
          </a:p>
        </p:txBody>
      </p:sp>
      <p:sp>
        <p:nvSpPr>
          <p:cNvPr id="32" name="Freeform 251">
            <a:extLst>
              <a:ext uri="{FF2B5EF4-FFF2-40B4-BE49-F238E27FC236}">
                <a16:creationId xmlns:a16="http://schemas.microsoft.com/office/drawing/2014/main" id="{5035F5E8-ECC6-315B-60FE-1EA49C004617}"/>
              </a:ext>
            </a:extLst>
          </p:cNvPr>
          <p:cNvSpPr>
            <a:spLocks/>
          </p:cNvSpPr>
          <p:nvPr/>
        </p:nvSpPr>
        <p:spPr bwMode="auto">
          <a:xfrm>
            <a:off x="4040771" y="3867388"/>
            <a:ext cx="248233" cy="363705"/>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solidFill>
            <a:srgbClr val="4454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Light"/>
            </a:endParaRPr>
          </a:p>
        </p:txBody>
      </p:sp>
      <p:sp>
        <p:nvSpPr>
          <p:cNvPr id="34" name="Freeform 251">
            <a:extLst>
              <a:ext uri="{FF2B5EF4-FFF2-40B4-BE49-F238E27FC236}">
                <a16:creationId xmlns:a16="http://schemas.microsoft.com/office/drawing/2014/main" id="{2E4C47E6-6135-35D6-CF7C-2F438F39CBFF}"/>
              </a:ext>
            </a:extLst>
          </p:cNvPr>
          <p:cNvSpPr>
            <a:spLocks/>
          </p:cNvSpPr>
          <p:nvPr/>
        </p:nvSpPr>
        <p:spPr bwMode="auto">
          <a:xfrm>
            <a:off x="7876199" y="3867387"/>
            <a:ext cx="248233" cy="363705"/>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solidFill>
            <a:srgbClr val="4454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Light"/>
            </a:endParaRPr>
          </a:p>
        </p:txBody>
      </p:sp>
      <p:sp>
        <p:nvSpPr>
          <p:cNvPr id="35" name="Freeform 251">
            <a:extLst>
              <a:ext uri="{FF2B5EF4-FFF2-40B4-BE49-F238E27FC236}">
                <a16:creationId xmlns:a16="http://schemas.microsoft.com/office/drawing/2014/main" id="{9AB6035F-8A04-78C3-BBC4-6DB411572D6F}"/>
              </a:ext>
            </a:extLst>
          </p:cNvPr>
          <p:cNvSpPr>
            <a:spLocks/>
          </p:cNvSpPr>
          <p:nvPr/>
        </p:nvSpPr>
        <p:spPr bwMode="auto">
          <a:xfrm>
            <a:off x="8084942" y="3867386"/>
            <a:ext cx="248233" cy="363705"/>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solidFill>
            <a:srgbClr val="4454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Light"/>
            </a:endParaRPr>
          </a:p>
        </p:txBody>
      </p:sp>
      <p:grpSp>
        <p:nvGrpSpPr>
          <p:cNvPr id="29" name="Group 28">
            <a:extLst>
              <a:ext uri="{FF2B5EF4-FFF2-40B4-BE49-F238E27FC236}">
                <a16:creationId xmlns:a16="http://schemas.microsoft.com/office/drawing/2014/main" id="{384E601B-B96F-4224-D79B-C7C5017A001A}"/>
              </a:ext>
            </a:extLst>
          </p:cNvPr>
          <p:cNvGrpSpPr/>
          <p:nvPr/>
        </p:nvGrpSpPr>
        <p:grpSpPr>
          <a:xfrm>
            <a:off x="203716" y="1781978"/>
            <a:ext cx="3688976" cy="4383048"/>
            <a:chOff x="583687" y="407303"/>
            <a:chExt cx="2652210" cy="2724586"/>
          </a:xfrm>
        </p:grpSpPr>
        <p:sp>
          <p:nvSpPr>
            <p:cNvPr id="30" name="Свободна форма: фигура 11">
              <a:extLst>
                <a:ext uri="{FF2B5EF4-FFF2-40B4-BE49-F238E27FC236}">
                  <a16:creationId xmlns:a16="http://schemas.microsoft.com/office/drawing/2014/main" id="{911F6F5A-6F05-A873-F036-D58091B0E75C}"/>
                </a:ext>
              </a:extLst>
            </p:cNvPr>
            <p:cNvSpPr/>
            <p:nvPr/>
          </p:nvSpPr>
          <p:spPr>
            <a:xfrm>
              <a:off x="677366" y="592080"/>
              <a:ext cx="2413000" cy="2413000"/>
            </a:xfrm>
            <a:custGeom>
              <a:avLst/>
              <a:gdLst>
                <a:gd name="connsiteX0" fmla="*/ 2422704 w 2413000"/>
                <a:gd name="connsiteY0" fmla="*/ 1249928 h 2413000"/>
                <a:gd name="connsiteX1" fmla="*/ 1806246 w 2413000"/>
                <a:gd name="connsiteY1" fmla="*/ 2259705 h 2413000"/>
                <a:gd name="connsiteX2" fmla="*/ 1647242 w 2413000"/>
                <a:gd name="connsiteY2" fmla="*/ 2330190 h 2413000"/>
                <a:gd name="connsiteX3" fmla="*/ 250115 w 2413000"/>
                <a:gd name="connsiteY3" fmla="*/ 1945126 h 2413000"/>
                <a:gd name="connsiteX4" fmla="*/ 132767 w 2413000"/>
                <a:gd name="connsiteY4" fmla="*/ 1759452 h 2413000"/>
                <a:gd name="connsiteX5" fmla="*/ 88825 w 2413000"/>
                <a:gd name="connsiteY5" fmla="*/ 705987 h 2413000"/>
                <a:gd name="connsiteX6" fmla="*/ 1371779 w 2413000"/>
                <a:gd name="connsiteY6" fmla="*/ 11551 h 2413000"/>
                <a:gd name="connsiteX7" fmla="*/ 1587425 w 2413000"/>
                <a:gd name="connsiteY7" fmla="*/ 62605 h 2413000"/>
                <a:gd name="connsiteX8" fmla="*/ 2410893 w 2413000"/>
                <a:gd name="connsiteY8" fmla="*/ 1003294 h 2413000"/>
                <a:gd name="connsiteX9" fmla="*/ 2422704 w 2413000"/>
                <a:gd name="connsiteY9" fmla="*/ 1249928 h 241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3000" h="2413000">
                  <a:moveTo>
                    <a:pt x="2422704" y="1249928"/>
                  </a:moveTo>
                  <a:cubicBezTo>
                    <a:pt x="2416354" y="1676648"/>
                    <a:pt x="2163497" y="2066030"/>
                    <a:pt x="1806246" y="2259705"/>
                  </a:cubicBezTo>
                  <a:cubicBezTo>
                    <a:pt x="1755192" y="2287391"/>
                    <a:pt x="1702106" y="2311013"/>
                    <a:pt x="1647242" y="2330190"/>
                  </a:cubicBezTo>
                  <a:cubicBezTo>
                    <a:pt x="1147878" y="2541391"/>
                    <a:pt x="564567" y="2349367"/>
                    <a:pt x="250115" y="1945126"/>
                  </a:cubicBezTo>
                  <a:cubicBezTo>
                    <a:pt x="205157" y="1887341"/>
                    <a:pt x="165787" y="1825365"/>
                    <a:pt x="132767" y="1759452"/>
                  </a:cubicBezTo>
                  <a:cubicBezTo>
                    <a:pt x="1068" y="1430268"/>
                    <a:pt x="-64718" y="1057142"/>
                    <a:pt x="88825" y="705987"/>
                  </a:cubicBezTo>
                  <a:cubicBezTo>
                    <a:pt x="308281" y="223133"/>
                    <a:pt x="835077" y="-62236"/>
                    <a:pt x="1371779" y="11551"/>
                  </a:cubicBezTo>
                  <a:cubicBezTo>
                    <a:pt x="1444931" y="22473"/>
                    <a:pt x="1517194" y="39618"/>
                    <a:pt x="1587425" y="62605"/>
                  </a:cubicBezTo>
                  <a:cubicBezTo>
                    <a:pt x="2008938" y="200527"/>
                    <a:pt x="2360855" y="548380"/>
                    <a:pt x="2410893" y="1003294"/>
                  </a:cubicBezTo>
                  <a:cubicBezTo>
                    <a:pt x="2423212" y="1082669"/>
                    <a:pt x="2427403" y="1165473"/>
                    <a:pt x="2422704" y="1249928"/>
                  </a:cubicBezTo>
                </a:path>
              </a:pathLst>
            </a:custGeom>
            <a:solidFill>
              <a:srgbClr val="FFFFFF"/>
            </a:solidFill>
            <a:ln w="12689" cap="flat">
              <a:noFill/>
              <a:prstDash val="solid"/>
              <a:miter/>
            </a:ln>
          </p:spPr>
          <p:txBody>
            <a:bodyPr rtlCol="0" anchor="ctr"/>
            <a:lstStyle/>
            <a:p>
              <a:endParaRPr lang="bg-BG"/>
            </a:p>
          </p:txBody>
        </p:sp>
        <p:sp>
          <p:nvSpPr>
            <p:cNvPr id="33" name="Свободна форма: фигура 12">
              <a:extLst>
                <a:ext uri="{FF2B5EF4-FFF2-40B4-BE49-F238E27FC236}">
                  <a16:creationId xmlns:a16="http://schemas.microsoft.com/office/drawing/2014/main" id="{D290E99A-E62F-B88E-9E0D-6ED6B9F2FEAE}"/>
                </a:ext>
              </a:extLst>
            </p:cNvPr>
            <p:cNvSpPr/>
            <p:nvPr/>
          </p:nvSpPr>
          <p:spPr>
            <a:xfrm>
              <a:off x="1406829" y="592140"/>
              <a:ext cx="1054100" cy="850900"/>
            </a:xfrm>
            <a:custGeom>
              <a:avLst/>
              <a:gdLst>
                <a:gd name="connsiteX0" fmla="*/ 642316 w 1054100"/>
                <a:gd name="connsiteY0" fmla="*/ 11491 h 850900"/>
                <a:gd name="connsiteX1" fmla="*/ 61672 w 1054100"/>
                <a:gd name="connsiteY1" fmla="*/ 70419 h 850900"/>
                <a:gd name="connsiteX2" fmla="*/ 66244 w 1054100"/>
                <a:gd name="connsiteY2" fmla="*/ 566227 h 850900"/>
                <a:gd name="connsiteX3" fmla="*/ 118187 w 1054100"/>
                <a:gd name="connsiteY3" fmla="*/ 647253 h 850900"/>
                <a:gd name="connsiteX4" fmla="*/ 728422 w 1054100"/>
                <a:gd name="connsiteY4" fmla="*/ 817052 h 850900"/>
                <a:gd name="connsiteX5" fmla="*/ 1032333 w 1054100"/>
                <a:gd name="connsiteY5" fmla="*/ 474660 h 850900"/>
                <a:gd name="connsiteX6" fmla="*/ 1051637 w 1054100"/>
                <a:gd name="connsiteY6" fmla="*/ 381315 h 850900"/>
                <a:gd name="connsiteX7" fmla="*/ 1014172 w 1054100"/>
                <a:gd name="connsiteY7" fmla="*/ 124775 h 850900"/>
                <a:gd name="connsiteX8" fmla="*/ 857962 w 1054100"/>
                <a:gd name="connsiteY8" fmla="*/ 62545 h 850900"/>
                <a:gd name="connsiteX9" fmla="*/ 642316 w 1054100"/>
                <a:gd name="connsiteY9" fmla="*/ 11491 h 850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54100" h="850900">
                  <a:moveTo>
                    <a:pt x="642316" y="11491"/>
                  </a:moveTo>
                  <a:cubicBezTo>
                    <a:pt x="442291" y="-15941"/>
                    <a:pt x="243536" y="6538"/>
                    <a:pt x="61672" y="70419"/>
                  </a:cubicBezTo>
                  <a:cubicBezTo>
                    <a:pt x="-26847" y="221803"/>
                    <a:pt x="-15417" y="412176"/>
                    <a:pt x="66244" y="566227"/>
                  </a:cubicBezTo>
                  <a:cubicBezTo>
                    <a:pt x="81230" y="594548"/>
                    <a:pt x="98629" y="621726"/>
                    <a:pt x="118187" y="647253"/>
                  </a:cubicBezTo>
                  <a:cubicBezTo>
                    <a:pt x="263602" y="832038"/>
                    <a:pt x="514173" y="901761"/>
                    <a:pt x="728422" y="817052"/>
                  </a:cubicBezTo>
                  <a:cubicBezTo>
                    <a:pt x="882346" y="753679"/>
                    <a:pt x="974167" y="617281"/>
                    <a:pt x="1032333" y="474660"/>
                  </a:cubicBezTo>
                  <a:cubicBezTo>
                    <a:pt x="1041858" y="444180"/>
                    <a:pt x="1048335" y="412811"/>
                    <a:pt x="1051637" y="381315"/>
                  </a:cubicBezTo>
                  <a:cubicBezTo>
                    <a:pt x="1060908" y="294701"/>
                    <a:pt x="1047192" y="205928"/>
                    <a:pt x="1014172" y="124775"/>
                  </a:cubicBezTo>
                  <a:cubicBezTo>
                    <a:pt x="963499" y="100772"/>
                    <a:pt x="911302" y="80071"/>
                    <a:pt x="857962" y="62545"/>
                  </a:cubicBezTo>
                  <a:cubicBezTo>
                    <a:pt x="787731" y="39558"/>
                    <a:pt x="715595" y="22413"/>
                    <a:pt x="642316" y="11491"/>
                  </a:cubicBezTo>
                </a:path>
              </a:pathLst>
            </a:custGeom>
            <a:solidFill>
              <a:srgbClr val="F1F0D7"/>
            </a:solidFill>
            <a:ln w="12689" cap="flat">
              <a:noFill/>
              <a:prstDash val="solid"/>
              <a:miter/>
            </a:ln>
          </p:spPr>
          <p:txBody>
            <a:bodyPr rtlCol="0" anchor="ctr"/>
            <a:lstStyle/>
            <a:p>
              <a:endParaRPr lang="bg-BG"/>
            </a:p>
          </p:txBody>
        </p:sp>
        <p:sp>
          <p:nvSpPr>
            <p:cNvPr id="36" name="Свободна форма: фигура 13">
              <a:extLst>
                <a:ext uri="{FF2B5EF4-FFF2-40B4-BE49-F238E27FC236}">
                  <a16:creationId xmlns:a16="http://schemas.microsoft.com/office/drawing/2014/main" id="{DABFA090-7E97-D4D9-C7A8-5454663A2952}"/>
                </a:ext>
              </a:extLst>
            </p:cNvPr>
            <p:cNvSpPr/>
            <p:nvPr/>
          </p:nvSpPr>
          <p:spPr>
            <a:xfrm>
              <a:off x="1425065" y="407303"/>
              <a:ext cx="914400" cy="927100"/>
            </a:xfrm>
            <a:custGeom>
              <a:avLst/>
              <a:gdLst>
                <a:gd name="connsiteX0" fmla="*/ 143512 w 914400"/>
                <a:gd name="connsiteY0" fmla="*/ 129780 h 927100"/>
                <a:gd name="connsiteX1" fmla="*/ 580011 w 914400"/>
                <a:gd name="connsiteY1" fmla="*/ 15988 h 927100"/>
                <a:gd name="connsiteX2" fmla="*/ 642368 w 914400"/>
                <a:gd name="connsiteY2" fmla="*/ 38721 h 927100"/>
                <a:gd name="connsiteX3" fmla="*/ 923800 w 914400"/>
                <a:gd name="connsiteY3" fmla="*/ 514208 h 927100"/>
                <a:gd name="connsiteX4" fmla="*/ 906782 w 914400"/>
                <a:gd name="connsiteY4" fmla="*/ 596251 h 927100"/>
                <a:gd name="connsiteX5" fmla="*/ 639828 w 914400"/>
                <a:gd name="connsiteY5" fmla="*/ 896860 h 927100"/>
                <a:gd name="connsiteX6" fmla="*/ 104015 w 914400"/>
                <a:gd name="connsiteY6" fmla="*/ 747762 h 927100"/>
                <a:gd name="connsiteX7" fmla="*/ 58295 w 914400"/>
                <a:gd name="connsiteY7" fmla="*/ 676642 h 927100"/>
                <a:gd name="connsiteX8" fmla="*/ 81409 w 914400"/>
                <a:gd name="connsiteY8" fmla="*/ 200519 h 927100"/>
                <a:gd name="connsiteX9" fmla="*/ 143512 w 914400"/>
                <a:gd name="connsiteY9" fmla="*/ 129780 h 927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4400" h="927100">
                  <a:moveTo>
                    <a:pt x="143512" y="129780"/>
                  </a:moveTo>
                  <a:cubicBezTo>
                    <a:pt x="258193" y="14337"/>
                    <a:pt x="430659" y="-25541"/>
                    <a:pt x="580011" y="15988"/>
                  </a:cubicBezTo>
                  <a:cubicBezTo>
                    <a:pt x="601347" y="21957"/>
                    <a:pt x="622175" y="29450"/>
                    <a:pt x="642368" y="38721"/>
                  </a:cubicBezTo>
                  <a:cubicBezTo>
                    <a:pt x="835281" y="113016"/>
                    <a:pt x="944501" y="320153"/>
                    <a:pt x="923800" y="514208"/>
                  </a:cubicBezTo>
                  <a:cubicBezTo>
                    <a:pt x="920879" y="541895"/>
                    <a:pt x="915164" y="569454"/>
                    <a:pt x="906782" y="596251"/>
                  </a:cubicBezTo>
                  <a:cubicBezTo>
                    <a:pt x="855728" y="721473"/>
                    <a:pt x="774956" y="841234"/>
                    <a:pt x="639828" y="896860"/>
                  </a:cubicBezTo>
                  <a:cubicBezTo>
                    <a:pt x="451741" y="971282"/>
                    <a:pt x="231650" y="910068"/>
                    <a:pt x="104015" y="747762"/>
                  </a:cubicBezTo>
                  <a:cubicBezTo>
                    <a:pt x="86870" y="725410"/>
                    <a:pt x="71503" y="701534"/>
                    <a:pt x="58295" y="676642"/>
                  </a:cubicBezTo>
                  <a:cubicBezTo>
                    <a:pt x="-20826" y="527163"/>
                    <a:pt x="-25271" y="338568"/>
                    <a:pt x="81409" y="200519"/>
                  </a:cubicBezTo>
                  <a:cubicBezTo>
                    <a:pt x="99062" y="175500"/>
                    <a:pt x="119890" y="151623"/>
                    <a:pt x="143512" y="129780"/>
                  </a:cubicBezTo>
                </a:path>
              </a:pathLst>
            </a:custGeom>
            <a:solidFill>
              <a:srgbClr val="83CC1B"/>
            </a:solidFill>
            <a:ln w="12689" cap="flat">
              <a:noFill/>
              <a:prstDash val="solid"/>
              <a:miter/>
            </a:ln>
          </p:spPr>
          <p:txBody>
            <a:bodyPr rtlCol="0" anchor="ctr"/>
            <a:lstStyle/>
            <a:p>
              <a:endParaRPr lang="bg-BG"/>
            </a:p>
          </p:txBody>
        </p:sp>
        <p:sp>
          <p:nvSpPr>
            <p:cNvPr id="37" name="Свободна форма: фигура 14">
              <a:extLst>
                <a:ext uri="{FF2B5EF4-FFF2-40B4-BE49-F238E27FC236}">
                  <a16:creationId xmlns:a16="http://schemas.microsoft.com/office/drawing/2014/main" id="{9C71F291-6856-E849-2045-23D7264219FA}"/>
                </a:ext>
              </a:extLst>
            </p:cNvPr>
            <p:cNvSpPr/>
            <p:nvPr/>
          </p:nvSpPr>
          <p:spPr>
            <a:xfrm>
              <a:off x="1591056" y="557657"/>
              <a:ext cx="749300" cy="774700"/>
            </a:xfrm>
            <a:custGeom>
              <a:avLst/>
              <a:gdLst>
                <a:gd name="connsiteX0" fmla="*/ 629920 w 749300"/>
                <a:gd name="connsiteY0" fmla="*/ 21209 h 774700"/>
                <a:gd name="connsiteX1" fmla="*/ 593852 w 749300"/>
                <a:gd name="connsiteY1" fmla="*/ 266573 h 774700"/>
                <a:gd name="connsiteX2" fmla="*/ 271399 w 749300"/>
                <a:gd name="connsiteY2" fmla="*/ 577850 h 774700"/>
                <a:gd name="connsiteX3" fmla="*/ 0 w 749300"/>
                <a:gd name="connsiteY3" fmla="*/ 661924 h 774700"/>
                <a:gd name="connsiteX4" fmla="*/ 473837 w 749300"/>
                <a:gd name="connsiteY4" fmla="*/ 746506 h 774700"/>
                <a:gd name="connsiteX5" fmla="*/ 740791 w 749300"/>
                <a:gd name="connsiteY5" fmla="*/ 445770 h 774700"/>
                <a:gd name="connsiteX6" fmla="*/ 757809 w 749300"/>
                <a:gd name="connsiteY6" fmla="*/ 363728 h 774700"/>
                <a:gd name="connsiteX7" fmla="*/ 638175 w 749300"/>
                <a:gd name="connsiteY7" fmla="*/ 0 h 774700"/>
                <a:gd name="connsiteX8" fmla="*/ 629920 w 749300"/>
                <a:gd name="connsiteY8" fmla="*/ 21209 h 774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9300" h="774700">
                  <a:moveTo>
                    <a:pt x="629920" y="21209"/>
                  </a:moveTo>
                  <a:cubicBezTo>
                    <a:pt x="606171" y="100711"/>
                    <a:pt x="622300" y="185928"/>
                    <a:pt x="593852" y="266573"/>
                  </a:cubicBezTo>
                  <a:cubicBezTo>
                    <a:pt x="538861" y="422148"/>
                    <a:pt x="416306" y="511683"/>
                    <a:pt x="271399" y="577850"/>
                  </a:cubicBezTo>
                  <a:cubicBezTo>
                    <a:pt x="185039" y="617220"/>
                    <a:pt x="92710" y="647192"/>
                    <a:pt x="0" y="661924"/>
                  </a:cubicBezTo>
                  <a:cubicBezTo>
                    <a:pt x="129794" y="774446"/>
                    <a:pt x="313309" y="809879"/>
                    <a:pt x="473837" y="746506"/>
                  </a:cubicBezTo>
                  <a:cubicBezTo>
                    <a:pt x="608965" y="690880"/>
                    <a:pt x="689737" y="570992"/>
                    <a:pt x="740791" y="445770"/>
                  </a:cubicBezTo>
                  <a:cubicBezTo>
                    <a:pt x="749173" y="418973"/>
                    <a:pt x="754761" y="391541"/>
                    <a:pt x="757809" y="363728"/>
                  </a:cubicBezTo>
                  <a:cubicBezTo>
                    <a:pt x="771652" y="233680"/>
                    <a:pt x="727075" y="97917"/>
                    <a:pt x="638175" y="0"/>
                  </a:cubicBezTo>
                  <a:cubicBezTo>
                    <a:pt x="634873" y="6731"/>
                    <a:pt x="632079" y="13716"/>
                    <a:pt x="629920" y="21209"/>
                  </a:cubicBezTo>
                </a:path>
              </a:pathLst>
            </a:custGeom>
            <a:solidFill>
              <a:srgbClr val="5DB723"/>
            </a:solidFill>
            <a:ln w="12689" cap="flat">
              <a:noFill/>
              <a:prstDash val="solid"/>
              <a:miter/>
            </a:ln>
          </p:spPr>
          <p:txBody>
            <a:bodyPr rtlCol="0" anchor="ctr"/>
            <a:lstStyle/>
            <a:p>
              <a:endParaRPr lang="bg-BG"/>
            </a:p>
          </p:txBody>
        </p:sp>
        <p:sp>
          <p:nvSpPr>
            <p:cNvPr id="38" name="Свободна форма: фигура 15">
              <a:extLst>
                <a:ext uri="{FF2B5EF4-FFF2-40B4-BE49-F238E27FC236}">
                  <a16:creationId xmlns:a16="http://schemas.microsoft.com/office/drawing/2014/main" id="{DBC6C10A-97E4-C6A4-3A0D-F73B29F8ADF9}"/>
                </a:ext>
              </a:extLst>
            </p:cNvPr>
            <p:cNvSpPr/>
            <p:nvPr/>
          </p:nvSpPr>
          <p:spPr>
            <a:xfrm>
              <a:off x="689991" y="1457452"/>
              <a:ext cx="2400300" cy="1549400"/>
            </a:xfrm>
            <a:custGeom>
              <a:avLst/>
              <a:gdLst>
                <a:gd name="connsiteX0" fmla="*/ 2398395 w 2400300"/>
                <a:gd name="connsiteY0" fmla="*/ 137922 h 1549400"/>
                <a:gd name="connsiteX1" fmla="*/ 2373122 w 2400300"/>
                <a:gd name="connsiteY1" fmla="*/ 0 h 1549400"/>
                <a:gd name="connsiteX2" fmla="*/ 2211197 w 2400300"/>
                <a:gd name="connsiteY2" fmla="*/ 837184 h 1549400"/>
                <a:gd name="connsiteX3" fmla="*/ 1736852 w 2400300"/>
                <a:gd name="connsiteY3" fmla="*/ 1171702 h 1549400"/>
                <a:gd name="connsiteX4" fmla="*/ 1234313 w 2400300"/>
                <a:gd name="connsiteY4" fmla="*/ 1282827 h 1549400"/>
                <a:gd name="connsiteX5" fmla="*/ 955421 w 2400300"/>
                <a:gd name="connsiteY5" fmla="*/ 1222375 h 1549400"/>
                <a:gd name="connsiteX6" fmla="*/ 736727 w 2400300"/>
                <a:gd name="connsiteY6" fmla="*/ 1105154 h 1549400"/>
                <a:gd name="connsiteX7" fmla="*/ 305308 w 2400300"/>
                <a:gd name="connsiteY7" fmla="*/ 875792 h 1549400"/>
                <a:gd name="connsiteX8" fmla="*/ 0 w 2400300"/>
                <a:gd name="connsiteY8" fmla="*/ 455930 h 1549400"/>
                <a:gd name="connsiteX9" fmla="*/ 120269 w 2400300"/>
                <a:gd name="connsiteY9" fmla="*/ 894334 h 1549400"/>
                <a:gd name="connsiteX10" fmla="*/ 237617 w 2400300"/>
                <a:gd name="connsiteY10" fmla="*/ 1080008 h 1549400"/>
                <a:gd name="connsiteX11" fmla="*/ 1634744 w 2400300"/>
                <a:gd name="connsiteY11" fmla="*/ 1464945 h 1549400"/>
                <a:gd name="connsiteX12" fmla="*/ 1793875 w 2400300"/>
                <a:gd name="connsiteY12" fmla="*/ 1394460 h 1549400"/>
                <a:gd name="connsiteX13" fmla="*/ 2410333 w 2400300"/>
                <a:gd name="connsiteY13" fmla="*/ 384683 h 1549400"/>
                <a:gd name="connsiteX14" fmla="*/ 2398395 w 2400300"/>
                <a:gd name="connsiteY14" fmla="*/ 137922 h 154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00300" h="1549400">
                  <a:moveTo>
                    <a:pt x="2398395" y="137922"/>
                  </a:moveTo>
                  <a:cubicBezTo>
                    <a:pt x="2393188" y="90805"/>
                    <a:pt x="2384552" y="44831"/>
                    <a:pt x="2373122" y="0"/>
                  </a:cubicBezTo>
                  <a:cubicBezTo>
                    <a:pt x="2423668" y="292608"/>
                    <a:pt x="2409190" y="593598"/>
                    <a:pt x="2211197" y="837184"/>
                  </a:cubicBezTo>
                  <a:cubicBezTo>
                    <a:pt x="2086483" y="990473"/>
                    <a:pt x="1911731" y="1086358"/>
                    <a:pt x="1736852" y="1171702"/>
                  </a:cubicBezTo>
                  <a:cubicBezTo>
                    <a:pt x="1576832" y="1249807"/>
                    <a:pt x="1413891" y="1294384"/>
                    <a:pt x="1234313" y="1282827"/>
                  </a:cubicBezTo>
                  <a:cubicBezTo>
                    <a:pt x="1138936" y="1276731"/>
                    <a:pt x="1044448" y="1257300"/>
                    <a:pt x="955421" y="1222375"/>
                  </a:cubicBezTo>
                  <a:cubicBezTo>
                    <a:pt x="877570" y="1191641"/>
                    <a:pt x="809752" y="1145032"/>
                    <a:pt x="736727" y="1105154"/>
                  </a:cubicBezTo>
                  <a:cubicBezTo>
                    <a:pt x="594106" y="1027176"/>
                    <a:pt x="438277" y="970788"/>
                    <a:pt x="305308" y="875792"/>
                  </a:cubicBezTo>
                  <a:cubicBezTo>
                    <a:pt x="148717" y="764032"/>
                    <a:pt x="51308" y="618363"/>
                    <a:pt x="0" y="455930"/>
                  </a:cubicBezTo>
                  <a:cubicBezTo>
                    <a:pt x="20447" y="606552"/>
                    <a:pt x="64389" y="754380"/>
                    <a:pt x="120269" y="894334"/>
                  </a:cubicBezTo>
                  <a:cubicBezTo>
                    <a:pt x="153162" y="960120"/>
                    <a:pt x="192659" y="1022223"/>
                    <a:pt x="237617" y="1080008"/>
                  </a:cubicBezTo>
                  <a:cubicBezTo>
                    <a:pt x="552069" y="1484249"/>
                    <a:pt x="1135380" y="1676273"/>
                    <a:pt x="1634744" y="1464945"/>
                  </a:cubicBezTo>
                  <a:cubicBezTo>
                    <a:pt x="1689608" y="1445768"/>
                    <a:pt x="1742821" y="1422019"/>
                    <a:pt x="1793875" y="1394460"/>
                  </a:cubicBezTo>
                  <a:cubicBezTo>
                    <a:pt x="2151126" y="1200912"/>
                    <a:pt x="2403856" y="811403"/>
                    <a:pt x="2410333" y="384683"/>
                  </a:cubicBezTo>
                  <a:cubicBezTo>
                    <a:pt x="2414778" y="300101"/>
                    <a:pt x="2410587" y="217297"/>
                    <a:pt x="2398395" y="137922"/>
                  </a:cubicBezTo>
                </a:path>
              </a:pathLst>
            </a:custGeom>
            <a:solidFill>
              <a:srgbClr val="F1F0D7"/>
            </a:solidFill>
            <a:ln w="12689" cap="flat">
              <a:noFill/>
              <a:prstDash val="solid"/>
              <a:miter/>
            </a:ln>
          </p:spPr>
          <p:txBody>
            <a:bodyPr rtlCol="0" anchor="ctr"/>
            <a:lstStyle/>
            <a:p>
              <a:endParaRPr lang="bg-BG"/>
            </a:p>
          </p:txBody>
        </p:sp>
        <p:sp>
          <p:nvSpPr>
            <p:cNvPr id="39" name="Свободна форма: фигура 16">
              <a:extLst>
                <a:ext uri="{FF2B5EF4-FFF2-40B4-BE49-F238E27FC236}">
                  <a16:creationId xmlns:a16="http://schemas.microsoft.com/office/drawing/2014/main" id="{4B2707B0-8623-967D-A968-02FDDB586EF5}"/>
                </a:ext>
              </a:extLst>
            </p:cNvPr>
            <p:cNvSpPr/>
            <p:nvPr/>
          </p:nvSpPr>
          <p:spPr>
            <a:xfrm>
              <a:off x="583687" y="1455489"/>
              <a:ext cx="1308100" cy="1676400"/>
            </a:xfrm>
            <a:custGeom>
              <a:avLst/>
              <a:gdLst>
                <a:gd name="connsiteX0" fmla="*/ 46360 w 1308100"/>
                <a:gd name="connsiteY0" fmla="*/ 1455 h 1676400"/>
                <a:gd name="connsiteX1" fmla="*/ 31374 w 1308100"/>
                <a:gd name="connsiteY1" fmla="*/ 704400 h 1676400"/>
                <a:gd name="connsiteX2" fmla="*/ 281437 w 1308100"/>
                <a:gd name="connsiteY2" fmla="*/ 1276408 h 1676400"/>
                <a:gd name="connsiteX3" fmla="*/ 741939 w 1308100"/>
                <a:gd name="connsiteY3" fmla="*/ 1597972 h 1676400"/>
                <a:gd name="connsiteX4" fmla="*/ 1299215 w 1308100"/>
                <a:gd name="connsiteY4" fmla="*/ 1668838 h 1676400"/>
                <a:gd name="connsiteX5" fmla="*/ 1293119 w 1308100"/>
                <a:gd name="connsiteY5" fmla="*/ 1624007 h 1676400"/>
                <a:gd name="connsiteX6" fmla="*/ 784738 w 1308100"/>
                <a:gd name="connsiteY6" fmla="*/ 1536377 h 1676400"/>
                <a:gd name="connsiteX7" fmla="*/ 334904 w 1308100"/>
                <a:gd name="connsiteY7" fmla="*/ 1238943 h 1676400"/>
                <a:gd name="connsiteX8" fmla="*/ 81031 w 1308100"/>
                <a:gd name="connsiteY8" fmla="*/ 705797 h 1676400"/>
                <a:gd name="connsiteX9" fmla="*/ 50297 w 1308100"/>
                <a:gd name="connsiteY9" fmla="*/ 2725 h 1676400"/>
                <a:gd name="connsiteX10" fmla="*/ 46360 w 1308100"/>
                <a:gd name="connsiteY10" fmla="*/ 1455 h 167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08100" h="1676400">
                  <a:moveTo>
                    <a:pt x="46360" y="1455"/>
                  </a:moveTo>
                  <a:cubicBezTo>
                    <a:pt x="-2027" y="237548"/>
                    <a:pt x="-21077" y="467037"/>
                    <a:pt x="31374" y="704400"/>
                  </a:cubicBezTo>
                  <a:cubicBezTo>
                    <a:pt x="75062" y="901885"/>
                    <a:pt x="151516" y="1118420"/>
                    <a:pt x="281437" y="1276408"/>
                  </a:cubicBezTo>
                  <a:cubicBezTo>
                    <a:pt x="401579" y="1422331"/>
                    <a:pt x="567441" y="1528884"/>
                    <a:pt x="741939" y="1597972"/>
                  </a:cubicBezTo>
                  <a:cubicBezTo>
                    <a:pt x="909325" y="1664139"/>
                    <a:pt x="1120399" y="1718749"/>
                    <a:pt x="1299215" y="1668838"/>
                  </a:cubicBezTo>
                  <a:cubicBezTo>
                    <a:pt x="1324869" y="1661599"/>
                    <a:pt x="1318265" y="1625785"/>
                    <a:pt x="1293119" y="1624007"/>
                  </a:cubicBezTo>
                  <a:cubicBezTo>
                    <a:pt x="1117605" y="1611307"/>
                    <a:pt x="951616" y="1599369"/>
                    <a:pt x="784738" y="1536377"/>
                  </a:cubicBezTo>
                  <a:cubicBezTo>
                    <a:pt x="616463" y="1473004"/>
                    <a:pt x="453776" y="1375595"/>
                    <a:pt x="334904" y="1238943"/>
                  </a:cubicBezTo>
                  <a:cubicBezTo>
                    <a:pt x="207269" y="1092385"/>
                    <a:pt x="129672" y="891471"/>
                    <a:pt x="81031" y="705797"/>
                  </a:cubicBezTo>
                  <a:cubicBezTo>
                    <a:pt x="21722" y="479356"/>
                    <a:pt x="5720" y="232976"/>
                    <a:pt x="50297" y="2725"/>
                  </a:cubicBezTo>
                  <a:cubicBezTo>
                    <a:pt x="50805" y="-69"/>
                    <a:pt x="46868" y="-1085"/>
                    <a:pt x="46360" y="1455"/>
                  </a:cubicBezTo>
                </a:path>
              </a:pathLst>
            </a:custGeom>
            <a:solidFill>
              <a:srgbClr val="B5D385"/>
            </a:solidFill>
            <a:ln w="12689" cap="flat">
              <a:noFill/>
              <a:prstDash val="solid"/>
              <a:miter/>
            </a:ln>
          </p:spPr>
          <p:txBody>
            <a:bodyPr rtlCol="0" anchor="ctr"/>
            <a:lstStyle/>
            <a:p>
              <a:endParaRPr lang="bg-BG"/>
            </a:p>
          </p:txBody>
        </p:sp>
        <p:sp>
          <p:nvSpPr>
            <p:cNvPr id="40" name="Свободна форма: фигура 17">
              <a:extLst>
                <a:ext uri="{FF2B5EF4-FFF2-40B4-BE49-F238E27FC236}">
                  <a16:creationId xmlns:a16="http://schemas.microsoft.com/office/drawing/2014/main" id="{9F6F68F7-4F0B-5983-EA2A-72727855002A}"/>
                </a:ext>
              </a:extLst>
            </p:cNvPr>
            <p:cNvSpPr/>
            <p:nvPr/>
          </p:nvSpPr>
          <p:spPr>
            <a:xfrm>
              <a:off x="2489350" y="671867"/>
              <a:ext cx="685800" cy="749300"/>
            </a:xfrm>
            <a:custGeom>
              <a:avLst/>
              <a:gdLst>
                <a:gd name="connsiteX0" fmla="*/ 6454 w 685800"/>
                <a:gd name="connsiteY0" fmla="*/ 24855 h 749300"/>
                <a:gd name="connsiteX1" fmla="*/ 673839 w 685800"/>
                <a:gd name="connsiteY1" fmla="*/ 745453 h 749300"/>
                <a:gd name="connsiteX2" fmla="*/ 692508 w 685800"/>
                <a:gd name="connsiteY2" fmla="*/ 737579 h 749300"/>
                <a:gd name="connsiteX3" fmla="*/ 16614 w 685800"/>
                <a:gd name="connsiteY3" fmla="*/ 852 h 749300"/>
                <a:gd name="connsiteX4" fmla="*/ 6454 w 685800"/>
                <a:gd name="connsiteY4" fmla="*/ 24855 h 749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 h="749300">
                  <a:moveTo>
                    <a:pt x="6454" y="24855"/>
                  </a:moveTo>
                  <a:cubicBezTo>
                    <a:pt x="324208" y="165571"/>
                    <a:pt x="536806" y="434176"/>
                    <a:pt x="673839" y="745453"/>
                  </a:cubicBezTo>
                  <a:cubicBezTo>
                    <a:pt x="678665" y="756375"/>
                    <a:pt x="694921" y="748374"/>
                    <a:pt x="692508" y="737579"/>
                  </a:cubicBezTo>
                  <a:cubicBezTo>
                    <a:pt x="615673" y="406871"/>
                    <a:pt x="321668" y="123788"/>
                    <a:pt x="16614" y="852"/>
                  </a:cubicBezTo>
                  <a:cubicBezTo>
                    <a:pt x="2898" y="-4736"/>
                    <a:pt x="-7135" y="18759"/>
                    <a:pt x="6454" y="24855"/>
                  </a:cubicBezTo>
                </a:path>
              </a:pathLst>
            </a:custGeom>
            <a:solidFill>
              <a:srgbClr val="B5D385"/>
            </a:solidFill>
            <a:ln w="12689" cap="flat">
              <a:noFill/>
              <a:prstDash val="solid"/>
              <a:miter/>
            </a:ln>
          </p:spPr>
          <p:txBody>
            <a:bodyPr rtlCol="0" anchor="ctr"/>
            <a:lstStyle/>
            <a:p>
              <a:endParaRPr lang="bg-BG"/>
            </a:p>
          </p:txBody>
        </p:sp>
        <p:sp>
          <p:nvSpPr>
            <p:cNvPr id="41" name="Свободна форма: фигура 19">
              <a:extLst>
                <a:ext uri="{FF2B5EF4-FFF2-40B4-BE49-F238E27FC236}">
                  <a16:creationId xmlns:a16="http://schemas.microsoft.com/office/drawing/2014/main" id="{9F72082B-63BE-2C5D-627E-6AE40CE91270}"/>
                </a:ext>
              </a:extLst>
            </p:cNvPr>
            <p:cNvSpPr/>
            <p:nvPr/>
          </p:nvSpPr>
          <p:spPr>
            <a:xfrm>
              <a:off x="641301" y="982061"/>
              <a:ext cx="254000" cy="368300"/>
            </a:xfrm>
            <a:custGeom>
              <a:avLst/>
              <a:gdLst>
                <a:gd name="connsiteX0" fmla="*/ 21004 w 254000"/>
                <a:gd name="connsiteY0" fmla="*/ 366298 h 368300"/>
                <a:gd name="connsiteX1" fmla="*/ 260399 w 254000"/>
                <a:gd name="connsiteY1" fmla="*/ 11587 h 368300"/>
                <a:gd name="connsiteX2" fmla="*/ 252271 w 254000"/>
                <a:gd name="connsiteY2" fmla="*/ 1046 h 368300"/>
                <a:gd name="connsiteX3" fmla="*/ 430 w 254000"/>
                <a:gd name="connsiteY3" fmla="*/ 360583 h 368300"/>
                <a:gd name="connsiteX4" fmla="*/ 21004 w 254000"/>
                <a:gd name="connsiteY4" fmla="*/ 366298 h 36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000" h="368300">
                  <a:moveTo>
                    <a:pt x="21004" y="366298"/>
                  </a:moveTo>
                  <a:cubicBezTo>
                    <a:pt x="71677" y="226852"/>
                    <a:pt x="155497" y="114584"/>
                    <a:pt x="260399" y="11587"/>
                  </a:cubicBezTo>
                  <a:cubicBezTo>
                    <a:pt x="265733" y="6253"/>
                    <a:pt x="258748" y="-3145"/>
                    <a:pt x="252271" y="1046"/>
                  </a:cubicBezTo>
                  <a:cubicBezTo>
                    <a:pt x="123874" y="82199"/>
                    <a:pt x="38530" y="215676"/>
                    <a:pt x="430" y="360583"/>
                  </a:cubicBezTo>
                  <a:cubicBezTo>
                    <a:pt x="-3126" y="374045"/>
                    <a:pt x="16432" y="379125"/>
                    <a:pt x="21004" y="366298"/>
                  </a:cubicBezTo>
                </a:path>
              </a:pathLst>
            </a:custGeom>
            <a:solidFill>
              <a:srgbClr val="B5D385"/>
            </a:solidFill>
            <a:ln w="12689" cap="flat">
              <a:noFill/>
              <a:prstDash val="solid"/>
              <a:miter/>
            </a:ln>
          </p:spPr>
          <p:txBody>
            <a:bodyPr rtlCol="0" anchor="ctr"/>
            <a:lstStyle/>
            <a:p>
              <a:endParaRPr lang="bg-BG"/>
            </a:p>
          </p:txBody>
        </p:sp>
        <p:sp>
          <p:nvSpPr>
            <p:cNvPr id="42" name="Свободна форма: фигура 20">
              <a:extLst>
                <a:ext uri="{FF2B5EF4-FFF2-40B4-BE49-F238E27FC236}">
                  <a16:creationId xmlns:a16="http://schemas.microsoft.com/office/drawing/2014/main" id="{DEBAAFAC-C565-46AE-7382-6E219F62C9D9}"/>
                </a:ext>
              </a:extLst>
            </p:cNvPr>
            <p:cNvSpPr/>
            <p:nvPr/>
          </p:nvSpPr>
          <p:spPr>
            <a:xfrm>
              <a:off x="2257997" y="2005855"/>
              <a:ext cx="977900" cy="1066800"/>
            </a:xfrm>
            <a:custGeom>
              <a:avLst/>
              <a:gdLst>
                <a:gd name="connsiteX0" fmla="*/ 965898 w 977900"/>
                <a:gd name="connsiteY0" fmla="*/ 4555 h 1066800"/>
                <a:gd name="connsiteX1" fmla="*/ 603059 w 977900"/>
                <a:gd name="connsiteY1" fmla="*/ 633967 h 1066800"/>
                <a:gd name="connsiteX2" fmla="*/ 9461 w 977900"/>
                <a:gd name="connsiteY2" fmla="*/ 1052686 h 1066800"/>
                <a:gd name="connsiteX3" fmla="*/ 13017 w 977900"/>
                <a:gd name="connsiteY3" fmla="*/ 1078848 h 1066800"/>
                <a:gd name="connsiteX4" fmla="*/ 344233 w 977900"/>
                <a:gd name="connsiteY4" fmla="*/ 921241 h 1066800"/>
                <a:gd name="connsiteX5" fmla="*/ 626427 w 977900"/>
                <a:gd name="connsiteY5" fmla="*/ 676512 h 1066800"/>
                <a:gd name="connsiteX6" fmla="*/ 846772 w 977900"/>
                <a:gd name="connsiteY6" fmla="*/ 372474 h 1066800"/>
                <a:gd name="connsiteX7" fmla="*/ 978725 w 977900"/>
                <a:gd name="connsiteY7" fmla="*/ 7984 h 1066800"/>
                <a:gd name="connsiteX8" fmla="*/ 965898 w 977900"/>
                <a:gd name="connsiteY8" fmla="*/ 4555 h 106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7900" h="1066800">
                  <a:moveTo>
                    <a:pt x="965898" y="4555"/>
                  </a:moveTo>
                  <a:cubicBezTo>
                    <a:pt x="876871" y="229980"/>
                    <a:pt x="756602" y="445753"/>
                    <a:pt x="603059" y="633967"/>
                  </a:cubicBezTo>
                  <a:cubicBezTo>
                    <a:pt x="454469" y="816085"/>
                    <a:pt x="244665" y="1004045"/>
                    <a:pt x="9461" y="1052686"/>
                  </a:cubicBezTo>
                  <a:cubicBezTo>
                    <a:pt x="-5144" y="1055734"/>
                    <a:pt x="-1969" y="1079737"/>
                    <a:pt x="13017" y="1078848"/>
                  </a:cubicBezTo>
                  <a:cubicBezTo>
                    <a:pt x="135699" y="1071482"/>
                    <a:pt x="247332" y="990329"/>
                    <a:pt x="344233" y="921241"/>
                  </a:cubicBezTo>
                  <a:cubicBezTo>
                    <a:pt x="447230" y="847708"/>
                    <a:pt x="540067" y="769984"/>
                    <a:pt x="626427" y="676512"/>
                  </a:cubicBezTo>
                  <a:cubicBezTo>
                    <a:pt x="715835" y="579611"/>
                    <a:pt x="787590" y="491600"/>
                    <a:pt x="846772" y="372474"/>
                  </a:cubicBezTo>
                  <a:cubicBezTo>
                    <a:pt x="904430" y="256269"/>
                    <a:pt x="952690" y="135365"/>
                    <a:pt x="978725" y="7984"/>
                  </a:cubicBezTo>
                  <a:cubicBezTo>
                    <a:pt x="980249" y="-398"/>
                    <a:pt x="968946" y="-3192"/>
                    <a:pt x="965898" y="4555"/>
                  </a:cubicBezTo>
                </a:path>
              </a:pathLst>
            </a:custGeom>
            <a:solidFill>
              <a:srgbClr val="B5D385"/>
            </a:solidFill>
            <a:ln w="12689" cap="flat">
              <a:noFill/>
              <a:prstDash val="solid"/>
              <a:miter/>
            </a:ln>
          </p:spPr>
          <p:txBody>
            <a:bodyPr rtlCol="0" anchor="ctr"/>
            <a:lstStyle/>
            <a:p>
              <a:endParaRPr lang="bg-BG"/>
            </a:p>
          </p:txBody>
        </p:sp>
        <p:sp>
          <p:nvSpPr>
            <p:cNvPr id="43" name="Свободна форма: фигура 21">
              <a:extLst>
                <a:ext uri="{FF2B5EF4-FFF2-40B4-BE49-F238E27FC236}">
                  <a16:creationId xmlns:a16="http://schemas.microsoft.com/office/drawing/2014/main" id="{C3F7BE0D-12A4-B6A1-C2D4-00F83F207F80}"/>
                </a:ext>
              </a:extLst>
            </p:cNvPr>
            <p:cNvSpPr/>
            <p:nvPr/>
          </p:nvSpPr>
          <p:spPr>
            <a:xfrm>
              <a:off x="1103626" y="657128"/>
              <a:ext cx="215900" cy="139700"/>
            </a:xfrm>
            <a:custGeom>
              <a:avLst/>
              <a:gdLst>
                <a:gd name="connsiteX0" fmla="*/ 28706 w 215900"/>
                <a:gd name="connsiteY0" fmla="*/ 144369 h 139700"/>
                <a:gd name="connsiteX1" fmla="*/ 125988 w 215900"/>
                <a:gd name="connsiteY1" fmla="*/ 69439 h 139700"/>
                <a:gd name="connsiteX2" fmla="*/ 218063 w 215900"/>
                <a:gd name="connsiteY2" fmla="*/ 20671 h 139700"/>
                <a:gd name="connsiteX3" fmla="*/ 212475 w 215900"/>
                <a:gd name="connsiteY3" fmla="*/ 97 h 139700"/>
                <a:gd name="connsiteX4" fmla="*/ 5211 w 215900"/>
                <a:gd name="connsiteY4" fmla="*/ 121001 h 139700"/>
                <a:gd name="connsiteX5" fmla="*/ 28706 w 215900"/>
                <a:gd name="connsiteY5" fmla="*/ 144369 h 13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5900" h="139700">
                  <a:moveTo>
                    <a:pt x="28706" y="144369"/>
                  </a:moveTo>
                  <a:cubicBezTo>
                    <a:pt x="59059" y="116556"/>
                    <a:pt x="90809" y="90775"/>
                    <a:pt x="125988" y="69439"/>
                  </a:cubicBezTo>
                  <a:cubicBezTo>
                    <a:pt x="155706" y="51532"/>
                    <a:pt x="188599" y="38832"/>
                    <a:pt x="218063" y="20671"/>
                  </a:cubicBezTo>
                  <a:cubicBezTo>
                    <a:pt x="226572" y="15464"/>
                    <a:pt x="224032" y="-1427"/>
                    <a:pt x="212475" y="97"/>
                  </a:cubicBezTo>
                  <a:cubicBezTo>
                    <a:pt x="133100" y="10257"/>
                    <a:pt x="62107" y="68677"/>
                    <a:pt x="5211" y="121001"/>
                  </a:cubicBezTo>
                  <a:cubicBezTo>
                    <a:pt x="-10537" y="135352"/>
                    <a:pt x="12958" y="158847"/>
                    <a:pt x="28706" y="144369"/>
                  </a:cubicBezTo>
                </a:path>
              </a:pathLst>
            </a:custGeom>
            <a:solidFill>
              <a:srgbClr val="B5D385"/>
            </a:solidFill>
            <a:ln w="12689" cap="flat">
              <a:noFill/>
              <a:prstDash val="solid"/>
              <a:miter/>
            </a:ln>
          </p:spPr>
          <p:txBody>
            <a:bodyPr rtlCol="0" anchor="ctr"/>
            <a:lstStyle/>
            <a:p>
              <a:endParaRPr lang="bg-BG"/>
            </a:p>
          </p:txBody>
        </p:sp>
        <p:sp>
          <p:nvSpPr>
            <p:cNvPr id="44" name="Свободна форма: фигура 23">
              <a:extLst>
                <a:ext uri="{FF2B5EF4-FFF2-40B4-BE49-F238E27FC236}">
                  <a16:creationId xmlns:a16="http://schemas.microsoft.com/office/drawing/2014/main" id="{4DD3DC03-7316-EA02-E257-5E65D887AAEB}"/>
                </a:ext>
              </a:extLst>
            </p:cNvPr>
            <p:cNvSpPr/>
            <p:nvPr/>
          </p:nvSpPr>
          <p:spPr>
            <a:xfrm>
              <a:off x="1362964" y="907161"/>
              <a:ext cx="25400" cy="25400"/>
            </a:xfrm>
            <a:custGeom>
              <a:avLst/>
              <a:gdLst>
                <a:gd name="connsiteX0" fmla="*/ 33655 w 25400"/>
                <a:gd name="connsiteY0" fmla="*/ 15748 h 25400"/>
                <a:gd name="connsiteX1" fmla="*/ 0 w 25400"/>
                <a:gd name="connsiteY1" fmla="*/ 20447 h 25400"/>
                <a:gd name="connsiteX2" fmla="*/ 17907 w 25400"/>
                <a:gd name="connsiteY2" fmla="*/ 0 h 25400"/>
                <a:gd name="connsiteX3" fmla="*/ 33655 w 25400"/>
                <a:gd name="connsiteY3" fmla="*/ 15748 h 25400"/>
              </a:gdLst>
              <a:ahLst/>
              <a:cxnLst>
                <a:cxn ang="0">
                  <a:pos x="connsiteX0" y="connsiteY0"/>
                </a:cxn>
                <a:cxn ang="0">
                  <a:pos x="connsiteX1" y="connsiteY1"/>
                </a:cxn>
                <a:cxn ang="0">
                  <a:pos x="connsiteX2" y="connsiteY2"/>
                </a:cxn>
                <a:cxn ang="0">
                  <a:pos x="connsiteX3" y="connsiteY3"/>
                </a:cxn>
              </a:cxnLst>
              <a:rect l="l" t="t" r="r" b="b"/>
              <a:pathLst>
                <a:path w="25400" h="25400">
                  <a:moveTo>
                    <a:pt x="33655" y="15748"/>
                  </a:moveTo>
                  <a:cubicBezTo>
                    <a:pt x="22352" y="42799"/>
                    <a:pt x="11176" y="31623"/>
                    <a:pt x="0" y="20447"/>
                  </a:cubicBezTo>
                  <a:cubicBezTo>
                    <a:pt x="11176" y="9271"/>
                    <a:pt x="11176" y="9271"/>
                    <a:pt x="17907" y="0"/>
                  </a:cubicBezTo>
                  <a:cubicBezTo>
                    <a:pt x="26543" y="0"/>
                    <a:pt x="33655" y="7112"/>
                    <a:pt x="33655" y="15748"/>
                  </a:cubicBezTo>
                </a:path>
              </a:pathLst>
            </a:custGeom>
            <a:solidFill>
              <a:srgbClr val="5DB723"/>
            </a:solidFill>
            <a:ln w="12689" cap="flat">
              <a:noFill/>
              <a:prstDash val="solid"/>
              <a:miter/>
            </a:ln>
          </p:spPr>
          <p:txBody>
            <a:bodyPr rtlCol="0" anchor="ctr"/>
            <a:lstStyle/>
            <a:p>
              <a:endParaRPr lang="bg-BG"/>
            </a:p>
          </p:txBody>
        </p:sp>
        <p:sp>
          <p:nvSpPr>
            <p:cNvPr id="45" name="Свободна форма: фигура 24">
              <a:extLst>
                <a:ext uri="{FF2B5EF4-FFF2-40B4-BE49-F238E27FC236}">
                  <a16:creationId xmlns:a16="http://schemas.microsoft.com/office/drawing/2014/main" id="{81D44499-6569-F412-7347-8635BBF12605}"/>
                </a:ext>
              </a:extLst>
            </p:cNvPr>
            <p:cNvSpPr/>
            <p:nvPr/>
          </p:nvSpPr>
          <p:spPr>
            <a:xfrm>
              <a:off x="1396492" y="1063687"/>
              <a:ext cx="25400" cy="25400"/>
            </a:xfrm>
            <a:custGeom>
              <a:avLst/>
              <a:gdLst>
                <a:gd name="connsiteX0" fmla="*/ 32385 w 25400"/>
                <a:gd name="connsiteY0" fmla="*/ 21782 h 25400"/>
                <a:gd name="connsiteX1" fmla="*/ 0 w 25400"/>
                <a:gd name="connsiteY1" fmla="*/ 9590 h 25400"/>
                <a:gd name="connsiteX2" fmla="*/ 26416 w 25400"/>
                <a:gd name="connsiteY2" fmla="*/ 192 h 25400"/>
                <a:gd name="connsiteX3" fmla="*/ 32385 w 25400"/>
                <a:gd name="connsiteY3" fmla="*/ 21782 h 25400"/>
              </a:gdLst>
              <a:ahLst/>
              <a:cxnLst>
                <a:cxn ang="0">
                  <a:pos x="connsiteX0" y="connsiteY0"/>
                </a:cxn>
                <a:cxn ang="0">
                  <a:pos x="connsiteX1" y="connsiteY1"/>
                </a:cxn>
                <a:cxn ang="0">
                  <a:pos x="connsiteX2" y="connsiteY2"/>
                </a:cxn>
                <a:cxn ang="0">
                  <a:pos x="connsiteX3" y="connsiteY3"/>
                </a:cxn>
              </a:cxnLst>
              <a:rect l="l" t="t" r="r" b="b"/>
              <a:pathLst>
                <a:path w="25400" h="25400">
                  <a:moveTo>
                    <a:pt x="32385" y="21782"/>
                  </a:moveTo>
                  <a:cubicBezTo>
                    <a:pt x="11176" y="43118"/>
                    <a:pt x="0" y="31942"/>
                    <a:pt x="0" y="9590"/>
                  </a:cubicBezTo>
                  <a:cubicBezTo>
                    <a:pt x="0" y="9590"/>
                    <a:pt x="11176" y="-1586"/>
                    <a:pt x="26416" y="192"/>
                  </a:cubicBezTo>
                  <a:cubicBezTo>
                    <a:pt x="34036" y="4383"/>
                    <a:pt x="36703" y="14162"/>
                    <a:pt x="32385" y="21782"/>
                  </a:cubicBezTo>
                </a:path>
              </a:pathLst>
            </a:custGeom>
            <a:solidFill>
              <a:srgbClr val="5DB723"/>
            </a:solidFill>
            <a:ln w="12689" cap="flat">
              <a:noFill/>
              <a:prstDash val="solid"/>
              <a:miter/>
            </a:ln>
          </p:spPr>
          <p:txBody>
            <a:bodyPr rtlCol="0" anchor="ctr"/>
            <a:lstStyle/>
            <a:p>
              <a:endParaRPr lang="bg-BG"/>
            </a:p>
          </p:txBody>
        </p:sp>
        <p:sp>
          <p:nvSpPr>
            <p:cNvPr id="46" name="Свободна форма: фигура 25">
              <a:extLst>
                <a:ext uri="{FF2B5EF4-FFF2-40B4-BE49-F238E27FC236}">
                  <a16:creationId xmlns:a16="http://schemas.microsoft.com/office/drawing/2014/main" id="{2B142C3F-1649-A313-1FDD-A510D2109931}"/>
                </a:ext>
              </a:extLst>
            </p:cNvPr>
            <p:cNvSpPr/>
            <p:nvPr/>
          </p:nvSpPr>
          <p:spPr>
            <a:xfrm>
              <a:off x="1497330" y="1203960"/>
              <a:ext cx="25400" cy="25400"/>
            </a:xfrm>
            <a:custGeom>
              <a:avLst/>
              <a:gdLst>
                <a:gd name="connsiteX0" fmla="*/ 31496 w 25400"/>
                <a:gd name="connsiteY0" fmla="*/ 21717 h 25400"/>
                <a:gd name="connsiteX1" fmla="*/ 0 w 25400"/>
                <a:gd name="connsiteY1" fmla="*/ 3556 h 25400"/>
                <a:gd name="connsiteX2" fmla="*/ 25527 w 25400"/>
                <a:gd name="connsiteY2" fmla="*/ 0 h 25400"/>
                <a:gd name="connsiteX3" fmla="*/ 31496 w 25400"/>
                <a:gd name="connsiteY3" fmla="*/ 21717 h 25400"/>
              </a:gdLst>
              <a:ahLst/>
              <a:cxnLst>
                <a:cxn ang="0">
                  <a:pos x="connsiteX0" y="connsiteY0"/>
                </a:cxn>
                <a:cxn ang="0">
                  <a:pos x="connsiteX1" y="connsiteY1"/>
                </a:cxn>
                <a:cxn ang="0">
                  <a:pos x="connsiteX2" y="connsiteY2"/>
                </a:cxn>
                <a:cxn ang="0">
                  <a:pos x="connsiteX3" y="connsiteY3"/>
                </a:cxn>
              </a:cxnLst>
              <a:rect l="l" t="t" r="r" b="b"/>
              <a:pathLst>
                <a:path w="25400" h="25400">
                  <a:moveTo>
                    <a:pt x="31496" y="21717"/>
                  </a:moveTo>
                  <a:cubicBezTo>
                    <a:pt x="11176" y="37084"/>
                    <a:pt x="0" y="25908"/>
                    <a:pt x="0" y="3556"/>
                  </a:cubicBezTo>
                  <a:cubicBezTo>
                    <a:pt x="11176" y="3556"/>
                    <a:pt x="11176" y="3556"/>
                    <a:pt x="25527" y="0"/>
                  </a:cubicBezTo>
                  <a:cubicBezTo>
                    <a:pt x="33147" y="4445"/>
                    <a:pt x="35814" y="14224"/>
                    <a:pt x="31496" y="21717"/>
                  </a:cubicBezTo>
                </a:path>
              </a:pathLst>
            </a:custGeom>
            <a:solidFill>
              <a:srgbClr val="5DB723"/>
            </a:solidFill>
            <a:ln w="12689" cap="flat">
              <a:noFill/>
              <a:prstDash val="solid"/>
              <a:miter/>
            </a:ln>
          </p:spPr>
          <p:txBody>
            <a:bodyPr rtlCol="0" anchor="ctr"/>
            <a:lstStyle/>
            <a:p>
              <a:endParaRPr lang="bg-BG"/>
            </a:p>
          </p:txBody>
        </p:sp>
        <p:sp>
          <p:nvSpPr>
            <p:cNvPr id="47" name="Свободна форма: фигура 26">
              <a:extLst>
                <a:ext uri="{FF2B5EF4-FFF2-40B4-BE49-F238E27FC236}">
                  <a16:creationId xmlns:a16="http://schemas.microsoft.com/office/drawing/2014/main" id="{BB335A08-3B53-7D21-99A5-B68056764635}"/>
                </a:ext>
              </a:extLst>
            </p:cNvPr>
            <p:cNvSpPr/>
            <p:nvPr/>
          </p:nvSpPr>
          <p:spPr>
            <a:xfrm>
              <a:off x="2136140" y="1159590"/>
              <a:ext cx="215900" cy="165100"/>
            </a:xfrm>
            <a:custGeom>
              <a:avLst/>
              <a:gdLst>
                <a:gd name="connsiteX0" fmla="*/ 0 w 215900"/>
                <a:gd name="connsiteY0" fmla="*/ 173402 h 165100"/>
                <a:gd name="connsiteX1" fmla="*/ 209550 w 215900"/>
                <a:gd name="connsiteY1" fmla="*/ 41957 h 165100"/>
                <a:gd name="connsiteX2" fmla="*/ 129794 w 215900"/>
                <a:gd name="connsiteY2" fmla="*/ 77263 h 165100"/>
                <a:gd name="connsiteX3" fmla="*/ 0 w 215900"/>
                <a:gd name="connsiteY3" fmla="*/ 173402 h 165100"/>
              </a:gdLst>
              <a:ahLst/>
              <a:cxnLst>
                <a:cxn ang="0">
                  <a:pos x="connsiteX0" y="connsiteY0"/>
                </a:cxn>
                <a:cxn ang="0">
                  <a:pos x="connsiteX1" y="connsiteY1"/>
                </a:cxn>
                <a:cxn ang="0">
                  <a:pos x="connsiteX2" y="connsiteY2"/>
                </a:cxn>
                <a:cxn ang="0">
                  <a:pos x="connsiteX3" y="connsiteY3"/>
                </a:cxn>
              </a:cxnLst>
              <a:rect l="l" t="t" r="r" b="b"/>
              <a:pathLst>
                <a:path w="215900" h="165100">
                  <a:moveTo>
                    <a:pt x="0" y="173402"/>
                  </a:moveTo>
                  <a:cubicBezTo>
                    <a:pt x="0" y="173402"/>
                    <a:pt x="182372" y="133778"/>
                    <a:pt x="209550" y="41957"/>
                  </a:cubicBezTo>
                  <a:cubicBezTo>
                    <a:pt x="236855" y="-49864"/>
                    <a:pt x="172593" y="30908"/>
                    <a:pt x="129794" y="77263"/>
                  </a:cubicBezTo>
                  <a:cubicBezTo>
                    <a:pt x="87122" y="123618"/>
                    <a:pt x="0" y="173402"/>
                    <a:pt x="0" y="173402"/>
                  </a:cubicBezTo>
                </a:path>
              </a:pathLst>
            </a:custGeom>
            <a:solidFill>
              <a:srgbClr val="5DB723"/>
            </a:solidFill>
            <a:ln w="12689" cap="flat">
              <a:noFill/>
              <a:prstDash val="solid"/>
              <a:miter/>
            </a:ln>
          </p:spPr>
          <p:txBody>
            <a:bodyPr rtlCol="0" anchor="ctr"/>
            <a:lstStyle/>
            <a:p>
              <a:endParaRPr lang="bg-BG"/>
            </a:p>
          </p:txBody>
        </p:sp>
        <p:sp>
          <p:nvSpPr>
            <p:cNvPr id="48" name="Свободна форма: фигура 27">
              <a:extLst>
                <a:ext uri="{FF2B5EF4-FFF2-40B4-BE49-F238E27FC236}">
                  <a16:creationId xmlns:a16="http://schemas.microsoft.com/office/drawing/2014/main" id="{11A1A586-660E-62CE-47C0-70FBBD17564E}"/>
                </a:ext>
              </a:extLst>
            </p:cNvPr>
            <p:cNvSpPr/>
            <p:nvPr/>
          </p:nvSpPr>
          <p:spPr>
            <a:xfrm>
              <a:off x="1442985" y="476377"/>
              <a:ext cx="114300" cy="88900"/>
            </a:xfrm>
            <a:custGeom>
              <a:avLst/>
              <a:gdLst>
                <a:gd name="connsiteX0" fmla="*/ 114670 w 114300"/>
                <a:gd name="connsiteY0" fmla="*/ 0 h 88900"/>
                <a:gd name="connsiteX1" fmla="*/ 6466 w 114300"/>
                <a:gd name="connsiteY1" fmla="*/ 55626 h 88900"/>
                <a:gd name="connsiteX2" fmla="*/ 62473 w 114300"/>
                <a:gd name="connsiteY2" fmla="*/ 58293 h 88900"/>
                <a:gd name="connsiteX3" fmla="*/ 114670 w 114300"/>
                <a:gd name="connsiteY3" fmla="*/ 0 h 88900"/>
              </a:gdLst>
              <a:ahLst/>
              <a:cxnLst>
                <a:cxn ang="0">
                  <a:pos x="connsiteX0" y="connsiteY0"/>
                </a:cxn>
                <a:cxn ang="0">
                  <a:pos x="connsiteX1" y="connsiteY1"/>
                </a:cxn>
                <a:cxn ang="0">
                  <a:pos x="connsiteX2" y="connsiteY2"/>
                </a:cxn>
                <a:cxn ang="0">
                  <a:pos x="connsiteX3" y="connsiteY3"/>
                </a:cxn>
              </a:cxnLst>
              <a:rect l="l" t="t" r="r" b="b"/>
              <a:pathLst>
                <a:path w="114300" h="88900">
                  <a:moveTo>
                    <a:pt x="114670" y="0"/>
                  </a:moveTo>
                  <a:cubicBezTo>
                    <a:pt x="114670" y="0"/>
                    <a:pt x="28564" y="12065"/>
                    <a:pt x="6466" y="55626"/>
                  </a:cubicBezTo>
                  <a:cubicBezTo>
                    <a:pt x="-15632" y="99187"/>
                    <a:pt x="22849" y="104775"/>
                    <a:pt x="62473" y="58293"/>
                  </a:cubicBezTo>
                  <a:cubicBezTo>
                    <a:pt x="101970" y="11557"/>
                    <a:pt x="114670" y="0"/>
                    <a:pt x="114670" y="0"/>
                  </a:cubicBezTo>
                </a:path>
              </a:pathLst>
            </a:custGeom>
            <a:solidFill>
              <a:srgbClr val="83CC1B"/>
            </a:solidFill>
            <a:ln w="12689" cap="flat">
              <a:noFill/>
              <a:prstDash val="solid"/>
              <a:miter/>
            </a:ln>
          </p:spPr>
          <p:txBody>
            <a:bodyPr rtlCol="0" anchor="ctr"/>
            <a:lstStyle/>
            <a:p>
              <a:endParaRPr lang="bg-BG"/>
            </a:p>
          </p:txBody>
        </p:sp>
      </p:grpSp>
      <p:sp>
        <p:nvSpPr>
          <p:cNvPr id="4" name="object 3">
            <a:extLst>
              <a:ext uri="{FF2B5EF4-FFF2-40B4-BE49-F238E27FC236}">
                <a16:creationId xmlns:a16="http://schemas.microsoft.com/office/drawing/2014/main" id="{447E4D88-761A-CF30-99B8-4699A11B9155}"/>
              </a:ext>
            </a:extLst>
          </p:cNvPr>
          <p:cNvSpPr txBox="1"/>
          <p:nvPr/>
        </p:nvSpPr>
        <p:spPr>
          <a:xfrm>
            <a:off x="902441" y="3811602"/>
            <a:ext cx="2214950" cy="790858"/>
          </a:xfrm>
          <a:prstGeom prst="rect">
            <a:avLst/>
          </a:prstGeom>
        </p:spPr>
        <p:txBody>
          <a:bodyPr vert="horz" wrap="square" lIns="0" tIns="12700" rIns="0" bIns="0" rtlCol="0">
            <a:spAutoFit/>
          </a:bodyPr>
          <a:lstStyle/>
          <a:p>
            <a:pPr marL="452755" marR="160655" indent="-285750">
              <a:lnSpc>
                <a:spcPct val="118600"/>
              </a:lnSpc>
              <a:spcBef>
                <a:spcPts val="100"/>
              </a:spcBef>
              <a:buFont typeface="Arial" panose="020B0604020202020204" pitchFamily="34" charset="0"/>
              <a:buChar char="•"/>
            </a:pPr>
            <a:r>
              <a:rPr lang="en-US" sz="1400" dirty="0">
                <a:latin typeface="+mj-lt"/>
                <a:cs typeface="Arial"/>
              </a:rPr>
              <a:t>PMTCT ART Register.</a:t>
            </a:r>
          </a:p>
          <a:p>
            <a:pPr marL="452755" marR="160655" indent="-285750">
              <a:lnSpc>
                <a:spcPct val="118600"/>
              </a:lnSpc>
              <a:spcBef>
                <a:spcPts val="100"/>
              </a:spcBef>
              <a:buFont typeface="Arial" panose="020B0604020202020204" pitchFamily="34" charset="0"/>
              <a:buChar char="•"/>
            </a:pPr>
            <a:r>
              <a:rPr lang="en-US" sz="1400" dirty="0">
                <a:latin typeface="+mj-lt"/>
                <a:cs typeface="Arial"/>
              </a:rPr>
              <a:t>Reported Quarterly</a:t>
            </a:r>
          </a:p>
          <a:p>
            <a:pPr marL="167005" marR="160655" algn="ctr">
              <a:lnSpc>
                <a:spcPct val="118600"/>
              </a:lnSpc>
              <a:spcBef>
                <a:spcPts val="100"/>
              </a:spcBef>
            </a:pPr>
            <a:endParaRPr sz="1400" dirty="0">
              <a:latin typeface="+mj-lt"/>
              <a:cs typeface="Arial"/>
            </a:endParaRPr>
          </a:p>
        </p:txBody>
      </p:sp>
      <p:sp>
        <p:nvSpPr>
          <p:cNvPr id="66" name="object 3">
            <a:extLst>
              <a:ext uri="{FF2B5EF4-FFF2-40B4-BE49-F238E27FC236}">
                <a16:creationId xmlns:a16="http://schemas.microsoft.com/office/drawing/2014/main" id="{6AD237E3-4261-FDB5-251F-3E41385BE1E1}"/>
              </a:ext>
            </a:extLst>
          </p:cNvPr>
          <p:cNvSpPr txBox="1"/>
          <p:nvPr/>
        </p:nvSpPr>
        <p:spPr>
          <a:xfrm>
            <a:off x="1274883" y="2185576"/>
            <a:ext cx="1494241" cy="579774"/>
          </a:xfrm>
          <a:prstGeom prst="rect">
            <a:avLst/>
          </a:prstGeom>
        </p:spPr>
        <p:txBody>
          <a:bodyPr vert="horz" wrap="square" lIns="0" tIns="12700" rIns="0" bIns="0" rtlCol="0">
            <a:spAutoFit/>
          </a:bodyPr>
          <a:lstStyle/>
          <a:p>
            <a:pPr marL="167005" marR="160655" algn="ctr">
              <a:lnSpc>
                <a:spcPct val="118600"/>
              </a:lnSpc>
              <a:spcBef>
                <a:spcPts val="100"/>
              </a:spcBef>
            </a:pPr>
            <a:r>
              <a:rPr lang="en-US" sz="1600" b="1" dirty="0">
                <a:latin typeface="+mj-lt"/>
                <a:cs typeface="Arial"/>
              </a:rPr>
              <a:t>Data Source / Reporting</a:t>
            </a:r>
            <a:endParaRPr sz="1600" b="1" dirty="0">
              <a:latin typeface="+mj-lt"/>
              <a:cs typeface="Arial"/>
            </a:endParaRPr>
          </a:p>
        </p:txBody>
      </p:sp>
      <p:grpSp>
        <p:nvGrpSpPr>
          <p:cNvPr id="67" name="Group 66">
            <a:extLst>
              <a:ext uri="{FF2B5EF4-FFF2-40B4-BE49-F238E27FC236}">
                <a16:creationId xmlns:a16="http://schemas.microsoft.com/office/drawing/2014/main" id="{8B709D4C-472F-BB09-74F5-02836FBFA798}"/>
              </a:ext>
            </a:extLst>
          </p:cNvPr>
          <p:cNvGrpSpPr/>
          <p:nvPr/>
        </p:nvGrpSpPr>
        <p:grpSpPr>
          <a:xfrm>
            <a:off x="4325551" y="1781978"/>
            <a:ext cx="3688976" cy="4383048"/>
            <a:chOff x="583687" y="407303"/>
            <a:chExt cx="2652210" cy="2724586"/>
          </a:xfrm>
        </p:grpSpPr>
        <p:sp>
          <p:nvSpPr>
            <p:cNvPr id="68" name="Свободна форма: фигура 11">
              <a:extLst>
                <a:ext uri="{FF2B5EF4-FFF2-40B4-BE49-F238E27FC236}">
                  <a16:creationId xmlns:a16="http://schemas.microsoft.com/office/drawing/2014/main" id="{D294A893-52A7-B840-50A7-8CCD77E64043}"/>
                </a:ext>
              </a:extLst>
            </p:cNvPr>
            <p:cNvSpPr/>
            <p:nvPr/>
          </p:nvSpPr>
          <p:spPr>
            <a:xfrm>
              <a:off x="677366" y="592080"/>
              <a:ext cx="2413000" cy="2413000"/>
            </a:xfrm>
            <a:custGeom>
              <a:avLst/>
              <a:gdLst>
                <a:gd name="connsiteX0" fmla="*/ 2422704 w 2413000"/>
                <a:gd name="connsiteY0" fmla="*/ 1249928 h 2413000"/>
                <a:gd name="connsiteX1" fmla="*/ 1806246 w 2413000"/>
                <a:gd name="connsiteY1" fmla="*/ 2259705 h 2413000"/>
                <a:gd name="connsiteX2" fmla="*/ 1647242 w 2413000"/>
                <a:gd name="connsiteY2" fmla="*/ 2330190 h 2413000"/>
                <a:gd name="connsiteX3" fmla="*/ 250115 w 2413000"/>
                <a:gd name="connsiteY3" fmla="*/ 1945126 h 2413000"/>
                <a:gd name="connsiteX4" fmla="*/ 132767 w 2413000"/>
                <a:gd name="connsiteY4" fmla="*/ 1759452 h 2413000"/>
                <a:gd name="connsiteX5" fmla="*/ 88825 w 2413000"/>
                <a:gd name="connsiteY5" fmla="*/ 705987 h 2413000"/>
                <a:gd name="connsiteX6" fmla="*/ 1371779 w 2413000"/>
                <a:gd name="connsiteY6" fmla="*/ 11551 h 2413000"/>
                <a:gd name="connsiteX7" fmla="*/ 1587425 w 2413000"/>
                <a:gd name="connsiteY7" fmla="*/ 62605 h 2413000"/>
                <a:gd name="connsiteX8" fmla="*/ 2410893 w 2413000"/>
                <a:gd name="connsiteY8" fmla="*/ 1003294 h 2413000"/>
                <a:gd name="connsiteX9" fmla="*/ 2422704 w 2413000"/>
                <a:gd name="connsiteY9" fmla="*/ 1249928 h 241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3000" h="2413000">
                  <a:moveTo>
                    <a:pt x="2422704" y="1249928"/>
                  </a:moveTo>
                  <a:cubicBezTo>
                    <a:pt x="2416354" y="1676648"/>
                    <a:pt x="2163497" y="2066030"/>
                    <a:pt x="1806246" y="2259705"/>
                  </a:cubicBezTo>
                  <a:cubicBezTo>
                    <a:pt x="1755192" y="2287391"/>
                    <a:pt x="1702106" y="2311013"/>
                    <a:pt x="1647242" y="2330190"/>
                  </a:cubicBezTo>
                  <a:cubicBezTo>
                    <a:pt x="1147878" y="2541391"/>
                    <a:pt x="564567" y="2349367"/>
                    <a:pt x="250115" y="1945126"/>
                  </a:cubicBezTo>
                  <a:cubicBezTo>
                    <a:pt x="205157" y="1887341"/>
                    <a:pt x="165787" y="1825365"/>
                    <a:pt x="132767" y="1759452"/>
                  </a:cubicBezTo>
                  <a:cubicBezTo>
                    <a:pt x="1068" y="1430268"/>
                    <a:pt x="-64718" y="1057142"/>
                    <a:pt x="88825" y="705987"/>
                  </a:cubicBezTo>
                  <a:cubicBezTo>
                    <a:pt x="308281" y="223133"/>
                    <a:pt x="835077" y="-62236"/>
                    <a:pt x="1371779" y="11551"/>
                  </a:cubicBezTo>
                  <a:cubicBezTo>
                    <a:pt x="1444931" y="22473"/>
                    <a:pt x="1517194" y="39618"/>
                    <a:pt x="1587425" y="62605"/>
                  </a:cubicBezTo>
                  <a:cubicBezTo>
                    <a:pt x="2008938" y="200527"/>
                    <a:pt x="2360855" y="548380"/>
                    <a:pt x="2410893" y="1003294"/>
                  </a:cubicBezTo>
                  <a:cubicBezTo>
                    <a:pt x="2423212" y="1082669"/>
                    <a:pt x="2427403" y="1165473"/>
                    <a:pt x="2422704" y="1249928"/>
                  </a:cubicBezTo>
                </a:path>
              </a:pathLst>
            </a:custGeom>
            <a:solidFill>
              <a:srgbClr val="FFFFFF"/>
            </a:solidFill>
            <a:ln w="12689" cap="flat">
              <a:noFill/>
              <a:prstDash val="solid"/>
              <a:miter/>
            </a:ln>
          </p:spPr>
          <p:txBody>
            <a:bodyPr rtlCol="0" anchor="ctr"/>
            <a:lstStyle/>
            <a:p>
              <a:endParaRPr lang="bg-BG" dirty="0"/>
            </a:p>
          </p:txBody>
        </p:sp>
        <p:sp>
          <p:nvSpPr>
            <p:cNvPr id="69" name="Свободна форма: фигура 12">
              <a:extLst>
                <a:ext uri="{FF2B5EF4-FFF2-40B4-BE49-F238E27FC236}">
                  <a16:creationId xmlns:a16="http://schemas.microsoft.com/office/drawing/2014/main" id="{00AC17DA-3827-9558-24F9-D233691207DA}"/>
                </a:ext>
              </a:extLst>
            </p:cNvPr>
            <p:cNvSpPr/>
            <p:nvPr/>
          </p:nvSpPr>
          <p:spPr>
            <a:xfrm>
              <a:off x="1406829" y="592140"/>
              <a:ext cx="1054100" cy="850900"/>
            </a:xfrm>
            <a:custGeom>
              <a:avLst/>
              <a:gdLst>
                <a:gd name="connsiteX0" fmla="*/ 642316 w 1054100"/>
                <a:gd name="connsiteY0" fmla="*/ 11491 h 850900"/>
                <a:gd name="connsiteX1" fmla="*/ 61672 w 1054100"/>
                <a:gd name="connsiteY1" fmla="*/ 70419 h 850900"/>
                <a:gd name="connsiteX2" fmla="*/ 66244 w 1054100"/>
                <a:gd name="connsiteY2" fmla="*/ 566227 h 850900"/>
                <a:gd name="connsiteX3" fmla="*/ 118187 w 1054100"/>
                <a:gd name="connsiteY3" fmla="*/ 647253 h 850900"/>
                <a:gd name="connsiteX4" fmla="*/ 728422 w 1054100"/>
                <a:gd name="connsiteY4" fmla="*/ 817052 h 850900"/>
                <a:gd name="connsiteX5" fmla="*/ 1032333 w 1054100"/>
                <a:gd name="connsiteY5" fmla="*/ 474660 h 850900"/>
                <a:gd name="connsiteX6" fmla="*/ 1051637 w 1054100"/>
                <a:gd name="connsiteY6" fmla="*/ 381315 h 850900"/>
                <a:gd name="connsiteX7" fmla="*/ 1014172 w 1054100"/>
                <a:gd name="connsiteY7" fmla="*/ 124775 h 850900"/>
                <a:gd name="connsiteX8" fmla="*/ 857962 w 1054100"/>
                <a:gd name="connsiteY8" fmla="*/ 62545 h 850900"/>
                <a:gd name="connsiteX9" fmla="*/ 642316 w 1054100"/>
                <a:gd name="connsiteY9" fmla="*/ 11491 h 850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54100" h="850900">
                  <a:moveTo>
                    <a:pt x="642316" y="11491"/>
                  </a:moveTo>
                  <a:cubicBezTo>
                    <a:pt x="442291" y="-15941"/>
                    <a:pt x="243536" y="6538"/>
                    <a:pt x="61672" y="70419"/>
                  </a:cubicBezTo>
                  <a:cubicBezTo>
                    <a:pt x="-26847" y="221803"/>
                    <a:pt x="-15417" y="412176"/>
                    <a:pt x="66244" y="566227"/>
                  </a:cubicBezTo>
                  <a:cubicBezTo>
                    <a:pt x="81230" y="594548"/>
                    <a:pt x="98629" y="621726"/>
                    <a:pt x="118187" y="647253"/>
                  </a:cubicBezTo>
                  <a:cubicBezTo>
                    <a:pt x="263602" y="832038"/>
                    <a:pt x="514173" y="901761"/>
                    <a:pt x="728422" y="817052"/>
                  </a:cubicBezTo>
                  <a:cubicBezTo>
                    <a:pt x="882346" y="753679"/>
                    <a:pt x="974167" y="617281"/>
                    <a:pt x="1032333" y="474660"/>
                  </a:cubicBezTo>
                  <a:cubicBezTo>
                    <a:pt x="1041858" y="444180"/>
                    <a:pt x="1048335" y="412811"/>
                    <a:pt x="1051637" y="381315"/>
                  </a:cubicBezTo>
                  <a:cubicBezTo>
                    <a:pt x="1060908" y="294701"/>
                    <a:pt x="1047192" y="205928"/>
                    <a:pt x="1014172" y="124775"/>
                  </a:cubicBezTo>
                  <a:cubicBezTo>
                    <a:pt x="963499" y="100772"/>
                    <a:pt x="911302" y="80071"/>
                    <a:pt x="857962" y="62545"/>
                  </a:cubicBezTo>
                  <a:cubicBezTo>
                    <a:pt x="787731" y="39558"/>
                    <a:pt x="715595" y="22413"/>
                    <a:pt x="642316" y="11491"/>
                  </a:cubicBezTo>
                </a:path>
              </a:pathLst>
            </a:custGeom>
            <a:solidFill>
              <a:srgbClr val="F1F0D7"/>
            </a:solidFill>
            <a:ln w="12689" cap="flat">
              <a:noFill/>
              <a:prstDash val="solid"/>
              <a:miter/>
            </a:ln>
          </p:spPr>
          <p:txBody>
            <a:bodyPr rtlCol="0" anchor="ctr"/>
            <a:lstStyle/>
            <a:p>
              <a:endParaRPr lang="bg-BG"/>
            </a:p>
          </p:txBody>
        </p:sp>
        <p:sp>
          <p:nvSpPr>
            <p:cNvPr id="70" name="Свободна форма: фигура 13">
              <a:extLst>
                <a:ext uri="{FF2B5EF4-FFF2-40B4-BE49-F238E27FC236}">
                  <a16:creationId xmlns:a16="http://schemas.microsoft.com/office/drawing/2014/main" id="{B56C289E-B2C6-98FA-3341-FA11B7172AE4}"/>
                </a:ext>
              </a:extLst>
            </p:cNvPr>
            <p:cNvSpPr/>
            <p:nvPr/>
          </p:nvSpPr>
          <p:spPr>
            <a:xfrm>
              <a:off x="1425065" y="407303"/>
              <a:ext cx="914400" cy="927100"/>
            </a:xfrm>
            <a:custGeom>
              <a:avLst/>
              <a:gdLst>
                <a:gd name="connsiteX0" fmla="*/ 143512 w 914400"/>
                <a:gd name="connsiteY0" fmla="*/ 129780 h 927100"/>
                <a:gd name="connsiteX1" fmla="*/ 580011 w 914400"/>
                <a:gd name="connsiteY1" fmla="*/ 15988 h 927100"/>
                <a:gd name="connsiteX2" fmla="*/ 642368 w 914400"/>
                <a:gd name="connsiteY2" fmla="*/ 38721 h 927100"/>
                <a:gd name="connsiteX3" fmla="*/ 923800 w 914400"/>
                <a:gd name="connsiteY3" fmla="*/ 514208 h 927100"/>
                <a:gd name="connsiteX4" fmla="*/ 906782 w 914400"/>
                <a:gd name="connsiteY4" fmla="*/ 596251 h 927100"/>
                <a:gd name="connsiteX5" fmla="*/ 639828 w 914400"/>
                <a:gd name="connsiteY5" fmla="*/ 896860 h 927100"/>
                <a:gd name="connsiteX6" fmla="*/ 104015 w 914400"/>
                <a:gd name="connsiteY6" fmla="*/ 747762 h 927100"/>
                <a:gd name="connsiteX7" fmla="*/ 58295 w 914400"/>
                <a:gd name="connsiteY7" fmla="*/ 676642 h 927100"/>
                <a:gd name="connsiteX8" fmla="*/ 81409 w 914400"/>
                <a:gd name="connsiteY8" fmla="*/ 200519 h 927100"/>
                <a:gd name="connsiteX9" fmla="*/ 143512 w 914400"/>
                <a:gd name="connsiteY9" fmla="*/ 129780 h 927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4400" h="927100">
                  <a:moveTo>
                    <a:pt x="143512" y="129780"/>
                  </a:moveTo>
                  <a:cubicBezTo>
                    <a:pt x="258193" y="14337"/>
                    <a:pt x="430659" y="-25541"/>
                    <a:pt x="580011" y="15988"/>
                  </a:cubicBezTo>
                  <a:cubicBezTo>
                    <a:pt x="601347" y="21957"/>
                    <a:pt x="622175" y="29450"/>
                    <a:pt x="642368" y="38721"/>
                  </a:cubicBezTo>
                  <a:cubicBezTo>
                    <a:pt x="835281" y="113016"/>
                    <a:pt x="944501" y="320153"/>
                    <a:pt x="923800" y="514208"/>
                  </a:cubicBezTo>
                  <a:cubicBezTo>
                    <a:pt x="920879" y="541895"/>
                    <a:pt x="915164" y="569454"/>
                    <a:pt x="906782" y="596251"/>
                  </a:cubicBezTo>
                  <a:cubicBezTo>
                    <a:pt x="855728" y="721473"/>
                    <a:pt x="774956" y="841234"/>
                    <a:pt x="639828" y="896860"/>
                  </a:cubicBezTo>
                  <a:cubicBezTo>
                    <a:pt x="451741" y="971282"/>
                    <a:pt x="231650" y="910068"/>
                    <a:pt x="104015" y="747762"/>
                  </a:cubicBezTo>
                  <a:cubicBezTo>
                    <a:pt x="86870" y="725410"/>
                    <a:pt x="71503" y="701534"/>
                    <a:pt x="58295" y="676642"/>
                  </a:cubicBezTo>
                  <a:cubicBezTo>
                    <a:pt x="-20826" y="527163"/>
                    <a:pt x="-25271" y="338568"/>
                    <a:pt x="81409" y="200519"/>
                  </a:cubicBezTo>
                  <a:cubicBezTo>
                    <a:pt x="99062" y="175500"/>
                    <a:pt x="119890" y="151623"/>
                    <a:pt x="143512" y="129780"/>
                  </a:cubicBezTo>
                </a:path>
              </a:pathLst>
            </a:custGeom>
            <a:solidFill>
              <a:schemeClr val="tx2"/>
            </a:solidFill>
            <a:ln w="12689" cap="flat">
              <a:noFill/>
              <a:prstDash val="solid"/>
              <a:miter/>
            </a:ln>
          </p:spPr>
          <p:txBody>
            <a:bodyPr rtlCol="0" anchor="ctr"/>
            <a:lstStyle/>
            <a:p>
              <a:endParaRPr lang="bg-BG" dirty="0"/>
            </a:p>
          </p:txBody>
        </p:sp>
        <p:sp>
          <p:nvSpPr>
            <p:cNvPr id="71" name="Свободна форма: фигура 14">
              <a:extLst>
                <a:ext uri="{FF2B5EF4-FFF2-40B4-BE49-F238E27FC236}">
                  <a16:creationId xmlns:a16="http://schemas.microsoft.com/office/drawing/2014/main" id="{82E26C4C-8908-E803-2192-D89A8A99F42C}"/>
                </a:ext>
              </a:extLst>
            </p:cNvPr>
            <p:cNvSpPr/>
            <p:nvPr/>
          </p:nvSpPr>
          <p:spPr>
            <a:xfrm>
              <a:off x="1591056" y="557657"/>
              <a:ext cx="749300" cy="774700"/>
            </a:xfrm>
            <a:custGeom>
              <a:avLst/>
              <a:gdLst>
                <a:gd name="connsiteX0" fmla="*/ 629920 w 749300"/>
                <a:gd name="connsiteY0" fmla="*/ 21209 h 774700"/>
                <a:gd name="connsiteX1" fmla="*/ 593852 w 749300"/>
                <a:gd name="connsiteY1" fmla="*/ 266573 h 774700"/>
                <a:gd name="connsiteX2" fmla="*/ 271399 w 749300"/>
                <a:gd name="connsiteY2" fmla="*/ 577850 h 774700"/>
                <a:gd name="connsiteX3" fmla="*/ 0 w 749300"/>
                <a:gd name="connsiteY3" fmla="*/ 661924 h 774700"/>
                <a:gd name="connsiteX4" fmla="*/ 473837 w 749300"/>
                <a:gd name="connsiteY4" fmla="*/ 746506 h 774700"/>
                <a:gd name="connsiteX5" fmla="*/ 740791 w 749300"/>
                <a:gd name="connsiteY5" fmla="*/ 445770 h 774700"/>
                <a:gd name="connsiteX6" fmla="*/ 757809 w 749300"/>
                <a:gd name="connsiteY6" fmla="*/ 363728 h 774700"/>
                <a:gd name="connsiteX7" fmla="*/ 638175 w 749300"/>
                <a:gd name="connsiteY7" fmla="*/ 0 h 774700"/>
                <a:gd name="connsiteX8" fmla="*/ 629920 w 749300"/>
                <a:gd name="connsiteY8" fmla="*/ 21209 h 774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9300" h="774700">
                  <a:moveTo>
                    <a:pt x="629920" y="21209"/>
                  </a:moveTo>
                  <a:cubicBezTo>
                    <a:pt x="606171" y="100711"/>
                    <a:pt x="622300" y="185928"/>
                    <a:pt x="593852" y="266573"/>
                  </a:cubicBezTo>
                  <a:cubicBezTo>
                    <a:pt x="538861" y="422148"/>
                    <a:pt x="416306" y="511683"/>
                    <a:pt x="271399" y="577850"/>
                  </a:cubicBezTo>
                  <a:cubicBezTo>
                    <a:pt x="185039" y="617220"/>
                    <a:pt x="92710" y="647192"/>
                    <a:pt x="0" y="661924"/>
                  </a:cubicBezTo>
                  <a:cubicBezTo>
                    <a:pt x="129794" y="774446"/>
                    <a:pt x="313309" y="809879"/>
                    <a:pt x="473837" y="746506"/>
                  </a:cubicBezTo>
                  <a:cubicBezTo>
                    <a:pt x="608965" y="690880"/>
                    <a:pt x="689737" y="570992"/>
                    <a:pt x="740791" y="445770"/>
                  </a:cubicBezTo>
                  <a:cubicBezTo>
                    <a:pt x="749173" y="418973"/>
                    <a:pt x="754761" y="391541"/>
                    <a:pt x="757809" y="363728"/>
                  </a:cubicBezTo>
                  <a:cubicBezTo>
                    <a:pt x="771652" y="233680"/>
                    <a:pt x="727075" y="97917"/>
                    <a:pt x="638175" y="0"/>
                  </a:cubicBezTo>
                  <a:cubicBezTo>
                    <a:pt x="634873" y="6731"/>
                    <a:pt x="632079" y="13716"/>
                    <a:pt x="629920" y="21209"/>
                  </a:cubicBezTo>
                </a:path>
              </a:pathLst>
            </a:custGeom>
            <a:solidFill>
              <a:schemeClr val="tx2"/>
            </a:solidFill>
            <a:ln w="12689" cap="flat">
              <a:noFill/>
              <a:prstDash val="solid"/>
              <a:miter/>
            </a:ln>
          </p:spPr>
          <p:txBody>
            <a:bodyPr rtlCol="0" anchor="ctr"/>
            <a:lstStyle/>
            <a:p>
              <a:endParaRPr lang="bg-BG"/>
            </a:p>
          </p:txBody>
        </p:sp>
        <p:sp>
          <p:nvSpPr>
            <p:cNvPr id="72" name="Свободна форма: фигура 15">
              <a:extLst>
                <a:ext uri="{FF2B5EF4-FFF2-40B4-BE49-F238E27FC236}">
                  <a16:creationId xmlns:a16="http://schemas.microsoft.com/office/drawing/2014/main" id="{E4DE420D-EC81-37C8-8C7E-A5F4A87B592B}"/>
                </a:ext>
              </a:extLst>
            </p:cNvPr>
            <p:cNvSpPr/>
            <p:nvPr/>
          </p:nvSpPr>
          <p:spPr>
            <a:xfrm>
              <a:off x="689991" y="1457452"/>
              <a:ext cx="2400300" cy="1549400"/>
            </a:xfrm>
            <a:custGeom>
              <a:avLst/>
              <a:gdLst>
                <a:gd name="connsiteX0" fmla="*/ 2398395 w 2400300"/>
                <a:gd name="connsiteY0" fmla="*/ 137922 h 1549400"/>
                <a:gd name="connsiteX1" fmla="*/ 2373122 w 2400300"/>
                <a:gd name="connsiteY1" fmla="*/ 0 h 1549400"/>
                <a:gd name="connsiteX2" fmla="*/ 2211197 w 2400300"/>
                <a:gd name="connsiteY2" fmla="*/ 837184 h 1549400"/>
                <a:gd name="connsiteX3" fmla="*/ 1736852 w 2400300"/>
                <a:gd name="connsiteY3" fmla="*/ 1171702 h 1549400"/>
                <a:gd name="connsiteX4" fmla="*/ 1234313 w 2400300"/>
                <a:gd name="connsiteY4" fmla="*/ 1282827 h 1549400"/>
                <a:gd name="connsiteX5" fmla="*/ 955421 w 2400300"/>
                <a:gd name="connsiteY5" fmla="*/ 1222375 h 1549400"/>
                <a:gd name="connsiteX6" fmla="*/ 736727 w 2400300"/>
                <a:gd name="connsiteY6" fmla="*/ 1105154 h 1549400"/>
                <a:gd name="connsiteX7" fmla="*/ 305308 w 2400300"/>
                <a:gd name="connsiteY7" fmla="*/ 875792 h 1549400"/>
                <a:gd name="connsiteX8" fmla="*/ 0 w 2400300"/>
                <a:gd name="connsiteY8" fmla="*/ 455930 h 1549400"/>
                <a:gd name="connsiteX9" fmla="*/ 120269 w 2400300"/>
                <a:gd name="connsiteY9" fmla="*/ 894334 h 1549400"/>
                <a:gd name="connsiteX10" fmla="*/ 237617 w 2400300"/>
                <a:gd name="connsiteY10" fmla="*/ 1080008 h 1549400"/>
                <a:gd name="connsiteX11" fmla="*/ 1634744 w 2400300"/>
                <a:gd name="connsiteY11" fmla="*/ 1464945 h 1549400"/>
                <a:gd name="connsiteX12" fmla="*/ 1793875 w 2400300"/>
                <a:gd name="connsiteY12" fmla="*/ 1394460 h 1549400"/>
                <a:gd name="connsiteX13" fmla="*/ 2410333 w 2400300"/>
                <a:gd name="connsiteY13" fmla="*/ 384683 h 1549400"/>
                <a:gd name="connsiteX14" fmla="*/ 2398395 w 2400300"/>
                <a:gd name="connsiteY14" fmla="*/ 137922 h 154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00300" h="1549400">
                  <a:moveTo>
                    <a:pt x="2398395" y="137922"/>
                  </a:moveTo>
                  <a:cubicBezTo>
                    <a:pt x="2393188" y="90805"/>
                    <a:pt x="2384552" y="44831"/>
                    <a:pt x="2373122" y="0"/>
                  </a:cubicBezTo>
                  <a:cubicBezTo>
                    <a:pt x="2423668" y="292608"/>
                    <a:pt x="2409190" y="593598"/>
                    <a:pt x="2211197" y="837184"/>
                  </a:cubicBezTo>
                  <a:cubicBezTo>
                    <a:pt x="2086483" y="990473"/>
                    <a:pt x="1911731" y="1086358"/>
                    <a:pt x="1736852" y="1171702"/>
                  </a:cubicBezTo>
                  <a:cubicBezTo>
                    <a:pt x="1576832" y="1249807"/>
                    <a:pt x="1413891" y="1294384"/>
                    <a:pt x="1234313" y="1282827"/>
                  </a:cubicBezTo>
                  <a:cubicBezTo>
                    <a:pt x="1138936" y="1276731"/>
                    <a:pt x="1044448" y="1257300"/>
                    <a:pt x="955421" y="1222375"/>
                  </a:cubicBezTo>
                  <a:cubicBezTo>
                    <a:pt x="877570" y="1191641"/>
                    <a:pt x="809752" y="1145032"/>
                    <a:pt x="736727" y="1105154"/>
                  </a:cubicBezTo>
                  <a:cubicBezTo>
                    <a:pt x="594106" y="1027176"/>
                    <a:pt x="438277" y="970788"/>
                    <a:pt x="305308" y="875792"/>
                  </a:cubicBezTo>
                  <a:cubicBezTo>
                    <a:pt x="148717" y="764032"/>
                    <a:pt x="51308" y="618363"/>
                    <a:pt x="0" y="455930"/>
                  </a:cubicBezTo>
                  <a:cubicBezTo>
                    <a:pt x="20447" y="606552"/>
                    <a:pt x="64389" y="754380"/>
                    <a:pt x="120269" y="894334"/>
                  </a:cubicBezTo>
                  <a:cubicBezTo>
                    <a:pt x="153162" y="960120"/>
                    <a:pt x="192659" y="1022223"/>
                    <a:pt x="237617" y="1080008"/>
                  </a:cubicBezTo>
                  <a:cubicBezTo>
                    <a:pt x="552069" y="1484249"/>
                    <a:pt x="1135380" y="1676273"/>
                    <a:pt x="1634744" y="1464945"/>
                  </a:cubicBezTo>
                  <a:cubicBezTo>
                    <a:pt x="1689608" y="1445768"/>
                    <a:pt x="1742821" y="1422019"/>
                    <a:pt x="1793875" y="1394460"/>
                  </a:cubicBezTo>
                  <a:cubicBezTo>
                    <a:pt x="2151126" y="1200912"/>
                    <a:pt x="2403856" y="811403"/>
                    <a:pt x="2410333" y="384683"/>
                  </a:cubicBezTo>
                  <a:cubicBezTo>
                    <a:pt x="2414778" y="300101"/>
                    <a:pt x="2410587" y="217297"/>
                    <a:pt x="2398395" y="137922"/>
                  </a:cubicBezTo>
                </a:path>
              </a:pathLst>
            </a:custGeom>
            <a:solidFill>
              <a:srgbClr val="F1F0D7"/>
            </a:solidFill>
            <a:ln w="12689" cap="flat">
              <a:noFill/>
              <a:prstDash val="solid"/>
              <a:miter/>
            </a:ln>
          </p:spPr>
          <p:txBody>
            <a:bodyPr rtlCol="0" anchor="ctr"/>
            <a:lstStyle/>
            <a:p>
              <a:endParaRPr lang="bg-BG"/>
            </a:p>
          </p:txBody>
        </p:sp>
        <p:sp>
          <p:nvSpPr>
            <p:cNvPr id="73" name="Свободна форма: фигура 16">
              <a:extLst>
                <a:ext uri="{FF2B5EF4-FFF2-40B4-BE49-F238E27FC236}">
                  <a16:creationId xmlns:a16="http://schemas.microsoft.com/office/drawing/2014/main" id="{3FA8DFB9-F8DD-9AB2-6EDC-365ED6661251}"/>
                </a:ext>
              </a:extLst>
            </p:cNvPr>
            <p:cNvSpPr/>
            <p:nvPr/>
          </p:nvSpPr>
          <p:spPr>
            <a:xfrm>
              <a:off x="583687" y="1455489"/>
              <a:ext cx="1308100" cy="1676400"/>
            </a:xfrm>
            <a:custGeom>
              <a:avLst/>
              <a:gdLst>
                <a:gd name="connsiteX0" fmla="*/ 46360 w 1308100"/>
                <a:gd name="connsiteY0" fmla="*/ 1455 h 1676400"/>
                <a:gd name="connsiteX1" fmla="*/ 31374 w 1308100"/>
                <a:gd name="connsiteY1" fmla="*/ 704400 h 1676400"/>
                <a:gd name="connsiteX2" fmla="*/ 281437 w 1308100"/>
                <a:gd name="connsiteY2" fmla="*/ 1276408 h 1676400"/>
                <a:gd name="connsiteX3" fmla="*/ 741939 w 1308100"/>
                <a:gd name="connsiteY3" fmla="*/ 1597972 h 1676400"/>
                <a:gd name="connsiteX4" fmla="*/ 1299215 w 1308100"/>
                <a:gd name="connsiteY4" fmla="*/ 1668838 h 1676400"/>
                <a:gd name="connsiteX5" fmla="*/ 1293119 w 1308100"/>
                <a:gd name="connsiteY5" fmla="*/ 1624007 h 1676400"/>
                <a:gd name="connsiteX6" fmla="*/ 784738 w 1308100"/>
                <a:gd name="connsiteY6" fmla="*/ 1536377 h 1676400"/>
                <a:gd name="connsiteX7" fmla="*/ 334904 w 1308100"/>
                <a:gd name="connsiteY7" fmla="*/ 1238943 h 1676400"/>
                <a:gd name="connsiteX8" fmla="*/ 81031 w 1308100"/>
                <a:gd name="connsiteY8" fmla="*/ 705797 h 1676400"/>
                <a:gd name="connsiteX9" fmla="*/ 50297 w 1308100"/>
                <a:gd name="connsiteY9" fmla="*/ 2725 h 1676400"/>
                <a:gd name="connsiteX10" fmla="*/ 46360 w 1308100"/>
                <a:gd name="connsiteY10" fmla="*/ 1455 h 167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08100" h="1676400">
                  <a:moveTo>
                    <a:pt x="46360" y="1455"/>
                  </a:moveTo>
                  <a:cubicBezTo>
                    <a:pt x="-2027" y="237548"/>
                    <a:pt x="-21077" y="467037"/>
                    <a:pt x="31374" y="704400"/>
                  </a:cubicBezTo>
                  <a:cubicBezTo>
                    <a:pt x="75062" y="901885"/>
                    <a:pt x="151516" y="1118420"/>
                    <a:pt x="281437" y="1276408"/>
                  </a:cubicBezTo>
                  <a:cubicBezTo>
                    <a:pt x="401579" y="1422331"/>
                    <a:pt x="567441" y="1528884"/>
                    <a:pt x="741939" y="1597972"/>
                  </a:cubicBezTo>
                  <a:cubicBezTo>
                    <a:pt x="909325" y="1664139"/>
                    <a:pt x="1120399" y="1718749"/>
                    <a:pt x="1299215" y="1668838"/>
                  </a:cubicBezTo>
                  <a:cubicBezTo>
                    <a:pt x="1324869" y="1661599"/>
                    <a:pt x="1318265" y="1625785"/>
                    <a:pt x="1293119" y="1624007"/>
                  </a:cubicBezTo>
                  <a:cubicBezTo>
                    <a:pt x="1117605" y="1611307"/>
                    <a:pt x="951616" y="1599369"/>
                    <a:pt x="784738" y="1536377"/>
                  </a:cubicBezTo>
                  <a:cubicBezTo>
                    <a:pt x="616463" y="1473004"/>
                    <a:pt x="453776" y="1375595"/>
                    <a:pt x="334904" y="1238943"/>
                  </a:cubicBezTo>
                  <a:cubicBezTo>
                    <a:pt x="207269" y="1092385"/>
                    <a:pt x="129672" y="891471"/>
                    <a:pt x="81031" y="705797"/>
                  </a:cubicBezTo>
                  <a:cubicBezTo>
                    <a:pt x="21722" y="479356"/>
                    <a:pt x="5720" y="232976"/>
                    <a:pt x="50297" y="2725"/>
                  </a:cubicBezTo>
                  <a:cubicBezTo>
                    <a:pt x="50805" y="-69"/>
                    <a:pt x="46868" y="-1085"/>
                    <a:pt x="46360" y="1455"/>
                  </a:cubicBezTo>
                </a:path>
              </a:pathLst>
            </a:custGeom>
            <a:solidFill>
              <a:schemeClr val="tx2"/>
            </a:solidFill>
            <a:ln w="12689" cap="flat">
              <a:noFill/>
              <a:prstDash val="solid"/>
              <a:miter/>
            </a:ln>
          </p:spPr>
          <p:txBody>
            <a:bodyPr rtlCol="0" anchor="ctr"/>
            <a:lstStyle/>
            <a:p>
              <a:endParaRPr lang="bg-BG"/>
            </a:p>
          </p:txBody>
        </p:sp>
        <p:sp>
          <p:nvSpPr>
            <p:cNvPr id="74" name="Свободна форма: фигура 17">
              <a:extLst>
                <a:ext uri="{FF2B5EF4-FFF2-40B4-BE49-F238E27FC236}">
                  <a16:creationId xmlns:a16="http://schemas.microsoft.com/office/drawing/2014/main" id="{4F8E777A-830C-4F91-9E31-537F0C7788E8}"/>
                </a:ext>
              </a:extLst>
            </p:cNvPr>
            <p:cNvSpPr/>
            <p:nvPr/>
          </p:nvSpPr>
          <p:spPr>
            <a:xfrm>
              <a:off x="2489350" y="671867"/>
              <a:ext cx="685800" cy="749300"/>
            </a:xfrm>
            <a:custGeom>
              <a:avLst/>
              <a:gdLst>
                <a:gd name="connsiteX0" fmla="*/ 6454 w 685800"/>
                <a:gd name="connsiteY0" fmla="*/ 24855 h 749300"/>
                <a:gd name="connsiteX1" fmla="*/ 673839 w 685800"/>
                <a:gd name="connsiteY1" fmla="*/ 745453 h 749300"/>
                <a:gd name="connsiteX2" fmla="*/ 692508 w 685800"/>
                <a:gd name="connsiteY2" fmla="*/ 737579 h 749300"/>
                <a:gd name="connsiteX3" fmla="*/ 16614 w 685800"/>
                <a:gd name="connsiteY3" fmla="*/ 852 h 749300"/>
                <a:gd name="connsiteX4" fmla="*/ 6454 w 685800"/>
                <a:gd name="connsiteY4" fmla="*/ 24855 h 749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 h="749300">
                  <a:moveTo>
                    <a:pt x="6454" y="24855"/>
                  </a:moveTo>
                  <a:cubicBezTo>
                    <a:pt x="324208" y="165571"/>
                    <a:pt x="536806" y="434176"/>
                    <a:pt x="673839" y="745453"/>
                  </a:cubicBezTo>
                  <a:cubicBezTo>
                    <a:pt x="678665" y="756375"/>
                    <a:pt x="694921" y="748374"/>
                    <a:pt x="692508" y="737579"/>
                  </a:cubicBezTo>
                  <a:cubicBezTo>
                    <a:pt x="615673" y="406871"/>
                    <a:pt x="321668" y="123788"/>
                    <a:pt x="16614" y="852"/>
                  </a:cubicBezTo>
                  <a:cubicBezTo>
                    <a:pt x="2898" y="-4736"/>
                    <a:pt x="-7135" y="18759"/>
                    <a:pt x="6454" y="24855"/>
                  </a:cubicBezTo>
                </a:path>
              </a:pathLst>
            </a:custGeom>
            <a:solidFill>
              <a:schemeClr val="tx2"/>
            </a:solidFill>
            <a:ln w="12689" cap="flat">
              <a:noFill/>
              <a:prstDash val="solid"/>
              <a:miter/>
            </a:ln>
          </p:spPr>
          <p:txBody>
            <a:bodyPr rtlCol="0" anchor="ctr"/>
            <a:lstStyle/>
            <a:p>
              <a:endParaRPr lang="bg-BG"/>
            </a:p>
          </p:txBody>
        </p:sp>
        <p:sp>
          <p:nvSpPr>
            <p:cNvPr id="75" name="Свободна форма: фигура 19">
              <a:extLst>
                <a:ext uri="{FF2B5EF4-FFF2-40B4-BE49-F238E27FC236}">
                  <a16:creationId xmlns:a16="http://schemas.microsoft.com/office/drawing/2014/main" id="{697314DB-3B80-C18E-725F-77B25904A0BE}"/>
                </a:ext>
              </a:extLst>
            </p:cNvPr>
            <p:cNvSpPr/>
            <p:nvPr/>
          </p:nvSpPr>
          <p:spPr>
            <a:xfrm>
              <a:off x="641301" y="982061"/>
              <a:ext cx="254000" cy="368300"/>
            </a:xfrm>
            <a:custGeom>
              <a:avLst/>
              <a:gdLst>
                <a:gd name="connsiteX0" fmla="*/ 21004 w 254000"/>
                <a:gd name="connsiteY0" fmla="*/ 366298 h 368300"/>
                <a:gd name="connsiteX1" fmla="*/ 260399 w 254000"/>
                <a:gd name="connsiteY1" fmla="*/ 11587 h 368300"/>
                <a:gd name="connsiteX2" fmla="*/ 252271 w 254000"/>
                <a:gd name="connsiteY2" fmla="*/ 1046 h 368300"/>
                <a:gd name="connsiteX3" fmla="*/ 430 w 254000"/>
                <a:gd name="connsiteY3" fmla="*/ 360583 h 368300"/>
                <a:gd name="connsiteX4" fmla="*/ 21004 w 254000"/>
                <a:gd name="connsiteY4" fmla="*/ 366298 h 36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000" h="368300">
                  <a:moveTo>
                    <a:pt x="21004" y="366298"/>
                  </a:moveTo>
                  <a:cubicBezTo>
                    <a:pt x="71677" y="226852"/>
                    <a:pt x="155497" y="114584"/>
                    <a:pt x="260399" y="11587"/>
                  </a:cubicBezTo>
                  <a:cubicBezTo>
                    <a:pt x="265733" y="6253"/>
                    <a:pt x="258748" y="-3145"/>
                    <a:pt x="252271" y="1046"/>
                  </a:cubicBezTo>
                  <a:cubicBezTo>
                    <a:pt x="123874" y="82199"/>
                    <a:pt x="38530" y="215676"/>
                    <a:pt x="430" y="360583"/>
                  </a:cubicBezTo>
                  <a:cubicBezTo>
                    <a:pt x="-3126" y="374045"/>
                    <a:pt x="16432" y="379125"/>
                    <a:pt x="21004" y="366298"/>
                  </a:cubicBezTo>
                </a:path>
              </a:pathLst>
            </a:custGeom>
            <a:solidFill>
              <a:schemeClr val="tx2"/>
            </a:solidFill>
            <a:ln w="12689" cap="flat">
              <a:noFill/>
              <a:prstDash val="solid"/>
              <a:miter/>
            </a:ln>
          </p:spPr>
          <p:txBody>
            <a:bodyPr rtlCol="0" anchor="ctr"/>
            <a:lstStyle/>
            <a:p>
              <a:endParaRPr lang="bg-BG"/>
            </a:p>
          </p:txBody>
        </p:sp>
        <p:sp>
          <p:nvSpPr>
            <p:cNvPr id="76" name="Свободна форма: фигура 20">
              <a:extLst>
                <a:ext uri="{FF2B5EF4-FFF2-40B4-BE49-F238E27FC236}">
                  <a16:creationId xmlns:a16="http://schemas.microsoft.com/office/drawing/2014/main" id="{59F0FC6B-6B05-A02D-2904-83985F9B32FC}"/>
                </a:ext>
              </a:extLst>
            </p:cNvPr>
            <p:cNvSpPr/>
            <p:nvPr/>
          </p:nvSpPr>
          <p:spPr>
            <a:xfrm>
              <a:off x="2257997" y="2005855"/>
              <a:ext cx="977900" cy="1066800"/>
            </a:xfrm>
            <a:custGeom>
              <a:avLst/>
              <a:gdLst>
                <a:gd name="connsiteX0" fmla="*/ 965898 w 977900"/>
                <a:gd name="connsiteY0" fmla="*/ 4555 h 1066800"/>
                <a:gd name="connsiteX1" fmla="*/ 603059 w 977900"/>
                <a:gd name="connsiteY1" fmla="*/ 633967 h 1066800"/>
                <a:gd name="connsiteX2" fmla="*/ 9461 w 977900"/>
                <a:gd name="connsiteY2" fmla="*/ 1052686 h 1066800"/>
                <a:gd name="connsiteX3" fmla="*/ 13017 w 977900"/>
                <a:gd name="connsiteY3" fmla="*/ 1078848 h 1066800"/>
                <a:gd name="connsiteX4" fmla="*/ 344233 w 977900"/>
                <a:gd name="connsiteY4" fmla="*/ 921241 h 1066800"/>
                <a:gd name="connsiteX5" fmla="*/ 626427 w 977900"/>
                <a:gd name="connsiteY5" fmla="*/ 676512 h 1066800"/>
                <a:gd name="connsiteX6" fmla="*/ 846772 w 977900"/>
                <a:gd name="connsiteY6" fmla="*/ 372474 h 1066800"/>
                <a:gd name="connsiteX7" fmla="*/ 978725 w 977900"/>
                <a:gd name="connsiteY7" fmla="*/ 7984 h 1066800"/>
                <a:gd name="connsiteX8" fmla="*/ 965898 w 977900"/>
                <a:gd name="connsiteY8" fmla="*/ 4555 h 106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7900" h="1066800">
                  <a:moveTo>
                    <a:pt x="965898" y="4555"/>
                  </a:moveTo>
                  <a:cubicBezTo>
                    <a:pt x="876871" y="229980"/>
                    <a:pt x="756602" y="445753"/>
                    <a:pt x="603059" y="633967"/>
                  </a:cubicBezTo>
                  <a:cubicBezTo>
                    <a:pt x="454469" y="816085"/>
                    <a:pt x="244665" y="1004045"/>
                    <a:pt x="9461" y="1052686"/>
                  </a:cubicBezTo>
                  <a:cubicBezTo>
                    <a:pt x="-5144" y="1055734"/>
                    <a:pt x="-1969" y="1079737"/>
                    <a:pt x="13017" y="1078848"/>
                  </a:cubicBezTo>
                  <a:cubicBezTo>
                    <a:pt x="135699" y="1071482"/>
                    <a:pt x="247332" y="990329"/>
                    <a:pt x="344233" y="921241"/>
                  </a:cubicBezTo>
                  <a:cubicBezTo>
                    <a:pt x="447230" y="847708"/>
                    <a:pt x="540067" y="769984"/>
                    <a:pt x="626427" y="676512"/>
                  </a:cubicBezTo>
                  <a:cubicBezTo>
                    <a:pt x="715835" y="579611"/>
                    <a:pt x="787590" y="491600"/>
                    <a:pt x="846772" y="372474"/>
                  </a:cubicBezTo>
                  <a:cubicBezTo>
                    <a:pt x="904430" y="256269"/>
                    <a:pt x="952690" y="135365"/>
                    <a:pt x="978725" y="7984"/>
                  </a:cubicBezTo>
                  <a:cubicBezTo>
                    <a:pt x="980249" y="-398"/>
                    <a:pt x="968946" y="-3192"/>
                    <a:pt x="965898" y="4555"/>
                  </a:cubicBezTo>
                </a:path>
              </a:pathLst>
            </a:custGeom>
            <a:solidFill>
              <a:schemeClr val="tx2"/>
            </a:solidFill>
            <a:ln w="12689" cap="flat">
              <a:noFill/>
              <a:prstDash val="solid"/>
              <a:miter/>
            </a:ln>
          </p:spPr>
          <p:txBody>
            <a:bodyPr rtlCol="0" anchor="ctr"/>
            <a:lstStyle/>
            <a:p>
              <a:endParaRPr lang="bg-BG" dirty="0"/>
            </a:p>
          </p:txBody>
        </p:sp>
        <p:sp>
          <p:nvSpPr>
            <p:cNvPr id="77" name="Свободна форма: фигура 21">
              <a:extLst>
                <a:ext uri="{FF2B5EF4-FFF2-40B4-BE49-F238E27FC236}">
                  <a16:creationId xmlns:a16="http://schemas.microsoft.com/office/drawing/2014/main" id="{CA73F2D3-7275-9BCB-E01D-522DD2A379BA}"/>
                </a:ext>
              </a:extLst>
            </p:cNvPr>
            <p:cNvSpPr/>
            <p:nvPr/>
          </p:nvSpPr>
          <p:spPr>
            <a:xfrm>
              <a:off x="1103626" y="657128"/>
              <a:ext cx="215900" cy="139700"/>
            </a:xfrm>
            <a:custGeom>
              <a:avLst/>
              <a:gdLst>
                <a:gd name="connsiteX0" fmla="*/ 28706 w 215900"/>
                <a:gd name="connsiteY0" fmla="*/ 144369 h 139700"/>
                <a:gd name="connsiteX1" fmla="*/ 125988 w 215900"/>
                <a:gd name="connsiteY1" fmla="*/ 69439 h 139700"/>
                <a:gd name="connsiteX2" fmla="*/ 218063 w 215900"/>
                <a:gd name="connsiteY2" fmla="*/ 20671 h 139700"/>
                <a:gd name="connsiteX3" fmla="*/ 212475 w 215900"/>
                <a:gd name="connsiteY3" fmla="*/ 97 h 139700"/>
                <a:gd name="connsiteX4" fmla="*/ 5211 w 215900"/>
                <a:gd name="connsiteY4" fmla="*/ 121001 h 139700"/>
                <a:gd name="connsiteX5" fmla="*/ 28706 w 215900"/>
                <a:gd name="connsiteY5" fmla="*/ 144369 h 13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5900" h="139700">
                  <a:moveTo>
                    <a:pt x="28706" y="144369"/>
                  </a:moveTo>
                  <a:cubicBezTo>
                    <a:pt x="59059" y="116556"/>
                    <a:pt x="90809" y="90775"/>
                    <a:pt x="125988" y="69439"/>
                  </a:cubicBezTo>
                  <a:cubicBezTo>
                    <a:pt x="155706" y="51532"/>
                    <a:pt x="188599" y="38832"/>
                    <a:pt x="218063" y="20671"/>
                  </a:cubicBezTo>
                  <a:cubicBezTo>
                    <a:pt x="226572" y="15464"/>
                    <a:pt x="224032" y="-1427"/>
                    <a:pt x="212475" y="97"/>
                  </a:cubicBezTo>
                  <a:cubicBezTo>
                    <a:pt x="133100" y="10257"/>
                    <a:pt x="62107" y="68677"/>
                    <a:pt x="5211" y="121001"/>
                  </a:cubicBezTo>
                  <a:cubicBezTo>
                    <a:pt x="-10537" y="135352"/>
                    <a:pt x="12958" y="158847"/>
                    <a:pt x="28706" y="144369"/>
                  </a:cubicBezTo>
                </a:path>
              </a:pathLst>
            </a:custGeom>
            <a:solidFill>
              <a:schemeClr val="tx2"/>
            </a:solidFill>
            <a:ln w="12689" cap="flat">
              <a:noFill/>
              <a:prstDash val="solid"/>
              <a:miter/>
            </a:ln>
          </p:spPr>
          <p:txBody>
            <a:bodyPr rtlCol="0" anchor="ctr"/>
            <a:lstStyle/>
            <a:p>
              <a:endParaRPr lang="bg-BG"/>
            </a:p>
          </p:txBody>
        </p:sp>
        <p:sp>
          <p:nvSpPr>
            <p:cNvPr id="78" name="Свободна форма: фигура 23">
              <a:extLst>
                <a:ext uri="{FF2B5EF4-FFF2-40B4-BE49-F238E27FC236}">
                  <a16:creationId xmlns:a16="http://schemas.microsoft.com/office/drawing/2014/main" id="{95A3E9BD-A04A-D201-D16A-7E182B014033}"/>
                </a:ext>
              </a:extLst>
            </p:cNvPr>
            <p:cNvSpPr/>
            <p:nvPr/>
          </p:nvSpPr>
          <p:spPr>
            <a:xfrm>
              <a:off x="1362964" y="907161"/>
              <a:ext cx="25400" cy="25400"/>
            </a:xfrm>
            <a:custGeom>
              <a:avLst/>
              <a:gdLst>
                <a:gd name="connsiteX0" fmla="*/ 33655 w 25400"/>
                <a:gd name="connsiteY0" fmla="*/ 15748 h 25400"/>
                <a:gd name="connsiteX1" fmla="*/ 0 w 25400"/>
                <a:gd name="connsiteY1" fmla="*/ 20447 h 25400"/>
                <a:gd name="connsiteX2" fmla="*/ 17907 w 25400"/>
                <a:gd name="connsiteY2" fmla="*/ 0 h 25400"/>
                <a:gd name="connsiteX3" fmla="*/ 33655 w 25400"/>
                <a:gd name="connsiteY3" fmla="*/ 15748 h 25400"/>
              </a:gdLst>
              <a:ahLst/>
              <a:cxnLst>
                <a:cxn ang="0">
                  <a:pos x="connsiteX0" y="connsiteY0"/>
                </a:cxn>
                <a:cxn ang="0">
                  <a:pos x="connsiteX1" y="connsiteY1"/>
                </a:cxn>
                <a:cxn ang="0">
                  <a:pos x="connsiteX2" y="connsiteY2"/>
                </a:cxn>
                <a:cxn ang="0">
                  <a:pos x="connsiteX3" y="connsiteY3"/>
                </a:cxn>
              </a:cxnLst>
              <a:rect l="l" t="t" r="r" b="b"/>
              <a:pathLst>
                <a:path w="25400" h="25400">
                  <a:moveTo>
                    <a:pt x="33655" y="15748"/>
                  </a:moveTo>
                  <a:cubicBezTo>
                    <a:pt x="22352" y="42799"/>
                    <a:pt x="11176" y="31623"/>
                    <a:pt x="0" y="20447"/>
                  </a:cubicBezTo>
                  <a:cubicBezTo>
                    <a:pt x="11176" y="9271"/>
                    <a:pt x="11176" y="9271"/>
                    <a:pt x="17907" y="0"/>
                  </a:cubicBezTo>
                  <a:cubicBezTo>
                    <a:pt x="26543" y="0"/>
                    <a:pt x="33655" y="7112"/>
                    <a:pt x="33655" y="15748"/>
                  </a:cubicBezTo>
                </a:path>
              </a:pathLst>
            </a:custGeom>
            <a:solidFill>
              <a:schemeClr val="tx2"/>
            </a:solidFill>
            <a:ln w="12689" cap="flat">
              <a:noFill/>
              <a:prstDash val="solid"/>
              <a:miter/>
            </a:ln>
          </p:spPr>
          <p:txBody>
            <a:bodyPr rtlCol="0" anchor="ctr"/>
            <a:lstStyle/>
            <a:p>
              <a:endParaRPr lang="bg-BG"/>
            </a:p>
          </p:txBody>
        </p:sp>
        <p:sp>
          <p:nvSpPr>
            <p:cNvPr id="79" name="Свободна форма: фигура 24">
              <a:extLst>
                <a:ext uri="{FF2B5EF4-FFF2-40B4-BE49-F238E27FC236}">
                  <a16:creationId xmlns:a16="http://schemas.microsoft.com/office/drawing/2014/main" id="{620BFEDB-2B1F-01D0-827E-2B4A249892AA}"/>
                </a:ext>
              </a:extLst>
            </p:cNvPr>
            <p:cNvSpPr/>
            <p:nvPr/>
          </p:nvSpPr>
          <p:spPr>
            <a:xfrm>
              <a:off x="1396492" y="1063687"/>
              <a:ext cx="25400" cy="25400"/>
            </a:xfrm>
            <a:custGeom>
              <a:avLst/>
              <a:gdLst>
                <a:gd name="connsiteX0" fmla="*/ 32385 w 25400"/>
                <a:gd name="connsiteY0" fmla="*/ 21782 h 25400"/>
                <a:gd name="connsiteX1" fmla="*/ 0 w 25400"/>
                <a:gd name="connsiteY1" fmla="*/ 9590 h 25400"/>
                <a:gd name="connsiteX2" fmla="*/ 26416 w 25400"/>
                <a:gd name="connsiteY2" fmla="*/ 192 h 25400"/>
                <a:gd name="connsiteX3" fmla="*/ 32385 w 25400"/>
                <a:gd name="connsiteY3" fmla="*/ 21782 h 25400"/>
              </a:gdLst>
              <a:ahLst/>
              <a:cxnLst>
                <a:cxn ang="0">
                  <a:pos x="connsiteX0" y="connsiteY0"/>
                </a:cxn>
                <a:cxn ang="0">
                  <a:pos x="connsiteX1" y="connsiteY1"/>
                </a:cxn>
                <a:cxn ang="0">
                  <a:pos x="connsiteX2" y="connsiteY2"/>
                </a:cxn>
                <a:cxn ang="0">
                  <a:pos x="connsiteX3" y="connsiteY3"/>
                </a:cxn>
              </a:cxnLst>
              <a:rect l="l" t="t" r="r" b="b"/>
              <a:pathLst>
                <a:path w="25400" h="25400">
                  <a:moveTo>
                    <a:pt x="32385" y="21782"/>
                  </a:moveTo>
                  <a:cubicBezTo>
                    <a:pt x="11176" y="43118"/>
                    <a:pt x="0" y="31942"/>
                    <a:pt x="0" y="9590"/>
                  </a:cubicBezTo>
                  <a:cubicBezTo>
                    <a:pt x="0" y="9590"/>
                    <a:pt x="11176" y="-1586"/>
                    <a:pt x="26416" y="192"/>
                  </a:cubicBezTo>
                  <a:cubicBezTo>
                    <a:pt x="34036" y="4383"/>
                    <a:pt x="36703" y="14162"/>
                    <a:pt x="32385" y="21782"/>
                  </a:cubicBezTo>
                </a:path>
              </a:pathLst>
            </a:custGeom>
            <a:solidFill>
              <a:schemeClr val="tx2"/>
            </a:solidFill>
            <a:ln w="12689" cap="flat">
              <a:noFill/>
              <a:prstDash val="solid"/>
              <a:miter/>
            </a:ln>
          </p:spPr>
          <p:txBody>
            <a:bodyPr rtlCol="0" anchor="ctr"/>
            <a:lstStyle/>
            <a:p>
              <a:endParaRPr lang="bg-BG"/>
            </a:p>
          </p:txBody>
        </p:sp>
        <p:sp>
          <p:nvSpPr>
            <p:cNvPr id="80" name="Свободна форма: фигура 25">
              <a:extLst>
                <a:ext uri="{FF2B5EF4-FFF2-40B4-BE49-F238E27FC236}">
                  <a16:creationId xmlns:a16="http://schemas.microsoft.com/office/drawing/2014/main" id="{B6C5A872-888D-1DDA-65B1-39C064904FB5}"/>
                </a:ext>
              </a:extLst>
            </p:cNvPr>
            <p:cNvSpPr/>
            <p:nvPr/>
          </p:nvSpPr>
          <p:spPr>
            <a:xfrm>
              <a:off x="1497330" y="1203960"/>
              <a:ext cx="25400" cy="25400"/>
            </a:xfrm>
            <a:custGeom>
              <a:avLst/>
              <a:gdLst>
                <a:gd name="connsiteX0" fmla="*/ 31496 w 25400"/>
                <a:gd name="connsiteY0" fmla="*/ 21717 h 25400"/>
                <a:gd name="connsiteX1" fmla="*/ 0 w 25400"/>
                <a:gd name="connsiteY1" fmla="*/ 3556 h 25400"/>
                <a:gd name="connsiteX2" fmla="*/ 25527 w 25400"/>
                <a:gd name="connsiteY2" fmla="*/ 0 h 25400"/>
                <a:gd name="connsiteX3" fmla="*/ 31496 w 25400"/>
                <a:gd name="connsiteY3" fmla="*/ 21717 h 25400"/>
              </a:gdLst>
              <a:ahLst/>
              <a:cxnLst>
                <a:cxn ang="0">
                  <a:pos x="connsiteX0" y="connsiteY0"/>
                </a:cxn>
                <a:cxn ang="0">
                  <a:pos x="connsiteX1" y="connsiteY1"/>
                </a:cxn>
                <a:cxn ang="0">
                  <a:pos x="connsiteX2" y="connsiteY2"/>
                </a:cxn>
                <a:cxn ang="0">
                  <a:pos x="connsiteX3" y="connsiteY3"/>
                </a:cxn>
              </a:cxnLst>
              <a:rect l="l" t="t" r="r" b="b"/>
              <a:pathLst>
                <a:path w="25400" h="25400">
                  <a:moveTo>
                    <a:pt x="31496" y="21717"/>
                  </a:moveTo>
                  <a:cubicBezTo>
                    <a:pt x="11176" y="37084"/>
                    <a:pt x="0" y="25908"/>
                    <a:pt x="0" y="3556"/>
                  </a:cubicBezTo>
                  <a:cubicBezTo>
                    <a:pt x="11176" y="3556"/>
                    <a:pt x="11176" y="3556"/>
                    <a:pt x="25527" y="0"/>
                  </a:cubicBezTo>
                  <a:cubicBezTo>
                    <a:pt x="33147" y="4445"/>
                    <a:pt x="35814" y="14224"/>
                    <a:pt x="31496" y="21717"/>
                  </a:cubicBezTo>
                </a:path>
              </a:pathLst>
            </a:custGeom>
            <a:solidFill>
              <a:schemeClr val="tx2"/>
            </a:solidFill>
            <a:ln w="12689" cap="flat">
              <a:noFill/>
              <a:prstDash val="solid"/>
              <a:miter/>
            </a:ln>
          </p:spPr>
          <p:txBody>
            <a:bodyPr rtlCol="0" anchor="ctr"/>
            <a:lstStyle/>
            <a:p>
              <a:endParaRPr lang="bg-BG"/>
            </a:p>
          </p:txBody>
        </p:sp>
        <p:sp>
          <p:nvSpPr>
            <p:cNvPr id="81" name="Свободна форма: фигура 26">
              <a:extLst>
                <a:ext uri="{FF2B5EF4-FFF2-40B4-BE49-F238E27FC236}">
                  <a16:creationId xmlns:a16="http://schemas.microsoft.com/office/drawing/2014/main" id="{99CB44B4-FD6F-A415-4910-C63B138009E9}"/>
                </a:ext>
              </a:extLst>
            </p:cNvPr>
            <p:cNvSpPr/>
            <p:nvPr/>
          </p:nvSpPr>
          <p:spPr>
            <a:xfrm>
              <a:off x="2136140" y="1159590"/>
              <a:ext cx="215900" cy="165100"/>
            </a:xfrm>
            <a:custGeom>
              <a:avLst/>
              <a:gdLst>
                <a:gd name="connsiteX0" fmla="*/ 0 w 215900"/>
                <a:gd name="connsiteY0" fmla="*/ 173402 h 165100"/>
                <a:gd name="connsiteX1" fmla="*/ 209550 w 215900"/>
                <a:gd name="connsiteY1" fmla="*/ 41957 h 165100"/>
                <a:gd name="connsiteX2" fmla="*/ 129794 w 215900"/>
                <a:gd name="connsiteY2" fmla="*/ 77263 h 165100"/>
                <a:gd name="connsiteX3" fmla="*/ 0 w 215900"/>
                <a:gd name="connsiteY3" fmla="*/ 173402 h 165100"/>
              </a:gdLst>
              <a:ahLst/>
              <a:cxnLst>
                <a:cxn ang="0">
                  <a:pos x="connsiteX0" y="connsiteY0"/>
                </a:cxn>
                <a:cxn ang="0">
                  <a:pos x="connsiteX1" y="connsiteY1"/>
                </a:cxn>
                <a:cxn ang="0">
                  <a:pos x="connsiteX2" y="connsiteY2"/>
                </a:cxn>
                <a:cxn ang="0">
                  <a:pos x="connsiteX3" y="connsiteY3"/>
                </a:cxn>
              </a:cxnLst>
              <a:rect l="l" t="t" r="r" b="b"/>
              <a:pathLst>
                <a:path w="215900" h="165100">
                  <a:moveTo>
                    <a:pt x="0" y="173402"/>
                  </a:moveTo>
                  <a:cubicBezTo>
                    <a:pt x="0" y="173402"/>
                    <a:pt x="182372" y="133778"/>
                    <a:pt x="209550" y="41957"/>
                  </a:cubicBezTo>
                  <a:cubicBezTo>
                    <a:pt x="236855" y="-49864"/>
                    <a:pt x="172593" y="30908"/>
                    <a:pt x="129794" y="77263"/>
                  </a:cubicBezTo>
                  <a:cubicBezTo>
                    <a:pt x="87122" y="123618"/>
                    <a:pt x="0" y="173402"/>
                    <a:pt x="0" y="173402"/>
                  </a:cubicBezTo>
                </a:path>
              </a:pathLst>
            </a:custGeom>
            <a:solidFill>
              <a:schemeClr val="tx2"/>
            </a:solidFill>
            <a:ln w="12689" cap="flat">
              <a:noFill/>
              <a:prstDash val="solid"/>
              <a:miter/>
            </a:ln>
          </p:spPr>
          <p:txBody>
            <a:bodyPr rtlCol="0" anchor="ctr"/>
            <a:lstStyle/>
            <a:p>
              <a:endParaRPr lang="bg-BG"/>
            </a:p>
          </p:txBody>
        </p:sp>
        <p:sp>
          <p:nvSpPr>
            <p:cNvPr id="82" name="Свободна форма: фигура 27">
              <a:extLst>
                <a:ext uri="{FF2B5EF4-FFF2-40B4-BE49-F238E27FC236}">
                  <a16:creationId xmlns:a16="http://schemas.microsoft.com/office/drawing/2014/main" id="{BF415BB7-657A-2A6C-7027-2AE7006C8405}"/>
                </a:ext>
              </a:extLst>
            </p:cNvPr>
            <p:cNvSpPr/>
            <p:nvPr/>
          </p:nvSpPr>
          <p:spPr>
            <a:xfrm>
              <a:off x="1442985" y="476377"/>
              <a:ext cx="114300" cy="88900"/>
            </a:xfrm>
            <a:custGeom>
              <a:avLst/>
              <a:gdLst>
                <a:gd name="connsiteX0" fmla="*/ 114670 w 114300"/>
                <a:gd name="connsiteY0" fmla="*/ 0 h 88900"/>
                <a:gd name="connsiteX1" fmla="*/ 6466 w 114300"/>
                <a:gd name="connsiteY1" fmla="*/ 55626 h 88900"/>
                <a:gd name="connsiteX2" fmla="*/ 62473 w 114300"/>
                <a:gd name="connsiteY2" fmla="*/ 58293 h 88900"/>
                <a:gd name="connsiteX3" fmla="*/ 114670 w 114300"/>
                <a:gd name="connsiteY3" fmla="*/ 0 h 88900"/>
              </a:gdLst>
              <a:ahLst/>
              <a:cxnLst>
                <a:cxn ang="0">
                  <a:pos x="connsiteX0" y="connsiteY0"/>
                </a:cxn>
                <a:cxn ang="0">
                  <a:pos x="connsiteX1" y="connsiteY1"/>
                </a:cxn>
                <a:cxn ang="0">
                  <a:pos x="connsiteX2" y="connsiteY2"/>
                </a:cxn>
                <a:cxn ang="0">
                  <a:pos x="connsiteX3" y="connsiteY3"/>
                </a:cxn>
              </a:cxnLst>
              <a:rect l="l" t="t" r="r" b="b"/>
              <a:pathLst>
                <a:path w="114300" h="88900">
                  <a:moveTo>
                    <a:pt x="114670" y="0"/>
                  </a:moveTo>
                  <a:cubicBezTo>
                    <a:pt x="114670" y="0"/>
                    <a:pt x="28564" y="12065"/>
                    <a:pt x="6466" y="55626"/>
                  </a:cubicBezTo>
                  <a:cubicBezTo>
                    <a:pt x="-15632" y="99187"/>
                    <a:pt x="22849" y="104775"/>
                    <a:pt x="62473" y="58293"/>
                  </a:cubicBezTo>
                  <a:cubicBezTo>
                    <a:pt x="101970" y="11557"/>
                    <a:pt x="114670" y="0"/>
                    <a:pt x="114670" y="0"/>
                  </a:cubicBezTo>
                </a:path>
              </a:pathLst>
            </a:custGeom>
            <a:solidFill>
              <a:schemeClr val="tx2"/>
            </a:solidFill>
            <a:ln w="12689" cap="flat">
              <a:noFill/>
              <a:prstDash val="solid"/>
              <a:miter/>
            </a:ln>
          </p:spPr>
          <p:txBody>
            <a:bodyPr rtlCol="0" anchor="ctr"/>
            <a:lstStyle/>
            <a:p>
              <a:endParaRPr lang="bg-BG"/>
            </a:p>
          </p:txBody>
        </p:sp>
      </p:grpSp>
      <p:sp>
        <p:nvSpPr>
          <p:cNvPr id="10" name="object 3">
            <a:extLst>
              <a:ext uri="{FF2B5EF4-FFF2-40B4-BE49-F238E27FC236}">
                <a16:creationId xmlns:a16="http://schemas.microsoft.com/office/drawing/2014/main" id="{C8346B9B-8C78-555C-9786-14FDED6B0F52}"/>
              </a:ext>
            </a:extLst>
          </p:cNvPr>
          <p:cNvSpPr txBox="1"/>
          <p:nvPr/>
        </p:nvSpPr>
        <p:spPr>
          <a:xfrm>
            <a:off x="5383543" y="2340342"/>
            <a:ext cx="1547862" cy="286745"/>
          </a:xfrm>
          <a:prstGeom prst="rect">
            <a:avLst/>
          </a:prstGeom>
        </p:spPr>
        <p:txBody>
          <a:bodyPr vert="horz" wrap="square" lIns="0" tIns="12700" rIns="0" bIns="0" rtlCol="0">
            <a:spAutoFit/>
          </a:bodyPr>
          <a:lstStyle/>
          <a:p>
            <a:pPr marL="167005" marR="160655" algn="ctr">
              <a:lnSpc>
                <a:spcPct val="118600"/>
              </a:lnSpc>
              <a:spcBef>
                <a:spcPts val="100"/>
              </a:spcBef>
            </a:pPr>
            <a:r>
              <a:rPr lang="en-US" sz="1600" b="1" dirty="0">
                <a:solidFill>
                  <a:schemeClr val="bg1"/>
                </a:solidFill>
                <a:latin typeface="+mj-lt"/>
                <a:cs typeface="Arial"/>
              </a:rPr>
              <a:t>Data Quality</a:t>
            </a:r>
            <a:endParaRPr sz="1600" b="1" dirty="0">
              <a:solidFill>
                <a:schemeClr val="bg1"/>
              </a:solidFill>
              <a:latin typeface="+mj-lt"/>
              <a:cs typeface="Arial"/>
            </a:endParaRPr>
          </a:p>
        </p:txBody>
      </p:sp>
      <p:grpSp>
        <p:nvGrpSpPr>
          <p:cNvPr id="100" name="Group 99">
            <a:extLst>
              <a:ext uri="{FF2B5EF4-FFF2-40B4-BE49-F238E27FC236}">
                <a16:creationId xmlns:a16="http://schemas.microsoft.com/office/drawing/2014/main" id="{0C140023-832E-D31A-3200-E478C742FD5C}"/>
              </a:ext>
            </a:extLst>
          </p:cNvPr>
          <p:cNvGrpSpPr/>
          <p:nvPr/>
        </p:nvGrpSpPr>
        <p:grpSpPr>
          <a:xfrm>
            <a:off x="8447386" y="1832417"/>
            <a:ext cx="3688976" cy="4383048"/>
            <a:chOff x="583687" y="407303"/>
            <a:chExt cx="2652210" cy="2724586"/>
          </a:xfrm>
        </p:grpSpPr>
        <p:sp>
          <p:nvSpPr>
            <p:cNvPr id="101" name="Свободна форма: фигура 11">
              <a:extLst>
                <a:ext uri="{FF2B5EF4-FFF2-40B4-BE49-F238E27FC236}">
                  <a16:creationId xmlns:a16="http://schemas.microsoft.com/office/drawing/2014/main" id="{0A890819-F2B9-A1BD-1D1A-DE9987E0E0D6}"/>
                </a:ext>
              </a:extLst>
            </p:cNvPr>
            <p:cNvSpPr/>
            <p:nvPr/>
          </p:nvSpPr>
          <p:spPr>
            <a:xfrm>
              <a:off x="677366" y="592080"/>
              <a:ext cx="2413000" cy="2413000"/>
            </a:xfrm>
            <a:custGeom>
              <a:avLst/>
              <a:gdLst>
                <a:gd name="connsiteX0" fmla="*/ 2422704 w 2413000"/>
                <a:gd name="connsiteY0" fmla="*/ 1249928 h 2413000"/>
                <a:gd name="connsiteX1" fmla="*/ 1806246 w 2413000"/>
                <a:gd name="connsiteY1" fmla="*/ 2259705 h 2413000"/>
                <a:gd name="connsiteX2" fmla="*/ 1647242 w 2413000"/>
                <a:gd name="connsiteY2" fmla="*/ 2330190 h 2413000"/>
                <a:gd name="connsiteX3" fmla="*/ 250115 w 2413000"/>
                <a:gd name="connsiteY3" fmla="*/ 1945126 h 2413000"/>
                <a:gd name="connsiteX4" fmla="*/ 132767 w 2413000"/>
                <a:gd name="connsiteY4" fmla="*/ 1759452 h 2413000"/>
                <a:gd name="connsiteX5" fmla="*/ 88825 w 2413000"/>
                <a:gd name="connsiteY5" fmla="*/ 705987 h 2413000"/>
                <a:gd name="connsiteX6" fmla="*/ 1371779 w 2413000"/>
                <a:gd name="connsiteY6" fmla="*/ 11551 h 2413000"/>
                <a:gd name="connsiteX7" fmla="*/ 1587425 w 2413000"/>
                <a:gd name="connsiteY7" fmla="*/ 62605 h 2413000"/>
                <a:gd name="connsiteX8" fmla="*/ 2410893 w 2413000"/>
                <a:gd name="connsiteY8" fmla="*/ 1003294 h 2413000"/>
                <a:gd name="connsiteX9" fmla="*/ 2422704 w 2413000"/>
                <a:gd name="connsiteY9" fmla="*/ 1249928 h 241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3000" h="2413000">
                  <a:moveTo>
                    <a:pt x="2422704" y="1249928"/>
                  </a:moveTo>
                  <a:cubicBezTo>
                    <a:pt x="2416354" y="1676648"/>
                    <a:pt x="2163497" y="2066030"/>
                    <a:pt x="1806246" y="2259705"/>
                  </a:cubicBezTo>
                  <a:cubicBezTo>
                    <a:pt x="1755192" y="2287391"/>
                    <a:pt x="1702106" y="2311013"/>
                    <a:pt x="1647242" y="2330190"/>
                  </a:cubicBezTo>
                  <a:cubicBezTo>
                    <a:pt x="1147878" y="2541391"/>
                    <a:pt x="564567" y="2349367"/>
                    <a:pt x="250115" y="1945126"/>
                  </a:cubicBezTo>
                  <a:cubicBezTo>
                    <a:pt x="205157" y="1887341"/>
                    <a:pt x="165787" y="1825365"/>
                    <a:pt x="132767" y="1759452"/>
                  </a:cubicBezTo>
                  <a:cubicBezTo>
                    <a:pt x="1068" y="1430268"/>
                    <a:pt x="-64718" y="1057142"/>
                    <a:pt x="88825" y="705987"/>
                  </a:cubicBezTo>
                  <a:cubicBezTo>
                    <a:pt x="308281" y="223133"/>
                    <a:pt x="835077" y="-62236"/>
                    <a:pt x="1371779" y="11551"/>
                  </a:cubicBezTo>
                  <a:cubicBezTo>
                    <a:pt x="1444931" y="22473"/>
                    <a:pt x="1517194" y="39618"/>
                    <a:pt x="1587425" y="62605"/>
                  </a:cubicBezTo>
                  <a:cubicBezTo>
                    <a:pt x="2008938" y="200527"/>
                    <a:pt x="2360855" y="548380"/>
                    <a:pt x="2410893" y="1003294"/>
                  </a:cubicBezTo>
                  <a:cubicBezTo>
                    <a:pt x="2423212" y="1082669"/>
                    <a:pt x="2427403" y="1165473"/>
                    <a:pt x="2422704" y="1249928"/>
                  </a:cubicBezTo>
                </a:path>
              </a:pathLst>
            </a:custGeom>
            <a:solidFill>
              <a:srgbClr val="FFFFFF"/>
            </a:solidFill>
            <a:ln w="12689" cap="flat">
              <a:noFill/>
              <a:prstDash val="solid"/>
              <a:miter/>
            </a:ln>
          </p:spPr>
          <p:txBody>
            <a:bodyPr rtlCol="0" anchor="ctr"/>
            <a:lstStyle/>
            <a:p>
              <a:endParaRPr lang="bg-BG"/>
            </a:p>
          </p:txBody>
        </p:sp>
        <p:sp>
          <p:nvSpPr>
            <p:cNvPr id="102" name="Свободна форма: фигура 12">
              <a:extLst>
                <a:ext uri="{FF2B5EF4-FFF2-40B4-BE49-F238E27FC236}">
                  <a16:creationId xmlns:a16="http://schemas.microsoft.com/office/drawing/2014/main" id="{2C8A9956-91B8-D029-163E-188B35CC51F4}"/>
                </a:ext>
              </a:extLst>
            </p:cNvPr>
            <p:cNvSpPr/>
            <p:nvPr/>
          </p:nvSpPr>
          <p:spPr>
            <a:xfrm>
              <a:off x="1406829" y="592140"/>
              <a:ext cx="1054100" cy="850900"/>
            </a:xfrm>
            <a:custGeom>
              <a:avLst/>
              <a:gdLst>
                <a:gd name="connsiteX0" fmla="*/ 642316 w 1054100"/>
                <a:gd name="connsiteY0" fmla="*/ 11491 h 850900"/>
                <a:gd name="connsiteX1" fmla="*/ 61672 w 1054100"/>
                <a:gd name="connsiteY1" fmla="*/ 70419 h 850900"/>
                <a:gd name="connsiteX2" fmla="*/ 66244 w 1054100"/>
                <a:gd name="connsiteY2" fmla="*/ 566227 h 850900"/>
                <a:gd name="connsiteX3" fmla="*/ 118187 w 1054100"/>
                <a:gd name="connsiteY3" fmla="*/ 647253 h 850900"/>
                <a:gd name="connsiteX4" fmla="*/ 728422 w 1054100"/>
                <a:gd name="connsiteY4" fmla="*/ 817052 h 850900"/>
                <a:gd name="connsiteX5" fmla="*/ 1032333 w 1054100"/>
                <a:gd name="connsiteY5" fmla="*/ 474660 h 850900"/>
                <a:gd name="connsiteX6" fmla="*/ 1051637 w 1054100"/>
                <a:gd name="connsiteY6" fmla="*/ 381315 h 850900"/>
                <a:gd name="connsiteX7" fmla="*/ 1014172 w 1054100"/>
                <a:gd name="connsiteY7" fmla="*/ 124775 h 850900"/>
                <a:gd name="connsiteX8" fmla="*/ 857962 w 1054100"/>
                <a:gd name="connsiteY8" fmla="*/ 62545 h 850900"/>
                <a:gd name="connsiteX9" fmla="*/ 642316 w 1054100"/>
                <a:gd name="connsiteY9" fmla="*/ 11491 h 850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54100" h="850900">
                  <a:moveTo>
                    <a:pt x="642316" y="11491"/>
                  </a:moveTo>
                  <a:cubicBezTo>
                    <a:pt x="442291" y="-15941"/>
                    <a:pt x="243536" y="6538"/>
                    <a:pt x="61672" y="70419"/>
                  </a:cubicBezTo>
                  <a:cubicBezTo>
                    <a:pt x="-26847" y="221803"/>
                    <a:pt x="-15417" y="412176"/>
                    <a:pt x="66244" y="566227"/>
                  </a:cubicBezTo>
                  <a:cubicBezTo>
                    <a:pt x="81230" y="594548"/>
                    <a:pt x="98629" y="621726"/>
                    <a:pt x="118187" y="647253"/>
                  </a:cubicBezTo>
                  <a:cubicBezTo>
                    <a:pt x="263602" y="832038"/>
                    <a:pt x="514173" y="901761"/>
                    <a:pt x="728422" y="817052"/>
                  </a:cubicBezTo>
                  <a:cubicBezTo>
                    <a:pt x="882346" y="753679"/>
                    <a:pt x="974167" y="617281"/>
                    <a:pt x="1032333" y="474660"/>
                  </a:cubicBezTo>
                  <a:cubicBezTo>
                    <a:pt x="1041858" y="444180"/>
                    <a:pt x="1048335" y="412811"/>
                    <a:pt x="1051637" y="381315"/>
                  </a:cubicBezTo>
                  <a:cubicBezTo>
                    <a:pt x="1060908" y="294701"/>
                    <a:pt x="1047192" y="205928"/>
                    <a:pt x="1014172" y="124775"/>
                  </a:cubicBezTo>
                  <a:cubicBezTo>
                    <a:pt x="963499" y="100772"/>
                    <a:pt x="911302" y="80071"/>
                    <a:pt x="857962" y="62545"/>
                  </a:cubicBezTo>
                  <a:cubicBezTo>
                    <a:pt x="787731" y="39558"/>
                    <a:pt x="715595" y="22413"/>
                    <a:pt x="642316" y="11491"/>
                  </a:cubicBezTo>
                </a:path>
              </a:pathLst>
            </a:custGeom>
            <a:solidFill>
              <a:srgbClr val="F1F0D7"/>
            </a:solidFill>
            <a:ln w="12689" cap="flat">
              <a:noFill/>
              <a:prstDash val="solid"/>
              <a:miter/>
            </a:ln>
          </p:spPr>
          <p:txBody>
            <a:bodyPr rtlCol="0" anchor="ctr"/>
            <a:lstStyle/>
            <a:p>
              <a:endParaRPr lang="bg-BG"/>
            </a:p>
          </p:txBody>
        </p:sp>
        <p:sp>
          <p:nvSpPr>
            <p:cNvPr id="103" name="Свободна форма: фигура 13">
              <a:extLst>
                <a:ext uri="{FF2B5EF4-FFF2-40B4-BE49-F238E27FC236}">
                  <a16:creationId xmlns:a16="http://schemas.microsoft.com/office/drawing/2014/main" id="{6860A326-E300-02E8-C336-B0980B1388CB}"/>
                </a:ext>
              </a:extLst>
            </p:cNvPr>
            <p:cNvSpPr/>
            <p:nvPr/>
          </p:nvSpPr>
          <p:spPr>
            <a:xfrm>
              <a:off x="1425065" y="407303"/>
              <a:ext cx="914400" cy="927100"/>
            </a:xfrm>
            <a:custGeom>
              <a:avLst/>
              <a:gdLst>
                <a:gd name="connsiteX0" fmla="*/ 143512 w 914400"/>
                <a:gd name="connsiteY0" fmla="*/ 129780 h 927100"/>
                <a:gd name="connsiteX1" fmla="*/ 580011 w 914400"/>
                <a:gd name="connsiteY1" fmla="*/ 15988 h 927100"/>
                <a:gd name="connsiteX2" fmla="*/ 642368 w 914400"/>
                <a:gd name="connsiteY2" fmla="*/ 38721 h 927100"/>
                <a:gd name="connsiteX3" fmla="*/ 923800 w 914400"/>
                <a:gd name="connsiteY3" fmla="*/ 514208 h 927100"/>
                <a:gd name="connsiteX4" fmla="*/ 906782 w 914400"/>
                <a:gd name="connsiteY4" fmla="*/ 596251 h 927100"/>
                <a:gd name="connsiteX5" fmla="*/ 639828 w 914400"/>
                <a:gd name="connsiteY5" fmla="*/ 896860 h 927100"/>
                <a:gd name="connsiteX6" fmla="*/ 104015 w 914400"/>
                <a:gd name="connsiteY6" fmla="*/ 747762 h 927100"/>
                <a:gd name="connsiteX7" fmla="*/ 58295 w 914400"/>
                <a:gd name="connsiteY7" fmla="*/ 676642 h 927100"/>
                <a:gd name="connsiteX8" fmla="*/ 81409 w 914400"/>
                <a:gd name="connsiteY8" fmla="*/ 200519 h 927100"/>
                <a:gd name="connsiteX9" fmla="*/ 143512 w 914400"/>
                <a:gd name="connsiteY9" fmla="*/ 129780 h 927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4400" h="927100">
                  <a:moveTo>
                    <a:pt x="143512" y="129780"/>
                  </a:moveTo>
                  <a:cubicBezTo>
                    <a:pt x="258193" y="14337"/>
                    <a:pt x="430659" y="-25541"/>
                    <a:pt x="580011" y="15988"/>
                  </a:cubicBezTo>
                  <a:cubicBezTo>
                    <a:pt x="601347" y="21957"/>
                    <a:pt x="622175" y="29450"/>
                    <a:pt x="642368" y="38721"/>
                  </a:cubicBezTo>
                  <a:cubicBezTo>
                    <a:pt x="835281" y="113016"/>
                    <a:pt x="944501" y="320153"/>
                    <a:pt x="923800" y="514208"/>
                  </a:cubicBezTo>
                  <a:cubicBezTo>
                    <a:pt x="920879" y="541895"/>
                    <a:pt x="915164" y="569454"/>
                    <a:pt x="906782" y="596251"/>
                  </a:cubicBezTo>
                  <a:cubicBezTo>
                    <a:pt x="855728" y="721473"/>
                    <a:pt x="774956" y="841234"/>
                    <a:pt x="639828" y="896860"/>
                  </a:cubicBezTo>
                  <a:cubicBezTo>
                    <a:pt x="451741" y="971282"/>
                    <a:pt x="231650" y="910068"/>
                    <a:pt x="104015" y="747762"/>
                  </a:cubicBezTo>
                  <a:cubicBezTo>
                    <a:pt x="86870" y="725410"/>
                    <a:pt x="71503" y="701534"/>
                    <a:pt x="58295" y="676642"/>
                  </a:cubicBezTo>
                  <a:cubicBezTo>
                    <a:pt x="-20826" y="527163"/>
                    <a:pt x="-25271" y="338568"/>
                    <a:pt x="81409" y="200519"/>
                  </a:cubicBezTo>
                  <a:cubicBezTo>
                    <a:pt x="99062" y="175500"/>
                    <a:pt x="119890" y="151623"/>
                    <a:pt x="143512" y="129780"/>
                  </a:cubicBezTo>
                </a:path>
              </a:pathLst>
            </a:custGeom>
            <a:solidFill>
              <a:srgbClr val="83CC1B"/>
            </a:solidFill>
            <a:ln w="12689" cap="flat">
              <a:noFill/>
              <a:prstDash val="solid"/>
              <a:miter/>
            </a:ln>
          </p:spPr>
          <p:txBody>
            <a:bodyPr rtlCol="0" anchor="ctr"/>
            <a:lstStyle/>
            <a:p>
              <a:endParaRPr lang="bg-BG"/>
            </a:p>
          </p:txBody>
        </p:sp>
        <p:sp>
          <p:nvSpPr>
            <p:cNvPr id="104" name="Свободна форма: фигура 14">
              <a:extLst>
                <a:ext uri="{FF2B5EF4-FFF2-40B4-BE49-F238E27FC236}">
                  <a16:creationId xmlns:a16="http://schemas.microsoft.com/office/drawing/2014/main" id="{A370B719-E309-F261-2684-CFF61C9C6592}"/>
                </a:ext>
              </a:extLst>
            </p:cNvPr>
            <p:cNvSpPr/>
            <p:nvPr/>
          </p:nvSpPr>
          <p:spPr>
            <a:xfrm>
              <a:off x="1591056" y="557657"/>
              <a:ext cx="749300" cy="774700"/>
            </a:xfrm>
            <a:custGeom>
              <a:avLst/>
              <a:gdLst>
                <a:gd name="connsiteX0" fmla="*/ 629920 w 749300"/>
                <a:gd name="connsiteY0" fmla="*/ 21209 h 774700"/>
                <a:gd name="connsiteX1" fmla="*/ 593852 w 749300"/>
                <a:gd name="connsiteY1" fmla="*/ 266573 h 774700"/>
                <a:gd name="connsiteX2" fmla="*/ 271399 w 749300"/>
                <a:gd name="connsiteY2" fmla="*/ 577850 h 774700"/>
                <a:gd name="connsiteX3" fmla="*/ 0 w 749300"/>
                <a:gd name="connsiteY3" fmla="*/ 661924 h 774700"/>
                <a:gd name="connsiteX4" fmla="*/ 473837 w 749300"/>
                <a:gd name="connsiteY4" fmla="*/ 746506 h 774700"/>
                <a:gd name="connsiteX5" fmla="*/ 740791 w 749300"/>
                <a:gd name="connsiteY5" fmla="*/ 445770 h 774700"/>
                <a:gd name="connsiteX6" fmla="*/ 757809 w 749300"/>
                <a:gd name="connsiteY6" fmla="*/ 363728 h 774700"/>
                <a:gd name="connsiteX7" fmla="*/ 638175 w 749300"/>
                <a:gd name="connsiteY7" fmla="*/ 0 h 774700"/>
                <a:gd name="connsiteX8" fmla="*/ 629920 w 749300"/>
                <a:gd name="connsiteY8" fmla="*/ 21209 h 774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9300" h="774700">
                  <a:moveTo>
                    <a:pt x="629920" y="21209"/>
                  </a:moveTo>
                  <a:cubicBezTo>
                    <a:pt x="606171" y="100711"/>
                    <a:pt x="622300" y="185928"/>
                    <a:pt x="593852" y="266573"/>
                  </a:cubicBezTo>
                  <a:cubicBezTo>
                    <a:pt x="538861" y="422148"/>
                    <a:pt x="416306" y="511683"/>
                    <a:pt x="271399" y="577850"/>
                  </a:cubicBezTo>
                  <a:cubicBezTo>
                    <a:pt x="185039" y="617220"/>
                    <a:pt x="92710" y="647192"/>
                    <a:pt x="0" y="661924"/>
                  </a:cubicBezTo>
                  <a:cubicBezTo>
                    <a:pt x="129794" y="774446"/>
                    <a:pt x="313309" y="809879"/>
                    <a:pt x="473837" y="746506"/>
                  </a:cubicBezTo>
                  <a:cubicBezTo>
                    <a:pt x="608965" y="690880"/>
                    <a:pt x="689737" y="570992"/>
                    <a:pt x="740791" y="445770"/>
                  </a:cubicBezTo>
                  <a:cubicBezTo>
                    <a:pt x="749173" y="418973"/>
                    <a:pt x="754761" y="391541"/>
                    <a:pt x="757809" y="363728"/>
                  </a:cubicBezTo>
                  <a:cubicBezTo>
                    <a:pt x="771652" y="233680"/>
                    <a:pt x="727075" y="97917"/>
                    <a:pt x="638175" y="0"/>
                  </a:cubicBezTo>
                  <a:cubicBezTo>
                    <a:pt x="634873" y="6731"/>
                    <a:pt x="632079" y="13716"/>
                    <a:pt x="629920" y="21209"/>
                  </a:cubicBezTo>
                </a:path>
              </a:pathLst>
            </a:custGeom>
            <a:solidFill>
              <a:srgbClr val="5DB723"/>
            </a:solidFill>
            <a:ln w="12689" cap="flat">
              <a:noFill/>
              <a:prstDash val="solid"/>
              <a:miter/>
            </a:ln>
          </p:spPr>
          <p:txBody>
            <a:bodyPr rtlCol="0" anchor="ctr"/>
            <a:lstStyle/>
            <a:p>
              <a:endParaRPr lang="bg-BG"/>
            </a:p>
          </p:txBody>
        </p:sp>
        <p:sp>
          <p:nvSpPr>
            <p:cNvPr id="105" name="Свободна форма: фигура 15">
              <a:extLst>
                <a:ext uri="{FF2B5EF4-FFF2-40B4-BE49-F238E27FC236}">
                  <a16:creationId xmlns:a16="http://schemas.microsoft.com/office/drawing/2014/main" id="{739ECA3D-416D-06C5-5348-BC12010E2271}"/>
                </a:ext>
              </a:extLst>
            </p:cNvPr>
            <p:cNvSpPr/>
            <p:nvPr/>
          </p:nvSpPr>
          <p:spPr>
            <a:xfrm>
              <a:off x="689991" y="1457452"/>
              <a:ext cx="2400300" cy="1549400"/>
            </a:xfrm>
            <a:custGeom>
              <a:avLst/>
              <a:gdLst>
                <a:gd name="connsiteX0" fmla="*/ 2398395 w 2400300"/>
                <a:gd name="connsiteY0" fmla="*/ 137922 h 1549400"/>
                <a:gd name="connsiteX1" fmla="*/ 2373122 w 2400300"/>
                <a:gd name="connsiteY1" fmla="*/ 0 h 1549400"/>
                <a:gd name="connsiteX2" fmla="*/ 2211197 w 2400300"/>
                <a:gd name="connsiteY2" fmla="*/ 837184 h 1549400"/>
                <a:gd name="connsiteX3" fmla="*/ 1736852 w 2400300"/>
                <a:gd name="connsiteY3" fmla="*/ 1171702 h 1549400"/>
                <a:gd name="connsiteX4" fmla="*/ 1234313 w 2400300"/>
                <a:gd name="connsiteY4" fmla="*/ 1282827 h 1549400"/>
                <a:gd name="connsiteX5" fmla="*/ 955421 w 2400300"/>
                <a:gd name="connsiteY5" fmla="*/ 1222375 h 1549400"/>
                <a:gd name="connsiteX6" fmla="*/ 736727 w 2400300"/>
                <a:gd name="connsiteY6" fmla="*/ 1105154 h 1549400"/>
                <a:gd name="connsiteX7" fmla="*/ 305308 w 2400300"/>
                <a:gd name="connsiteY7" fmla="*/ 875792 h 1549400"/>
                <a:gd name="connsiteX8" fmla="*/ 0 w 2400300"/>
                <a:gd name="connsiteY8" fmla="*/ 455930 h 1549400"/>
                <a:gd name="connsiteX9" fmla="*/ 120269 w 2400300"/>
                <a:gd name="connsiteY9" fmla="*/ 894334 h 1549400"/>
                <a:gd name="connsiteX10" fmla="*/ 237617 w 2400300"/>
                <a:gd name="connsiteY10" fmla="*/ 1080008 h 1549400"/>
                <a:gd name="connsiteX11" fmla="*/ 1634744 w 2400300"/>
                <a:gd name="connsiteY11" fmla="*/ 1464945 h 1549400"/>
                <a:gd name="connsiteX12" fmla="*/ 1793875 w 2400300"/>
                <a:gd name="connsiteY12" fmla="*/ 1394460 h 1549400"/>
                <a:gd name="connsiteX13" fmla="*/ 2410333 w 2400300"/>
                <a:gd name="connsiteY13" fmla="*/ 384683 h 1549400"/>
                <a:gd name="connsiteX14" fmla="*/ 2398395 w 2400300"/>
                <a:gd name="connsiteY14" fmla="*/ 137922 h 154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00300" h="1549400">
                  <a:moveTo>
                    <a:pt x="2398395" y="137922"/>
                  </a:moveTo>
                  <a:cubicBezTo>
                    <a:pt x="2393188" y="90805"/>
                    <a:pt x="2384552" y="44831"/>
                    <a:pt x="2373122" y="0"/>
                  </a:cubicBezTo>
                  <a:cubicBezTo>
                    <a:pt x="2423668" y="292608"/>
                    <a:pt x="2409190" y="593598"/>
                    <a:pt x="2211197" y="837184"/>
                  </a:cubicBezTo>
                  <a:cubicBezTo>
                    <a:pt x="2086483" y="990473"/>
                    <a:pt x="1911731" y="1086358"/>
                    <a:pt x="1736852" y="1171702"/>
                  </a:cubicBezTo>
                  <a:cubicBezTo>
                    <a:pt x="1576832" y="1249807"/>
                    <a:pt x="1413891" y="1294384"/>
                    <a:pt x="1234313" y="1282827"/>
                  </a:cubicBezTo>
                  <a:cubicBezTo>
                    <a:pt x="1138936" y="1276731"/>
                    <a:pt x="1044448" y="1257300"/>
                    <a:pt x="955421" y="1222375"/>
                  </a:cubicBezTo>
                  <a:cubicBezTo>
                    <a:pt x="877570" y="1191641"/>
                    <a:pt x="809752" y="1145032"/>
                    <a:pt x="736727" y="1105154"/>
                  </a:cubicBezTo>
                  <a:cubicBezTo>
                    <a:pt x="594106" y="1027176"/>
                    <a:pt x="438277" y="970788"/>
                    <a:pt x="305308" y="875792"/>
                  </a:cubicBezTo>
                  <a:cubicBezTo>
                    <a:pt x="148717" y="764032"/>
                    <a:pt x="51308" y="618363"/>
                    <a:pt x="0" y="455930"/>
                  </a:cubicBezTo>
                  <a:cubicBezTo>
                    <a:pt x="20447" y="606552"/>
                    <a:pt x="64389" y="754380"/>
                    <a:pt x="120269" y="894334"/>
                  </a:cubicBezTo>
                  <a:cubicBezTo>
                    <a:pt x="153162" y="960120"/>
                    <a:pt x="192659" y="1022223"/>
                    <a:pt x="237617" y="1080008"/>
                  </a:cubicBezTo>
                  <a:cubicBezTo>
                    <a:pt x="552069" y="1484249"/>
                    <a:pt x="1135380" y="1676273"/>
                    <a:pt x="1634744" y="1464945"/>
                  </a:cubicBezTo>
                  <a:cubicBezTo>
                    <a:pt x="1689608" y="1445768"/>
                    <a:pt x="1742821" y="1422019"/>
                    <a:pt x="1793875" y="1394460"/>
                  </a:cubicBezTo>
                  <a:cubicBezTo>
                    <a:pt x="2151126" y="1200912"/>
                    <a:pt x="2403856" y="811403"/>
                    <a:pt x="2410333" y="384683"/>
                  </a:cubicBezTo>
                  <a:cubicBezTo>
                    <a:pt x="2414778" y="300101"/>
                    <a:pt x="2410587" y="217297"/>
                    <a:pt x="2398395" y="137922"/>
                  </a:cubicBezTo>
                </a:path>
              </a:pathLst>
            </a:custGeom>
            <a:solidFill>
              <a:srgbClr val="F1F0D7"/>
            </a:solidFill>
            <a:ln w="12689" cap="flat">
              <a:noFill/>
              <a:prstDash val="solid"/>
              <a:miter/>
            </a:ln>
          </p:spPr>
          <p:txBody>
            <a:bodyPr rtlCol="0" anchor="ctr"/>
            <a:lstStyle/>
            <a:p>
              <a:endParaRPr lang="bg-BG"/>
            </a:p>
          </p:txBody>
        </p:sp>
        <p:sp>
          <p:nvSpPr>
            <p:cNvPr id="106" name="Свободна форма: фигура 16">
              <a:extLst>
                <a:ext uri="{FF2B5EF4-FFF2-40B4-BE49-F238E27FC236}">
                  <a16:creationId xmlns:a16="http://schemas.microsoft.com/office/drawing/2014/main" id="{1C5BAA28-F361-1253-08FC-D884EF5C7AB2}"/>
                </a:ext>
              </a:extLst>
            </p:cNvPr>
            <p:cNvSpPr/>
            <p:nvPr/>
          </p:nvSpPr>
          <p:spPr>
            <a:xfrm>
              <a:off x="583687" y="1455489"/>
              <a:ext cx="1308100" cy="1676400"/>
            </a:xfrm>
            <a:custGeom>
              <a:avLst/>
              <a:gdLst>
                <a:gd name="connsiteX0" fmla="*/ 46360 w 1308100"/>
                <a:gd name="connsiteY0" fmla="*/ 1455 h 1676400"/>
                <a:gd name="connsiteX1" fmla="*/ 31374 w 1308100"/>
                <a:gd name="connsiteY1" fmla="*/ 704400 h 1676400"/>
                <a:gd name="connsiteX2" fmla="*/ 281437 w 1308100"/>
                <a:gd name="connsiteY2" fmla="*/ 1276408 h 1676400"/>
                <a:gd name="connsiteX3" fmla="*/ 741939 w 1308100"/>
                <a:gd name="connsiteY3" fmla="*/ 1597972 h 1676400"/>
                <a:gd name="connsiteX4" fmla="*/ 1299215 w 1308100"/>
                <a:gd name="connsiteY4" fmla="*/ 1668838 h 1676400"/>
                <a:gd name="connsiteX5" fmla="*/ 1293119 w 1308100"/>
                <a:gd name="connsiteY5" fmla="*/ 1624007 h 1676400"/>
                <a:gd name="connsiteX6" fmla="*/ 784738 w 1308100"/>
                <a:gd name="connsiteY6" fmla="*/ 1536377 h 1676400"/>
                <a:gd name="connsiteX7" fmla="*/ 334904 w 1308100"/>
                <a:gd name="connsiteY7" fmla="*/ 1238943 h 1676400"/>
                <a:gd name="connsiteX8" fmla="*/ 81031 w 1308100"/>
                <a:gd name="connsiteY8" fmla="*/ 705797 h 1676400"/>
                <a:gd name="connsiteX9" fmla="*/ 50297 w 1308100"/>
                <a:gd name="connsiteY9" fmla="*/ 2725 h 1676400"/>
                <a:gd name="connsiteX10" fmla="*/ 46360 w 1308100"/>
                <a:gd name="connsiteY10" fmla="*/ 1455 h 167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08100" h="1676400">
                  <a:moveTo>
                    <a:pt x="46360" y="1455"/>
                  </a:moveTo>
                  <a:cubicBezTo>
                    <a:pt x="-2027" y="237548"/>
                    <a:pt x="-21077" y="467037"/>
                    <a:pt x="31374" y="704400"/>
                  </a:cubicBezTo>
                  <a:cubicBezTo>
                    <a:pt x="75062" y="901885"/>
                    <a:pt x="151516" y="1118420"/>
                    <a:pt x="281437" y="1276408"/>
                  </a:cubicBezTo>
                  <a:cubicBezTo>
                    <a:pt x="401579" y="1422331"/>
                    <a:pt x="567441" y="1528884"/>
                    <a:pt x="741939" y="1597972"/>
                  </a:cubicBezTo>
                  <a:cubicBezTo>
                    <a:pt x="909325" y="1664139"/>
                    <a:pt x="1120399" y="1718749"/>
                    <a:pt x="1299215" y="1668838"/>
                  </a:cubicBezTo>
                  <a:cubicBezTo>
                    <a:pt x="1324869" y="1661599"/>
                    <a:pt x="1318265" y="1625785"/>
                    <a:pt x="1293119" y="1624007"/>
                  </a:cubicBezTo>
                  <a:cubicBezTo>
                    <a:pt x="1117605" y="1611307"/>
                    <a:pt x="951616" y="1599369"/>
                    <a:pt x="784738" y="1536377"/>
                  </a:cubicBezTo>
                  <a:cubicBezTo>
                    <a:pt x="616463" y="1473004"/>
                    <a:pt x="453776" y="1375595"/>
                    <a:pt x="334904" y="1238943"/>
                  </a:cubicBezTo>
                  <a:cubicBezTo>
                    <a:pt x="207269" y="1092385"/>
                    <a:pt x="129672" y="891471"/>
                    <a:pt x="81031" y="705797"/>
                  </a:cubicBezTo>
                  <a:cubicBezTo>
                    <a:pt x="21722" y="479356"/>
                    <a:pt x="5720" y="232976"/>
                    <a:pt x="50297" y="2725"/>
                  </a:cubicBezTo>
                  <a:cubicBezTo>
                    <a:pt x="50805" y="-69"/>
                    <a:pt x="46868" y="-1085"/>
                    <a:pt x="46360" y="1455"/>
                  </a:cubicBezTo>
                </a:path>
              </a:pathLst>
            </a:custGeom>
            <a:solidFill>
              <a:srgbClr val="B5D385"/>
            </a:solidFill>
            <a:ln w="12689" cap="flat">
              <a:noFill/>
              <a:prstDash val="solid"/>
              <a:miter/>
            </a:ln>
          </p:spPr>
          <p:txBody>
            <a:bodyPr rtlCol="0" anchor="ctr"/>
            <a:lstStyle/>
            <a:p>
              <a:endParaRPr lang="bg-BG"/>
            </a:p>
          </p:txBody>
        </p:sp>
        <p:sp>
          <p:nvSpPr>
            <p:cNvPr id="107" name="Свободна форма: фигура 17">
              <a:extLst>
                <a:ext uri="{FF2B5EF4-FFF2-40B4-BE49-F238E27FC236}">
                  <a16:creationId xmlns:a16="http://schemas.microsoft.com/office/drawing/2014/main" id="{AA8870A4-608B-4763-A354-95A20D4643B4}"/>
                </a:ext>
              </a:extLst>
            </p:cNvPr>
            <p:cNvSpPr/>
            <p:nvPr/>
          </p:nvSpPr>
          <p:spPr>
            <a:xfrm>
              <a:off x="2489350" y="671867"/>
              <a:ext cx="685800" cy="749300"/>
            </a:xfrm>
            <a:custGeom>
              <a:avLst/>
              <a:gdLst>
                <a:gd name="connsiteX0" fmla="*/ 6454 w 685800"/>
                <a:gd name="connsiteY0" fmla="*/ 24855 h 749300"/>
                <a:gd name="connsiteX1" fmla="*/ 673839 w 685800"/>
                <a:gd name="connsiteY1" fmla="*/ 745453 h 749300"/>
                <a:gd name="connsiteX2" fmla="*/ 692508 w 685800"/>
                <a:gd name="connsiteY2" fmla="*/ 737579 h 749300"/>
                <a:gd name="connsiteX3" fmla="*/ 16614 w 685800"/>
                <a:gd name="connsiteY3" fmla="*/ 852 h 749300"/>
                <a:gd name="connsiteX4" fmla="*/ 6454 w 685800"/>
                <a:gd name="connsiteY4" fmla="*/ 24855 h 749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 h="749300">
                  <a:moveTo>
                    <a:pt x="6454" y="24855"/>
                  </a:moveTo>
                  <a:cubicBezTo>
                    <a:pt x="324208" y="165571"/>
                    <a:pt x="536806" y="434176"/>
                    <a:pt x="673839" y="745453"/>
                  </a:cubicBezTo>
                  <a:cubicBezTo>
                    <a:pt x="678665" y="756375"/>
                    <a:pt x="694921" y="748374"/>
                    <a:pt x="692508" y="737579"/>
                  </a:cubicBezTo>
                  <a:cubicBezTo>
                    <a:pt x="615673" y="406871"/>
                    <a:pt x="321668" y="123788"/>
                    <a:pt x="16614" y="852"/>
                  </a:cubicBezTo>
                  <a:cubicBezTo>
                    <a:pt x="2898" y="-4736"/>
                    <a:pt x="-7135" y="18759"/>
                    <a:pt x="6454" y="24855"/>
                  </a:cubicBezTo>
                </a:path>
              </a:pathLst>
            </a:custGeom>
            <a:solidFill>
              <a:srgbClr val="B5D385"/>
            </a:solidFill>
            <a:ln w="12689" cap="flat">
              <a:noFill/>
              <a:prstDash val="solid"/>
              <a:miter/>
            </a:ln>
          </p:spPr>
          <p:txBody>
            <a:bodyPr rtlCol="0" anchor="ctr"/>
            <a:lstStyle/>
            <a:p>
              <a:endParaRPr lang="bg-BG"/>
            </a:p>
          </p:txBody>
        </p:sp>
        <p:sp>
          <p:nvSpPr>
            <p:cNvPr id="108" name="Свободна форма: фигура 19">
              <a:extLst>
                <a:ext uri="{FF2B5EF4-FFF2-40B4-BE49-F238E27FC236}">
                  <a16:creationId xmlns:a16="http://schemas.microsoft.com/office/drawing/2014/main" id="{94BAA8CB-637C-98FD-C8AA-050FC95F9A6E}"/>
                </a:ext>
              </a:extLst>
            </p:cNvPr>
            <p:cNvSpPr/>
            <p:nvPr/>
          </p:nvSpPr>
          <p:spPr>
            <a:xfrm>
              <a:off x="641301" y="982061"/>
              <a:ext cx="254000" cy="368300"/>
            </a:xfrm>
            <a:custGeom>
              <a:avLst/>
              <a:gdLst>
                <a:gd name="connsiteX0" fmla="*/ 21004 w 254000"/>
                <a:gd name="connsiteY0" fmla="*/ 366298 h 368300"/>
                <a:gd name="connsiteX1" fmla="*/ 260399 w 254000"/>
                <a:gd name="connsiteY1" fmla="*/ 11587 h 368300"/>
                <a:gd name="connsiteX2" fmla="*/ 252271 w 254000"/>
                <a:gd name="connsiteY2" fmla="*/ 1046 h 368300"/>
                <a:gd name="connsiteX3" fmla="*/ 430 w 254000"/>
                <a:gd name="connsiteY3" fmla="*/ 360583 h 368300"/>
                <a:gd name="connsiteX4" fmla="*/ 21004 w 254000"/>
                <a:gd name="connsiteY4" fmla="*/ 366298 h 36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000" h="368300">
                  <a:moveTo>
                    <a:pt x="21004" y="366298"/>
                  </a:moveTo>
                  <a:cubicBezTo>
                    <a:pt x="71677" y="226852"/>
                    <a:pt x="155497" y="114584"/>
                    <a:pt x="260399" y="11587"/>
                  </a:cubicBezTo>
                  <a:cubicBezTo>
                    <a:pt x="265733" y="6253"/>
                    <a:pt x="258748" y="-3145"/>
                    <a:pt x="252271" y="1046"/>
                  </a:cubicBezTo>
                  <a:cubicBezTo>
                    <a:pt x="123874" y="82199"/>
                    <a:pt x="38530" y="215676"/>
                    <a:pt x="430" y="360583"/>
                  </a:cubicBezTo>
                  <a:cubicBezTo>
                    <a:pt x="-3126" y="374045"/>
                    <a:pt x="16432" y="379125"/>
                    <a:pt x="21004" y="366298"/>
                  </a:cubicBezTo>
                </a:path>
              </a:pathLst>
            </a:custGeom>
            <a:solidFill>
              <a:srgbClr val="B5D385"/>
            </a:solidFill>
            <a:ln w="12689" cap="flat">
              <a:noFill/>
              <a:prstDash val="solid"/>
              <a:miter/>
            </a:ln>
          </p:spPr>
          <p:txBody>
            <a:bodyPr rtlCol="0" anchor="ctr"/>
            <a:lstStyle/>
            <a:p>
              <a:endParaRPr lang="bg-BG"/>
            </a:p>
          </p:txBody>
        </p:sp>
        <p:sp>
          <p:nvSpPr>
            <p:cNvPr id="109" name="Свободна форма: фигура 20">
              <a:extLst>
                <a:ext uri="{FF2B5EF4-FFF2-40B4-BE49-F238E27FC236}">
                  <a16:creationId xmlns:a16="http://schemas.microsoft.com/office/drawing/2014/main" id="{64314E24-5F50-0453-162A-65E4A4346C28}"/>
                </a:ext>
              </a:extLst>
            </p:cNvPr>
            <p:cNvSpPr/>
            <p:nvPr/>
          </p:nvSpPr>
          <p:spPr>
            <a:xfrm>
              <a:off x="2257997" y="2005855"/>
              <a:ext cx="977900" cy="1066800"/>
            </a:xfrm>
            <a:custGeom>
              <a:avLst/>
              <a:gdLst>
                <a:gd name="connsiteX0" fmla="*/ 965898 w 977900"/>
                <a:gd name="connsiteY0" fmla="*/ 4555 h 1066800"/>
                <a:gd name="connsiteX1" fmla="*/ 603059 w 977900"/>
                <a:gd name="connsiteY1" fmla="*/ 633967 h 1066800"/>
                <a:gd name="connsiteX2" fmla="*/ 9461 w 977900"/>
                <a:gd name="connsiteY2" fmla="*/ 1052686 h 1066800"/>
                <a:gd name="connsiteX3" fmla="*/ 13017 w 977900"/>
                <a:gd name="connsiteY3" fmla="*/ 1078848 h 1066800"/>
                <a:gd name="connsiteX4" fmla="*/ 344233 w 977900"/>
                <a:gd name="connsiteY4" fmla="*/ 921241 h 1066800"/>
                <a:gd name="connsiteX5" fmla="*/ 626427 w 977900"/>
                <a:gd name="connsiteY5" fmla="*/ 676512 h 1066800"/>
                <a:gd name="connsiteX6" fmla="*/ 846772 w 977900"/>
                <a:gd name="connsiteY6" fmla="*/ 372474 h 1066800"/>
                <a:gd name="connsiteX7" fmla="*/ 978725 w 977900"/>
                <a:gd name="connsiteY7" fmla="*/ 7984 h 1066800"/>
                <a:gd name="connsiteX8" fmla="*/ 965898 w 977900"/>
                <a:gd name="connsiteY8" fmla="*/ 4555 h 106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7900" h="1066800">
                  <a:moveTo>
                    <a:pt x="965898" y="4555"/>
                  </a:moveTo>
                  <a:cubicBezTo>
                    <a:pt x="876871" y="229980"/>
                    <a:pt x="756602" y="445753"/>
                    <a:pt x="603059" y="633967"/>
                  </a:cubicBezTo>
                  <a:cubicBezTo>
                    <a:pt x="454469" y="816085"/>
                    <a:pt x="244665" y="1004045"/>
                    <a:pt x="9461" y="1052686"/>
                  </a:cubicBezTo>
                  <a:cubicBezTo>
                    <a:pt x="-5144" y="1055734"/>
                    <a:pt x="-1969" y="1079737"/>
                    <a:pt x="13017" y="1078848"/>
                  </a:cubicBezTo>
                  <a:cubicBezTo>
                    <a:pt x="135699" y="1071482"/>
                    <a:pt x="247332" y="990329"/>
                    <a:pt x="344233" y="921241"/>
                  </a:cubicBezTo>
                  <a:cubicBezTo>
                    <a:pt x="447230" y="847708"/>
                    <a:pt x="540067" y="769984"/>
                    <a:pt x="626427" y="676512"/>
                  </a:cubicBezTo>
                  <a:cubicBezTo>
                    <a:pt x="715835" y="579611"/>
                    <a:pt x="787590" y="491600"/>
                    <a:pt x="846772" y="372474"/>
                  </a:cubicBezTo>
                  <a:cubicBezTo>
                    <a:pt x="904430" y="256269"/>
                    <a:pt x="952690" y="135365"/>
                    <a:pt x="978725" y="7984"/>
                  </a:cubicBezTo>
                  <a:cubicBezTo>
                    <a:pt x="980249" y="-398"/>
                    <a:pt x="968946" y="-3192"/>
                    <a:pt x="965898" y="4555"/>
                  </a:cubicBezTo>
                </a:path>
              </a:pathLst>
            </a:custGeom>
            <a:solidFill>
              <a:srgbClr val="B5D385"/>
            </a:solidFill>
            <a:ln w="12689" cap="flat">
              <a:noFill/>
              <a:prstDash val="solid"/>
              <a:miter/>
            </a:ln>
          </p:spPr>
          <p:txBody>
            <a:bodyPr rtlCol="0" anchor="ctr"/>
            <a:lstStyle/>
            <a:p>
              <a:endParaRPr lang="bg-BG"/>
            </a:p>
          </p:txBody>
        </p:sp>
        <p:sp>
          <p:nvSpPr>
            <p:cNvPr id="110" name="Свободна форма: фигура 21">
              <a:extLst>
                <a:ext uri="{FF2B5EF4-FFF2-40B4-BE49-F238E27FC236}">
                  <a16:creationId xmlns:a16="http://schemas.microsoft.com/office/drawing/2014/main" id="{C5378BF5-AED8-6686-6836-7BA008471EE9}"/>
                </a:ext>
              </a:extLst>
            </p:cNvPr>
            <p:cNvSpPr/>
            <p:nvPr/>
          </p:nvSpPr>
          <p:spPr>
            <a:xfrm>
              <a:off x="1103626" y="657128"/>
              <a:ext cx="215900" cy="139700"/>
            </a:xfrm>
            <a:custGeom>
              <a:avLst/>
              <a:gdLst>
                <a:gd name="connsiteX0" fmla="*/ 28706 w 215900"/>
                <a:gd name="connsiteY0" fmla="*/ 144369 h 139700"/>
                <a:gd name="connsiteX1" fmla="*/ 125988 w 215900"/>
                <a:gd name="connsiteY1" fmla="*/ 69439 h 139700"/>
                <a:gd name="connsiteX2" fmla="*/ 218063 w 215900"/>
                <a:gd name="connsiteY2" fmla="*/ 20671 h 139700"/>
                <a:gd name="connsiteX3" fmla="*/ 212475 w 215900"/>
                <a:gd name="connsiteY3" fmla="*/ 97 h 139700"/>
                <a:gd name="connsiteX4" fmla="*/ 5211 w 215900"/>
                <a:gd name="connsiteY4" fmla="*/ 121001 h 139700"/>
                <a:gd name="connsiteX5" fmla="*/ 28706 w 215900"/>
                <a:gd name="connsiteY5" fmla="*/ 144369 h 13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5900" h="139700">
                  <a:moveTo>
                    <a:pt x="28706" y="144369"/>
                  </a:moveTo>
                  <a:cubicBezTo>
                    <a:pt x="59059" y="116556"/>
                    <a:pt x="90809" y="90775"/>
                    <a:pt x="125988" y="69439"/>
                  </a:cubicBezTo>
                  <a:cubicBezTo>
                    <a:pt x="155706" y="51532"/>
                    <a:pt x="188599" y="38832"/>
                    <a:pt x="218063" y="20671"/>
                  </a:cubicBezTo>
                  <a:cubicBezTo>
                    <a:pt x="226572" y="15464"/>
                    <a:pt x="224032" y="-1427"/>
                    <a:pt x="212475" y="97"/>
                  </a:cubicBezTo>
                  <a:cubicBezTo>
                    <a:pt x="133100" y="10257"/>
                    <a:pt x="62107" y="68677"/>
                    <a:pt x="5211" y="121001"/>
                  </a:cubicBezTo>
                  <a:cubicBezTo>
                    <a:pt x="-10537" y="135352"/>
                    <a:pt x="12958" y="158847"/>
                    <a:pt x="28706" y="144369"/>
                  </a:cubicBezTo>
                </a:path>
              </a:pathLst>
            </a:custGeom>
            <a:solidFill>
              <a:srgbClr val="B5D385"/>
            </a:solidFill>
            <a:ln w="12689" cap="flat">
              <a:noFill/>
              <a:prstDash val="solid"/>
              <a:miter/>
            </a:ln>
          </p:spPr>
          <p:txBody>
            <a:bodyPr rtlCol="0" anchor="ctr"/>
            <a:lstStyle/>
            <a:p>
              <a:endParaRPr lang="bg-BG"/>
            </a:p>
          </p:txBody>
        </p:sp>
        <p:sp>
          <p:nvSpPr>
            <p:cNvPr id="111" name="Свободна форма: фигура 23">
              <a:extLst>
                <a:ext uri="{FF2B5EF4-FFF2-40B4-BE49-F238E27FC236}">
                  <a16:creationId xmlns:a16="http://schemas.microsoft.com/office/drawing/2014/main" id="{1085D145-3D96-BBD7-E525-93595D1D018F}"/>
                </a:ext>
              </a:extLst>
            </p:cNvPr>
            <p:cNvSpPr/>
            <p:nvPr/>
          </p:nvSpPr>
          <p:spPr>
            <a:xfrm>
              <a:off x="1362964" y="907161"/>
              <a:ext cx="25400" cy="25400"/>
            </a:xfrm>
            <a:custGeom>
              <a:avLst/>
              <a:gdLst>
                <a:gd name="connsiteX0" fmla="*/ 33655 w 25400"/>
                <a:gd name="connsiteY0" fmla="*/ 15748 h 25400"/>
                <a:gd name="connsiteX1" fmla="*/ 0 w 25400"/>
                <a:gd name="connsiteY1" fmla="*/ 20447 h 25400"/>
                <a:gd name="connsiteX2" fmla="*/ 17907 w 25400"/>
                <a:gd name="connsiteY2" fmla="*/ 0 h 25400"/>
                <a:gd name="connsiteX3" fmla="*/ 33655 w 25400"/>
                <a:gd name="connsiteY3" fmla="*/ 15748 h 25400"/>
              </a:gdLst>
              <a:ahLst/>
              <a:cxnLst>
                <a:cxn ang="0">
                  <a:pos x="connsiteX0" y="connsiteY0"/>
                </a:cxn>
                <a:cxn ang="0">
                  <a:pos x="connsiteX1" y="connsiteY1"/>
                </a:cxn>
                <a:cxn ang="0">
                  <a:pos x="connsiteX2" y="connsiteY2"/>
                </a:cxn>
                <a:cxn ang="0">
                  <a:pos x="connsiteX3" y="connsiteY3"/>
                </a:cxn>
              </a:cxnLst>
              <a:rect l="l" t="t" r="r" b="b"/>
              <a:pathLst>
                <a:path w="25400" h="25400">
                  <a:moveTo>
                    <a:pt x="33655" y="15748"/>
                  </a:moveTo>
                  <a:cubicBezTo>
                    <a:pt x="22352" y="42799"/>
                    <a:pt x="11176" y="31623"/>
                    <a:pt x="0" y="20447"/>
                  </a:cubicBezTo>
                  <a:cubicBezTo>
                    <a:pt x="11176" y="9271"/>
                    <a:pt x="11176" y="9271"/>
                    <a:pt x="17907" y="0"/>
                  </a:cubicBezTo>
                  <a:cubicBezTo>
                    <a:pt x="26543" y="0"/>
                    <a:pt x="33655" y="7112"/>
                    <a:pt x="33655" y="15748"/>
                  </a:cubicBezTo>
                </a:path>
              </a:pathLst>
            </a:custGeom>
            <a:solidFill>
              <a:srgbClr val="5DB723"/>
            </a:solidFill>
            <a:ln w="12689" cap="flat">
              <a:noFill/>
              <a:prstDash val="solid"/>
              <a:miter/>
            </a:ln>
          </p:spPr>
          <p:txBody>
            <a:bodyPr rtlCol="0" anchor="ctr"/>
            <a:lstStyle/>
            <a:p>
              <a:endParaRPr lang="bg-BG"/>
            </a:p>
          </p:txBody>
        </p:sp>
        <p:sp>
          <p:nvSpPr>
            <p:cNvPr id="112" name="Свободна форма: фигура 24">
              <a:extLst>
                <a:ext uri="{FF2B5EF4-FFF2-40B4-BE49-F238E27FC236}">
                  <a16:creationId xmlns:a16="http://schemas.microsoft.com/office/drawing/2014/main" id="{F5A032D0-B1F6-1E54-8800-B913839B10F9}"/>
                </a:ext>
              </a:extLst>
            </p:cNvPr>
            <p:cNvSpPr/>
            <p:nvPr/>
          </p:nvSpPr>
          <p:spPr>
            <a:xfrm>
              <a:off x="1396492" y="1063687"/>
              <a:ext cx="25400" cy="25400"/>
            </a:xfrm>
            <a:custGeom>
              <a:avLst/>
              <a:gdLst>
                <a:gd name="connsiteX0" fmla="*/ 32385 w 25400"/>
                <a:gd name="connsiteY0" fmla="*/ 21782 h 25400"/>
                <a:gd name="connsiteX1" fmla="*/ 0 w 25400"/>
                <a:gd name="connsiteY1" fmla="*/ 9590 h 25400"/>
                <a:gd name="connsiteX2" fmla="*/ 26416 w 25400"/>
                <a:gd name="connsiteY2" fmla="*/ 192 h 25400"/>
                <a:gd name="connsiteX3" fmla="*/ 32385 w 25400"/>
                <a:gd name="connsiteY3" fmla="*/ 21782 h 25400"/>
              </a:gdLst>
              <a:ahLst/>
              <a:cxnLst>
                <a:cxn ang="0">
                  <a:pos x="connsiteX0" y="connsiteY0"/>
                </a:cxn>
                <a:cxn ang="0">
                  <a:pos x="connsiteX1" y="connsiteY1"/>
                </a:cxn>
                <a:cxn ang="0">
                  <a:pos x="connsiteX2" y="connsiteY2"/>
                </a:cxn>
                <a:cxn ang="0">
                  <a:pos x="connsiteX3" y="connsiteY3"/>
                </a:cxn>
              </a:cxnLst>
              <a:rect l="l" t="t" r="r" b="b"/>
              <a:pathLst>
                <a:path w="25400" h="25400">
                  <a:moveTo>
                    <a:pt x="32385" y="21782"/>
                  </a:moveTo>
                  <a:cubicBezTo>
                    <a:pt x="11176" y="43118"/>
                    <a:pt x="0" y="31942"/>
                    <a:pt x="0" y="9590"/>
                  </a:cubicBezTo>
                  <a:cubicBezTo>
                    <a:pt x="0" y="9590"/>
                    <a:pt x="11176" y="-1586"/>
                    <a:pt x="26416" y="192"/>
                  </a:cubicBezTo>
                  <a:cubicBezTo>
                    <a:pt x="34036" y="4383"/>
                    <a:pt x="36703" y="14162"/>
                    <a:pt x="32385" y="21782"/>
                  </a:cubicBezTo>
                </a:path>
              </a:pathLst>
            </a:custGeom>
            <a:solidFill>
              <a:srgbClr val="5DB723"/>
            </a:solidFill>
            <a:ln w="12689" cap="flat">
              <a:noFill/>
              <a:prstDash val="solid"/>
              <a:miter/>
            </a:ln>
          </p:spPr>
          <p:txBody>
            <a:bodyPr rtlCol="0" anchor="ctr"/>
            <a:lstStyle/>
            <a:p>
              <a:endParaRPr lang="bg-BG"/>
            </a:p>
          </p:txBody>
        </p:sp>
        <p:sp>
          <p:nvSpPr>
            <p:cNvPr id="113" name="Свободна форма: фигура 25">
              <a:extLst>
                <a:ext uri="{FF2B5EF4-FFF2-40B4-BE49-F238E27FC236}">
                  <a16:creationId xmlns:a16="http://schemas.microsoft.com/office/drawing/2014/main" id="{7386178D-32EF-CB81-E7DB-02809C00F294}"/>
                </a:ext>
              </a:extLst>
            </p:cNvPr>
            <p:cNvSpPr/>
            <p:nvPr/>
          </p:nvSpPr>
          <p:spPr>
            <a:xfrm>
              <a:off x="1497330" y="1203960"/>
              <a:ext cx="25400" cy="25400"/>
            </a:xfrm>
            <a:custGeom>
              <a:avLst/>
              <a:gdLst>
                <a:gd name="connsiteX0" fmla="*/ 31496 w 25400"/>
                <a:gd name="connsiteY0" fmla="*/ 21717 h 25400"/>
                <a:gd name="connsiteX1" fmla="*/ 0 w 25400"/>
                <a:gd name="connsiteY1" fmla="*/ 3556 h 25400"/>
                <a:gd name="connsiteX2" fmla="*/ 25527 w 25400"/>
                <a:gd name="connsiteY2" fmla="*/ 0 h 25400"/>
                <a:gd name="connsiteX3" fmla="*/ 31496 w 25400"/>
                <a:gd name="connsiteY3" fmla="*/ 21717 h 25400"/>
              </a:gdLst>
              <a:ahLst/>
              <a:cxnLst>
                <a:cxn ang="0">
                  <a:pos x="connsiteX0" y="connsiteY0"/>
                </a:cxn>
                <a:cxn ang="0">
                  <a:pos x="connsiteX1" y="connsiteY1"/>
                </a:cxn>
                <a:cxn ang="0">
                  <a:pos x="connsiteX2" y="connsiteY2"/>
                </a:cxn>
                <a:cxn ang="0">
                  <a:pos x="connsiteX3" y="connsiteY3"/>
                </a:cxn>
              </a:cxnLst>
              <a:rect l="l" t="t" r="r" b="b"/>
              <a:pathLst>
                <a:path w="25400" h="25400">
                  <a:moveTo>
                    <a:pt x="31496" y="21717"/>
                  </a:moveTo>
                  <a:cubicBezTo>
                    <a:pt x="11176" y="37084"/>
                    <a:pt x="0" y="25908"/>
                    <a:pt x="0" y="3556"/>
                  </a:cubicBezTo>
                  <a:cubicBezTo>
                    <a:pt x="11176" y="3556"/>
                    <a:pt x="11176" y="3556"/>
                    <a:pt x="25527" y="0"/>
                  </a:cubicBezTo>
                  <a:cubicBezTo>
                    <a:pt x="33147" y="4445"/>
                    <a:pt x="35814" y="14224"/>
                    <a:pt x="31496" y="21717"/>
                  </a:cubicBezTo>
                </a:path>
              </a:pathLst>
            </a:custGeom>
            <a:solidFill>
              <a:srgbClr val="5DB723"/>
            </a:solidFill>
            <a:ln w="12689" cap="flat">
              <a:noFill/>
              <a:prstDash val="solid"/>
              <a:miter/>
            </a:ln>
          </p:spPr>
          <p:txBody>
            <a:bodyPr rtlCol="0" anchor="ctr"/>
            <a:lstStyle/>
            <a:p>
              <a:endParaRPr lang="bg-BG"/>
            </a:p>
          </p:txBody>
        </p:sp>
        <p:sp>
          <p:nvSpPr>
            <p:cNvPr id="114" name="Свободна форма: фигура 26">
              <a:extLst>
                <a:ext uri="{FF2B5EF4-FFF2-40B4-BE49-F238E27FC236}">
                  <a16:creationId xmlns:a16="http://schemas.microsoft.com/office/drawing/2014/main" id="{8062C822-8576-B5F0-E4C0-541F96114F27}"/>
                </a:ext>
              </a:extLst>
            </p:cNvPr>
            <p:cNvSpPr/>
            <p:nvPr/>
          </p:nvSpPr>
          <p:spPr>
            <a:xfrm>
              <a:off x="2136140" y="1159590"/>
              <a:ext cx="215900" cy="165100"/>
            </a:xfrm>
            <a:custGeom>
              <a:avLst/>
              <a:gdLst>
                <a:gd name="connsiteX0" fmla="*/ 0 w 215900"/>
                <a:gd name="connsiteY0" fmla="*/ 173402 h 165100"/>
                <a:gd name="connsiteX1" fmla="*/ 209550 w 215900"/>
                <a:gd name="connsiteY1" fmla="*/ 41957 h 165100"/>
                <a:gd name="connsiteX2" fmla="*/ 129794 w 215900"/>
                <a:gd name="connsiteY2" fmla="*/ 77263 h 165100"/>
                <a:gd name="connsiteX3" fmla="*/ 0 w 215900"/>
                <a:gd name="connsiteY3" fmla="*/ 173402 h 165100"/>
              </a:gdLst>
              <a:ahLst/>
              <a:cxnLst>
                <a:cxn ang="0">
                  <a:pos x="connsiteX0" y="connsiteY0"/>
                </a:cxn>
                <a:cxn ang="0">
                  <a:pos x="connsiteX1" y="connsiteY1"/>
                </a:cxn>
                <a:cxn ang="0">
                  <a:pos x="connsiteX2" y="connsiteY2"/>
                </a:cxn>
                <a:cxn ang="0">
                  <a:pos x="connsiteX3" y="connsiteY3"/>
                </a:cxn>
              </a:cxnLst>
              <a:rect l="l" t="t" r="r" b="b"/>
              <a:pathLst>
                <a:path w="215900" h="165100">
                  <a:moveTo>
                    <a:pt x="0" y="173402"/>
                  </a:moveTo>
                  <a:cubicBezTo>
                    <a:pt x="0" y="173402"/>
                    <a:pt x="182372" y="133778"/>
                    <a:pt x="209550" y="41957"/>
                  </a:cubicBezTo>
                  <a:cubicBezTo>
                    <a:pt x="236855" y="-49864"/>
                    <a:pt x="172593" y="30908"/>
                    <a:pt x="129794" y="77263"/>
                  </a:cubicBezTo>
                  <a:cubicBezTo>
                    <a:pt x="87122" y="123618"/>
                    <a:pt x="0" y="173402"/>
                    <a:pt x="0" y="173402"/>
                  </a:cubicBezTo>
                </a:path>
              </a:pathLst>
            </a:custGeom>
            <a:solidFill>
              <a:srgbClr val="5DB723"/>
            </a:solidFill>
            <a:ln w="12689" cap="flat">
              <a:noFill/>
              <a:prstDash val="solid"/>
              <a:miter/>
            </a:ln>
          </p:spPr>
          <p:txBody>
            <a:bodyPr rtlCol="0" anchor="ctr"/>
            <a:lstStyle/>
            <a:p>
              <a:endParaRPr lang="bg-BG"/>
            </a:p>
          </p:txBody>
        </p:sp>
        <p:sp>
          <p:nvSpPr>
            <p:cNvPr id="115" name="Свободна форма: фигура 27">
              <a:extLst>
                <a:ext uri="{FF2B5EF4-FFF2-40B4-BE49-F238E27FC236}">
                  <a16:creationId xmlns:a16="http://schemas.microsoft.com/office/drawing/2014/main" id="{BC3716B4-AB8E-6C80-4367-1FD0B3E60163}"/>
                </a:ext>
              </a:extLst>
            </p:cNvPr>
            <p:cNvSpPr/>
            <p:nvPr/>
          </p:nvSpPr>
          <p:spPr>
            <a:xfrm>
              <a:off x="1442985" y="476377"/>
              <a:ext cx="114300" cy="88900"/>
            </a:xfrm>
            <a:custGeom>
              <a:avLst/>
              <a:gdLst>
                <a:gd name="connsiteX0" fmla="*/ 114670 w 114300"/>
                <a:gd name="connsiteY0" fmla="*/ 0 h 88900"/>
                <a:gd name="connsiteX1" fmla="*/ 6466 w 114300"/>
                <a:gd name="connsiteY1" fmla="*/ 55626 h 88900"/>
                <a:gd name="connsiteX2" fmla="*/ 62473 w 114300"/>
                <a:gd name="connsiteY2" fmla="*/ 58293 h 88900"/>
                <a:gd name="connsiteX3" fmla="*/ 114670 w 114300"/>
                <a:gd name="connsiteY3" fmla="*/ 0 h 88900"/>
              </a:gdLst>
              <a:ahLst/>
              <a:cxnLst>
                <a:cxn ang="0">
                  <a:pos x="connsiteX0" y="connsiteY0"/>
                </a:cxn>
                <a:cxn ang="0">
                  <a:pos x="connsiteX1" y="connsiteY1"/>
                </a:cxn>
                <a:cxn ang="0">
                  <a:pos x="connsiteX2" y="connsiteY2"/>
                </a:cxn>
                <a:cxn ang="0">
                  <a:pos x="connsiteX3" y="connsiteY3"/>
                </a:cxn>
              </a:cxnLst>
              <a:rect l="l" t="t" r="r" b="b"/>
              <a:pathLst>
                <a:path w="114300" h="88900">
                  <a:moveTo>
                    <a:pt x="114670" y="0"/>
                  </a:moveTo>
                  <a:cubicBezTo>
                    <a:pt x="114670" y="0"/>
                    <a:pt x="28564" y="12065"/>
                    <a:pt x="6466" y="55626"/>
                  </a:cubicBezTo>
                  <a:cubicBezTo>
                    <a:pt x="-15632" y="99187"/>
                    <a:pt x="22849" y="104775"/>
                    <a:pt x="62473" y="58293"/>
                  </a:cubicBezTo>
                  <a:cubicBezTo>
                    <a:pt x="101970" y="11557"/>
                    <a:pt x="114670" y="0"/>
                    <a:pt x="114670" y="0"/>
                  </a:cubicBezTo>
                </a:path>
              </a:pathLst>
            </a:custGeom>
            <a:solidFill>
              <a:srgbClr val="83CC1B"/>
            </a:solidFill>
            <a:ln w="12689" cap="flat">
              <a:noFill/>
              <a:prstDash val="solid"/>
              <a:miter/>
            </a:ln>
          </p:spPr>
          <p:txBody>
            <a:bodyPr rtlCol="0" anchor="ctr"/>
            <a:lstStyle/>
            <a:p>
              <a:endParaRPr lang="bg-BG"/>
            </a:p>
          </p:txBody>
        </p:sp>
      </p:grpSp>
      <p:sp>
        <p:nvSpPr>
          <p:cNvPr id="116" name="object 3">
            <a:extLst>
              <a:ext uri="{FF2B5EF4-FFF2-40B4-BE49-F238E27FC236}">
                <a16:creationId xmlns:a16="http://schemas.microsoft.com/office/drawing/2014/main" id="{E15AA5AE-984D-D879-F3C5-3885FE4918E5}"/>
              </a:ext>
            </a:extLst>
          </p:cNvPr>
          <p:cNvSpPr txBox="1"/>
          <p:nvPr/>
        </p:nvSpPr>
        <p:spPr>
          <a:xfrm>
            <a:off x="9470389" y="2372230"/>
            <a:ext cx="1599021" cy="286745"/>
          </a:xfrm>
          <a:prstGeom prst="rect">
            <a:avLst/>
          </a:prstGeom>
        </p:spPr>
        <p:txBody>
          <a:bodyPr vert="horz" wrap="square" lIns="0" tIns="12700" rIns="0" bIns="0" rtlCol="0">
            <a:spAutoFit/>
          </a:bodyPr>
          <a:lstStyle/>
          <a:p>
            <a:pPr marL="167005" marR="160655" algn="ctr">
              <a:lnSpc>
                <a:spcPct val="118600"/>
              </a:lnSpc>
              <a:spcBef>
                <a:spcPts val="100"/>
              </a:spcBef>
            </a:pPr>
            <a:r>
              <a:rPr lang="en-US" sz="1600" b="1" dirty="0">
                <a:latin typeface="+mj-lt"/>
                <a:cs typeface="Arial"/>
              </a:rPr>
              <a:t>Disaggregation</a:t>
            </a:r>
            <a:endParaRPr sz="1600" b="1" dirty="0">
              <a:latin typeface="+mj-lt"/>
              <a:cs typeface="Arial"/>
            </a:endParaRPr>
          </a:p>
        </p:txBody>
      </p:sp>
      <p:sp>
        <p:nvSpPr>
          <p:cNvPr id="11" name="object 3">
            <a:extLst>
              <a:ext uri="{FF2B5EF4-FFF2-40B4-BE49-F238E27FC236}">
                <a16:creationId xmlns:a16="http://schemas.microsoft.com/office/drawing/2014/main" id="{CE6E0FFA-5B4A-069D-CB84-6158266F4201}"/>
              </a:ext>
            </a:extLst>
          </p:cNvPr>
          <p:cNvSpPr txBox="1"/>
          <p:nvPr/>
        </p:nvSpPr>
        <p:spPr>
          <a:xfrm>
            <a:off x="4978918" y="3816843"/>
            <a:ext cx="2490576" cy="507447"/>
          </a:xfrm>
          <a:prstGeom prst="rect">
            <a:avLst/>
          </a:prstGeom>
        </p:spPr>
        <p:txBody>
          <a:bodyPr vert="horz" wrap="square" lIns="0" tIns="12700" rIns="0" bIns="0" rtlCol="0">
            <a:spAutoFit/>
          </a:bodyPr>
          <a:lstStyle/>
          <a:p>
            <a:pPr marL="167005" marR="160655" algn="ctr">
              <a:lnSpc>
                <a:spcPct val="118600"/>
              </a:lnSpc>
              <a:spcBef>
                <a:spcPts val="100"/>
              </a:spcBef>
            </a:pPr>
            <a:r>
              <a:rPr lang="en-US" sz="1400" dirty="0">
                <a:latin typeface="+mj-lt"/>
                <a:cs typeface="Arial"/>
              </a:rPr>
              <a:t>PMTCT_STAT_POS</a:t>
            </a:r>
            <a:r>
              <a:rPr lang="en-US" sz="1400" dirty="0">
                <a:latin typeface="Arial"/>
                <a:cs typeface="Arial"/>
              </a:rPr>
              <a:t> </a:t>
            </a:r>
            <a:r>
              <a:rPr lang="en-US" sz="1400" b="0" dirty="0"/>
              <a:t>≥ PMTCT_ART. </a:t>
            </a:r>
            <a:endParaRPr sz="1400" dirty="0">
              <a:latin typeface="Arial"/>
              <a:cs typeface="Arial"/>
            </a:endParaRPr>
          </a:p>
        </p:txBody>
      </p:sp>
      <p:sp>
        <p:nvSpPr>
          <p:cNvPr id="118" name="object 3">
            <a:extLst>
              <a:ext uri="{FF2B5EF4-FFF2-40B4-BE49-F238E27FC236}">
                <a16:creationId xmlns:a16="http://schemas.microsoft.com/office/drawing/2014/main" id="{A4D33D79-1807-20C2-D5A5-3022E4EA8C46}"/>
              </a:ext>
            </a:extLst>
          </p:cNvPr>
          <p:cNvSpPr txBox="1"/>
          <p:nvPr/>
        </p:nvSpPr>
        <p:spPr>
          <a:xfrm>
            <a:off x="9263795" y="3635971"/>
            <a:ext cx="2214950" cy="1316386"/>
          </a:xfrm>
          <a:prstGeom prst="rect">
            <a:avLst/>
          </a:prstGeom>
        </p:spPr>
        <p:txBody>
          <a:bodyPr vert="horz" wrap="square" lIns="0" tIns="12700" rIns="0" bIns="0" rtlCol="0">
            <a:spAutoFit/>
          </a:bodyPr>
          <a:lstStyle/>
          <a:p>
            <a:pPr marL="167005" marR="160655">
              <a:lnSpc>
                <a:spcPct val="118600"/>
              </a:lnSpc>
              <a:spcBef>
                <a:spcPts val="100"/>
              </a:spcBef>
            </a:pPr>
            <a:r>
              <a:rPr lang="en-US" sz="1400" dirty="0">
                <a:latin typeface="+mj-lt"/>
                <a:cs typeface="Arial"/>
              </a:rPr>
              <a:t>Age and Maternal regimen type:</a:t>
            </a:r>
          </a:p>
          <a:p>
            <a:pPr marL="452755" marR="160655" indent="-285750">
              <a:lnSpc>
                <a:spcPct val="118600"/>
              </a:lnSpc>
              <a:spcBef>
                <a:spcPts val="100"/>
              </a:spcBef>
              <a:buFont typeface="Arial" panose="020B0604020202020204" pitchFamily="34" charset="0"/>
              <a:buChar char="•"/>
            </a:pPr>
            <a:r>
              <a:rPr lang="en-US" sz="1400" dirty="0">
                <a:latin typeface="+mj-lt"/>
                <a:cs typeface="Arial"/>
              </a:rPr>
              <a:t>5-year age band</a:t>
            </a:r>
          </a:p>
          <a:p>
            <a:pPr marL="452755" marR="160655" indent="-285750">
              <a:lnSpc>
                <a:spcPct val="118600"/>
              </a:lnSpc>
              <a:spcBef>
                <a:spcPts val="100"/>
              </a:spcBef>
              <a:buFont typeface="Arial" panose="020B0604020202020204" pitchFamily="34" charset="0"/>
              <a:buChar char="•"/>
            </a:pPr>
            <a:r>
              <a:rPr lang="en-US" sz="1400" dirty="0">
                <a:latin typeface="+mj-lt"/>
                <a:cs typeface="Arial"/>
              </a:rPr>
              <a:t>New on ART</a:t>
            </a:r>
          </a:p>
          <a:p>
            <a:pPr marL="452755" marR="160655" indent="-285750">
              <a:lnSpc>
                <a:spcPct val="118600"/>
              </a:lnSpc>
              <a:spcBef>
                <a:spcPts val="100"/>
              </a:spcBef>
              <a:buFont typeface="Arial" panose="020B0604020202020204" pitchFamily="34" charset="0"/>
              <a:buChar char="•"/>
            </a:pPr>
            <a:r>
              <a:rPr lang="en-US" sz="1400" dirty="0">
                <a:latin typeface="+mj-lt"/>
                <a:cs typeface="Arial"/>
              </a:rPr>
              <a:t>Previously on ART</a:t>
            </a:r>
          </a:p>
        </p:txBody>
      </p:sp>
    </p:spTree>
    <p:extLst>
      <p:ext uri="{BB962C8B-B14F-4D97-AF65-F5344CB8AC3E}">
        <p14:creationId xmlns:p14="http://schemas.microsoft.com/office/powerpoint/2010/main" val="115284143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AC5FD8C-1AF9-4BEB-A638-5263D7C2792C}"/>
              </a:ext>
            </a:extLst>
          </p:cNvPr>
          <p:cNvSpPr/>
          <p:nvPr/>
        </p:nvSpPr>
        <p:spPr>
          <a:xfrm>
            <a:off x="0" y="3494627"/>
            <a:ext cx="12172949" cy="1242634"/>
          </a:xfrm>
          <a:prstGeom prst="rect">
            <a:avLst/>
          </a:prstGeom>
          <a:solidFill>
            <a:srgbClr val="E7E6E6"/>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2" name="Title 1">
            <a:extLst>
              <a:ext uri="{FF2B5EF4-FFF2-40B4-BE49-F238E27FC236}">
                <a16:creationId xmlns:a16="http://schemas.microsoft.com/office/drawing/2014/main" id="{1BD024B5-574F-472D-AF3D-A31FBBD0B863}"/>
              </a:ext>
            </a:extLst>
          </p:cNvPr>
          <p:cNvSpPr>
            <a:spLocks noGrp="1"/>
          </p:cNvSpPr>
          <p:nvPr>
            <p:ph type="title"/>
          </p:nvPr>
        </p:nvSpPr>
        <p:spPr>
          <a:xfrm>
            <a:off x="0" y="0"/>
            <a:ext cx="10972800" cy="1143000"/>
          </a:xfrm>
        </p:spPr>
        <p:txBody>
          <a:bodyPr>
            <a:normAutofit/>
          </a:bodyPr>
          <a:lstStyle/>
          <a:p>
            <a:r>
              <a:rPr lang="en-US" sz="3600" dirty="0">
                <a:solidFill>
                  <a:schemeClr val="tx2">
                    <a:lumMod val="75000"/>
                  </a:schemeClr>
                </a:solidFill>
              </a:rPr>
              <a:t>PMTCT_EID</a:t>
            </a:r>
            <a:endParaRPr lang="en-NG" sz="3600" dirty="0">
              <a:solidFill>
                <a:schemeClr val="tx2">
                  <a:lumMod val="75000"/>
                </a:schemeClr>
              </a:solidFill>
            </a:endParaRPr>
          </a:p>
        </p:txBody>
      </p:sp>
      <p:grpSp>
        <p:nvGrpSpPr>
          <p:cNvPr id="5" name="Group 4">
            <a:extLst>
              <a:ext uri="{FF2B5EF4-FFF2-40B4-BE49-F238E27FC236}">
                <a16:creationId xmlns:a16="http://schemas.microsoft.com/office/drawing/2014/main" id="{1133AD3F-77E3-CA29-D7B7-F85B4786A583}"/>
              </a:ext>
            </a:extLst>
          </p:cNvPr>
          <p:cNvGrpSpPr/>
          <p:nvPr/>
        </p:nvGrpSpPr>
        <p:grpSpPr>
          <a:xfrm>
            <a:off x="785655" y="1925936"/>
            <a:ext cx="2529744" cy="4226674"/>
            <a:chOff x="843884" y="2079348"/>
            <a:chExt cx="2529744" cy="1871686"/>
          </a:xfrm>
        </p:grpSpPr>
        <p:pic>
          <p:nvPicPr>
            <p:cNvPr id="6" name="Картина 75">
              <a:extLst>
                <a:ext uri="{FF2B5EF4-FFF2-40B4-BE49-F238E27FC236}">
                  <a16:creationId xmlns:a16="http://schemas.microsoft.com/office/drawing/2014/main" id="{6C58ADA0-4E71-7A4B-C233-F5406EA79A3B}"/>
                </a:ext>
              </a:extLst>
            </p:cNvPr>
            <p:cNvPicPr>
              <a:picLocks noChangeAspect="1"/>
            </p:cNvPicPr>
            <p:nvPr/>
          </p:nvPicPr>
          <p:blipFill>
            <a:blip r:embed="rId3"/>
            <a:stretch>
              <a:fillRect/>
            </a:stretch>
          </p:blipFill>
          <p:spPr>
            <a:xfrm>
              <a:off x="871728" y="2249234"/>
              <a:ext cx="2501900" cy="1701800"/>
            </a:xfrm>
            <a:custGeom>
              <a:avLst/>
              <a:gdLst>
                <a:gd name="connsiteX0" fmla="*/ 0 w 2501900"/>
                <a:gd name="connsiteY0" fmla="*/ 0 h 1701800"/>
                <a:gd name="connsiteX1" fmla="*/ 2508504 w 2501900"/>
                <a:gd name="connsiteY1" fmla="*/ 0 h 1701800"/>
                <a:gd name="connsiteX2" fmla="*/ 2508504 w 2501900"/>
                <a:gd name="connsiteY2" fmla="*/ 1706880 h 1701800"/>
                <a:gd name="connsiteX3" fmla="*/ 0 w 2501900"/>
                <a:gd name="connsiteY3" fmla="*/ 1706880 h 1701800"/>
              </a:gdLst>
              <a:ahLst/>
              <a:cxnLst>
                <a:cxn ang="0">
                  <a:pos x="connsiteX0" y="connsiteY0"/>
                </a:cxn>
                <a:cxn ang="0">
                  <a:pos x="connsiteX1" y="connsiteY1"/>
                </a:cxn>
                <a:cxn ang="0">
                  <a:pos x="connsiteX2" y="connsiteY2"/>
                </a:cxn>
                <a:cxn ang="0">
                  <a:pos x="connsiteX3" y="connsiteY3"/>
                </a:cxn>
              </a:cxnLst>
              <a:rect l="l" t="t" r="r" b="b"/>
              <a:pathLst>
                <a:path w="2501900" h="1701800">
                  <a:moveTo>
                    <a:pt x="0" y="0"/>
                  </a:moveTo>
                  <a:lnTo>
                    <a:pt x="2508504" y="0"/>
                  </a:lnTo>
                  <a:lnTo>
                    <a:pt x="2508504" y="1706880"/>
                  </a:lnTo>
                  <a:lnTo>
                    <a:pt x="0" y="1706880"/>
                  </a:lnTo>
                  <a:close/>
                </a:path>
              </a:pathLst>
            </a:custGeom>
            <a:ln/>
          </p:spPr>
        </p:pic>
        <p:sp>
          <p:nvSpPr>
            <p:cNvPr id="7" name="Свободна форма: фигура 76">
              <a:extLst>
                <a:ext uri="{FF2B5EF4-FFF2-40B4-BE49-F238E27FC236}">
                  <a16:creationId xmlns:a16="http://schemas.microsoft.com/office/drawing/2014/main" id="{41BABE07-E017-2B32-6332-47B1ACDB5325}"/>
                </a:ext>
              </a:extLst>
            </p:cNvPr>
            <p:cNvSpPr/>
            <p:nvPr/>
          </p:nvSpPr>
          <p:spPr>
            <a:xfrm>
              <a:off x="973455" y="2350643"/>
              <a:ext cx="2197100" cy="1397000"/>
            </a:xfrm>
            <a:custGeom>
              <a:avLst/>
              <a:gdLst>
                <a:gd name="connsiteX0" fmla="*/ 2138807 w 2197100"/>
                <a:gd name="connsiteY0" fmla="*/ 1398270 h 1397000"/>
                <a:gd name="connsiteX1" fmla="*/ 64897 w 2197100"/>
                <a:gd name="connsiteY1" fmla="*/ 1398270 h 1397000"/>
                <a:gd name="connsiteX2" fmla="*/ 0 w 2197100"/>
                <a:gd name="connsiteY2" fmla="*/ 1333373 h 1397000"/>
                <a:gd name="connsiteX3" fmla="*/ 0 w 2197100"/>
                <a:gd name="connsiteY3" fmla="*/ 64897 h 1397000"/>
                <a:gd name="connsiteX4" fmla="*/ 64897 w 2197100"/>
                <a:gd name="connsiteY4" fmla="*/ 0 h 1397000"/>
                <a:gd name="connsiteX5" fmla="*/ 2138807 w 2197100"/>
                <a:gd name="connsiteY5" fmla="*/ 0 h 1397000"/>
                <a:gd name="connsiteX6" fmla="*/ 2203704 w 2197100"/>
                <a:gd name="connsiteY6" fmla="*/ 64897 h 1397000"/>
                <a:gd name="connsiteX7" fmla="*/ 2203704 w 2197100"/>
                <a:gd name="connsiteY7" fmla="*/ 1333373 h 1397000"/>
                <a:gd name="connsiteX8" fmla="*/ 2138807 w 2197100"/>
                <a:gd name="connsiteY8" fmla="*/ 1398270 h 139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7100" h="1397000">
                  <a:moveTo>
                    <a:pt x="2138807" y="1398270"/>
                  </a:moveTo>
                  <a:lnTo>
                    <a:pt x="64897" y="1398270"/>
                  </a:lnTo>
                  <a:cubicBezTo>
                    <a:pt x="29083" y="1398270"/>
                    <a:pt x="0" y="1369187"/>
                    <a:pt x="0" y="1333373"/>
                  </a:cubicBezTo>
                  <a:lnTo>
                    <a:pt x="0" y="64897"/>
                  </a:lnTo>
                  <a:cubicBezTo>
                    <a:pt x="0" y="29083"/>
                    <a:pt x="29083" y="0"/>
                    <a:pt x="64897" y="0"/>
                  </a:cubicBezTo>
                  <a:lnTo>
                    <a:pt x="2138807" y="0"/>
                  </a:lnTo>
                  <a:cubicBezTo>
                    <a:pt x="2174621" y="0"/>
                    <a:pt x="2203704" y="29083"/>
                    <a:pt x="2203704" y="64897"/>
                  </a:cubicBezTo>
                  <a:lnTo>
                    <a:pt x="2203704" y="1333373"/>
                  </a:lnTo>
                  <a:cubicBezTo>
                    <a:pt x="2203704" y="1369187"/>
                    <a:pt x="2174621" y="1398270"/>
                    <a:pt x="2138807" y="1398270"/>
                  </a:cubicBezTo>
                </a:path>
              </a:pathLst>
            </a:custGeom>
            <a:solidFill>
              <a:srgbClr val="F4F4F4"/>
            </a:solidFill>
            <a:ln w="12689" cap="flat">
              <a:noFill/>
              <a:prstDash val="solid"/>
              <a:miter/>
            </a:ln>
          </p:spPr>
          <p:txBody>
            <a:bodyPr rtlCol="0" anchor="ctr"/>
            <a:lstStyle/>
            <a:p>
              <a:pPr algn="ctr"/>
              <a:r>
                <a:rPr lang="en-US" sz="1400" dirty="0">
                  <a:effectLst/>
                  <a:latin typeface="Calibri" panose="020F0502020204030204" pitchFamily="34" charset="0"/>
                  <a:ea typeface="Calibri" panose="020F0502020204030204" pitchFamily="34" charset="0"/>
                  <a:cs typeface="Times New Roman" panose="02020603050405020304" pitchFamily="18" charset="0"/>
                </a:rPr>
                <a:t>Percentage of infants born to HIV-positive women who received a first virologic HIV test (sample collected) by 12 months of age.</a:t>
              </a:r>
              <a:endParaRPr lang="bg-BG" sz="1400" dirty="0"/>
            </a:p>
          </p:txBody>
        </p:sp>
        <p:pic>
          <p:nvPicPr>
            <p:cNvPr id="8" name="Картина 77">
              <a:extLst>
                <a:ext uri="{FF2B5EF4-FFF2-40B4-BE49-F238E27FC236}">
                  <a16:creationId xmlns:a16="http://schemas.microsoft.com/office/drawing/2014/main" id="{FAA37948-0743-F862-1314-FDC07A57BA95}"/>
                </a:ext>
              </a:extLst>
            </p:cNvPr>
            <p:cNvPicPr>
              <a:picLocks noChangeAspect="1"/>
            </p:cNvPicPr>
            <p:nvPr/>
          </p:nvPicPr>
          <p:blipFill>
            <a:blip r:embed="rId4"/>
            <a:stretch>
              <a:fillRect/>
            </a:stretch>
          </p:blipFill>
          <p:spPr>
            <a:xfrm>
              <a:off x="843884" y="2193214"/>
              <a:ext cx="2501900" cy="673100"/>
            </a:xfrm>
            <a:custGeom>
              <a:avLst/>
              <a:gdLst>
                <a:gd name="connsiteX0" fmla="*/ 0 w 2501900"/>
                <a:gd name="connsiteY0" fmla="*/ 0 h 673100"/>
                <a:gd name="connsiteX1" fmla="*/ 2508504 w 2501900"/>
                <a:gd name="connsiteY1" fmla="*/ 0 h 673100"/>
                <a:gd name="connsiteX2" fmla="*/ 2508504 w 2501900"/>
                <a:gd name="connsiteY2" fmla="*/ 676656 h 673100"/>
                <a:gd name="connsiteX3" fmla="*/ 0 w 2501900"/>
                <a:gd name="connsiteY3" fmla="*/ 676656 h 673100"/>
              </a:gdLst>
              <a:ahLst/>
              <a:cxnLst>
                <a:cxn ang="0">
                  <a:pos x="connsiteX0" y="connsiteY0"/>
                </a:cxn>
                <a:cxn ang="0">
                  <a:pos x="connsiteX1" y="connsiteY1"/>
                </a:cxn>
                <a:cxn ang="0">
                  <a:pos x="connsiteX2" y="connsiteY2"/>
                </a:cxn>
                <a:cxn ang="0">
                  <a:pos x="connsiteX3" y="connsiteY3"/>
                </a:cxn>
              </a:cxnLst>
              <a:rect l="l" t="t" r="r" b="b"/>
              <a:pathLst>
                <a:path w="2501900" h="673100">
                  <a:moveTo>
                    <a:pt x="0" y="0"/>
                  </a:moveTo>
                  <a:lnTo>
                    <a:pt x="2508504" y="0"/>
                  </a:lnTo>
                  <a:lnTo>
                    <a:pt x="2508504" y="676656"/>
                  </a:lnTo>
                  <a:lnTo>
                    <a:pt x="0" y="676656"/>
                  </a:lnTo>
                  <a:close/>
                </a:path>
              </a:pathLst>
            </a:custGeom>
            <a:ln/>
          </p:spPr>
        </p:pic>
        <p:sp>
          <p:nvSpPr>
            <p:cNvPr id="9" name="Свободна форма: фигура 79">
              <a:extLst>
                <a:ext uri="{FF2B5EF4-FFF2-40B4-BE49-F238E27FC236}">
                  <a16:creationId xmlns:a16="http://schemas.microsoft.com/office/drawing/2014/main" id="{84AAB4F2-64AB-2903-AEEC-41602F9CD501}"/>
                </a:ext>
              </a:extLst>
            </p:cNvPr>
            <p:cNvSpPr/>
            <p:nvPr/>
          </p:nvSpPr>
          <p:spPr>
            <a:xfrm>
              <a:off x="871728" y="2079348"/>
              <a:ext cx="2413000" cy="573638"/>
            </a:xfrm>
            <a:custGeom>
              <a:avLst/>
              <a:gdLst>
                <a:gd name="connsiteX0" fmla="*/ 2357120 w 2413000"/>
                <a:gd name="connsiteY0" fmla="*/ 613664 h 609600"/>
                <a:gd name="connsiteX1" fmla="*/ 64897 w 2413000"/>
                <a:gd name="connsiteY1" fmla="*/ 613664 h 609600"/>
                <a:gd name="connsiteX2" fmla="*/ 0 w 2413000"/>
                <a:gd name="connsiteY2" fmla="*/ 548767 h 609600"/>
                <a:gd name="connsiteX3" fmla="*/ 0 w 2413000"/>
                <a:gd name="connsiteY3" fmla="*/ 64897 h 609600"/>
                <a:gd name="connsiteX4" fmla="*/ 64897 w 2413000"/>
                <a:gd name="connsiteY4" fmla="*/ 0 h 609600"/>
                <a:gd name="connsiteX5" fmla="*/ 2357120 w 2413000"/>
                <a:gd name="connsiteY5" fmla="*/ 0 h 609600"/>
                <a:gd name="connsiteX6" fmla="*/ 2422017 w 2413000"/>
                <a:gd name="connsiteY6" fmla="*/ 64897 h 609600"/>
                <a:gd name="connsiteX7" fmla="*/ 2422017 w 2413000"/>
                <a:gd name="connsiteY7" fmla="*/ 548767 h 609600"/>
                <a:gd name="connsiteX8" fmla="*/ 2357120 w 2413000"/>
                <a:gd name="connsiteY8" fmla="*/ 613664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13000" h="609600">
                  <a:moveTo>
                    <a:pt x="2357120" y="613664"/>
                  </a:moveTo>
                  <a:lnTo>
                    <a:pt x="64897" y="613664"/>
                  </a:lnTo>
                  <a:cubicBezTo>
                    <a:pt x="29083" y="613664"/>
                    <a:pt x="0" y="584581"/>
                    <a:pt x="0" y="548767"/>
                  </a:cubicBezTo>
                  <a:lnTo>
                    <a:pt x="0" y="64897"/>
                  </a:lnTo>
                  <a:cubicBezTo>
                    <a:pt x="0" y="29083"/>
                    <a:pt x="29083" y="0"/>
                    <a:pt x="64897" y="0"/>
                  </a:cubicBezTo>
                  <a:lnTo>
                    <a:pt x="2357120" y="0"/>
                  </a:lnTo>
                  <a:cubicBezTo>
                    <a:pt x="2392934" y="0"/>
                    <a:pt x="2422017" y="29083"/>
                    <a:pt x="2422017" y="64897"/>
                  </a:cubicBezTo>
                  <a:lnTo>
                    <a:pt x="2422017" y="548767"/>
                  </a:lnTo>
                  <a:cubicBezTo>
                    <a:pt x="2422017" y="584708"/>
                    <a:pt x="2392934" y="613664"/>
                    <a:pt x="2357120" y="613664"/>
                  </a:cubicBezTo>
                </a:path>
              </a:pathLst>
            </a:custGeom>
            <a:solidFill>
              <a:schemeClr val="accent1"/>
            </a:solidFill>
            <a:ln w="12689" cap="flat">
              <a:noFill/>
              <a:prstDash val="solid"/>
              <a:miter/>
            </a:ln>
          </p:spPr>
          <p:txBody>
            <a:bodyPr rtlCol="0" anchor="ctr"/>
            <a:lstStyle/>
            <a:p>
              <a:r>
                <a:rPr lang="en-US" dirty="0"/>
                <a:t>          Description</a:t>
              </a:r>
              <a:endParaRPr lang="bg-BG" dirty="0"/>
            </a:p>
          </p:txBody>
        </p:sp>
      </p:grpSp>
      <p:grpSp>
        <p:nvGrpSpPr>
          <p:cNvPr id="19" name="Group 18">
            <a:extLst>
              <a:ext uri="{FF2B5EF4-FFF2-40B4-BE49-F238E27FC236}">
                <a16:creationId xmlns:a16="http://schemas.microsoft.com/office/drawing/2014/main" id="{2EA1526F-0DBB-53B8-AC8E-775264D398E6}"/>
              </a:ext>
            </a:extLst>
          </p:cNvPr>
          <p:cNvGrpSpPr/>
          <p:nvPr/>
        </p:nvGrpSpPr>
        <p:grpSpPr>
          <a:xfrm>
            <a:off x="5005230" y="1925936"/>
            <a:ext cx="2529744" cy="4226674"/>
            <a:chOff x="843884" y="2079348"/>
            <a:chExt cx="2529744" cy="1871686"/>
          </a:xfrm>
        </p:grpSpPr>
        <p:pic>
          <p:nvPicPr>
            <p:cNvPr id="20" name="Картина 75">
              <a:extLst>
                <a:ext uri="{FF2B5EF4-FFF2-40B4-BE49-F238E27FC236}">
                  <a16:creationId xmlns:a16="http://schemas.microsoft.com/office/drawing/2014/main" id="{E62E6D58-7EAB-5CC5-963C-32457C95ECDD}"/>
                </a:ext>
              </a:extLst>
            </p:cNvPr>
            <p:cNvPicPr>
              <a:picLocks noChangeAspect="1"/>
            </p:cNvPicPr>
            <p:nvPr/>
          </p:nvPicPr>
          <p:blipFill>
            <a:blip r:embed="rId3"/>
            <a:stretch>
              <a:fillRect/>
            </a:stretch>
          </p:blipFill>
          <p:spPr>
            <a:xfrm>
              <a:off x="871728" y="2249234"/>
              <a:ext cx="2501900" cy="1701800"/>
            </a:xfrm>
            <a:custGeom>
              <a:avLst/>
              <a:gdLst>
                <a:gd name="connsiteX0" fmla="*/ 0 w 2501900"/>
                <a:gd name="connsiteY0" fmla="*/ 0 h 1701800"/>
                <a:gd name="connsiteX1" fmla="*/ 2508504 w 2501900"/>
                <a:gd name="connsiteY1" fmla="*/ 0 h 1701800"/>
                <a:gd name="connsiteX2" fmla="*/ 2508504 w 2501900"/>
                <a:gd name="connsiteY2" fmla="*/ 1706880 h 1701800"/>
                <a:gd name="connsiteX3" fmla="*/ 0 w 2501900"/>
                <a:gd name="connsiteY3" fmla="*/ 1706880 h 1701800"/>
              </a:gdLst>
              <a:ahLst/>
              <a:cxnLst>
                <a:cxn ang="0">
                  <a:pos x="connsiteX0" y="connsiteY0"/>
                </a:cxn>
                <a:cxn ang="0">
                  <a:pos x="connsiteX1" y="connsiteY1"/>
                </a:cxn>
                <a:cxn ang="0">
                  <a:pos x="connsiteX2" y="connsiteY2"/>
                </a:cxn>
                <a:cxn ang="0">
                  <a:pos x="connsiteX3" y="connsiteY3"/>
                </a:cxn>
              </a:cxnLst>
              <a:rect l="l" t="t" r="r" b="b"/>
              <a:pathLst>
                <a:path w="2501900" h="1701800">
                  <a:moveTo>
                    <a:pt x="0" y="0"/>
                  </a:moveTo>
                  <a:lnTo>
                    <a:pt x="2508504" y="0"/>
                  </a:lnTo>
                  <a:lnTo>
                    <a:pt x="2508504" y="1706880"/>
                  </a:lnTo>
                  <a:lnTo>
                    <a:pt x="0" y="1706880"/>
                  </a:lnTo>
                  <a:close/>
                </a:path>
              </a:pathLst>
            </a:custGeom>
            <a:ln/>
          </p:spPr>
        </p:pic>
        <p:sp>
          <p:nvSpPr>
            <p:cNvPr id="21" name="Свободна форма: фигура 76">
              <a:extLst>
                <a:ext uri="{FF2B5EF4-FFF2-40B4-BE49-F238E27FC236}">
                  <a16:creationId xmlns:a16="http://schemas.microsoft.com/office/drawing/2014/main" id="{A8F78D0F-2B6C-B6ED-DF33-6E03410B9A6F}"/>
                </a:ext>
              </a:extLst>
            </p:cNvPr>
            <p:cNvSpPr/>
            <p:nvPr/>
          </p:nvSpPr>
          <p:spPr>
            <a:xfrm>
              <a:off x="973455" y="2350643"/>
              <a:ext cx="2197100" cy="1397000"/>
            </a:xfrm>
            <a:custGeom>
              <a:avLst/>
              <a:gdLst>
                <a:gd name="connsiteX0" fmla="*/ 2138807 w 2197100"/>
                <a:gd name="connsiteY0" fmla="*/ 1398270 h 1397000"/>
                <a:gd name="connsiteX1" fmla="*/ 64897 w 2197100"/>
                <a:gd name="connsiteY1" fmla="*/ 1398270 h 1397000"/>
                <a:gd name="connsiteX2" fmla="*/ 0 w 2197100"/>
                <a:gd name="connsiteY2" fmla="*/ 1333373 h 1397000"/>
                <a:gd name="connsiteX3" fmla="*/ 0 w 2197100"/>
                <a:gd name="connsiteY3" fmla="*/ 64897 h 1397000"/>
                <a:gd name="connsiteX4" fmla="*/ 64897 w 2197100"/>
                <a:gd name="connsiteY4" fmla="*/ 0 h 1397000"/>
                <a:gd name="connsiteX5" fmla="*/ 2138807 w 2197100"/>
                <a:gd name="connsiteY5" fmla="*/ 0 h 1397000"/>
                <a:gd name="connsiteX6" fmla="*/ 2203704 w 2197100"/>
                <a:gd name="connsiteY6" fmla="*/ 64897 h 1397000"/>
                <a:gd name="connsiteX7" fmla="*/ 2203704 w 2197100"/>
                <a:gd name="connsiteY7" fmla="*/ 1333373 h 1397000"/>
                <a:gd name="connsiteX8" fmla="*/ 2138807 w 2197100"/>
                <a:gd name="connsiteY8" fmla="*/ 1398270 h 139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7100" h="1397000">
                  <a:moveTo>
                    <a:pt x="2138807" y="1398270"/>
                  </a:moveTo>
                  <a:lnTo>
                    <a:pt x="64897" y="1398270"/>
                  </a:lnTo>
                  <a:cubicBezTo>
                    <a:pt x="29083" y="1398270"/>
                    <a:pt x="0" y="1369187"/>
                    <a:pt x="0" y="1333373"/>
                  </a:cubicBezTo>
                  <a:lnTo>
                    <a:pt x="0" y="64897"/>
                  </a:lnTo>
                  <a:cubicBezTo>
                    <a:pt x="0" y="29083"/>
                    <a:pt x="29083" y="0"/>
                    <a:pt x="64897" y="0"/>
                  </a:cubicBezTo>
                  <a:lnTo>
                    <a:pt x="2138807" y="0"/>
                  </a:lnTo>
                  <a:cubicBezTo>
                    <a:pt x="2174621" y="0"/>
                    <a:pt x="2203704" y="29083"/>
                    <a:pt x="2203704" y="64897"/>
                  </a:cubicBezTo>
                  <a:lnTo>
                    <a:pt x="2203704" y="1333373"/>
                  </a:lnTo>
                  <a:cubicBezTo>
                    <a:pt x="2203704" y="1369187"/>
                    <a:pt x="2174621" y="1398270"/>
                    <a:pt x="2138807" y="1398270"/>
                  </a:cubicBezTo>
                </a:path>
              </a:pathLst>
            </a:custGeom>
            <a:solidFill>
              <a:srgbClr val="F4F4F4"/>
            </a:solidFill>
            <a:ln w="12689" cap="flat">
              <a:noFill/>
              <a:prstDash val="solid"/>
              <a:miter/>
            </a:ln>
          </p:spPr>
          <p:txBody>
            <a:bodyPr rtlCol="0" anchor="ctr"/>
            <a:lstStyle/>
            <a:p>
              <a:pPr algn="ctr"/>
              <a:r>
                <a:rPr lang="en-US" sz="1400" dirty="0"/>
                <a:t>PMTCT_STAT_POS + HTS_TST_POS from the Post ANC1: Pregnancy/L&amp;D/BF modality.</a:t>
              </a:r>
              <a:endParaRPr lang="bg-BG" sz="1400" dirty="0"/>
            </a:p>
          </p:txBody>
        </p:sp>
        <p:pic>
          <p:nvPicPr>
            <p:cNvPr id="22" name="Картина 77">
              <a:extLst>
                <a:ext uri="{FF2B5EF4-FFF2-40B4-BE49-F238E27FC236}">
                  <a16:creationId xmlns:a16="http://schemas.microsoft.com/office/drawing/2014/main" id="{6A2E83C2-AF99-C499-43C2-324F693D95FE}"/>
                </a:ext>
              </a:extLst>
            </p:cNvPr>
            <p:cNvPicPr>
              <a:picLocks noChangeAspect="1"/>
            </p:cNvPicPr>
            <p:nvPr/>
          </p:nvPicPr>
          <p:blipFill>
            <a:blip r:embed="rId4"/>
            <a:stretch>
              <a:fillRect/>
            </a:stretch>
          </p:blipFill>
          <p:spPr>
            <a:xfrm>
              <a:off x="843884" y="2193214"/>
              <a:ext cx="2501900" cy="673100"/>
            </a:xfrm>
            <a:custGeom>
              <a:avLst/>
              <a:gdLst>
                <a:gd name="connsiteX0" fmla="*/ 0 w 2501900"/>
                <a:gd name="connsiteY0" fmla="*/ 0 h 673100"/>
                <a:gd name="connsiteX1" fmla="*/ 2508504 w 2501900"/>
                <a:gd name="connsiteY1" fmla="*/ 0 h 673100"/>
                <a:gd name="connsiteX2" fmla="*/ 2508504 w 2501900"/>
                <a:gd name="connsiteY2" fmla="*/ 676656 h 673100"/>
                <a:gd name="connsiteX3" fmla="*/ 0 w 2501900"/>
                <a:gd name="connsiteY3" fmla="*/ 676656 h 673100"/>
              </a:gdLst>
              <a:ahLst/>
              <a:cxnLst>
                <a:cxn ang="0">
                  <a:pos x="connsiteX0" y="connsiteY0"/>
                </a:cxn>
                <a:cxn ang="0">
                  <a:pos x="connsiteX1" y="connsiteY1"/>
                </a:cxn>
                <a:cxn ang="0">
                  <a:pos x="connsiteX2" y="connsiteY2"/>
                </a:cxn>
                <a:cxn ang="0">
                  <a:pos x="connsiteX3" y="connsiteY3"/>
                </a:cxn>
              </a:cxnLst>
              <a:rect l="l" t="t" r="r" b="b"/>
              <a:pathLst>
                <a:path w="2501900" h="673100">
                  <a:moveTo>
                    <a:pt x="0" y="0"/>
                  </a:moveTo>
                  <a:lnTo>
                    <a:pt x="2508504" y="0"/>
                  </a:lnTo>
                  <a:lnTo>
                    <a:pt x="2508504" y="676656"/>
                  </a:lnTo>
                  <a:lnTo>
                    <a:pt x="0" y="676656"/>
                  </a:lnTo>
                  <a:close/>
                </a:path>
              </a:pathLst>
            </a:custGeom>
            <a:ln/>
          </p:spPr>
        </p:pic>
        <p:sp>
          <p:nvSpPr>
            <p:cNvPr id="23" name="Свободна форма: фигура 79">
              <a:extLst>
                <a:ext uri="{FF2B5EF4-FFF2-40B4-BE49-F238E27FC236}">
                  <a16:creationId xmlns:a16="http://schemas.microsoft.com/office/drawing/2014/main" id="{94732E2C-5C7B-75AE-572C-977C1DE1FF5B}"/>
                </a:ext>
              </a:extLst>
            </p:cNvPr>
            <p:cNvSpPr/>
            <p:nvPr/>
          </p:nvSpPr>
          <p:spPr>
            <a:xfrm>
              <a:off x="871728" y="2079348"/>
              <a:ext cx="2413000" cy="573638"/>
            </a:xfrm>
            <a:custGeom>
              <a:avLst/>
              <a:gdLst>
                <a:gd name="connsiteX0" fmla="*/ 2357120 w 2413000"/>
                <a:gd name="connsiteY0" fmla="*/ 613664 h 609600"/>
                <a:gd name="connsiteX1" fmla="*/ 64897 w 2413000"/>
                <a:gd name="connsiteY1" fmla="*/ 613664 h 609600"/>
                <a:gd name="connsiteX2" fmla="*/ 0 w 2413000"/>
                <a:gd name="connsiteY2" fmla="*/ 548767 h 609600"/>
                <a:gd name="connsiteX3" fmla="*/ 0 w 2413000"/>
                <a:gd name="connsiteY3" fmla="*/ 64897 h 609600"/>
                <a:gd name="connsiteX4" fmla="*/ 64897 w 2413000"/>
                <a:gd name="connsiteY4" fmla="*/ 0 h 609600"/>
                <a:gd name="connsiteX5" fmla="*/ 2357120 w 2413000"/>
                <a:gd name="connsiteY5" fmla="*/ 0 h 609600"/>
                <a:gd name="connsiteX6" fmla="*/ 2422017 w 2413000"/>
                <a:gd name="connsiteY6" fmla="*/ 64897 h 609600"/>
                <a:gd name="connsiteX7" fmla="*/ 2422017 w 2413000"/>
                <a:gd name="connsiteY7" fmla="*/ 548767 h 609600"/>
                <a:gd name="connsiteX8" fmla="*/ 2357120 w 2413000"/>
                <a:gd name="connsiteY8" fmla="*/ 613664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13000" h="609600">
                  <a:moveTo>
                    <a:pt x="2357120" y="613664"/>
                  </a:moveTo>
                  <a:lnTo>
                    <a:pt x="64897" y="613664"/>
                  </a:lnTo>
                  <a:cubicBezTo>
                    <a:pt x="29083" y="613664"/>
                    <a:pt x="0" y="584581"/>
                    <a:pt x="0" y="548767"/>
                  </a:cubicBezTo>
                  <a:lnTo>
                    <a:pt x="0" y="64897"/>
                  </a:lnTo>
                  <a:cubicBezTo>
                    <a:pt x="0" y="29083"/>
                    <a:pt x="29083" y="0"/>
                    <a:pt x="64897" y="0"/>
                  </a:cubicBezTo>
                  <a:lnTo>
                    <a:pt x="2357120" y="0"/>
                  </a:lnTo>
                  <a:cubicBezTo>
                    <a:pt x="2392934" y="0"/>
                    <a:pt x="2422017" y="29083"/>
                    <a:pt x="2422017" y="64897"/>
                  </a:cubicBezTo>
                  <a:lnTo>
                    <a:pt x="2422017" y="548767"/>
                  </a:lnTo>
                  <a:cubicBezTo>
                    <a:pt x="2422017" y="584708"/>
                    <a:pt x="2392934" y="613664"/>
                    <a:pt x="2357120" y="613664"/>
                  </a:cubicBezTo>
                </a:path>
              </a:pathLst>
            </a:custGeom>
            <a:solidFill>
              <a:srgbClr val="92D050"/>
            </a:solidFill>
            <a:ln w="12689" cap="flat">
              <a:noFill/>
              <a:prstDash val="solid"/>
              <a:miter/>
            </a:ln>
          </p:spPr>
          <p:txBody>
            <a:bodyPr rtlCol="0" anchor="ctr"/>
            <a:lstStyle/>
            <a:p>
              <a:r>
                <a:rPr lang="en-US" dirty="0"/>
                <a:t>          Denominator</a:t>
              </a:r>
              <a:endParaRPr lang="bg-BG" dirty="0"/>
            </a:p>
          </p:txBody>
        </p:sp>
      </p:grpSp>
      <p:grpSp>
        <p:nvGrpSpPr>
          <p:cNvPr id="24" name="Group 23">
            <a:extLst>
              <a:ext uri="{FF2B5EF4-FFF2-40B4-BE49-F238E27FC236}">
                <a16:creationId xmlns:a16="http://schemas.microsoft.com/office/drawing/2014/main" id="{E6BC21EF-40CB-A3F6-C5F0-942D33E84DE3}"/>
              </a:ext>
            </a:extLst>
          </p:cNvPr>
          <p:cNvGrpSpPr/>
          <p:nvPr/>
        </p:nvGrpSpPr>
        <p:grpSpPr>
          <a:xfrm>
            <a:off x="9224805" y="1925936"/>
            <a:ext cx="2529744" cy="4226674"/>
            <a:chOff x="843884" y="2079348"/>
            <a:chExt cx="2529744" cy="1871686"/>
          </a:xfrm>
        </p:grpSpPr>
        <p:pic>
          <p:nvPicPr>
            <p:cNvPr id="25" name="Картина 75">
              <a:extLst>
                <a:ext uri="{FF2B5EF4-FFF2-40B4-BE49-F238E27FC236}">
                  <a16:creationId xmlns:a16="http://schemas.microsoft.com/office/drawing/2014/main" id="{2185EB07-98BE-F162-3F7B-E9C3C69373E3}"/>
                </a:ext>
              </a:extLst>
            </p:cNvPr>
            <p:cNvPicPr>
              <a:picLocks noChangeAspect="1"/>
            </p:cNvPicPr>
            <p:nvPr/>
          </p:nvPicPr>
          <p:blipFill>
            <a:blip r:embed="rId3"/>
            <a:stretch>
              <a:fillRect/>
            </a:stretch>
          </p:blipFill>
          <p:spPr>
            <a:xfrm>
              <a:off x="871728" y="2249234"/>
              <a:ext cx="2501900" cy="1701800"/>
            </a:xfrm>
            <a:custGeom>
              <a:avLst/>
              <a:gdLst>
                <a:gd name="connsiteX0" fmla="*/ 0 w 2501900"/>
                <a:gd name="connsiteY0" fmla="*/ 0 h 1701800"/>
                <a:gd name="connsiteX1" fmla="*/ 2508504 w 2501900"/>
                <a:gd name="connsiteY1" fmla="*/ 0 h 1701800"/>
                <a:gd name="connsiteX2" fmla="*/ 2508504 w 2501900"/>
                <a:gd name="connsiteY2" fmla="*/ 1706880 h 1701800"/>
                <a:gd name="connsiteX3" fmla="*/ 0 w 2501900"/>
                <a:gd name="connsiteY3" fmla="*/ 1706880 h 1701800"/>
              </a:gdLst>
              <a:ahLst/>
              <a:cxnLst>
                <a:cxn ang="0">
                  <a:pos x="connsiteX0" y="connsiteY0"/>
                </a:cxn>
                <a:cxn ang="0">
                  <a:pos x="connsiteX1" y="connsiteY1"/>
                </a:cxn>
                <a:cxn ang="0">
                  <a:pos x="connsiteX2" y="connsiteY2"/>
                </a:cxn>
                <a:cxn ang="0">
                  <a:pos x="connsiteX3" y="connsiteY3"/>
                </a:cxn>
              </a:cxnLst>
              <a:rect l="l" t="t" r="r" b="b"/>
              <a:pathLst>
                <a:path w="2501900" h="1701800">
                  <a:moveTo>
                    <a:pt x="0" y="0"/>
                  </a:moveTo>
                  <a:lnTo>
                    <a:pt x="2508504" y="0"/>
                  </a:lnTo>
                  <a:lnTo>
                    <a:pt x="2508504" y="1706880"/>
                  </a:lnTo>
                  <a:lnTo>
                    <a:pt x="0" y="1706880"/>
                  </a:lnTo>
                  <a:close/>
                </a:path>
              </a:pathLst>
            </a:custGeom>
            <a:ln/>
          </p:spPr>
        </p:pic>
        <p:sp>
          <p:nvSpPr>
            <p:cNvPr id="26" name="Свободна форма: фигура 76">
              <a:extLst>
                <a:ext uri="{FF2B5EF4-FFF2-40B4-BE49-F238E27FC236}">
                  <a16:creationId xmlns:a16="http://schemas.microsoft.com/office/drawing/2014/main" id="{320F1E17-FB82-A94E-033C-039418367EB4}"/>
                </a:ext>
              </a:extLst>
            </p:cNvPr>
            <p:cNvSpPr/>
            <p:nvPr/>
          </p:nvSpPr>
          <p:spPr>
            <a:xfrm>
              <a:off x="973455" y="2350643"/>
              <a:ext cx="2197100" cy="1397000"/>
            </a:xfrm>
            <a:custGeom>
              <a:avLst/>
              <a:gdLst>
                <a:gd name="connsiteX0" fmla="*/ 2138807 w 2197100"/>
                <a:gd name="connsiteY0" fmla="*/ 1398270 h 1397000"/>
                <a:gd name="connsiteX1" fmla="*/ 64897 w 2197100"/>
                <a:gd name="connsiteY1" fmla="*/ 1398270 h 1397000"/>
                <a:gd name="connsiteX2" fmla="*/ 0 w 2197100"/>
                <a:gd name="connsiteY2" fmla="*/ 1333373 h 1397000"/>
                <a:gd name="connsiteX3" fmla="*/ 0 w 2197100"/>
                <a:gd name="connsiteY3" fmla="*/ 64897 h 1397000"/>
                <a:gd name="connsiteX4" fmla="*/ 64897 w 2197100"/>
                <a:gd name="connsiteY4" fmla="*/ 0 h 1397000"/>
                <a:gd name="connsiteX5" fmla="*/ 2138807 w 2197100"/>
                <a:gd name="connsiteY5" fmla="*/ 0 h 1397000"/>
                <a:gd name="connsiteX6" fmla="*/ 2203704 w 2197100"/>
                <a:gd name="connsiteY6" fmla="*/ 64897 h 1397000"/>
                <a:gd name="connsiteX7" fmla="*/ 2203704 w 2197100"/>
                <a:gd name="connsiteY7" fmla="*/ 1333373 h 1397000"/>
                <a:gd name="connsiteX8" fmla="*/ 2138807 w 2197100"/>
                <a:gd name="connsiteY8" fmla="*/ 1398270 h 139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7100" h="1397000">
                  <a:moveTo>
                    <a:pt x="2138807" y="1398270"/>
                  </a:moveTo>
                  <a:lnTo>
                    <a:pt x="64897" y="1398270"/>
                  </a:lnTo>
                  <a:cubicBezTo>
                    <a:pt x="29083" y="1398270"/>
                    <a:pt x="0" y="1369187"/>
                    <a:pt x="0" y="1333373"/>
                  </a:cubicBezTo>
                  <a:lnTo>
                    <a:pt x="0" y="64897"/>
                  </a:lnTo>
                  <a:cubicBezTo>
                    <a:pt x="0" y="29083"/>
                    <a:pt x="29083" y="0"/>
                    <a:pt x="64897" y="0"/>
                  </a:cubicBezTo>
                  <a:lnTo>
                    <a:pt x="2138807" y="0"/>
                  </a:lnTo>
                  <a:cubicBezTo>
                    <a:pt x="2174621" y="0"/>
                    <a:pt x="2203704" y="29083"/>
                    <a:pt x="2203704" y="64897"/>
                  </a:cubicBezTo>
                  <a:lnTo>
                    <a:pt x="2203704" y="1333373"/>
                  </a:lnTo>
                  <a:cubicBezTo>
                    <a:pt x="2203704" y="1369187"/>
                    <a:pt x="2174621" y="1398270"/>
                    <a:pt x="2138807" y="1398270"/>
                  </a:cubicBezTo>
                </a:path>
              </a:pathLst>
            </a:custGeom>
            <a:solidFill>
              <a:srgbClr val="F4F4F4"/>
            </a:solidFill>
            <a:ln w="12689" cap="flat">
              <a:noFill/>
              <a:prstDash val="solid"/>
              <a:miter/>
            </a:ln>
          </p:spPr>
          <p:txBody>
            <a:bodyPr rtlCol="0" anchor="ctr"/>
            <a:lstStyle/>
            <a:p>
              <a:pPr algn="ctr"/>
              <a:r>
                <a:rPr lang="en-US" sz="1400" dirty="0">
                  <a:effectLst/>
                  <a:latin typeface="Calibri" panose="020F0502020204030204" pitchFamily="34" charset="0"/>
                  <a:ea typeface="Calibri" panose="020F0502020204030204" pitchFamily="34" charset="0"/>
                  <a:cs typeface="Times New Roman" panose="02020603050405020304" pitchFamily="18" charset="0"/>
                </a:rPr>
                <a:t>Number of infants born to HIV Positive women who had a first virologic HIV test (sample collected) by 12 months of age during the reporting period.</a:t>
              </a:r>
              <a:endParaRPr lang="bg-BG" sz="1400" dirty="0"/>
            </a:p>
          </p:txBody>
        </p:sp>
        <p:pic>
          <p:nvPicPr>
            <p:cNvPr id="27" name="Картина 77">
              <a:extLst>
                <a:ext uri="{FF2B5EF4-FFF2-40B4-BE49-F238E27FC236}">
                  <a16:creationId xmlns:a16="http://schemas.microsoft.com/office/drawing/2014/main" id="{24678BD9-B6E0-922A-BF13-B658BE6D7E79}"/>
                </a:ext>
              </a:extLst>
            </p:cNvPr>
            <p:cNvPicPr>
              <a:picLocks noChangeAspect="1"/>
            </p:cNvPicPr>
            <p:nvPr/>
          </p:nvPicPr>
          <p:blipFill>
            <a:blip r:embed="rId4"/>
            <a:stretch>
              <a:fillRect/>
            </a:stretch>
          </p:blipFill>
          <p:spPr>
            <a:xfrm>
              <a:off x="843884" y="2193214"/>
              <a:ext cx="2501900" cy="673100"/>
            </a:xfrm>
            <a:custGeom>
              <a:avLst/>
              <a:gdLst>
                <a:gd name="connsiteX0" fmla="*/ 0 w 2501900"/>
                <a:gd name="connsiteY0" fmla="*/ 0 h 673100"/>
                <a:gd name="connsiteX1" fmla="*/ 2508504 w 2501900"/>
                <a:gd name="connsiteY1" fmla="*/ 0 h 673100"/>
                <a:gd name="connsiteX2" fmla="*/ 2508504 w 2501900"/>
                <a:gd name="connsiteY2" fmla="*/ 676656 h 673100"/>
                <a:gd name="connsiteX3" fmla="*/ 0 w 2501900"/>
                <a:gd name="connsiteY3" fmla="*/ 676656 h 673100"/>
              </a:gdLst>
              <a:ahLst/>
              <a:cxnLst>
                <a:cxn ang="0">
                  <a:pos x="connsiteX0" y="connsiteY0"/>
                </a:cxn>
                <a:cxn ang="0">
                  <a:pos x="connsiteX1" y="connsiteY1"/>
                </a:cxn>
                <a:cxn ang="0">
                  <a:pos x="connsiteX2" y="connsiteY2"/>
                </a:cxn>
                <a:cxn ang="0">
                  <a:pos x="connsiteX3" y="connsiteY3"/>
                </a:cxn>
              </a:cxnLst>
              <a:rect l="l" t="t" r="r" b="b"/>
              <a:pathLst>
                <a:path w="2501900" h="673100">
                  <a:moveTo>
                    <a:pt x="0" y="0"/>
                  </a:moveTo>
                  <a:lnTo>
                    <a:pt x="2508504" y="0"/>
                  </a:lnTo>
                  <a:lnTo>
                    <a:pt x="2508504" y="676656"/>
                  </a:lnTo>
                  <a:lnTo>
                    <a:pt x="0" y="676656"/>
                  </a:lnTo>
                  <a:close/>
                </a:path>
              </a:pathLst>
            </a:custGeom>
            <a:ln/>
          </p:spPr>
        </p:pic>
        <p:sp>
          <p:nvSpPr>
            <p:cNvPr id="28" name="Свободна форма: фигура 79">
              <a:extLst>
                <a:ext uri="{FF2B5EF4-FFF2-40B4-BE49-F238E27FC236}">
                  <a16:creationId xmlns:a16="http://schemas.microsoft.com/office/drawing/2014/main" id="{11C40151-090B-88ED-5F43-FB823F510F1C}"/>
                </a:ext>
              </a:extLst>
            </p:cNvPr>
            <p:cNvSpPr/>
            <p:nvPr/>
          </p:nvSpPr>
          <p:spPr>
            <a:xfrm>
              <a:off x="871728" y="2079348"/>
              <a:ext cx="2413000" cy="573638"/>
            </a:xfrm>
            <a:custGeom>
              <a:avLst/>
              <a:gdLst>
                <a:gd name="connsiteX0" fmla="*/ 2357120 w 2413000"/>
                <a:gd name="connsiteY0" fmla="*/ 613664 h 609600"/>
                <a:gd name="connsiteX1" fmla="*/ 64897 w 2413000"/>
                <a:gd name="connsiteY1" fmla="*/ 613664 h 609600"/>
                <a:gd name="connsiteX2" fmla="*/ 0 w 2413000"/>
                <a:gd name="connsiteY2" fmla="*/ 548767 h 609600"/>
                <a:gd name="connsiteX3" fmla="*/ 0 w 2413000"/>
                <a:gd name="connsiteY3" fmla="*/ 64897 h 609600"/>
                <a:gd name="connsiteX4" fmla="*/ 64897 w 2413000"/>
                <a:gd name="connsiteY4" fmla="*/ 0 h 609600"/>
                <a:gd name="connsiteX5" fmla="*/ 2357120 w 2413000"/>
                <a:gd name="connsiteY5" fmla="*/ 0 h 609600"/>
                <a:gd name="connsiteX6" fmla="*/ 2422017 w 2413000"/>
                <a:gd name="connsiteY6" fmla="*/ 64897 h 609600"/>
                <a:gd name="connsiteX7" fmla="*/ 2422017 w 2413000"/>
                <a:gd name="connsiteY7" fmla="*/ 548767 h 609600"/>
                <a:gd name="connsiteX8" fmla="*/ 2357120 w 2413000"/>
                <a:gd name="connsiteY8" fmla="*/ 613664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13000" h="609600">
                  <a:moveTo>
                    <a:pt x="2357120" y="613664"/>
                  </a:moveTo>
                  <a:lnTo>
                    <a:pt x="64897" y="613664"/>
                  </a:lnTo>
                  <a:cubicBezTo>
                    <a:pt x="29083" y="613664"/>
                    <a:pt x="0" y="584581"/>
                    <a:pt x="0" y="548767"/>
                  </a:cubicBezTo>
                  <a:lnTo>
                    <a:pt x="0" y="64897"/>
                  </a:lnTo>
                  <a:cubicBezTo>
                    <a:pt x="0" y="29083"/>
                    <a:pt x="29083" y="0"/>
                    <a:pt x="64897" y="0"/>
                  </a:cubicBezTo>
                  <a:lnTo>
                    <a:pt x="2357120" y="0"/>
                  </a:lnTo>
                  <a:cubicBezTo>
                    <a:pt x="2392934" y="0"/>
                    <a:pt x="2422017" y="29083"/>
                    <a:pt x="2422017" y="64897"/>
                  </a:cubicBezTo>
                  <a:lnTo>
                    <a:pt x="2422017" y="548767"/>
                  </a:lnTo>
                  <a:cubicBezTo>
                    <a:pt x="2422017" y="584708"/>
                    <a:pt x="2392934" y="613664"/>
                    <a:pt x="2357120" y="613664"/>
                  </a:cubicBezTo>
                </a:path>
              </a:pathLst>
            </a:custGeom>
            <a:solidFill>
              <a:schemeClr val="accent1"/>
            </a:solidFill>
            <a:ln w="12689" cap="flat">
              <a:noFill/>
              <a:prstDash val="solid"/>
              <a:miter/>
            </a:ln>
          </p:spPr>
          <p:txBody>
            <a:bodyPr rtlCol="0" anchor="ctr"/>
            <a:lstStyle/>
            <a:p>
              <a:r>
                <a:rPr lang="en-US" dirty="0"/>
                <a:t>          Numerator</a:t>
              </a:r>
              <a:endParaRPr lang="bg-BG" dirty="0"/>
            </a:p>
          </p:txBody>
        </p:sp>
      </p:grpSp>
      <p:sp>
        <p:nvSpPr>
          <p:cNvPr id="31" name="Freeform 251">
            <a:extLst>
              <a:ext uri="{FF2B5EF4-FFF2-40B4-BE49-F238E27FC236}">
                <a16:creationId xmlns:a16="http://schemas.microsoft.com/office/drawing/2014/main" id="{B861DED8-6089-EE9E-240A-891C94194D37}"/>
              </a:ext>
            </a:extLst>
          </p:cNvPr>
          <p:cNvSpPr>
            <a:spLocks/>
          </p:cNvSpPr>
          <p:nvPr/>
        </p:nvSpPr>
        <p:spPr bwMode="auto">
          <a:xfrm>
            <a:off x="3838661" y="3867388"/>
            <a:ext cx="248233" cy="363705"/>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solidFill>
            <a:srgbClr val="4454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Light"/>
            </a:endParaRPr>
          </a:p>
        </p:txBody>
      </p:sp>
      <p:sp>
        <p:nvSpPr>
          <p:cNvPr id="32" name="Freeform 251">
            <a:extLst>
              <a:ext uri="{FF2B5EF4-FFF2-40B4-BE49-F238E27FC236}">
                <a16:creationId xmlns:a16="http://schemas.microsoft.com/office/drawing/2014/main" id="{5035F5E8-ECC6-315B-60FE-1EA49C004617}"/>
              </a:ext>
            </a:extLst>
          </p:cNvPr>
          <p:cNvSpPr>
            <a:spLocks/>
          </p:cNvSpPr>
          <p:nvPr/>
        </p:nvSpPr>
        <p:spPr bwMode="auto">
          <a:xfrm>
            <a:off x="4040771" y="3867388"/>
            <a:ext cx="248233" cy="363705"/>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solidFill>
            <a:srgbClr val="4454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Light"/>
            </a:endParaRPr>
          </a:p>
        </p:txBody>
      </p:sp>
      <p:sp>
        <p:nvSpPr>
          <p:cNvPr id="34" name="Freeform 251">
            <a:extLst>
              <a:ext uri="{FF2B5EF4-FFF2-40B4-BE49-F238E27FC236}">
                <a16:creationId xmlns:a16="http://schemas.microsoft.com/office/drawing/2014/main" id="{2E4C47E6-6135-35D6-CF7C-2F438F39CBFF}"/>
              </a:ext>
            </a:extLst>
          </p:cNvPr>
          <p:cNvSpPr>
            <a:spLocks/>
          </p:cNvSpPr>
          <p:nvPr/>
        </p:nvSpPr>
        <p:spPr bwMode="auto">
          <a:xfrm>
            <a:off x="7876199" y="3867387"/>
            <a:ext cx="248233" cy="363705"/>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solidFill>
            <a:srgbClr val="4454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Light"/>
            </a:endParaRPr>
          </a:p>
        </p:txBody>
      </p:sp>
      <p:sp>
        <p:nvSpPr>
          <p:cNvPr id="35" name="Freeform 251">
            <a:extLst>
              <a:ext uri="{FF2B5EF4-FFF2-40B4-BE49-F238E27FC236}">
                <a16:creationId xmlns:a16="http://schemas.microsoft.com/office/drawing/2014/main" id="{9AB6035F-8A04-78C3-BBC4-6DB411572D6F}"/>
              </a:ext>
            </a:extLst>
          </p:cNvPr>
          <p:cNvSpPr>
            <a:spLocks/>
          </p:cNvSpPr>
          <p:nvPr/>
        </p:nvSpPr>
        <p:spPr bwMode="auto">
          <a:xfrm>
            <a:off x="8084942" y="3867386"/>
            <a:ext cx="248233" cy="363705"/>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solidFill>
            <a:srgbClr val="4454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Light"/>
            </a:endParaRPr>
          </a:p>
        </p:txBody>
      </p:sp>
    </p:spTree>
    <p:extLst>
      <p:ext uri="{BB962C8B-B14F-4D97-AF65-F5344CB8AC3E}">
        <p14:creationId xmlns:p14="http://schemas.microsoft.com/office/powerpoint/2010/main" val="35039264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a:extLst>
              <a:ext uri="{FF2B5EF4-FFF2-40B4-BE49-F238E27FC236}">
                <a16:creationId xmlns:a16="http://schemas.microsoft.com/office/drawing/2014/main" id="{67B86A5B-7A26-9C3A-AD41-B88A6A376A03}"/>
              </a:ext>
            </a:extLst>
          </p:cNvPr>
          <p:cNvSpPr>
            <a:spLocks noGrp="1"/>
          </p:cNvSpPr>
          <p:nvPr>
            <p:ph type="title"/>
          </p:nvPr>
        </p:nvSpPr>
        <p:spPr>
          <a:xfrm>
            <a:off x="1871663" y="52388"/>
            <a:ext cx="8229600" cy="1143000"/>
          </a:xfrm>
        </p:spPr>
        <p:txBody>
          <a:bodyPr/>
          <a:lstStyle/>
          <a:p>
            <a:pPr algn="ctr" eaLnBrk="1" hangingPunct="1"/>
            <a:r>
              <a:rPr lang="en-US" altLang="en-US" sz="3600" b="1" dirty="0">
                <a:solidFill>
                  <a:srgbClr val="002060"/>
                </a:solidFill>
                <a:latin typeface="Poppins" panose="00000500000000000000" pitchFamily="2" charset="0"/>
                <a:cs typeface="Poppins" panose="00000500000000000000" pitchFamily="2" charset="0"/>
              </a:rPr>
              <a:t>Impact</a:t>
            </a:r>
            <a:endParaRPr lang="en-US" altLang="en-US" sz="3600" dirty="0">
              <a:solidFill>
                <a:srgbClr val="002060"/>
              </a:solidFill>
              <a:latin typeface="Poppins" panose="00000500000000000000" pitchFamily="2" charset="0"/>
              <a:cs typeface="Poppins" panose="00000500000000000000" pitchFamily="2" charset="0"/>
            </a:endParaRPr>
          </a:p>
        </p:txBody>
      </p:sp>
      <p:sp>
        <p:nvSpPr>
          <p:cNvPr id="15363" name="Content Placeholder 2">
            <a:extLst>
              <a:ext uri="{FF2B5EF4-FFF2-40B4-BE49-F238E27FC236}">
                <a16:creationId xmlns:a16="http://schemas.microsoft.com/office/drawing/2014/main" id="{3C165113-A16F-9AB5-2082-61224C426274}"/>
              </a:ext>
            </a:extLst>
          </p:cNvPr>
          <p:cNvSpPr>
            <a:spLocks noGrp="1"/>
          </p:cNvSpPr>
          <p:nvPr>
            <p:ph idx="1"/>
          </p:nvPr>
        </p:nvSpPr>
        <p:spPr>
          <a:xfrm>
            <a:off x="1757364" y="1221581"/>
            <a:ext cx="8229600" cy="360363"/>
          </a:xfrm>
        </p:spPr>
        <p:txBody>
          <a:bodyPr>
            <a:noAutofit/>
          </a:bodyPr>
          <a:lstStyle/>
          <a:p>
            <a:pPr eaLnBrk="1" hangingPunct="1">
              <a:lnSpc>
                <a:spcPct val="90000"/>
              </a:lnSpc>
              <a:spcAft>
                <a:spcPct val="20000"/>
              </a:spcAft>
              <a:buFontTx/>
              <a:buNone/>
            </a:pPr>
            <a:r>
              <a:rPr lang="en-US" altLang="en-US" sz="2400" b="1" i="1" dirty="0">
                <a:solidFill>
                  <a:srgbClr val="00B050"/>
                </a:solidFill>
                <a:latin typeface="Arial" panose="020B0604020202020204" pitchFamily="34" charset="0"/>
              </a:rPr>
              <a:t>Long-term effect , change or results over time</a:t>
            </a:r>
          </a:p>
        </p:txBody>
      </p:sp>
      <p:sp>
        <p:nvSpPr>
          <p:cNvPr id="4" name="Freeform 3">
            <a:extLst>
              <a:ext uri="{FF2B5EF4-FFF2-40B4-BE49-F238E27FC236}">
                <a16:creationId xmlns:a16="http://schemas.microsoft.com/office/drawing/2014/main" id="{5A75EA07-6EFE-3BE5-1C67-11C52142F6BC}"/>
              </a:ext>
            </a:extLst>
          </p:cNvPr>
          <p:cNvSpPr>
            <a:spLocks/>
          </p:cNvSpPr>
          <p:nvPr/>
        </p:nvSpPr>
        <p:spPr bwMode="auto">
          <a:xfrm>
            <a:off x="6099176" y="1876425"/>
            <a:ext cx="2174875" cy="3265488"/>
          </a:xfrm>
          <a:custGeom>
            <a:avLst/>
            <a:gdLst>
              <a:gd name="connsiteX0" fmla="*/ 0 w 2174875"/>
              <a:gd name="connsiteY0" fmla="*/ 0 h 3265488"/>
              <a:gd name="connsiteX1" fmla="*/ 71438 w 2174875"/>
              <a:gd name="connsiteY1" fmla="*/ 1588 h 3265488"/>
              <a:gd name="connsiteX2" fmla="*/ 142081 w 2174875"/>
              <a:gd name="connsiteY2" fmla="*/ 4764 h 3265488"/>
              <a:gd name="connsiteX3" fmla="*/ 213519 w 2174875"/>
              <a:gd name="connsiteY3" fmla="*/ 10321 h 3265488"/>
              <a:gd name="connsiteX4" fmla="*/ 283369 w 2174875"/>
              <a:gd name="connsiteY4" fmla="*/ 19849 h 3265488"/>
              <a:gd name="connsiteX5" fmla="*/ 354806 w 2174875"/>
              <a:gd name="connsiteY5" fmla="*/ 28582 h 3265488"/>
              <a:gd name="connsiteX6" fmla="*/ 425450 w 2174875"/>
              <a:gd name="connsiteY6" fmla="*/ 42873 h 3265488"/>
              <a:gd name="connsiteX7" fmla="*/ 493713 w 2174875"/>
              <a:gd name="connsiteY7" fmla="*/ 57958 h 3265488"/>
              <a:gd name="connsiteX8" fmla="*/ 562769 w 2174875"/>
              <a:gd name="connsiteY8" fmla="*/ 74631 h 3265488"/>
              <a:gd name="connsiteX9" fmla="*/ 631031 w 2174875"/>
              <a:gd name="connsiteY9" fmla="*/ 94479 h 3265488"/>
              <a:gd name="connsiteX10" fmla="*/ 697706 w 2174875"/>
              <a:gd name="connsiteY10" fmla="*/ 115916 h 3265488"/>
              <a:gd name="connsiteX11" fmla="*/ 765175 w 2174875"/>
              <a:gd name="connsiteY11" fmla="*/ 140528 h 3265488"/>
              <a:gd name="connsiteX12" fmla="*/ 831850 w 2174875"/>
              <a:gd name="connsiteY12" fmla="*/ 165934 h 3265488"/>
              <a:gd name="connsiteX13" fmla="*/ 897731 w 2174875"/>
              <a:gd name="connsiteY13" fmla="*/ 193722 h 3265488"/>
              <a:gd name="connsiteX14" fmla="*/ 962025 w 2174875"/>
              <a:gd name="connsiteY14" fmla="*/ 223892 h 3265488"/>
              <a:gd name="connsiteX15" fmla="*/ 1025525 w 2174875"/>
              <a:gd name="connsiteY15" fmla="*/ 257238 h 3265488"/>
              <a:gd name="connsiteX16" fmla="*/ 1088231 w 2174875"/>
              <a:gd name="connsiteY16" fmla="*/ 292965 h 3265488"/>
              <a:gd name="connsiteX17" fmla="*/ 1182688 w 2174875"/>
              <a:gd name="connsiteY17" fmla="*/ 350923 h 3265488"/>
              <a:gd name="connsiteX18" fmla="*/ 1273969 w 2174875"/>
              <a:gd name="connsiteY18" fmla="*/ 412851 h 3265488"/>
              <a:gd name="connsiteX19" fmla="*/ 1362869 w 2174875"/>
              <a:gd name="connsiteY19" fmla="*/ 480336 h 3265488"/>
              <a:gd name="connsiteX20" fmla="*/ 1444625 w 2174875"/>
              <a:gd name="connsiteY20" fmla="*/ 550203 h 3265488"/>
              <a:gd name="connsiteX21" fmla="*/ 1524000 w 2174875"/>
              <a:gd name="connsiteY21" fmla="*/ 623245 h 3265488"/>
              <a:gd name="connsiteX22" fmla="*/ 1598613 w 2174875"/>
              <a:gd name="connsiteY22" fmla="*/ 699464 h 3265488"/>
              <a:gd name="connsiteX23" fmla="*/ 1669256 w 2174875"/>
              <a:gd name="connsiteY23" fmla="*/ 780446 h 3265488"/>
              <a:gd name="connsiteX24" fmla="*/ 1735931 w 2174875"/>
              <a:gd name="connsiteY24" fmla="*/ 864604 h 3265488"/>
              <a:gd name="connsiteX25" fmla="*/ 1797050 w 2174875"/>
              <a:gd name="connsiteY25" fmla="*/ 949556 h 3265488"/>
              <a:gd name="connsiteX26" fmla="*/ 1854994 w 2174875"/>
              <a:gd name="connsiteY26" fmla="*/ 1037684 h 3265488"/>
              <a:gd name="connsiteX27" fmla="*/ 1906588 w 2174875"/>
              <a:gd name="connsiteY27" fmla="*/ 1129781 h 3265488"/>
              <a:gd name="connsiteX28" fmla="*/ 1955800 w 2174875"/>
              <a:gd name="connsiteY28" fmla="*/ 1222673 h 3265488"/>
              <a:gd name="connsiteX29" fmla="*/ 1999456 w 2174875"/>
              <a:gd name="connsiteY29" fmla="*/ 1317152 h 3265488"/>
              <a:gd name="connsiteX30" fmla="*/ 2037556 w 2174875"/>
              <a:gd name="connsiteY30" fmla="*/ 1414807 h 3265488"/>
              <a:gd name="connsiteX31" fmla="*/ 2072481 w 2174875"/>
              <a:gd name="connsiteY31" fmla="*/ 1514050 h 3265488"/>
              <a:gd name="connsiteX32" fmla="*/ 2101850 w 2174875"/>
              <a:gd name="connsiteY32" fmla="*/ 1612499 h 3265488"/>
              <a:gd name="connsiteX33" fmla="*/ 2126456 w 2174875"/>
              <a:gd name="connsiteY33" fmla="*/ 1714917 h 3265488"/>
              <a:gd name="connsiteX34" fmla="*/ 2146300 w 2174875"/>
              <a:gd name="connsiteY34" fmla="*/ 1817336 h 3265488"/>
              <a:gd name="connsiteX35" fmla="*/ 2161381 w 2174875"/>
              <a:gd name="connsiteY35" fmla="*/ 1920549 h 3265488"/>
              <a:gd name="connsiteX36" fmla="*/ 2170113 w 2174875"/>
              <a:gd name="connsiteY36" fmla="*/ 2026143 h 3265488"/>
              <a:gd name="connsiteX37" fmla="*/ 2174875 w 2174875"/>
              <a:gd name="connsiteY37" fmla="*/ 2129356 h 3265488"/>
              <a:gd name="connsiteX38" fmla="*/ 2174875 w 2174875"/>
              <a:gd name="connsiteY38" fmla="*/ 2234950 h 3265488"/>
              <a:gd name="connsiteX39" fmla="*/ 2170113 w 2174875"/>
              <a:gd name="connsiteY39" fmla="*/ 2339750 h 3265488"/>
              <a:gd name="connsiteX40" fmla="*/ 2159794 w 2174875"/>
              <a:gd name="connsiteY40" fmla="*/ 2445345 h 3265488"/>
              <a:gd name="connsiteX41" fmla="*/ 2144713 w 2174875"/>
              <a:gd name="connsiteY41" fmla="*/ 2550145 h 3265488"/>
              <a:gd name="connsiteX42" fmla="*/ 2123281 w 2174875"/>
              <a:gd name="connsiteY42" fmla="*/ 2655740 h 3265488"/>
              <a:gd name="connsiteX43" fmla="*/ 2097088 w 2174875"/>
              <a:gd name="connsiteY43" fmla="*/ 2758952 h 3265488"/>
              <a:gd name="connsiteX44" fmla="*/ 2065338 w 2174875"/>
              <a:gd name="connsiteY44" fmla="*/ 2862959 h 3265488"/>
              <a:gd name="connsiteX45" fmla="*/ 2028825 w 2174875"/>
              <a:gd name="connsiteY45" fmla="*/ 2964584 h 3265488"/>
              <a:gd name="connsiteX46" fmla="*/ 1985963 w 2174875"/>
              <a:gd name="connsiteY46" fmla="*/ 3067002 h 3265488"/>
              <a:gd name="connsiteX47" fmla="*/ 1937544 w 2174875"/>
              <a:gd name="connsiteY47" fmla="*/ 3166245 h 3265488"/>
              <a:gd name="connsiteX48" fmla="*/ 1883569 w 2174875"/>
              <a:gd name="connsiteY48" fmla="*/ 3265488 h 3265488"/>
              <a:gd name="connsiteX49" fmla="*/ 885771 w 2174875"/>
              <a:gd name="connsiteY49" fmla="*/ 2688870 h 3265488"/>
              <a:gd name="connsiteX50" fmla="*/ 0 w 2174875"/>
              <a:gd name="connsiteY50" fmla="*/ 1161679 h 3265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174875" h="3265488">
                <a:moveTo>
                  <a:pt x="0" y="0"/>
                </a:moveTo>
                <a:lnTo>
                  <a:pt x="71438" y="1588"/>
                </a:lnTo>
                <a:lnTo>
                  <a:pt x="142081" y="4764"/>
                </a:lnTo>
                <a:lnTo>
                  <a:pt x="213519" y="10321"/>
                </a:lnTo>
                <a:lnTo>
                  <a:pt x="283369" y="19849"/>
                </a:lnTo>
                <a:lnTo>
                  <a:pt x="354806" y="28582"/>
                </a:lnTo>
                <a:lnTo>
                  <a:pt x="425450" y="42873"/>
                </a:lnTo>
                <a:lnTo>
                  <a:pt x="493713" y="57958"/>
                </a:lnTo>
                <a:lnTo>
                  <a:pt x="562769" y="74631"/>
                </a:lnTo>
                <a:lnTo>
                  <a:pt x="631031" y="94479"/>
                </a:lnTo>
                <a:lnTo>
                  <a:pt x="697706" y="115916"/>
                </a:lnTo>
                <a:lnTo>
                  <a:pt x="765175" y="140528"/>
                </a:lnTo>
                <a:lnTo>
                  <a:pt x="831850" y="165934"/>
                </a:lnTo>
                <a:lnTo>
                  <a:pt x="897731" y="193722"/>
                </a:lnTo>
                <a:lnTo>
                  <a:pt x="962025" y="223892"/>
                </a:lnTo>
                <a:lnTo>
                  <a:pt x="1025525" y="257238"/>
                </a:lnTo>
                <a:lnTo>
                  <a:pt x="1088231" y="292965"/>
                </a:lnTo>
                <a:lnTo>
                  <a:pt x="1182688" y="350923"/>
                </a:lnTo>
                <a:lnTo>
                  <a:pt x="1273969" y="412851"/>
                </a:lnTo>
                <a:lnTo>
                  <a:pt x="1362869" y="480336"/>
                </a:lnTo>
                <a:lnTo>
                  <a:pt x="1444625" y="550203"/>
                </a:lnTo>
                <a:lnTo>
                  <a:pt x="1524000" y="623245"/>
                </a:lnTo>
                <a:lnTo>
                  <a:pt x="1598613" y="699464"/>
                </a:lnTo>
                <a:lnTo>
                  <a:pt x="1669256" y="780446"/>
                </a:lnTo>
                <a:lnTo>
                  <a:pt x="1735931" y="864604"/>
                </a:lnTo>
                <a:lnTo>
                  <a:pt x="1797050" y="949556"/>
                </a:lnTo>
                <a:lnTo>
                  <a:pt x="1854994" y="1037684"/>
                </a:lnTo>
                <a:lnTo>
                  <a:pt x="1906588" y="1129781"/>
                </a:lnTo>
                <a:lnTo>
                  <a:pt x="1955800" y="1222673"/>
                </a:lnTo>
                <a:lnTo>
                  <a:pt x="1999456" y="1317152"/>
                </a:lnTo>
                <a:lnTo>
                  <a:pt x="2037556" y="1414807"/>
                </a:lnTo>
                <a:lnTo>
                  <a:pt x="2072481" y="1514050"/>
                </a:lnTo>
                <a:lnTo>
                  <a:pt x="2101850" y="1612499"/>
                </a:lnTo>
                <a:lnTo>
                  <a:pt x="2126456" y="1714917"/>
                </a:lnTo>
                <a:lnTo>
                  <a:pt x="2146300" y="1817336"/>
                </a:lnTo>
                <a:lnTo>
                  <a:pt x="2161381" y="1920549"/>
                </a:lnTo>
                <a:lnTo>
                  <a:pt x="2170113" y="2026143"/>
                </a:lnTo>
                <a:lnTo>
                  <a:pt x="2174875" y="2129356"/>
                </a:lnTo>
                <a:lnTo>
                  <a:pt x="2174875" y="2234950"/>
                </a:lnTo>
                <a:lnTo>
                  <a:pt x="2170113" y="2339750"/>
                </a:lnTo>
                <a:lnTo>
                  <a:pt x="2159794" y="2445345"/>
                </a:lnTo>
                <a:lnTo>
                  <a:pt x="2144713" y="2550145"/>
                </a:lnTo>
                <a:lnTo>
                  <a:pt x="2123281" y="2655740"/>
                </a:lnTo>
                <a:lnTo>
                  <a:pt x="2097088" y="2758952"/>
                </a:lnTo>
                <a:lnTo>
                  <a:pt x="2065338" y="2862959"/>
                </a:lnTo>
                <a:lnTo>
                  <a:pt x="2028825" y="2964584"/>
                </a:lnTo>
                <a:lnTo>
                  <a:pt x="1985963" y="3067002"/>
                </a:lnTo>
                <a:lnTo>
                  <a:pt x="1937544" y="3166245"/>
                </a:lnTo>
                <a:lnTo>
                  <a:pt x="1883569" y="3265488"/>
                </a:lnTo>
                <a:lnTo>
                  <a:pt x="885771" y="2688870"/>
                </a:lnTo>
                <a:lnTo>
                  <a:pt x="0" y="1161679"/>
                </a:lnTo>
                <a:close/>
              </a:path>
            </a:pathLst>
          </a:custGeom>
          <a:solidFill>
            <a:srgbClr val="EC6E62"/>
          </a:solidFill>
          <a:ln w="38100" cap="flat" cmpd="sng" algn="ctr">
            <a:noFill/>
            <a:prstDash val="solid"/>
            <a:round/>
            <a:headEnd type="none" w="med" len="med"/>
            <a:tailEnd type="none" w="med" len="med"/>
          </a:ln>
          <a:effectLst/>
        </p:spPr>
        <p:txBody>
          <a:bodyPr anchor="ctr"/>
          <a:lstStyle/>
          <a:p>
            <a:pPr algn="ctr">
              <a:defRPr/>
            </a:pPr>
            <a:endParaRPr lang="en-US" sz="2400" b="1" cap="small">
              <a:solidFill>
                <a:prstClr val="white"/>
              </a:solidFill>
              <a:effectLst>
                <a:outerShdw blurRad="25400" dist="38100" dir="2700000" algn="tl">
                  <a:srgbClr val="000000">
                    <a:alpha val="70000"/>
                  </a:srgbClr>
                </a:outerShdw>
              </a:effectLst>
              <a:cs typeface="Arial" pitchFamily="34" charset="0"/>
            </a:endParaRPr>
          </a:p>
        </p:txBody>
      </p:sp>
      <p:sp>
        <p:nvSpPr>
          <p:cNvPr id="15365" name="Freeform 4">
            <a:extLst>
              <a:ext uri="{FF2B5EF4-FFF2-40B4-BE49-F238E27FC236}">
                <a16:creationId xmlns:a16="http://schemas.microsoft.com/office/drawing/2014/main" id="{0D779FC6-040F-03ED-468D-9AFBF9C74BE5}"/>
              </a:ext>
            </a:extLst>
          </p:cNvPr>
          <p:cNvSpPr>
            <a:spLocks/>
          </p:cNvSpPr>
          <p:nvPr/>
        </p:nvSpPr>
        <p:spPr bwMode="auto">
          <a:xfrm>
            <a:off x="4157664" y="4673601"/>
            <a:ext cx="3768725" cy="1636713"/>
          </a:xfrm>
          <a:custGeom>
            <a:avLst/>
            <a:gdLst>
              <a:gd name="T0" fmla="*/ 950989 w 3768725"/>
              <a:gd name="T1" fmla="*/ 0 h 1637399"/>
              <a:gd name="T2" fmla="*/ 2818537 w 3768725"/>
              <a:gd name="T3" fmla="*/ 0 h 1637399"/>
              <a:gd name="T4" fmla="*/ 3768725 w 3768725"/>
              <a:gd name="T5" fmla="*/ 548081 h 1637399"/>
              <a:gd name="T6" fmla="*/ 3732213 w 3768725"/>
              <a:gd name="T7" fmla="*/ 609146 h 1637399"/>
              <a:gd name="T8" fmla="*/ 3694113 w 3768725"/>
              <a:gd name="T9" fmla="*/ 670210 h 1637399"/>
              <a:gd name="T10" fmla="*/ 3652838 w 3768725"/>
              <a:gd name="T11" fmla="*/ 728103 h 1637399"/>
              <a:gd name="T12" fmla="*/ 3610769 w 3768725"/>
              <a:gd name="T13" fmla="*/ 785994 h 1637399"/>
              <a:gd name="T14" fmla="*/ 3566319 w 3768725"/>
              <a:gd name="T15" fmla="*/ 840713 h 1637399"/>
              <a:gd name="T16" fmla="*/ 3520281 w 3768725"/>
              <a:gd name="T17" fmla="*/ 895434 h 1637399"/>
              <a:gd name="T18" fmla="*/ 3473450 w 3768725"/>
              <a:gd name="T19" fmla="*/ 947775 h 1637399"/>
              <a:gd name="T20" fmla="*/ 3422650 w 3768725"/>
              <a:gd name="T21" fmla="*/ 999322 h 1637399"/>
              <a:gd name="T22" fmla="*/ 3372644 w 3768725"/>
              <a:gd name="T23" fmla="*/ 1047699 h 1637399"/>
              <a:gd name="T24" fmla="*/ 3319463 w 3768725"/>
              <a:gd name="T25" fmla="*/ 1096866 h 1637399"/>
              <a:gd name="T26" fmla="*/ 3266281 w 3768725"/>
              <a:gd name="T27" fmla="*/ 1142069 h 1637399"/>
              <a:gd name="T28" fmla="*/ 3209925 w 3768725"/>
              <a:gd name="T29" fmla="*/ 1186480 h 1637399"/>
              <a:gd name="T30" fmla="*/ 3153569 w 3768725"/>
              <a:gd name="T31" fmla="*/ 1229305 h 1637399"/>
              <a:gd name="T32" fmla="*/ 3094038 w 3768725"/>
              <a:gd name="T33" fmla="*/ 1268957 h 1637399"/>
              <a:gd name="T34" fmla="*/ 3034506 w 3768725"/>
              <a:gd name="T35" fmla="*/ 1308609 h 1637399"/>
              <a:gd name="T36" fmla="*/ 2971800 w 3768725"/>
              <a:gd name="T37" fmla="*/ 1345089 h 1637399"/>
              <a:gd name="T38" fmla="*/ 2874169 w 3768725"/>
              <a:gd name="T39" fmla="*/ 1398222 h 1637399"/>
              <a:gd name="T40" fmla="*/ 2773363 w 3768725"/>
              <a:gd name="T41" fmla="*/ 1445012 h 1637399"/>
              <a:gd name="T42" fmla="*/ 2673350 w 3768725"/>
              <a:gd name="T43" fmla="*/ 1487836 h 1637399"/>
              <a:gd name="T44" fmla="*/ 2570956 w 3768725"/>
              <a:gd name="T45" fmla="*/ 1524317 h 1637399"/>
              <a:gd name="T46" fmla="*/ 2466975 w 3768725"/>
              <a:gd name="T47" fmla="*/ 1556830 h 1637399"/>
              <a:gd name="T48" fmla="*/ 2363788 w 3768725"/>
              <a:gd name="T49" fmla="*/ 1582208 h 1637399"/>
              <a:gd name="T50" fmla="*/ 2258219 w 3768725"/>
              <a:gd name="T51" fmla="*/ 1603621 h 1637399"/>
              <a:gd name="T52" fmla="*/ 2153444 w 3768725"/>
              <a:gd name="T53" fmla="*/ 1618688 h 1637399"/>
              <a:gd name="T54" fmla="*/ 2047875 w 3768725"/>
              <a:gd name="T55" fmla="*/ 1629791 h 1637399"/>
              <a:gd name="T56" fmla="*/ 1943100 w 3768725"/>
              <a:gd name="T57" fmla="*/ 1635342 h 1637399"/>
              <a:gd name="T58" fmla="*/ 1837531 w 3768725"/>
              <a:gd name="T59" fmla="*/ 1635342 h 1637399"/>
              <a:gd name="T60" fmla="*/ 1732756 w 3768725"/>
              <a:gd name="T61" fmla="*/ 1631377 h 1637399"/>
              <a:gd name="T62" fmla="*/ 1628775 w 3768725"/>
              <a:gd name="T63" fmla="*/ 1620274 h 1637399"/>
              <a:gd name="T64" fmla="*/ 1525588 w 3768725"/>
              <a:gd name="T65" fmla="*/ 1605207 h 1637399"/>
              <a:gd name="T66" fmla="*/ 1423194 w 3768725"/>
              <a:gd name="T67" fmla="*/ 1585381 h 1637399"/>
              <a:gd name="T68" fmla="*/ 1320800 w 3768725"/>
              <a:gd name="T69" fmla="*/ 1560796 h 1637399"/>
              <a:gd name="T70" fmla="*/ 1220788 w 3768725"/>
              <a:gd name="T71" fmla="*/ 1532247 h 1637399"/>
              <a:gd name="T72" fmla="*/ 1123156 w 3768725"/>
              <a:gd name="T73" fmla="*/ 1498938 h 1637399"/>
              <a:gd name="T74" fmla="*/ 1025525 w 3768725"/>
              <a:gd name="T75" fmla="*/ 1459286 h 1637399"/>
              <a:gd name="T76" fmla="*/ 929481 w 3768725"/>
              <a:gd name="T77" fmla="*/ 1414876 h 1637399"/>
              <a:gd name="T78" fmla="*/ 836613 w 3768725"/>
              <a:gd name="T79" fmla="*/ 1367294 h 1637399"/>
              <a:gd name="T80" fmla="*/ 746919 w 3768725"/>
              <a:gd name="T81" fmla="*/ 1314160 h 1637399"/>
              <a:gd name="T82" fmla="*/ 658019 w 3768725"/>
              <a:gd name="T83" fmla="*/ 1257854 h 1637399"/>
              <a:gd name="T84" fmla="*/ 571500 w 3768725"/>
              <a:gd name="T85" fmla="*/ 1195204 h 1637399"/>
              <a:gd name="T86" fmla="*/ 488950 w 3768725"/>
              <a:gd name="T87" fmla="*/ 1130174 h 1637399"/>
              <a:gd name="T88" fmla="*/ 407988 w 3768725"/>
              <a:gd name="T89" fmla="*/ 1060386 h 1637399"/>
              <a:gd name="T90" fmla="*/ 331788 w 3768725"/>
              <a:gd name="T91" fmla="*/ 985841 h 1637399"/>
              <a:gd name="T92" fmla="*/ 257175 w 3768725"/>
              <a:gd name="T93" fmla="*/ 906537 h 1637399"/>
              <a:gd name="T94" fmla="*/ 187325 w 3768725"/>
              <a:gd name="T95" fmla="*/ 822473 h 1637399"/>
              <a:gd name="T96" fmla="*/ 121444 w 3768725"/>
              <a:gd name="T97" fmla="*/ 736032 h 1637399"/>
              <a:gd name="T98" fmla="*/ 59531 w 3768725"/>
              <a:gd name="T99" fmla="*/ 644039 h 1637399"/>
              <a:gd name="T100" fmla="*/ 0 w 3768725"/>
              <a:gd name="T101" fmla="*/ 548081 h 163739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768725" h="1637399">
                <a:moveTo>
                  <a:pt x="950989" y="0"/>
                </a:moveTo>
                <a:lnTo>
                  <a:pt x="2818537" y="0"/>
                </a:lnTo>
                <a:lnTo>
                  <a:pt x="3768725" y="548771"/>
                </a:lnTo>
                <a:lnTo>
                  <a:pt x="3732213" y="609912"/>
                </a:lnTo>
                <a:lnTo>
                  <a:pt x="3694113" y="671053"/>
                </a:lnTo>
                <a:lnTo>
                  <a:pt x="3652838" y="729018"/>
                </a:lnTo>
                <a:lnTo>
                  <a:pt x="3610769" y="786983"/>
                </a:lnTo>
                <a:lnTo>
                  <a:pt x="3566319" y="841771"/>
                </a:lnTo>
                <a:lnTo>
                  <a:pt x="3520281" y="896560"/>
                </a:lnTo>
                <a:lnTo>
                  <a:pt x="3473450" y="948967"/>
                </a:lnTo>
                <a:lnTo>
                  <a:pt x="3422650" y="1000579"/>
                </a:lnTo>
                <a:lnTo>
                  <a:pt x="3372644" y="1049016"/>
                </a:lnTo>
                <a:lnTo>
                  <a:pt x="3319463" y="1098246"/>
                </a:lnTo>
                <a:lnTo>
                  <a:pt x="3266281" y="1143506"/>
                </a:lnTo>
                <a:lnTo>
                  <a:pt x="3209925" y="1187973"/>
                </a:lnTo>
                <a:lnTo>
                  <a:pt x="3153569" y="1230851"/>
                </a:lnTo>
                <a:lnTo>
                  <a:pt x="3094038" y="1270553"/>
                </a:lnTo>
                <a:lnTo>
                  <a:pt x="3034506" y="1310255"/>
                </a:lnTo>
                <a:lnTo>
                  <a:pt x="2971800" y="1346781"/>
                </a:lnTo>
                <a:lnTo>
                  <a:pt x="2874169" y="1399981"/>
                </a:lnTo>
                <a:lnTo>
                  <a:pt x="2773363" y="1446830"/>
                </a:lnTo>
                <a:lnTo>
                  <a:pt x="2673350" y="1489708"/>
                </a:lnTo>
                <a:lnTo>
                  <a:pt x="2570956" y="1526234"/>
                </a:lnTo>
                <a:lnTo>
                  <a:pt x="2466975" y="1558789"/>
                </a:lnTo>
                <a:lnTo>
                  <a:pt x="2363788" y="1584198"/>
                </a:lnTo>
                <a:lnTo>
                  <a:pt x="2258219" y="1605638"/>
                </a:lnTo>
                <a:lnTo>
                  <a:pt x="2153444" y="1620724"/>
                </a:lnTo>
                <a:lnTo>
                  <a:pt x="2047875" y="1631841"/>
                </a:lnTo>
                <a:lnTo>
                  <a:pt x="1943100" y="1637399"/>
                </a:lnTo>
                <a:lnTo>
                  <a:pt x="1837531" y="1637399"/>
                </a:lnTo>
                <a:lnTo>
                  <a:pt x="1732756" y="1633429"/>
                </a:lnTo>
                <a:lnTo>
                  <a:pt x="1628775" y="1622312"/>
                </a:lnTo>
                <a:lnTo>
                  <a:pt x="1525588" y="1607226"/>
                </a:lnTo>
                <a:lnTo>
                  <a:pt x="1423194" y="1587375"/>
                </a:lnTo>
                <a:lnTo>
                  <a:pt x="1320800" y="1562759"/>
                </a:lnTo>
                <a:lnTo>
                  <a:pt x="1220788" y="1534174"/>
                </a:lnTo>
                <a:lnTo>
                  <a:pt x="1123156" y="1500824"/>
                </a:lnTo>
                <a:lnTo>
                  <a:pt x="1025525" y="1461122"/>
                </a:lnTo>
                <a:lnTo>
                  <a:pt x="929481" y="1416656"/>
                </a:lnTo>
                <a:lnTo>
                  <a:pt x="836613" y="1369014"/>
                </a:lnTo>
                <a:lnTo>
                  <a:pt x="746919" y="1315813"/>
                </a:lnTo>
                <a:lnTo>
                  <a:pt x="658019" y="1259436"/>
                </a:lnTo>
                <a:lnTo>
                  <a:pt x="571500" y="1196707"/>
                </a:lnTo>
                <a:lnTo>
                  <a:pt x="488950" y="1131596"/>
                </a:lnTo>
                <a:lnTo>
                  <a:pt x="407988" y="1061720"/>
                </a:lnTo>
                <a:lnTo>
                  <a:pt x="331788" y="987081"/>
                </a:lnTo>
                <a:lnTo>
                  <a:pt x="257175" y="907677"/>
                </a:lnTo>
                <a:lnTo>
                  <a:pt x="187325" y="823508"/>
                </a:lnTo>
                <a:lnTo>
                  <a:pt x="121444" y="736958"/>
                </a:lnTo>
                <a:lnTo>
                  <a:pt x="59531" y="644849"/>
                </a:lnTo>
                <a:lnTo>
                  <a:pt x="0" y="548771"/>
                </a:lnTo>
                <a:lnTo>
                  <a:pt x="950989" y="0"/>
                </a:lnTo>
                <a:close/>
              </a:path>
            </a:pathLst>
          </a:custGeom>
          <a:solidFill>
            <a:srgbClr val="5FABD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6" name="Freeform 5">
            <a:extLst>
              <a:ext uri="{FF2B5EF4-FFF2-40B4-BE49-F238E27FC236}">
                <a16:creationId xmlns:a16="http://schemas.microsoft.com/office/drawing/2014/main" id="{9E0F46AE-8D60-20B1-CE92-F67A0C0C017E}"/>
              </a:ext>
            </a:extLst>
          </p:cNvPr>
          <p:cNvSpPr>
            <a:spLocks/>
          </p:cNvSpPr>
          <p:nvPr/>
        </p:nvSpPr>
        <p:spPr bwMode="auto">
          <a:xfrm>
            <a:off x="3810001" y="1858964"/>
            <a:ext cx="2176463" cy="3265487"/>
          </a:xfrm>
          <a:custGeom>
            <a:avLst/>
            <a:gdLst>
              <a:gd name="connsiteX0" fmla="*/ 2176463 w 2176463"/>
              <a:gd name="connsiteY0" fmla="*/ 0 h 3265488"/>
              <a:gd name="connsiteX1" fmla="*/ 2176463 w 2176463"/>
              <a:gd name="connsiteY1" fmla="*/ 1147103 h 3265488"/>
              <a:gd name="connsiteX2" fmla="*/ 1278357 w 2176463"/>
              <a:gd name="connsiteY2" fmla="*/ 2695562 h 3265488"/>
              <a:gd name="connsiteX3" fmla="*/ 291306 w 2176463"/>
              <a:gd name="connsiteY3" fmla="*/ 3265488 h 3265488"/>
              <a:gd name="connsiteX4" fmla="*/ 255588 w 2176463"/>
              <a:gd name="connsiteY4" fmla="*/ 3202767 h 3265488"/>
              <a:gd name="connsiteX5" fmla="*/ 223838 w 2176463"/>
              <a:gd name="connsiteY5" fmla="*/ 3138457 h 3265488"/>
              <a:gd name="connsiteX6" fmla="*/ 193675 w 2176463"/>
              <a:gd name="connsiteY6" fmla="*/ 3074942 h 3265488"/>
              <a:gd name="connsiteX7" fmla="*/ 164306 w 2176463"/>
              <a:gd name="connsiteY7" fmla="*/ 3009045 h 3265488"/>
              <a:gd name="connsiteX8" fmla="*/ 138906 w 2176463"/>
              <a:gd name="connsiteY8" fmla="*/ 2943147 h 3265488"/>
              <a:gd name="connsiteX9" fmla="*/ 115888 w 2176463"/>
              <a:gd name="connsiteY9" fmla="*/ 2876456 h 3265488"/>
              <a:gd name="connsiteX10" fmla="*/ 92869 w 2176463"/>
              <a:gd name="connsiteY10" fmla="*/ 2808177 h 3265488"/>
              <a:gd name="connsiteX11" fmla="*/ 74613 w 2176463"/>
              <a:gd name="connsiteY11" fmla="*/ 2740692 h 3265488"/>
              <a:gd name="connsiteX12" fmla="*/ 56356 w 2176463"/>
              <a:gd name="connsiteY12" fmla="*/ 2670825 h 3265488"/>
              <a:gd name="connsiteX13" fmla="*/ 41275 w 2176463"/>
              <a:gd name="connsiteY13" fmla="*/ 2601752 h 3265488"/>
              <a:gd name="connsiteX14" fmla="*/ 28575 w 2176463"/>
              <a:gd name="connsiteY14" fmla="*/ 2531885 h 3265488"/>
              <a:gd name="connsiteX15" fmla="*/ 18256 w 2176463"/>
              <a:gd name="connsiteY15" fmla="*/ 2462018 h 3265488"/>
              <a:gd name="connsiteX16" fmla="*/ 10319 w 2176463"/>
              <a:gd name="connsiteY16" fmla="*/ 2390563 h 3265488"/>
              <a:gd name="connsiteX17" fmla="*/ 4763 w 2176463"/>
              <a:gd name="connsiteY17" fmla="*/ 2319902 h 3265488"/>
              <a:gd name="connsiteX18" fmla="*/ 1588 w 2176463"/>
              <a:gd name="connsiteY18" fmla="*/ 2248447 h 3265488"/>
              <a:gd name="connsiteX19" fmla="*/ 0 w 2176463"/>
              <a:gd name="connsiteY19" fmla="*/ 2176992 h 3265488"/>
              <a:gd name="connsiteX20" fmla="*/ 3175 w 2176463"/>
              <a:gd name="connsiteY20" fmla="*/ 2064252 h 3265488"/>
              <a:gd name="connsiteX21" fmla="*/ 10319 w 2176463"/>
              <a:gd name="connsiteY21" fmla="*/ 1953894 h 3265488"/>
              <a:gd name="connsiteX22" fmla="*/ 24606 w 2176463"/>
              <a:gd name="connsiteY22" fmla="*/ 1845918 h 3265488"/>
              <a:gd name="connsiteX23" fmla="*/ 44450 w 2176463"/>
              <a:gd name="connsiteY23" fmla="*/ 1737942 h 3265488"/>
              <a:gd name="connsiteX24" fmla="*/ 68263 w 2176463"/>
              <a:gd name="connsiteY24" fmla="*/ 1632347 h 3265488"/>
              <a:gd name="connsiteX25" fmla="*/ 97631 w 2176463"/>
              <a:gd name="connsiteY25" fmla="*/ 1529135 h 3265488"/>
              <a:gd name="connsiteX26" fmla="*/ 130969 w 2176463"/>
              <a:gd name="connsiteY26" fmla="*/ 1428304 h 3265488"/>
              <a:gd name="connsiteX27" fmla="*/ 170656 w 2176463"/>
              <a:gd name="connsiteY27" fmla="*/ 1329061 h 3265488"/>
              <a:gd name="connsiteX28" fmla="*/ 215106 w 2176463"/>
              <a:gd name="connsiteY28" fmla="*/ 1232994 h 3265488"/>
              <a:gd name="connsiteX29" fmla="*/ 261938 w 2176463"/>
              <a:gd name="connsiteY29" fmla="*/ 1138515 h 3265488"/>
              <a:gd name="connsiteX30" fmla="*/ 315119 w 2176463"/>
              <a:gd name="connsiteY30" fmla="*/ 1048799 h 3265488"/>
              <a:gd name="connsiteX31" fmla="*/ 371475 w 2176463"/>
              <a:gd name="connsiteY31" fmla="*/ 960671 h 3265488"/>
              <a:gd name="connsiteX32" fmla="*/ 431006 w 2176463"/>
              <a:gd name="connsiteY32" fmla="*/ 874925 h 3265488"/>
              <a:gd name="connsiteX33" fmla="*/ 496888 w 2176463"/>
              <a:gd name="connsiteY33" fmla="*/ 792355 h 3265488"/>
              <a:gd name="connsiteX34" fmla="*/ 565150 w 2176463"/>
              <a:gd name="connsiteY34" fmla="*/ 713755 h 3265488"/>
              <a:gd name="connsiteX35" fmla="*/ 637382 w 2176463"/>
              <a:gd name="connsiteY35" fmla="*/ 637536 h 3265488"/>
              <a:gd name="connsiteX36" fmla="*/ 713582 w 2176463"/>
              <a:gd name="connsiteY36" fmla="*/ 565288 h 3265488"/>
              <a:gd name="connsiteX37" fmla="*/ 790575 w 2176463"/>
              <a:gd name="connsiteY37" fmla="*/ 497008 h 3265488"/>
              <a:gd name="connsiteX38" fmla="*/ 873125 w 2176463"/>
              <a:gd name="connsiteY38" fmla="*/ 432699 h 3265488"/>
              <a:gd name="connsiteX39" fmla="*/ 958850 w 2176463"/>
              <a:gd name="connsiteY39" fmla="*/ 371565 h 3265488"/>
              <a:gd name="connsiteX40" fmla="*/ 1046957 w 2176463"/>
              <a:gd name="connsiteY40" fmla="*/ 315195 h 3265488"/>
              <a:gd name="connsiteX41" fmla="*/ 1138238 w 2176463"/>
              <a:gd name="connsiteY41" fmla="*/ 263589 h 3265488"/>
              <a:gd name="connsiteX42" fmla="*/ 1232694 w 2176463"/>
              <a:gd name="connsiteY42" fmla="*/ 215159 h 3265488"/>
              <a:gd name="connsiteX43" fmla="*/ 1328738 w 2176463"/>
              <a:gd name="connsiteY43" fmla="*/ 172286 h 3265488"/>
              <a:gd name="connsiteX44" fmla="*/ 1427957 w 2176463"/>
              <a:gd name="connsiteY44" fmla="*/ 132589 h 3265488"/>
              <a:gd name="connsiteX45" fmla="*/ 1528763 w 2176463"/>
              <a:gd name="connsiteY45" fmla="*/ 99243 h 3265488"/>
              <a:gd name="connsiteX46" fmla="*/ 1631951 w 2176463"/>
              <a:gd name="connsiteY46" fmla="*/ 68279 h 3265488"/>
              <a:gd name="connsiteX47" fmla="*/ 1737519 w 2176463"/>
              <a:gd name="connsiteY47" fmla="*/ 44461 h 3265488"/>
              <a:gd name="connsiteX48" fmla="*/ 1843882 w 2176463"/>
              <a:gd name="connsiteY48" fmla="*/ 26200 h 3265488"/>
              <a:gd name="connsiteX49" fmla="*/ 1954213 w 2176463"/>
              <a:gd name="connsiteY49" fmla="*/ 11909 h 3265488"/>
              <a:gd name="connsiteX50" fmla="*/ 2063751 w 2176463"/>
              <a:gd name="connsiteY50" fmla="*/ 3176 h 3265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176463" h="3265488">
                <a:moveTo>
                  <a:pt x="2176463" y="0"/>
                </a:moveTo>
                <a:lnTo>
                  <a:pt x="2176463" y="1147103"/>
                </a:lnTo>
                <a:lnTo>
                  <a:pt x="1278357" y="2695562"/>
                </a:lnTo>
                <a:lnTo>
                  <a:pt x="291306" y="3265488"/>
                </a:lnTo>
                <a:lnTo>
                  <a:pt x="255588" y="3202767"/>
                </a:lnTo>
                <a:lnTo>
                  <a:pt x="223838" y="3138457"/>
                </a:lnTo>
                <a:lnTo>
                  <a:pt x="193675" y="3074942"/>
                </a:lnTo>
                <a:lnTo>
                  <a:pt x="164306" y="3009045"/>
                </a:lnTo>
                <a:lnTo>
                  <a:pt x="138906" y="2943147"/>
                </a:lnTo>
                <a:lnTo>
                  <a:pt x="115888" y="2876456"/>
                </a:lnTo>
                <a:lnTo>
                  <a:pt x="92869" y="2808177"/>
                </a:lnTo>
                <a:lnTo>
                  <a:pt x="74613" y="2740692"/>
                </a:lnTo>
                <a:lnTo>
                  <a:pt x="56356" y="2670825"/>
                </a:lnTo>
                <a:lnTo>
                  <a:pt x="41275" y="2601752"/>
                </a:lnTo>
                <a:lnTo>
                  <a:pt x="28575" y="2531885"/>
                </a:lnTo>
                <a:lnTo>
                  <a:pt x="18256" y="2462018"/>
                </a:lnTo>
                <a:lnTo>
                  <a:pt x="10319" y="2390563"/>
                </a:lnTo>
                <a:lnTo>
                  <a:pt x="4763" y="2319902"/>
                </a:lnTo>
                <a:lnTo>
                  <a:pt x="1588" y="2248447"/>
                </a:lnTo>
                <a:lnTo>
                  <a:pt x="0" y="2176992"/>
                </a:lnTo>
                <a:lnTo>
                  <a:pt x="3175" y="2064252"/>
                </a:lnTo>
                <a:lnTo>
                  <a:pt x="10319" y="1953894"/>
                </a:lnTo>
                <a:lnTo>
                  <a:pt x="24606" y="1845918"/>
                </a:lnTo>
                <a:lnTo>
                  <a:pt x="44450" y="1737942"/>
                </a:lnTo>
                <a:lnTo>
                  <a:pt x="68263" y="1632347"/>
                </a:lnTo>
                <a:lnTo>
                  <a:pt x="97631" y="1529135"/>
                </a:lnTo>
                <a:lnTo>
                  <a:pt x="130969" y="1428304"/>
                </a:lnTo>
                <a:lnTo>
                  <a:pt x="170656" y="1329061"/>
                </a:lnTo>
                <a:lnTo>
                  <a:pt x="215106" y="1232994"/>
                </a:lnTo>
                <a:lnTo>
                  <a:pt x="261938" y="1138515"/>
                </a:lnTo>
                <a:lnTo>
                  <a:pt x="315119" y="1048799"/>
                </a:lnTo>
                <a:lnTo>
                  <a:pt x="371475" y="960671"/>
                </a:lnTo>
                <a:lnTo>
                  <a:pt x="431006" y="874925"/>
                </a:lnTo>
                <a:lnTo>
                  <a:pt x="496888" y="792355"/>
                </a:lnTo>
                <a:lnTo>
                  <a:pt x="565150" y="713755"/>
                </a:lnTo>
                <a:lnTo>
                  <a:pt x="637382" y="637536"/>
                </a:lnTo>
                <a:lnTo>
                  <a:pt x="713582" y="565288"/>
                </a:lnTo>
                <a:lnTo>
                  <a:pt x="790575" y="497008"/>
                </a:lnTo>
                <a:lnTo>
                  <a:pt x="873125" y="432699"/>
                </a:lnTo>
                <a:lnTo>
                  <a:pt x="958850" y="371565"/>
                </a:lnTo>
                <a:lnTo>
                  <a:pt x="1046957" y="315195"/>
                </a:lnTo>
                <a:lnTo>
                  <a:pt x="1138238" y="263589"/>
                </a:lnTo>
                <a:lnTo>
                  <a:pt x="1232694" y="215159"/>
                </a:lnTo>
                <a:lnTo>
                  <a:pt x="1328738" y="172286"/>
                </a:lnTo>
                <a:lnTo>
                  <a:pt x="1427957" y="132589"/>
                </a:lnTo>
                <a:lnTo>
                  <a:pt x="1528763" y="99243"/>
                </a:lnTo>
                <a:lnTo>
                  <a:pt x="1631951" y="68279"/>
                </a:lnTo>
                <a:lnTo>
                  <a:pt x="1737519" y="44461"/>
                </a:lnTo>
                <a:lnTo>
                  <a:pt x="1843882" y="26200"/>
                </a:lnTo>
                <a:lnTo>
                  <a:pt x="1954213" y="11909"/>
                </a:lnTo>
                <a:lnTo>
                  <a:pt x="2063751" y="3176"/>
                </a:lnTo>
                <a:close/>
              </a:path>
            </a:pathLst>
          </a:custGeom>
          <a:solidFill>
            <a:srgbClr val="F4CF3B"/>
          </a:solidFill>
          <a:ln w="38100" cap="flat" cmpd="sng" algn="ctr">
            <a:noFill/>
            <a:prstDash val="solid"/>
            <a:round/>
            <a:headEnd type="none" w="med" len="med"/>
            <a:tailEnd type="none" w="med" len="med"/>
          </a:ln>
          <a:effectLst/>
        </p:spPr>
        <p:txBody>
          <a:bodyPr anchor="ctr"/>
          <a:lstStyle/>
          <a:p>
            <a:pPr algn="ctr">
              <a:defRPr/>
            </a:pPr>
            <a:endParaRPr lang="en-US" sz="2400" b="1" cap="small">
              <a:solidFill>
                <a:prstClr val="white"/>
              </a:solidFill>
              <a:effectLst>
                <a:outerShdw blurRad="25400" dist="38100" dir="2700000" algn="tl">
                  <a:srgbClr val="000000">
                    <a:alpha val="70000"/>
                  </a:srgbClr>
                </a:outerShdw>
              </a:effectLst>
              <a:cs typeface="Arial" pitchFamily="34" charset="0"/>
            </a:endParaRPr>
          </a:p>
        </p:txBody>
      </p:sp>
      <p:sp>
        <p:nvSpPr>
          <p:cNvPr id="7" name="Oval 6">
            <a:extLst>
              <a:ext uri="{FF2B5EF4-FFF2-40B4-BE49-F238E27FC236}">
                <a16:creationId xmlns:a16="http://schemas.microsoft.com/office/drawing/2014/main" id="{F5E0712B-C682-C041-9FC0-7B136E65FF48}"/>
              </a:ext>
            </a:extLst>
          </p:cNvPr>
          <p:cNvSpPr/>
          <p:nvPr/>
        </p:nvSpPr>
        <p:spPr>
          <a:xfrm>
            <a:off x="7694613" y="4467226"/>
            <a:ext cx="341312" cy="341313"/>
          </a:xfrm>
          <a:prstGeom prst="ellipse">
            <a:avLst/>
          </a:prstGeom>
          <a:solidFill>
            <a:srgbClr val="AF2415"/>
          </a:solidFill>
          <a:ln w="38100" cap="flat" cmpd="sng" algn="ctr">
            <a:noFill/>
            <a:prstDash val="solid"/>
            <a:round/>
            <a:headEnd type="none" w="med" len="med"/>
            <a:tailEnd type="none" w="med" len="med"/>
          </a:ln>
          <a:effectLst/>
        </p:spPr>
        <p:txBody>
          <a:bodyPr anchor="ctr"/>
          <a:lstStyle/>
          <a:p>
            <a:pPr algn="ctr">
              <a:defRPr/>
            </a:pPr>
            <a:r>
              <a:rPr lang="en-US" b="1" cap="small" dirty="0">
                <a:solidFill>
                  <a:prstClr val="white"/>
                </a:solidFill>
                <a:effectLst>
                  <a:outerShdw blurRad="25400" dist="38100" dir="2700000" algn="tl">
                    <a:srgbClr val="000000">
                      <a:alpha val="70000"/>
                    </a:srgbClr>
                  </a:outerShdw>
                </a:effectLst>
                <a:cs typeface="Arial" pitchFamily="34" charset="0"/>
              </a:rPr>
              <a:t>1</a:t>
            </a:r>
          </a:p>
        </p:txBody>
      </p:sp>
      <p:sp>
        <p:nvSpPr>
          <p:cNvPr id="15368" name="Rectangle 7">
            <a:extLst>
              <a:ext uri="{FF2B5EF4-FFF2-40B4-BE49-F238E27FC236}">
                <a16:creationId xmlns:a16="http://schemas.microsoft.com/office/drawing/2014/main" id="{7B5DFF3F-07F6-7528-B878-455F3A437F6C}"/>
              </a:ext>
            </a:extLst>
          </p:cNvPr>
          <p:cNvSpPr>
            <a:spLocks noChangeArrowheads="1"/>
          </p:cNvSpPr>
          <p:nvPr/>
        </p:nvSpPr>
        <p:spPr bwMode="auto">
          <a:xfrm>
            <a:off x="6515100" y="3087689"/>
            <a:ext cx="1531938" cy="52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en-US" sz="1400">
                <a:solidFill>
                  <a:schemeClr val="bg1"/>
                </a:solidFill>
              </a:rPr>
              <a:t>Decrease in HIV Incidence</a:t>
            </a:r>
          </a:p>
        </p:txBody>
      </p:sp>
      <p:sp>
        <p:nvSpPr>
          <p:cNvPr id="15369" name="Rectangle 9">
            <a:extLst>
              <a:ext uri="{FF2B5EF4-FFF2-40B4-BE49-F238E27FC236}">
                <a16:creationId xmlns:a16="http://schemas.microsoft.com/office/drawing/2014/main" id="{C502FE3F-B2ED-7FF9-6194-087F1E23925E}"/>
              </a:ext>
            </a:extLst>
          </p:cNvPr>
          <p:cNvSpPr>
            <a:spLocks noChangeArrowheads="1"/>
          </p:cNvSpPr>
          <p:nvPr/>
        </p:nvSpPr>
        <p:spPr bwMode="auto">
          <a:xfrm>
            <a:off x="4005264" y="3087689"/>
            <a:ext cx="1785937" cy="52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en-US" sz="1400">
                <a:solidFill>
                  <a:schemeClr val="bg1"/>
                </a:solidFill>
              </a:rPr>
              <a:t>Decline in HIV/AIDS mortality</a:t>
            </a:r>
          </a:p>
        </p:txBody>
      </p:sp>
      <p:sp>
        <p:nvSpPr>
          <p:cNvPr id="12" name="Oval 11">
            <a:extLst>
              <a:ext uri="{FF2B5EF4-FFF2-40B4-BE49-F238E27FC236}">
                <a16:creationId xmlns:a16="http://schemas.microsoft.com/office/drawing/2014/main" id="{F46EFB64-2ACE-0E43-2A51-5C03EC203608}"/>
              </a:ext>
            </a:extLst>
          </p:cNvPr>
          <p:cNvSpPr/>
          <p:nvPr/>
        </p:nvSpPr>
        <p:spPr>
          <a:xfrm>
            <a:off x="5530851" y="2003426"/>
            <a:ext cx="341313" cy="341313"/>
          </a:xfrm>
          <a:prstGeom prst="ellipse">
            <a:avLst/>
          </a:prstGeom>
          <a:solidFill>
            <a:srgbClr val="B2920A"/>
          </a:solidFill>
          <a:ln w="38100" cap="flat" cmpd="sng" algn="ctr">
            <a:noFill/>
            <a:prstDash val="solid"/>
            <a:round/>
            <a:headEnd type="none" w="med" len="med"/>
            <a:tailEnd type="none" w="med" len="med"/>
          </a:ln>
          <a:effectLst/>
        </p:spPr>
        <p:txBody>
          <a:bodyPr anchor="ctr"/>
          <a:lstStyle/>
          <a:p>
            <a:pPr algn="ctr">
              <a:defRPr/>
            </a:pPr>
            <a:r>
              <a:rPr lang="en-US" b="1" cap="small" dirty="0">
                <a:solidFill>
                  <a:prstClr val="white"/>
                </a:solidFill>
                <a:effectLst>
                  <a:outerShdw blurRad="25400" dist="38100" dir="2700000" algn="tl">
                    <a:srgbClr val="000000">
                      <a:alpha val="70000"/>
                    </a:srgbClr>
                  </a:outerShdw>
                </a:effectLst>
                <a:cs typeface="Arial" pitchFamily="34" charset="0"/>
              </a:rPr>
              <a:t>3</a:t>
            </a:r>
          </a:p>
        </p:txBody>
      </p:sp>
      <p:sp>
        <p:nvSpPr>
          <p:cNvPr id="13" name="Oval 12">
            <a:extLst>
              <a:ext uri="{FF2B5EF4-FFF2-40B4-BE49-F238E27FC236}">
                <a16:creationId xmlns:a16="http://schemas.microsoft.com/office/drawing/2014/main" id="{47B19D6D-BBF0-796A-66F0-372A7424ABE8}"/>
              </a:ext>
            </a:extLst>
          </p:cNvPr>
          <p:cNvSpPr/>
          <p:nvPr/>
        </p:nvSpPr>
        <p:spPr>
          <a:xfrm>
            <a:off x="4418013" y="5167313"/>
            <a:ext cx="341312" cy="341312"/>
          </a:xfrm>
          <a:prstGeom prst="ellipse">
            <a:avLst/>
          </a:prstGeom>
          <a:solidFill>
            <a:srgbClr val="216A97"/>
          </a:solidFill>
          <a:ln w="38100" cap="flat" cmpd="sng" algn="ctr">
            <a:noFill/>
            <a:prstDash val="solid"/>
            <a:round/>
            <a:headEnd type="none" w="med" len="med"/>
            <a:tailEnd type="none" w="med" len="med"/>
          </a:ln>
          <a:effectLst/>
        </p:spPr>
        <p:txBody>
          <a:bodyPr anchor="ctr"/>
          <a:lstStyle/>
          <a:p>
            <a:pPr algn="ctr">
              <a:defRPr/>
            </a:pPr>
            <a:r>
              <a:rPr lang="en-US" b="1" cap="small" dirty="0">
                <a:solidFill>
                  <a:prstClr val="white"/>
                </a:solidFill>
                <a:effectLst>
                  <a:outerShdw blurRad="25400" dist="38100" dir="2700000" algn="tl">
                    <a:srgbClr val="000000">
                      <a:alpha val="70000"/>
                    </a:srgbClr>
                  </a:outerShdw>
                </a:effectLst>
                <a:cs typeface="Arial" pitchFamily="34" charset="0"/>
              </a:rPr>
              <a:t>2</a:t>
            </a:r>
          </a:p>
        </p:txBody>
      </p:sp>
      <p:sp>
        <p:nvSpPr>
          <p:cNvPr id="15372" name="Rectangle 13">
            <a:extLst>
              <a:ext uri="{FF2B5EF4-FFF2-40B4-BE49-F238E27FC236}">
                <a16:creationId xmlns:a16="http://schemas.microsoft.com/office/drawing/2014/main" id="{5615A652-0234-029B-3856-331E56AF763E}"/>
              </a:ext>
            </a:extLst>
          </p:cNvPr>
          <p:cNvSpPr>
            <a:spLocks noChangeArrowheads="1"/>
          </p:cNvSpPr>
          <p:nvPr/>
        </p:nvSpPr>
        <p:spPr bwMode="auto">
          <a:xfrm>
            <a:off x="5116514" y="5146675"/>
            <a:ext cx="1851025" cy="52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en-US" sz="1400">
                <a:solidFill>
                  <a:schemeClr val="bg1"/>
                </a:solidFill>
              </a:rPr>
              <a:t>Decrease in HIV transmission rate</a:t>
            </a:r>
          </a:p>
        </p:txBody>
      </p:sp>
    </p:spTree>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AC5FD8C-1AF9-4BEB-A638-5263D7C2792C}"/>
              </a:ext>
            </a:extLst>
          </p:cNvPr>
          <p:cNvSpPr/>
          <p:nvPr/>
        </p:nvSpPr>
        <p:spPr>
          <a:xfrm>
            <a:off x="0" y="3494627"/>
            <a:ext cx="12172949" cy="1242634"/>
          </a:xfrm>
          <a:prstGeom prst="rect">
            <a:avLst/>
          </a:prstGeom>
          <a:solidFill>
            <a:srgbClr val="E7E6E6"/>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2" name="Title 1">
            <a:extLst>
              <a:ext uri="{FF2B5EF4-FFF2-40B4-BE49-F238E27FC236}">
                <a16:creationId xmlns:a16="http://schemas.microsoft.com/office/drawing/2014/main" id="{1BD024B5-574F-472D-AF3D-A31FBBD0B863}"/>
              </a:ext>
            </a:extLst>
          </p:cNvPr>
          <p:cNvSpPr>
            <a:spLocks noGrp="1"/>
          </p:cNvSpPr>
          <p:nvPr>
            <p:ph type="title"/>
          </p:nvPr>
        </p:nvSpPr>
        <p:spPr>
          <a:xfrm>
            <a:off x="0" y="0"/>
            <a:ext cx="10972800" cy="1143000"/>
          </a:xfrm>
        </p:spPr>
        <p:txBody>
          <a:bodyPr>
            <a:normAutofit/>
          </a:bodyPr>
          <a:lstStyle/>
          <a:p>
            <a:r>
              <a:rPr lang="en-US" sz="3600" dirty="0">
                <a:solidFill>
                  <a:schemeClr val="tx2">
                    <a:lumMod val="75000"/>
                  </a:schemeClr>
                </a:solidFill>
              </a:rPr>
              <a:t>PMTCT_EID</a:t>
            </a:r>
            <a:endParaRPr lang="en-NG" sz="3600" dirty="0">
              <a:solidFill>
                <a:schemeClr val="tx2">
                  <a:lumMod val="75000"/>
                </a:schemeClr>
              </a:solidFill>
            </a:endParaRPr>
          </a:p>
        </p:txBody>
      </p:sp>
      <p:sp>
        <p:nvSpPr>
          <p:cNvPr id="31" name="Freeform 251">
            <a:extLst>
              <a:ext uri="{FF2B5EF4-FFF2-40B4-BE49-F238E27FC236}">
                <a16:creationId xmlns:a16="http://schemas.microsoft.com/office/drawing/2014/main" id="{B861DED8-6089-EE9E-240A-891C94194D37}"/>
              </a:ext>
            </a:extLst>
          </p:cNvPr>
          <p:cNvSpPr>
            <a:spLocks/>
          </p:cNvSpPr>
          <p:nvPr/>
        </p:nvSpPr>
        <p:spPr bwMode="auto">
          <a:xfrm>
            <a:off x="3838661" y="3867388"/>
            <a:ext cx="248233" cy="363705"/>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solidFill>
            <a:srgbClr val="4454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Light"/>
            </a:endParaRPr>
          </a:p>
        </p:txBody>
      </p:sp>
      <p:sp>
        <p:nvSpPr>
          <p:cNvPr id="32" name="Freeform 251">
            <a:extLst>
              <a:ext uri="{FF2B5EF4-FFF2-40B4-BE49-F238E27FC236}">
                <a16:creationId xmlns:a16="http://schemas.microsoft.com/office/drawing/2014/main" id="{5035F5E8-ECC6-315B-60FE-1EA49C004617}"/>
              </a:ext>
            </a:extLst>
          </p:cNvPr>
          <p:cNvSpPr>
            <a:spLocks/>
          </p:cNvSpPr>
          <p:nvPr/>
        </p:nvSpPr>
        <p:spPr bwMode="auto">
          <a:xfrm>
            <a:off x="4040771" y="3867388"/>
            <a:ext cx="248233" cy="363705"/>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solidFill>
            <a:srgbClr val="4454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Light"/>
            </a:endParaRPr>
          </a:p>
        </p:txBody>
      </p:sp>
      <p:sp>
        <p:nvSpPr>
          <p:cNvPr id="34" name="Freeform 251">
            <a:extLst>
              <a:ext uri="{FF2B5EF4-FFF2-40B4-BE49-F238E27FC236}">
                <a16:creationId xmlns:a16="http://schemas.microsoft.com/office/drawing/2014/main" id="{2E4C47E6-6135-35D6-CF7C-2F438F39CBFF}"/>
              </a:ext>
            </a:extLst>
          </p:cNvPr>
          <p:cNvSpPr>
            <a:spLocks/>
          </p:cNvSpPr>
          <p:nvPr/>
        </p:nvSpPr>
        <p:spPr bwMode="auto">
          <a:xfrm>
            <a:off x="7876199" y="3867387"/>
            <a:ext cx="248233" cy="363705"/>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solidFill>
            <a:srgbClr val="4454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Light"/>
            </a:endParaRPr>
          </a:p>
        </p:txBody>
      </p:sp>
      <p:sp>
        <p:nvSpPr>
          <p:cNvPr id="35" name="Freeform 251">
            <a:extLst>
              <a:ext uri="{FF2B5EF4-FFF2-40B4-BE49-F238E27FC236}">
                <a16:creationId xmlns:a16="http://schemas.microsoft.com/office/drawing/2014/main" id="{9AB6035F-8A04-78C3-BBC4-6DB411572D6F}"/>
              </a:ext>
            </a:extLst>
          </p:cNvPr>
          <p:cNvSpPr>
            <a:spLocks/>
          </p:cNvSpPr>
          <p:nvPr/>
        </p:nvSpPr>
        <p:spPr bwMode="auto">
          <a:xfrm>
            <a:off x="8084942" y="3867386"/>
            <a:ext cx="248233" cy="363705"/>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solidFill>
            <a:srgbClr val="4454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Light"/>
            </a:endParaRPr>
          </a:p>
        </p:txBody>
      </p:sp>
      <p:grpSp>
        <p:nvGrpSpPr>
          <p:cNvPr id="29" name="Group 28">
            <a:extLst>
              <a:ext uri="{FF2B5EF4-FFF2-40B4-BE49-F238E27FC236}">
                <a16:creationId xmlns:a16="http://schemas.microsoft.com/office/drawing/2014/main" id="{384E601B-B96F-4224-D79B-C7C5017A001A}"/>
              </a:ext>
            </a:extLst>
          </p:cNvPr>
          <p:cNvGrpSpPr/>
          <p:nvPr/>
        </p:nvGrpSpPr>
        <p:grpSpPr>
          <a:xfrm>
            <a:off x="203716" y="1820078"/>
            <a:ext cx="3688976" cy="4383048"/>
            <a:chOff x="583687" y="407303"/>
            <a:chExt cx="2652210" cy="2724586"/>
          </a:xfrm>
        </p:grpSpPr>
        <p:sp>
          <p:nvSpPr>
            <p:cNvPr id="30" name="Свободна форма: фигура 11">
              <a:extLst>
                <a:ext uri="{FF2B5EF4-FFF2-40B4-BE49-F238E27FC236}">
                  <a16:creationId xmlns:a16="http://schemas.microsoft.com/office/drawing/2014/main" id="{911F6F5A-6F05-A873-F036-D58091B0E75C}"/>
                </a:ext>
              </a:extLst>
            </p:cNvPr>
            <p:cNvSpPr/>
            <p:nvPr/>
          </p:nvSpPr>
          <p:spPr>
            <a:xfrm>
              <a:off x="677366" y="592080"/>
              <a:ext cx="2413000" cy="2413000"/>
            </a:xfrm>
            <a:custGeom>
              <a:avLst/>
              <a:gdLst>
                <a:gd name="connsiteX0" fmla="*/ 2422704 w 2413000"/>
                <a:gd name="connsiteY0" fmla="*/ 1249928 h 2413000"/>
                <a:gd name="connsiteX1" fmla="*/ 1806246 w 2413000"/>
                <a:gd name="connsiteY1" fmla="*/ 2259705 h 2413000"/>
                <a:gd name="connsiteX2" fmla="*/ 1647242 w 2413000"/>
                <a:gd name="connsiteY2" fmla="*/ 2330190 h 2413000"/>
                <a:gd name="connsiteX3" fmla="*/ 250115 w 2413000"/>
                <a:gd name="connsiteY3" fmla="*/ 1945126 h 2413000"/>
                <a:gd name="connsiteX4" fmla="*/ 132767 w 2413000"/>
                <a:gd name="connsiteY4" fmla="*/ 1759452 h 2413000"/>
                <a:gd name="connsiteX5" fmla="*/ 88825 w 2413000"/>
                <a:gd name="connsiteY5" fmla="*/ 705987 h 2413000"/>
                <a:gd name="connsiteX6" fmla="*/ 1371779 w 2413000"/>
                <a:gd name="connsiteY6" fmla="*/ 11551 h 2413000"/>
                <a:gd name="connsiteX7" fmla="*/ 1587425 w 2413000"/>
                <a:gd name="connsiteY7" fmla="*/ 62605 h 2413000"/>
                <a:gd name="connsiteX8" fmla="*/ 2410893 w 2413000"/>
                <a:gd name="connsiteY8" fmla="*/ 1003294 h 2413000"/>
                <a:gd name="connsiteX9" fmla="*/ 2422704 w 2413000"/>
                <a:gd name="connsiteY9" fmla="*/ 1249928 h 241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3000" h="2413000">
                  <a:moveTo>
                    <a:pt x="2422704" y="1249928"/>
                  </a:moveTo>
                  <a:cubicBezTo>
                    <a:pt x="2416354" y="1676648"/>
                    <a:pt x="2163497" y="2066030"/>
                    <a:pt x="1806246" y="2259705"/>
                  </a:cubicBezTo>
                  <a:cubicBezTo>
                    <a:pt x="1755192" y="2287391"/>
                    <a:pt x="1702106" y="2311013"/>
                    <a:pt x="1647242" y="2330190"/>
                  </a:cubicBezTo>
                  <a:cubicBezTo>
                    <a:pt x="1147878" y="2541391"/>
                    <a:pt x="564567" y="2349367"/>
                    <a:pt x="250115" y="1945126"/>
                  </a:cubicBezTo>
                  <a:cubicBezTo>
                    <a:pt x="205157" y="1887341"/>
                    <a:pt x="165787" y="1825365"/>
                    <a:pt x="132767" y="1759452"/>
                  </a:cubicBezTo>
                  <a:cubicBezTo>
                    <a:pt x="1068" y="1430268"/>
                    <a:pt x="-64718" y="1057142"/>
                    <a:pt x="88825" y="705987"/>
                  </a:cubicBezTo>
                  <a:cubicBezTo>
                    <a:pt x="308281" y="223133"/>
                    <a:pt x="835077" y="-62236"/>
                    <a:pt x="1371779" y="11551"/>
                  </a:cubicBezTo>
                  <a:cubicBezTo>
                    <a:pt x="1444931" y="22473"/>
                    <a:pt x="1517194" y="39618"/>
                    <a:pt x="1587425" y="62605"/>
                  </a:cubicBezTo>
                  <a:cubicBezTo>
                    <a:pt x="2008938" y="200527"/>
                    <a:pt x="2360855" y="548380"/>
                    <a:pt x="2410893" y="1003294"/>
                  </a:cubicBezTo>
                  <a:cubicBezTo>
                    <a:pt x="2423212" y="1082669"/>
                    <a:pt x="2427403" y="1165473"/>
                    <a:pt x="2422704" y="1249928"/>
                  </a:cubicBezTo>
                </a:path>
              </a:pathLst>
            </a:custGeom>
            <a:solidFill>
              <a:srgbClr val="FFFFFF"/>
            </a:solidFill>
            <a:ln w="12689" cap="flat">
              <a:noFill/>
              <a:prstDash val="solid"/>
              <a:miter/>
            </a:ln>
          </p:spPr>
          <p:txBody>
            <a:bodyPr rtlCol="0" anchor="ctr"/>
            <a:lstStyle/>
            <a:p>
              <a:endParaRPr lang="bg-BG"/>
            </a:p>
          </p:txBody>
        </p:sp>
        <p:sp>
          <p:nvSpPr>
            <p:cNvPr id="33" name="Свободна форма: фигура 12">
              <a:extLst>
                <a:ext uri="{FF2B5EF4-FFF2-40B4-BE49-F238E27FC236}">
                  <a16:creationId xmlns:a16="http://schemas.microsoft.com/office/drawing/2014/main" id="{D290E99A-E62F-B88E-9E0D-6ED6B9F2FEAE}"/>
                </a:ext>
              </a:extLst>
            </p:cNvPr>
            <p:cNvSpPr/>
            <p:nvPr/>
          </p:nvSpPr>
          <p:spPr>
            <a:xfrm>
              <a:off x="1406829" y="592140"/>
              <a:ext cx="1054100" cy="850900"/>
            </a:xfrm>
            <a:custGeom>
              <a:avLst/>
              <a:gdLst>
                <a:gd name="connsiteX0" fmla="*/ 642316 w 1054100"/>
                <a:gd name="connsiteY0" fmla="*/ 11491 h 850900"/>
                <a:gd name="connsiteX1" fmla="*/ 61672 w 1054100"/>
                <a:gd name="connsiteY1" fmla="*/ 70419 h 850900"/>
                <a:gd name="connsiteX2" fmla="*/ 66244 w 1054100"/>
                <a:gd name="connsiteY2" fmla="*/ 566227 h 850900"/>
                <a:gd name="connsiteX3" fmla="*/ 118187 w 1054100"/>
                <a:gd name="connsiteY3" fmla="*/ 647253 h 850900"/>
                <a:gd name="connsiteX4" fmla="*/ 728422 w 1054100"/>
                <a:gd name="connsiteY4" fmla="*/ 817052 h 850900"/>
                <a:gd name="connsiteX5" fmla="*/ 1032333 w 1054100"/>
                <a:gd name="connsiteY5" fmla="*/ 474660 h 850900"/>
                <a:gd name="connsiteX6" fmla="*/ 1051637 w 1054100"/>
                <a:gd name="connsiteY6" fmla="*/ 381315 h 850900"/>
                <a:gd name="connsiteX7" fmla="*/ 1014172 w 1054100"/>
                <a:gd name="connsiteY7" fmla="*/ 124775 h 850900"/>
                <a:gd name="connsiteX8" fmla="*/ 857962 w 1054100"/>
                <a:gd name="connsiteY8" fmla="*/ 62545 h 850900"/>
                <a:gd name="connsiteX9" fmla="*/ 642316 w 1054100"/>
                <a:gd name="connsiteY9" fmla="*/ 11491 h 850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54100" h="850900">
                  <a:moveTo>
                    <a:pt x="642316" y="11491"/>
                  </a:moveTo>
                  <a:cubicBezTo>
                    <a:pt x="442291" y="-15941"/>
                    <a:pt x="243536" y="6538"/>
                    <a:pt x="61672" y="70419"/>
                  </a:cubicBezTo>
                  <a:cubicBezTo>
                    <a:pt x="-26847" y="221803"/>
                    <a:pt x="-15417" y="412176"/>
                    <a:pt x="66244" y="566227"/>
                  </a:cubicBezTo>
                  <a:cubicBezTo>
                    <a:pt x="81230" y="594548"/>
                    <a:pt x="98629" y="621726"/>
                    <a:pt x="118187" y="647253"/>
                  </a:cubicBezTo>
                  <a:cubicBezTo>
                    <a:pt x="263602" y="832038"/>
                    <a:pt x="514173" y="901761"/>
                    <a:pt x="728422" y="817052"/>
                  </a:cubicBezTo>
                  <a:cubicBezTo>
                    <a:pt x="882346" y="753679"/>
                    <a:pt x="974167" y="617281"/>
                    <a:pt x="1032333" y="474660"/>
                  </a:cubicBezTo>
                  <a:cubicBezTo>
                    <a:pt x="1041858" y="444180"/>
                    <a:pt x="1048335" y="412811"/>
                    <a:pt x="1051637" y="381315"/>
                  </a:cubicBezTo>
                  <a:cubicBezTo>
                    <a:pt x="1060908" y="294701"/>
                    <a:pt x="1047192" y="205928"/>
                    <a:pt x="1014172" y="124775"/>
                  </a:cubicBezTo>
                  <a:cubicBezTo>
                    <a:pt x="963499" y="100772"/>
                    <a:pt x="911302" y="80071"/>
                    <a:pt x="857962" y="62545"/>
                  </a:cubicBezTo>
                  <a:cubicBezTo>
                    <a:pt x="787731" y="39558"/>
                    <a:pt x="715595" y="22413"/>
                    <a:pt x="642316" y="11491"/>
                  </a:cubicBezTo>
                </a:path>
              </a:pathLst>
            </a:custGeom>
            <a:solidFill>
              <a:srgbClr val="F1F0D7"/>
            </a:solidFill>
            <a:ln w="12689" cap="flat">
              <a:noFill/>
              <a:prstDash val="solid"/>
              <a:miter/>
            </a:ln>
          </p:spPr>
          <p:txBody>
            <a:bodyPr rtlCol="0" anchor="ctr"/>
            <a:lstStyle/>
            <a:p>
              <a:endParaRPr lang="bg-BG"/>
            </a:p>
          </p:txBody>
        </p:sp>
        <p:sp>
          <p:nvSpPr>
            <p:cNvPr id="36" name="Свободна форма: фигура 13">
              <a:extLst>
                <a:ext uri="{FF2B5EF4-FFF2-40B4-BE49-F238E27FC236}">
                  <a16:creationId xmlns:a16="http://schemas.microsoft.com/office/drawing/2014/main" id="{DABFA090-7E97-D4D9-C7A8-5454663A2952}"/>
                </a:ext>
              </a:extLst>
            </p:cNvPr>
            <p:cNvSpPr/>
            <p:nvPr/>
          </p:nvSpPr>
          <p:spPr>
            <a:xfrm>
              <a:off x="1425065" y="407303"/>
              <a:ext cx="914400" cy="927100"/>
            </a:xfrm>
            <a:custGeom>
              <a:avLst/>
              <a:gdLst>
                <a:gd name="connsiteX0" fmla="*/ 143512 w 914400"/>
                <a:gd name="connsiteY0" fmla="*/ 129780 h 927100"/>
                <a:gd name="connsiteX1" fmla="*/ 580011 w 914400"/>
                <a:gd name="connsiteY1" fmla="*/ 15988 h 927100"/>
                <a:gd name="connsiteX2" fmla="*/ 642368 w 914400"/>
                <a:gd name="connsiteY2" fmla="*/ 38721 h 927100"/>
                <a:gd name="connsiteX3" fmla="*/ 923800 w 914400"/>
                <a:gd name="connsiteY3" fmla="*/ 514208 h 927100"/>
                <a:gd name="connsiteX4" fmla="*/ 906782 w 914400"/>
                <a:gd name="connsiteY4" fmla="*/ 596251 h 927100"/>
                <a:gd name="connsiteX5" fmla="*/ 639828 w 914400"/>
                <a:gd name="connsiteY5" fmla="*/ 896860 h 927100"/>
                <a:gd name="connsiteX6" fmla="*/ 104015 w 914400"/>
                <a:gd name="connsiteY6" fmla="*/ 747762 h 927100"/>
                <a:gd name="connsiteX7" fmla="*/ 58295 w 914400"/>
                <a:gd name="connsiteY7" fmla="*/ 676642 h 927100"/>
                <a:gd name="connsiteX8" fmla="*/ 81409 w 914400"/>
                <a:gd name="connsiteY8" fmla="*/ 200519 h 927100"/>
                <a:gd name="connsiteX9" fmla="*/ 143512 w 914400"/>
                <a:gd name="connsiteY9" fmla="*/ 129780 h 927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4400" h="927100">
                  <a:moveTo>
                    <a:pt x="143512" y="129780"/>
                  </a:moveTo>
                  <a:cubicBezTo>
                    <a:pt x="258193" y="14337"/>
                    <a:pt x="430659" y="-25541"/>
                    <a:pt x="580011" y="15988"/>
                  </a:cubicBezTo>
                  <a:cubicBezTo>
                    <a:pt x="601347" y="21957"/>
                    <a:pt x="622175" y="29450"/>
                    <a:pt x="642368" y="38721"/>
                  </a:cubicBezTo>
                  <a:cubicBezTo>
                    <a:pt x="835281" y="113016"/>
                    <a:pt x="944501" y="320153"/>
                    <a:pt x="923800" y="514208"/>
                  </a:cubicBezTo>
                  <a:cubicBezTo>
                    <a:pt x="920879" y="541895"/>
                    <a:pt x="915164" y="569454"/>
                    <a:pt x="906782" y="596251"/>
                  </a:cubicBezTo>
                  <a:cubicBezTo>
                    <a:pt x="855728" y="721473"/>
                    <a:pt x="774956" y="841234"/>
                    <a:pt x="639828" y="896860"/>
                  </a:cubicBezTo>
                  <a:cubicBezTo>
                    <a:pt x="451741" y="971282"/>
                    <a:pt x="231650" y="910068"/>
                    <a:pt x="104015" y="747762"/>
                  </a:cubicBezTo>
                  <a:cubicBezTo>
                    <a:pt x="86870" y="725410"/>
                    <a:pt x="71503" y="701534"/>
                    <a:pt x="58295" y="676642"/>
                  </a:cubicBezTo>
                  <a:cubicBezTo>
                    <a:pt x="-20826" y="527163"/>
                    <a:pt x="-25271" y="338568"/>
                    <a:pt x="81409" y="200519"/>
                  </a:cubicBezTo>
                  <a:cubicBezTo>
                    <a:pt x="99062" y="175500"/>
                    <a:pt x="119890" y="151623"/>
                    <a:pt x="143512" y="129780"/>
                  </a:cubicBezTo>
                </a:path>
              </a:pathLst>
            </a:custGeom>
            <a:solidFill>
              <a:srgbClr val="83CC1B"/>
            </a:solidFill>
            <a:ln w="12689" cap="flat">
              <a:noFill/>
              <a:prstDash val="solid"/>
              <a:miter/>
            </a:ln>
          </p:spPr>
          <p:txBody>
            <a:bodyPr rtlCol="0" anchor="ctr"/>
            <a:lstStyle/>
            <a:p>
              <a:endParaRPr lang="bg-BG"/>
            </a:p>
          </p:txBody>
        </p:sp>
        <p:sp>
          <p:nvSpPr>
            <p:cNvPr id="37" name="Свободна форма: фигура 14">
              <a:extLst>
                <a:ext uri="{FF2B5EF4-FFF2-40B4-BE49-F238E27FC236}">
                  <a16:creationId xmlns:a16="http://schemas.microsoft.com/office/drawing/2014/main" id="{9C71F291-6856-E849-2045-23D7264219FA}"/>
                </a:ext>
              </a:extLst>
            </p:cNvPr>
            <p:cNvSpPr/>
            <p:nvPr/>
          </p:nvSpPr>
          <p:spPr>
            <a:xfrm>
              <a:off x="1591056" y="557657"/>
              <a:ext cx="749300" cy="774700"/>
            </a:xfrm>
            <a:custGeom>
              <a:avLst/>
              <a:gdLst>
                <a:gd name="connsiteX0" fmla="*/ 629920 w 749300"/>
                <a:gd name="connsiteY0" fmla="*/ 21209 h 774700"/>
                <a:gd name="connsiteX1" fmla="*/ 593852 w 749300"/>
                <a:gd name="connsiteY1" fmla="*/ 266573 h 774700"/>
                <a:gd name="connsiteX2" fmla="*/ 271399 w 749300"/>
                <a:gd name="connsiteY2" fmla="*/ 577850 h 774700"/>
                <a:gd name="connsiteX3" fmla="*/ 0 w 749300"/>
                <a:gd name="connsiteY3" fmla="*/ 661924 h 774700"/>
                <a:gd name="connsiteX4" fmla="*/ 473837 w 749300"/>
                <a:gd name="connsiteY4" fmla="*/ 746506 h 774700"/>
                <a:gd name="connsiteX5" fmla="*/ 740791 w 749300"/>
                <a:gd name="connsiteY5" fmla="*/ 445770 h 774700"/>
                <a:gd name="connsiteX6" fmla="*/ 757809 w 749300"/>
                <a:gd name="connsiteY6" fmla="*/ 363728 h 774700"/>
                <a:gd name="connsiteX7" fmla="*/ 638175 w 749300"/>
                <a:gd name="connsiteY7" fmla="*/ 0 h 774700"/>
                <a:gd name="connsiteX8" fmla="*/ 629920 w 749300"/>
                <a:gd name="connsiteY8" fmla="*/ 21209 h 774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9300" h="774700">
                  <a:moveTo>
                    <a:pt x="629920" y="21209"/>
                  </a:moveTo>
                  <a:cubicBezTo>
                    <a:pt x="606171" y="100711"/>
                    <a:pt x="622300" y="185928"/>
                    <a:pt x="593852" y="266573"/>
                  </a:cubicBezTo>
                  <a:cubicBezTo>
                    <a:pt x="538861" y="422148"/>
                    <a:pt x="416306" y="511683"/>
                    <a:pt x="271399" y="577850"/>
                  </a:cubicBezTo>
                  <a:cubicBezTo>
                    <a:pt x="185039" y="617220"/>
                    <a:pt x="92710" y="647192"/>
                    <a:pt x="0" y="661924"/>
                  </a:cubicBezTo>
                  <a:cubicBezTo>
                    <a:pt x="129794" y="774446"/>
                    <a:pt x="313309" y="809879"/>
                    <a:pt x="473837" y="746506"/>
                  </a:cubicBezTo>
                  <a:cubicBezTo>
                    <a:pt x="608965" y="690880"/>
                    <a:pt x="689737" y="570992"/>
                    <a:pt x="740791" y="445770"/>
                  </a:cubicBezTo>
                  <a:cubicBezTo>
                    <a:pt x="749173" y="418973"/>
                    <a:pt x="754761" y="391541"/>
                    <a:pt x="757809" y="363728"/>
                  </a:cubicBezTo>
                  <a:cubicBezTo>
                    <a:pt x="771652" y="233680"/>
                    <a:pt x="727075" y="97917"/>
                    <a:pt x="638175" y="0"/>
                  </a:cubicBezTo>
                  <a:cubicBezTo>
                    <a:pt x="634873" y="6731"/>
                    <a:pt x="632079" y="13716"/>
                    <a:pt x="629920" y="21209"/>
                  </a:cubicBezTo>
                </a:path>
              </a:pathLst>
            </a:custGeom>
            <a:solidFill>
              <a:srgbClr val="5DB723"/>
            </a:solidFill>
            <a:ln w="12689" cap="flat">
              <a:noFill/>
              <a:prstDash val="solid"/>
              <a:miter/>
            </a:ln>
          </p:spPr>
          <p:txBody>
            <a:bodyPr rtlCol="0" anchor="ctr"/>
            <a:lstStyle/>
            <a:p>
              <a:endParaRPr lang="bg-BG"/>
            </a:p>
          </p:txBody>
        </p:sp>
        <p:sp>
          <p:nvSpPr>
            <p:cNvPr id="38" name="Свободна форма: фигура 15">
              <a:extLst>
                <a:ext uri="{FF2B5EF4-FFF2-40B4-BE49-F238E27FC236}">
                  <a16:creationId xmlns:a16="http://schemas.microsoft.com/office/drawing/2014/main" id="{DBC6C10A-97E4-C6A4-3A0D-F73B29F8ADF9}"/>
                </a:ext>
              </a:extLst>
            </p:cNvPr>
            <p:cNvSpPr/>
            <p:nvPr/>
          </p:nvSpPr>
          <p:spPr>
            <a:xfrm>
              <a:off x="689991" y="1457452"/>
              <a:ext cx="2400300" cy="1549400"/>
            </a:xfrm>
            <a:custGeom>
              <a:avLst/>
              <a:gdLst>
                <a:gd name="connsiteX0" fmla="*/ 2398395 w 2400300"/>
                <a:gd name="connsiteY0" fmla="*/ 137922 h 1549400"/>
                <a:gd name="connsiteX1" fmla="*/ 2373122 w 2400300"/>
                <a:gd name="connsiteY1" fmla="*/ 0 h 1549400"/>
                <a:gd name="connsiteX2" fmla="*/ 2211197 w 2400300"/>
                <a:gd name="connsiteY2" fmla="*/ 837184 h 1549400"/>
                <a:gd name="connsiteX3" fmla="*/ 1736852 w 2400300"/>
                <a:gd name="connsiteY3" fmla="*/ 1171702 h 1549400"/>
                <a:gd name="connsiteX4" fmla="*/ 1234313 w 2400300"/>
                <a:gd name="connsiteY4" fmla="*/ 1282827 h 1549400"/>
                <a:gd name="connsiteX5" fmla="*/ 955421 w 2400300"/>
                <a:gd name="connsiteY5" fmla="*/ 1222375 h 1549400"/>
                <a:gd name="connsiteX6" fmla="*/ 736727 w 2400300"/>
                <a:gd name="connsiteY6" fmla="*/ 1105154 h 1549400"/>
                <a:gd name="connsiteX7" fmla="*/ 305308 w 2400300"/>
                <a:gd name="connsiteY7" fmla="*/ 875792 h 1549400"/>
                <a:gd name="connsiteX8" fmla="*/ 0 w 2400300"/>
                <a:gd name="connsiteY8" fmla="*/ 455930 h 1549400"/>
                <a:gd name="connsiteX9" fmla="*/ 120269 w 2400300"/>
                <a:gd name="connsiteY9" fmla="*/ 894334 h 1549400"/>
                <a:gd name="connsiteX10" fmla="*/ 237617 w 2400300"/>
                <a:gd name="connsiteY10" fmla="*/ 1080008 h 1549400"/>
                <a:gd name="connsiteX11" fmla="*/ 1634744 w 2400300"/>
                <a:gd name="connsiteY11" fmla="*/ 1464945 h 1549400"/>
                <a:gd name="connsiteX12" fmla="*/ 1793875 w 2400300"/>
                <a:gd name="connsiteY12" fmla="*/ 1394460 h 1549400"/>
                <a:gd name="connsiteX13" fmla="*/ 2410333 w 2400300"/>
                <a:gd name="connsiteY13" fmla="*/ 384683 h 1549400"/>
                <a:gd name="connsiteX14" fmla="*/ 2398395 w 2400300"/>
                <a:gd name="connsiteY14" fmla="*/ 137922 h 154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00300" h="1549400">
                  <a:moveTo>
                    <a:pt x="2398395" y="137922"/>
                  </a:moveTo>
                  <a:cubicBezTo>
                    <a:pt x="2393188" y="90805"/>
                    <a:pt x="2384552" y="44831"/>
                    <a:pt x="2373122" y="0"/>
                  </a:cubicBezTo>
                  <a:cubicBezTo>
                    <a:pt x="2423668" y="292608"/>
                    <a:pt x="2409190" y="593598"/>
                    <a:pt x="2211197" y="837184"/>
                  </a:cubicBezTo>
                  <a:cubicBezTo>
                    <a:pt x="2086483" y="990473"/>
                    <a:pt x="1911731" y="1086358"/>
                    <a:pt x="1736852" y="1171702"/>
                  </a:cubicBezTo>
                  <a:cubicBezTo>
                    <a:pt x="1576832" y="1249807"/>
                    <a:pt x="1413891" y="1294384"/>
                    <a:pt x="1234313" y="1282827"/>
                  </a:cubicBezTo>
                  <a:cubicBezTo>
                    <a:pt x="1138936" y="1276731"/>
                    <a:pt x="1044448" y="1257300"/>
                    <a:pt x="955421" y="1222375"/>
                  </a:cubicBezTo>
                  <a:cubicBezTo>
                    <a:pt x="877570" y="1191641"/>
                    <a:pt x="809752" y="1145032"/>
                    <a:pt x="736727" y="1105154"/>
                  </a:cubicBezTo>
                  <a:cubicBezTo>
                    <a:pt x="594106" y="1027176"/>
                    <a:pt x="438277" y="970788"/>
                    <a:pt x="305308" y="875792"/>
                  </a:cubicBezTo>
                  <a:cubicBezTo>
                    <a:pt x="148717" y="764032"/>
                    <a:pt x="51308" y="618363"/>
                    <a:pt x="0" y="455930"/>
                  </a:cubicBezTo>
                  <a:cubicBezTo>
                    <a:pt x="20447" y="606552"/>
                    <a:pt x="64389" y="754380"/>
                    <a:pt x="120269" y="894334"/>
                  </a:cubicBezTo>
                  <a:cubicBezTo>
                    <a:pt x="153162" y="960120"/>
                    <a:pt x="192659" y="1022223"/>
                    <a:pt x="237617" y="1080008"/>
                  </a:cubicBezTo>
                  <a:cubicBezTo>
                    <a:pt x="552069" y="1484249"/>
                    <a:pt x="1135380" y="1676273"/>
                    <a:pt x="1634744" y="1464945"/>
                  </a:cubicBezTo>
                  <a:cubicBezTo>
                    <a:pt x="1689608" y="1445768"/>
                    <a:pt x="1742821" y="1422019"/>
                    <a:pt x="1793875" y="1394460"/>
                  </a:cubicBezTo>
                  <a:cubicBezTo>
                    <a:pt x="2151126" y="1200912"/>
                    <a:pt x="2403856" y="811403"/>
                    <a:pt x="2410333" y="384683"/>
                  </a:cubicBezTo>
                  <a:cubicBezTo>
                    <a:pt x="2414778" y="300101"/>
                    <a:pt x="2410587" y="217297"/>
                    <a:pt x="2398395" y="137922"/>
                  </a:cubicBezTo>
                </a:path>
              </a:pathLst>
            </a:custGeom>
            <a:solidFill>
              <a:srgbClr val="F1F0D7"/>
            </a:solidFill>
            <a:ln w="12689" cap="flat">
              <a:noFill/>
              <a:prstDash val="solid"/>
              <a:miter/>
            </a:ln>
          </p:spPr>
          <p:txBody>
            <a:bodyPr rtlCol="0" anchor="ctr"/>
            <a:lstStyle/>
            <a:p>
              <a:endParaRPr lang="bg-BG"/>
            </a:p>
          </p:txBody>
        </p:sp>
        <p:sp>
          <p:nvSpPr>
            <p:cNvPr id="39" name="Свободна форма: фигура 16">
              <a:extLst>
                <a:ext uri="{FF2B5EF4-FFF2-40B4-BE49-F238E27FC236}">
                  <a16:creationId xmlns:a16="http://schemas.microsoft.com/office/drawing/2014/main" id="{4B2707B0-8623-967D-A968-02FDDB586EF5}"/>
                </a:ext>
              </a:extLst>
            </p:cNvPr>
            <p:cNvSpPr/>
            <p:nvPr/>
          </p:nvSpPr>
          <p:spPr>
            <a:xfrm>
              <a:off x="583687" y="1455489"/>
              <a:ext cx="1308100" cy="1676400"/>
            </a:xfrm>
            <a:custGeom>
              <a:avLst/>
              <a:gdLst>
                <a:gd name="connsiteX0" fmla="*/ 46360 w 1308100"/>
                <a:gd name="connsiteY0" fmla="*/ 1455 h 1676400"/>
                <a:gd name="connsiteX1" fmla="*/ 31374 w 1308100"/>
                <a:gd name="connsiteY1" fmla="*/ 704400 h 1676400"/>
                <a:gd name="connsiteX2" fmla="*/ 281437 w 1308100"/>
                <a:gd name="connsiteY2" fmla="*/ 1276408 h 1676400"/>
                <a:gd name="connsiteX3" fmla="*/ 741939 w 1308100"/>
                <a:gd name="connsiteY3" fmla="*/ 1597972 h 1676400"/>
                <a:gd name="connsiteX4" fmla="*/ 1299215 w 1308100"/>
                <a:gd name="connsiteY4" fmla="*/ 1668838 h 1676400"/>
                <a:gd name="connsiteX5" fmla="*/ 1293119 w 1308100"/>
                <a:gd name="connsiteY5" fmla="*/ 1624007 h 1676400"/>
                <a:gd name="connsiteX6" fmla="*/ 784738 w 1308100"/>
                <a:gd name="connsiteY6" fmla="*/ 1536377 h 1676400"/>
                <a:gd name="connsiteX7" fmla="*/ 334904 w 1308100"/>
                <a:gd name="connsiteY7" fmla="*/ 1238943 h 1676400"/>
                <a:gd name="connsiteX8" fmla="*/ 81031 w 1308100"/>
                <a:gd name="connsiteY8" fmla="*/ 705797 h 1676400"/>
                <a:gd name="connsiteX9" fmla="*/ 50297 w 1308100"/>
                <a:gd name="connsiteY9" fmla="*/ 2725 h 1676400"/>
                <a:gd name="connsiteX10" fmla="*/ 46360 w 1308100"/>
                <a:gd name="connsiteY10" fmla="*/ 1455 h 167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08100" h="1676400">
                  <a:moveTo>
                    <a:pt x="46360" y="1455"/>
                  </a:moveTo>
                  <a:cubicBezTo>
                    <a:pt x="-2027" y="237548"/>
                    <a:pt x="-21077" y="467037"/>
                    <a:pt x="31374" y="704400"/>
                  </a:cubicBezTo>
                  <a:cubicBezTo>
                    <a:pt x="75062" y="901885"/>
                    <a:pt x="151516" y="1118420"/>
                    <a:pt x="281437" y="1276408"/>
                  </a:cubicBezTo>
                  <a:cubicBezTo>
                    <a:pt x="401579" y="1422331"/>
                    <a:pt x="567441" y="1528884"/>
                    <a:pt x="741939" y="1597972"/>
                  </a:cubicBezTo>
                  <a:cubicBezTo>
                    <a:pt x="909325" y="1664139"/>
                    <a:pt x="1120399" y="1718749"/>
                    <a:pt x="1299215" y="1668838"/>
                  </a:cubicBezTo>
                  <a:cubicBezTo>
                    <a:pt x="1324869" y="1661599"/>
                    <a:pt x="1318265" y="1625785"/>
                    <a:pt x="1293119" y="1624007"/>
                  </a:cubicBezTo>
                  <a:cubicBezTo>
                    <a:pt x="1117605" y="1611307"/>
                    <a:pt x="951616" y="1599369"/>
                    <a:pt x="784738" y="1536377"/>
                  </a:cubicBezTo>
                  <a:cubicBezTo>
                    <a:pt x="616463" y="1473004"/>
                    <a:pt x="453776" y="1375595"/>
                    <a:pt x="334904" y="1238943"/>
                  </a:cubicBezTo>
                  <a:cubicBezTo>
                    <a:pt x="207269" y="1092385"/>
                    <a:pt x="129672" y="891471"/>
                    <a:pt x="81031" y="705797"/>
                  </a:cubicBezTo>
                  <a:cubicBezTo>
                    <a:pt x="21722" y="479356"/>
                    <a:pt x="5720" y="232976"/>
                    <a:pt x="50297" y="2725"/>
                  </a:cubicBezTo>
                  <a:cubicBezTo>
                    <a:pt x="50805" y="-69"/>
                    <a:pt x="46868" y="-1085"/>
                    <a:pt x="46360" y="1455"/>
                  </a:cubicBezTo>
                </a:path>
              </a:pathLst>
            </a:custGeom>
            <a:solidFill>
              <a:srgbClr val="B5D385"/>
            </a:solidFill>
            <a:ln w="12689" cap="flat">
              <a:noFill/>
              <a:prstDash val="solid"/>
              <a:miter/>
            </a:ln>
          </p:spPr>
          <p:txBody>
            <a:bodyPr rtlCol="0" anchor="ctr"/>
            <a:lstStyle/>
            <a:p>
              <a:endParaRPr lang="bg-BG"/>
            </a:p>
          </p:txBody>
        </p:sp>
        <p:sp>
          <p:nvSpPr>
            <p:cNvPr id="40" name="Свободна форма: фигура 17">
              <a:extLst>
                <a:ext uri="{FF2B5EF4-FFF2-40B4-BE49-F238E27FC236}">
                  <a16:creationId xmlns:a16="http://schemas.microsoft.com/office/drawing/2014/main" id="{9F6F68F7-4F0B-5983-EA2A-72727855002A}"/>
                </a:ext>
              </a:extLst>
            </p:cNvPr>
            <p:cNvSpPr/>
            <p:nvPr/>
          </p:nvSpPr>
          <p:spPr>
            <a:xfrm>
              <a:off x="2489350" y="671867"/>
              <a:ext cx="685800" cy="749300"/>
            </a:xfrm>
            <a:custGeom>
              <a:avLst/>
              <a:gdLst>
                <a:gd name="connsiteX0" fmla="*/ 6454 w 685800"/>
                <a:gd name="connsiteY0" fmla="*/ 24855 h 749300"/>
                <a:gd name="connsiteX1" fmla="*/ 673839 w 685800"/>
                <a:gd name="connsiteY1" fmla="*/ 745453 h 749300"/>
                <a:gd name="connsiteX2" fmla="*/ 692508 w 685800"/>
                <a:gd name="connsiteY2" fmla="*/ 737579 h 749300"/>
                <a:gd name="connsiteX3" fmla="*/ 16614 w 685800"/>
                <a:gd name="connsiteY3" fmla="*/ 852 h 749300"/>
                <a:gd name="connsiteX4" fmla="*/ 6454 w 685800"/>
                <a:gd name="connsiteY4" fmla="*/ 24855 h 749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 h="749300">
                  <a:moveTo>
                    <a:pt x="6454" y="24855"/>
                  </a:moveTo>
                  <a:cubicBezTo>
                    <a:pt x="324208" y="165571"/>
                    <a:pt x="536806" y="434176"/>
                    <a:pt x="673839" y="745453"/>
                  </a:cubicBezTo>
                  <a:cubicBezTo>
                    <a:pt x="678665" y="756375"/>
                    <a:pt x="694921" y="748374"/>
                    <a:pt x="692508" y="737579"/>
                  </a:cubicBezTo>
                  <a:cubicBezTo>
                    <a:pt x="615673" y="406871"/>
                    <a:pt x="321668" y="123788"/>
                    <a:pt x="16614" y="852"/>
                  </a:cubicBezTo>
                  <a:cubicBezTo>
                    <a:pt x="2898" y="-4736"/>
                    <a:pt x="-7135" y="18759"/>
                    <a:pt x="6454" y="24855"/>
                  </a:cubicBezTo>
                </a:path>
              </a:pathLst>
            </a:custGeom>
            <a:solidFill>
              <a:srgbClr val="B5D385"/>
            </a:solidFill>
            <a:ln w="12689" cap="flat">
              <a:noFill/>
              <a:prstDash val="solid"/>
              <a:miter/>
            </a:ln>
          </p:spPr>
          <p:txBody>
            <a:bodyPr rtlCol="0" anchor="ctr"/>
            <a:lstStyle/>
            <a:p>
              <a:endParaRPr lang="bg-BG"/>
            </a:p>
          </p:txBody>
        </p:sp>
        <p:sp>
          <p:nvSpPr>
            <p:cNvPr id="41" name="Свободна форма: фигура 19">
              <a:extLst>
                <a:ext uri="{FF2B5EF4-FFF2-40B4-BE49-F238E27FC236}">
                  <a16:creationId xmlns:a16="http://schemas.microsoft.com/office/drawing/2014/main" id="{9F72082B-63BE-2C5D-627E-6AE40CE91270}"/>
                </a:ext>
              </a:extLst>
            </p:cNvPr>
            <p:cNvSpPr/>
            <p:nvPr/>
          </p:nvSpPr>
          <p:spPr>
            <a:xfrm>
              <a:off x="641301" y="982061"/>
              <a:ext cx="254000" cy="368300"/>
            </a:xfrm>
            <a:custGeom>
              <a:avLst/>
              <a:gdLst>
                <a:gd name="connsiteX0" fmla="*/ 21004 w 254000"/>
                <a:gd name="connsiteY0" fmla="*/ 366298 h 368300"/>
                <a:gd name="connsiteX1" fmla="*/ 260399 w 254000"/>
                <a:gd name="connsiteY1" fmla="*/ 11587 h 368300"/>
                <a:gd name="connsiteX2" fmla="*/ 252271 w 254000"/>
                <a:gd name="connsiteY2" fmla="*/ 1046 h 368300"/>
                <a:gd name="connsiteX3" fmla="*/ 430 w 254000"/>
                <a:gd name="connsiteY3" fmla="*/ 360583 h 368300"/>
                <a:gd name="connsiteX4" fmla="*/ 21004 w 254000"/>
                <a:gd name="connsiteY4" fmla="*/ 366298 h 36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000" h="368300">
                  <a:moveTo>
                    <a:pt x="21004" y="366298"/>
                  </a:moveTo>
                  <a:cubicBezTo>
                    <a:pt x="71677" y="226852"/>
                    <a:pt x="155497" y="114584"/>
                    <a:pt x="260399" y="11587"/>
                  </a:cubicBezTo>
                  <a:cubicBezTo>
                    <a:pt x="265733" y="6253"/>
                    <a:pt x="258748" y="-3145"/>
                    <a:pt x="252271" y="1046"/>
                  </a:cubicBezTo>
                  <a:cubicBezTo>
                    <a:pt x="123874" y="82199"/>
                    <a:pt x="38530" y="215676"/>
                    <a:pt x="430" y="360583"/>
                  </a:cubicBezTo>
                  <a:cubicBezTo>
                    <a:pt x="-3126" y="374045"/>
                    <a:pt x="16432" y="379125"/>
                    <a:pt x="21004" y="366298"/>
                  </a:cubicBezTo>
                </a:path>
              </a:pathLst>
            </a:custGeom>
            <a:solidFill>
              <a:srgbClr val="B5D385"/>
            </a:solidFill>
            <a:ln w="12689" cap="flat">
              <a:noFill/>
              <a:prstDash val="solid"/>
              <a:miter/>
            </a:ln>
          </p:spPr>
          <p:txBody>
            <a:bodyPr rtlCol="0" anchor="ctr"/>
            <a:lstStyle/>
            <a:p>
              <a:endParaRPr lang="bg-BG"/>
            </a:p>
          </p:txBody>
        </p:sp>
        <p:sp>
          <p:nvSpPr>
            <p:cNvPr id="42" name="Свободна форма: фигура 20">
              <a:extLst>
                <a:ext uri="{FF2B5EF4-FFF2-40B4-BE49-F238E27FC236}">
                  <a16:creationId xmlns:a16="http://schemas.microsoft.com/office/drawing/2014/main" id="{DEBAAFAC-C565-46AE-7382-6E219F62C9D9}"/>
                </a:ext>
              </a:extLst>
            </p:cNvPr>
            <p:cNvSpPr/>
            <p:nvPr/>
          </p:nvSpPr>
          <p:spPr>
            <a:xfrm>
              <a:off x="2257997" y="2005855"/>
              <a:ext cx="977900" cy="1066800"/>
            </a:xfrm>
            <a:custGeom>
              <a:avLst/>
              <a:gdLst>
                <a:gd name="connsiteX0" fmla="*/ 965898 w 977900"/>
                <a:gd name="connsiteY0" fmla="*/ 4555 h 1066800"/>
                <a:gd name="connsiteX1" fmla="*/ 603059 w 977900"/>
                <a:gd name="connsiteY1" fmla="*/ 633967 h 1066800"/>
                <a:gd name="connsiteX2" fmla="*/ 9461 w 977900"/>
                <a:gd name="connsiteY2" fmla="*/ 1052686 h 1066800"/>
                <a:gd name="connsiteX3" fmla="*/ 13017 w 977900"/>
                <a:gd name="connsiteY3" fmla="*/ 1078848 h 1066800"/>
                <a:gd name="connsiteX4" fmla="*/ 344233 w 977900"/>
                <a:gd name="connsiteY4" fmla="*/ 921241 h 1066800"/>
                <a:gd name="connsiteX5" fmla="*/ 626427 w 977900"/>
                <a:gd name="connsiteY5" fmla="*/ 676512 h 1066800"/>
                <a:gd name="connsiteX6" fmla="*/ 846772 w 977900"/>
                <a:gd name="connsiteY6" fmla="*/ 372474 h 1066800"/>
                <a:gd name="connsiteX7" fmla="*/ 978725 w 977900"/>
                <a:gd name="connsiteY7" fmla="*/ 7984 h 1066800"/>
                <a:gd name="connsiteX8" fmla="*/ 965898 w 977900"/>
                <a:gd name="connsiteY8" fmla="*/ 4555 h 106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7900" h="1066800">
                  <a:moveTo>
                    <a:pt x="965898" y="4555"/>
                  </a:moveTo>
                  <a:cubicBezTo>
                    <a:pt x="876871" y="229980"/>
                    <a:pt x="756602" y="445753"/>
                    <a:pt x="603059" y="633967"/>
                  </a:cubicBezTo>
                  <a:cubicBezTo>
                    <a:pt x="454469" y="816085"/>
                    <a:pt x="244665" y="1004045"/>
                    <a:pt x="9461" y="1052686"/>
                  </a:cubicBezTo>
                  <a:cubicBezTo>
                    <a:pt x="-5144" y="1055734"/>
                    <a:pt x="-1969" y="1079737"/>
                    <a:pt x="13017" y="1078848"/>
                  </a:cubicBezTo>
                  <a:cubicBezTo>
                    <a:pt x="135699" y="1071482"/>
                    <a:pt x="247332" y="990329"/>
                    <a:pt x="344233" y="921241"/>
                  </a:cubicBezTo>
                  <a:cubicBezTo>
                    <a:pt x="447230" y="847708"/>
                    <a:pt x="540067" y="769984"/>
                    <a:pt x="626427" y="676512"/>
                  </a:cubicBezTo>
                  <a:cubicBezTo>
                    <a:pt x="715835" y="579611"/>
                    <a:pt x="787590" y="491600"/>
                    <a:pt x="846772" y="372474"/>
                  </a:cubicBezTo>
                  <a:cubicBezTo>
                    <a:pt x="904430" y="256269"/>
                    <a:pt x="952690" y="135365"/>
                    <a:pt x="978725" y="7984"/>
                  </a:cubicBezTo>
                  <a:cubicBezTo>
                    <a:pt x="980249" y="-398"/>
                    <a:pt x="968946" y="-3192"/>
                    <a:pt x="965898" y="4555"/>
                  </a:cubicBezTo>
                </a:path>
              </a:pathLst>
            </a:custGeom>
            <a:solidFill>
              <a:srgbClr val="B5D385"/>
            </a:solidFill>
            <a:ln w="12689" cap="flat">
              <a:noFill/>
              <a:prstDash val="solid"/>
              <a:miter/>
            </a:ln>
          </p:spPr>
          <p:txBody>
            <a:bodyPr rtlCol="0" anchor="ctr"/>
            <a:lstStyle/>
            <a:p>
              <a:endParaRPr lang="bg-BG"/>
            </a:p>
          </p:txBody>
        </p:sp>
        <p:sp>
          <p:nvSpPr>
            <p:cNvPr id="43" name="Свободна форма: фигура 21">
              <a:extLst>
                <a:ext uri="{FF2B5EF4-FFF2-40B4-BE49-F238E27FC236}">
                  <a16:creationId xmlns:a16="http://schemas.microsoft.com/office/drawing/2014/main" id="{C3F7BE0D-12A4-B6A1-C2D4-00F83F207F80}"/>
                </a:ext>
              </a:extLst>
            </p:cNvPr>
            <p:cNvSpPr/>
            <p:nvPr/>
          </p:nvSpPr>
          <p:spPr>
            <a:xfrm>
              <a:off x="1103626" y="657128"/>
              <a:ext cx="215900" cy="139700"/>
            </a:xfrm>
            <a:custGeom>
              <a:avLst/>
              <a:gdLst>
                <a:gd name="connsiteX0" fmla="*/ 28706 w 215900"/>
                <a:gd name="connsiteY0" fmla="*/ 144369 h 139700"/>
                <a:gd name="connsiteX1" fmla="*/ 125988 w 215900"/>
                <a:gd name="connsiteY1" fmla="*/ 69439 h 139700"/>
                <a:gd name="connsiteX2" fmla="*/ 218063 w 215900"/>
                <a:gd name="connsiteY2" fmla="*/ 20671 h 139700"/>
                <a:gd name="connsiteX3" fmla="*/ 212475 w 215900"/>
                <a:gd name="connsiteY3" fmla="*/ 97 h 139700"/>
                <a:gd name="connsiteX4" fmla="*/ 5211 w 215900"/>
                <a:gd name="connsiteY4" fmla="*/ 121001 h 139700"/>
                <a:gd name="connsiteX5" fmla="*/ 28706 w 215900"/>
                <a:gd name="connsiteY5" fmla="*/ 144369 h 13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5900" h="139700">
                  <a:moveTo>
                    <a:pt x="28706" y="144369"/>
                  </a:moveTo>
                  <a:cubicBezTo>
                    <a:pt x="59059" y="116556"/>
                    <a:pt x="90809" y="90775"/>
                    <a:pt x="125988" y="69439"/>
                  </a:cubicBezTo>
                  <a:cubicBezTo>
                    <a:pt x="155706" y="51532"/>
                    <a:pt x="188599" y="38832"/>
                    <a:pt x="218063" y="20671"/>
                  </a:cubicBezTo>
                  <a:cubicBezTo>
                    <a:pt x="226572" y="15464"/>
                    <a:pt x="224032" y="-1427"/>
                    <a:pt x="212475" y="97"/>
                  </a:cubicBezTo>
                  <a:cubicBezTo>
                    <a:pt x="133100" y="10257"/>
                    <a:pt x="62107" y="68677"/>
                    <a:pt x="5211" y="121001"/>
                  </a:cubicBezTo>
                  <a:cubicBezTo>
                    <a:pt x="-10537" y="135352"/>
                    <a:pt x="12958" y="158847"/>
                    <a:pt x="28706" y="144369"/>
                  </a:cubicBezTo>
                </a:path>
              </a:pathLst>
            </a:custGeom>
            <a:solidFill>
              <a:srgbClr val="B5D385"/>
            </a:solidFill>
            <a:ln w="12689" cap="flat">
              <a:noFill/>
              <a:prstDash val="solid"/>
              <a:miter/>
            </a:ln>
          </p:spPr>
          <p:txBody>
            <a:bodyPr rtlCol="0" anchor="ctr"/>
            <a:lstStyle/>
            <a:p>
              <a:endParaRPr lang="bg-BG"/>
            </a:p>
          </p:txBody>
        </p:sp>
        <p:sp>
          <p:nvSpPr>
            <p:cNvPr id="44" name="Свободна форма: фигура 23">
              <a:extLst>
                <a:ext uri="{FF2B5EF4-FFF2-40B4-BE49-F238E27FC236}">
                  <a16:creationId xmlns:a16="http://schemas.microsoft.com/office/drawing/2014/main" id="{4DD3DC03-7316-EA02-E257-5E65D887AAEB}"/>
                </a:ext>
              </a:extLst>
            </p:cNvPr>
            <p:cNvSpPr/>
            <p:nvPr/>
          </p:nvSpPr>
          <p:spPr>
            <a:xfrm>
              <a:off x="1362964" y="907161"/>
              <a:ext cx="25400" cy="25400"/>
            </a:xfrm>
            <a:custGeom>
              <a:avLst/>
              <a:gdLst>
                <a:gd name="connsiteX0" fmla="*/ 33655 w 25400"/>
                <a:gd name="connsiteY0" fmla="*/ 15748 h 25400"/>
                <a:gd name="connsiteX1" fmla="*/ 0 w 25400"/>
                <a:gd name="connsiteY1" fmla="*/ 20447 h 25400"/>
                <a:gd name="connsiteX2" fmla="*/ 17907 w 25400"/>
                <a:gd name="connsiteY2" fmla="*/ 0 h 25400"/>
                <a:gd name="connsiteX3" fmla="*/ 33655 w 25400"/>
                <a:gd name="connsiteY3" fmla="*/ 15748 h 25400"/>
              </a:gdLst>
              <a:ahLst/>
              <a:cxnLst>
                <a:cxn ang="0">
                  <a:pos x="connsiteX0" y="connsiteY0"/>
                </a:cxn>
                <a:cxn ang="0">
                  <a:pos x="connsiteX1" y="connsiteY1"/>
                </a:cxn>
                <a:cxn ang="0">
                  <a:pos x="connsiteX2" y="connsiteY2"/>
                </a:cxn>
                <a:cxn ang="0">
                  <a:pos x="connsiteX3" y="connsiteY3"/>
                </a:cxn>
              </a:cxnLst>
              <a:rect l="l" t="t" r="r" b="b"/>
              <a:pathLst>
                <a:path w="25400" h="25400">
                  <a:moveTo>
                    <a:pt x="33655" y="15748"/>
                  </a:moveTo>
                  <a:cubicBezTo>
                    <a:pt x="22352" y="42799"/>
                    <a:pt x="11176" y="31623"/>
                    <a:pt x="0" y="20447"/>
                  </a:cubicBezTo>
                  <a:cubicBezTo>
                    <a:pt x="11176" y="9271"/>
                    <a:pt x="11176" y="9271"/>
                    <a:pt x="17907" y="0"/>
                  </a:cubicBezTo>
                  <a:cubicBezTo>
                    <a:pt x="26543" y="0"/>
                    <a:pt x="33655" y="7112"/>
                    <a:pt x="33655" y="15748"/>
                  </a:cubicBezTo>
                </a:path>
              </a:pathLst>
            </a:custGeom>
            <a:solidFill>
              <a:srgbClr val="5DB723"/>
            </a:solidFill>
            <a:ln w="12689" cap="flat">
              <a:noFill/>
              <a:prstDash val="solid"/>
              <a:miter/>
            </a:ln>
          </p:spPr>
          <p:txBody>
            <a:bodyPr rtlCol="0" anchor="ctr"/>
            <a:lstStyle/>
            <a:p>
              <a:endParaRPr lang="bg-BG"/>
            </a:p>
          </p:txBody>
        </p:sp>
        <p:sp>
          <p:nvSpPr>
            <p:cNvPr id="45" name="Свободна форма: фигура 24">
              <a:extLst>
                <a:ext uri="{FF2B5EF4-FFF2-40B4-BE49-F238E27FC236}">
                  <a16:creationId xmlns:a16="http://schemas.microsoft.com/office/drawing/2014/main" id="{81D44499-6569-F412-7347-8635BBF12605}"/>
                </a:ext>
              </a:extLst>
            </p:cNvPr>
            <p:cNvSpPr/>
            <p:nvPr/>
          </p:nvSpPr>
          <p:spPr>
            <a:xfrm>
              <a:off x="1396492" y="1063687"/>
              <a:ext cx="25400" cy="25400"/>
            </a:xfrm>
            <a:custGeom>
              <a:avLst/>
              <a:gdLst>
                <a:gd name="connsiteX0" fmla="*/ 32385 w 25400"/>
                <a:gd name="connsiteY0" fmla="*/ 21782 h 25400"/>
                <a:gd name="connsiteX1" fmla="*/ 0 w 25400"/>
                <a:gd name="connsiteY1" fmla="*/ 9590 h 25400"/>
                <a:gd name="connsiteX2" fmla="*/ 26416 w 25400"/>
                <a:gd name="connsiteY2" fmla="*/ 192 h 25400"/>
                <a:gd name="connsiteX3" fmla="*/ 32385 w 25400"/>
                <a:gd name="connsiteY3" fmla="*/ 21782 h 25400"/>
              </a:gdLst>
              <a:ahLst/>
              <a:cxnLst>
                <a:cxn ang="0">
                  <a:pos x="connsiteX0" y="connsiteY0"/>
                </a:cxn>
                <a:cxn ang="0">
                  <a:pos x="connsiteX1" y="connsiteY1"/>
                </a:cxn>
                <a:cxn ang="0">
                  <a:pos x="connsiteX2" y="connsiteY2"/>
                </a:cxn>
                <a:cxn ang="0">
                  <a:pos x="connsiteX3" y="connsiteY3"/>
                </a:cxn>
              </a:cxnLst>
              <a:rect l="l" t="t" r="r" b="b"/>
              <a:pathLst>
                <a:path w="25400" h="25400">
                  <a:moveTo>
                    <a:pt x="32385" y="21782"/>
                  </a:moveTo>
                  <a:cubicBezTo>
                    <a:pt x="11176" y="43118"/>
                    <a:pt x="0" y="31942"/>
                    <a:pt x="0" y="9590"/>
                  </a:cubicBezTo>
                  <a:cubicBezTo>
                    <a:pt x="0" y="9590"/>
                    <a:pt x="11176" y="-1586"/>
                    <a:pt x="26416" y="192"/>
                  </a:cubicBezTo>
                  <a:cubicBezTo>
                    <a:pt x="34036" y="4383"/>
                    <a:pt x="36703" y="14162"/>
                    <a:pt x="32385" y="21782"/>
                  </a:cubicBezTo>
                </a:path>
              </a:pathLst>
            </a:custGeom>
            <a:solidFill>
              <a:srgbClr val="5DB723"/>
            </a:solidFill>
            <a:ln w="12689" cap="flat">
              <a:noFill/>
              <a:prstDash val="solid"/>
              <a:miter/>
            </a:ln>
          </p:spPr>
          <p:txBody>
            <a:bodyPr rtlCol="0" anchor="ctr"/>
            <a:lstStyle/>
            <a:p>
              <a:endParaRPr lang="bg-BG"/>
            </a:p>
          </p:txBody>
        </p:sp>
        <p:sp>
          <p:nvSpPr>
            <p:cNvPr id="46" name="Свободна форма: фигура 25">
              <a:extLst>
                <a:ext uri="{FF2B5EF4-FFF2-40B4-BE49-F238E27FC236}">
                  <a16:creationId xmlns:a16="http://schemas.microsoft.com/office/drawing/2014/main" id="{2B142C3F-1649-A313-1FDD-A510D2109931}"/>
                </a:ext>
              </a:extLst>
            </p:cNvPr>
            <p:cNvSpPr/>
            <p:nvPr/>
          </p:nvSpPr>
          <p:spPr>
            <a:xfrm>
              <a:off x="1497330" y="1203960"/>
              <a:ext cx="25400" cy="25400"/>
            </a:xfrm>
            <a:custGeom>
              <a:avLst/>
              <a:gdLst>
                <a:gd name="connsiteX0" fmla="*/ 31496 w 25400"/>
                <a:gd name="connsiteY0" fmla="*/ 21717 h 25400"/>
                <a:gd name="connsiteX1" fmla="*/ 0 w 25400"/>
                <a:gd name="connsiteY1" fmla="*/ 3556 h 25400"/>
                <a:gd name="connsiteX2" fmla="*/ 25527 w 25400"/>
                <a:gd name="connsiteY2" fmla="*/ 0 h 25400"/>
                <a:gd name="connsiteX3" fmla="*/ 31496 w 25400"/>
                <a:gd name="connsiteY3" fmla="*/ 21717 h 25400"/>
              </a:gdLst>
              <a:ahLst/>
              <a:cxnLst>
                <a:cxn ang="0">
                  <a:pos x="connsiteX0" y="connsiteY0"/>
                </a:cxn>
                <a:cxn ang="0">
                  <a:pos x="connsiteX1" y="connsiteY1"/>
                </a:cxn>
                <a:cxn ang="0">
                  <a:pos x="connsiteX2" y="connsiteY2"/>
                </a:cxn>
                <a:cxn ang="0">
                  <a:pos x="connsiteX3" y="connsiteY3"/>
                </a:cxn>
              </a:cxnLst>
              <a:rect l="l" t="t" r="r" b="b"/>
              <a:pathLst>
                <a:path w="25400" h="25400">
                  <a:moveTo>
                    <a:pt x="31496" y="21717"/>
                  </a:moveTo>
                  <a:cubicBezTo>
                    <a:pt x="11176" y="37084"/>
                    <a:pt x="0" y="25908"/>
                    <a:pt x="0" y="3556"/>
                  </a:cubicBezTo>
                  <a:cubicBezTo>
                    <a:pt x="11176" y="3556"/>
                    <a:pt x="11176" y="3556"/>
                    <a:pt x="25527" y="0"/>
                  </a:cubicBezTo>
                  <a:cubicBezTo>
                    <a:pt x="33147" y="4445"/>
                    <a:pt x="35814" y="14224"/>
                    <a:pt x="31496" y="21717"/>
                  </a:cubicBezTo>
                </a:path>
              </a:pathLst>
            </a:custGeom>
            <a:solidFill>
              <a:srgbClr val="5DB723"/>
            </a:solidFill>
            <a:ln w="12689" cap="flat">
              <a:noFill/>
              <a:prstDash val="solid"/>
              <a:miter/>
            </a:ln>
          </p:spPr>
          <p:txBody>
            <a:bodyPr rtlCol="0" anchor="ctr"/>
            <a:lstStyle/>
            <a:p>
              <a:endParaRPr lang="bg-BG"/>
            </a:p>
          </p:txBody>
        </p:sp>
        <p:sp>
          <p:nvSpPr>
            <p:cNvPr id="47" name="Свободна форма: фигура 26">
              <a:extLst>
                <a:ext uri="{FF2B5EF4-FFF2-40B4-BE49-F238E27FC236}">
                  <a16:creationId xmlns:a16="http://schemas.microsoft.com/office/drawing/2014/main" id="{BB335A08-3B53-7D21-99A5-B68056764635}"/>
                </a:ext>
              </a:extLst>
            </p:cNvPr>
            <p:cNvSpPr/>
            <p:nvPr/>
          </p:nvSpPr>
          <p:spPr>
            <a:xfrm>
              <a:off x="2136140" y="1159590"/>
              <a:ext cx="215900" cy="165100"/>
            </a:xfrm>
            <a:custGeom>
              <a:avLst/>
              <a:gdLst>
                <a:gd name="connsiteX0" fmla="*/ 0 w 215900"/>
                <a:gd name="connsiteY0" fmla="*/ 173402 h 165100"/>
                <a:gd name="connsiteX1" fmla="*/ 209550 w 215900"/>
                <a:gd name="connsiteY1" fmla="*/ 41957 h 165100"/>
                <a:gd name="connsiteX2" fmla="*/ 129794 w 215900"/>
                <a:gd name="connsiteY2" fmla="*/ 77263 h 165100"/>
                <a:gd name="connsiteX3" fmla="*/ 0 w 215900"/>
                <a:gd name="connsiteY3" fmla="*/ 173402 h 165100"/>
              </a:gdLst>
              <a:ahLst/>
              <a:cxnLst>
                <a:cxn ang="0">
                  <a:pos x="connsiteX0" y="connsiteY0"/>
                </a:cxn>
                <a:cxn ang="0">
                  <a:pos x="connsiteX1" y="connsiteY1"/>
                </a:cxn>
                <a:cxn ang="0">
                  <a:pos x="connsiteX2" y="connsiteY2"/>
                </a:cxn>
                <a:cxn ang="0">
                  <a:pos x="connsiteX3" y="connsiteY3"/>
                </a:cxn>
              </a:cxnLst>
              <a:rect l="l" t="t" r="r" b="b"/>
              <a:pathLst>
                <a:path w="215900" h="165100">
                  <a:moveTo>
                    <a:pt x="0" y="173402"/>
                  </a:moveTo>
                  <a:cubicBezTo>
                    <a:pt x="0" y="173402"/>
                    <a:pt x="182372" y="133778"/>
                    <a:pt x="209550" y="41957"/>
                  </a:cubicBezTo>
                  <a:cubicBezTo>
                    <a:pt x="236855" y="-49864"/>
                    <a:pt x="172593" y="30908"/>
                    <a:pt x="129794" y="77263"/>
                  </a:cubicBezTo>
                  <a:cubicBezTo>
                    <a:pt x="87122" y="123618"/>
                    <a:pt x="0" y="173402"/>
                    <a:pt x="0" y="173402"/>
                  </a:cubicBezTo>
                </a:path>
              </a:pathLst>
            </a:custGeom>
            <a:solidFill>
              <a:srgbClr val="5DB723"/>
            </a:solidFill>
            <a:ln w="12689" cap="flat">
              <a:noFill/>
              <a:prstDash val="solid"/>
              <a:miter/>
            </a:ln>
          </p:spPr>
          <p:txBody>
            <a:bodyPr rtlCol="0" anchor="ctr"/>
            <a:lstStyle/>
            <a:p>
              <a:endParaRPr lang="bg-BG"/>
            </a:p>
          </p:txBody>
        </p:sp>
        <p:sp>
          <p:nvSpPr>
            <p:cNvPr id="48" name="Свободна форма: фигура 27">
              <a:extLst>
                <a:ext uri="{FF2B5EF4-FFF2-40B4-BE49-F238E27FC236}">
                  <a16:creationId xmlns:a16="http://schemas.microsoft.com/office/drawing/2014/main" id="{11A1A586-660E-62CE-47C0-70FBBD17564E}"/>
                </a:ext>
              </a:extLst>
            </p:cNvPr>
            <p:cNvSpPr/>
            <p:nvPr/>
          </p:nvSpPr>
          <p:spPr>
            <a:xfrm>
              <a:off x="1442985" y="476377"/>
              <a:ext cx="114300" cy="88900"/>
            </a:xfrm>
            <a:custGeom>
              <a:avLst/>
              <a:gdLst>
                <a:gd name="connsiteX0" fmla="*/ 114670 w 114300"/>
                <a:gd name="connsiteY0" fmla="*/ 0 h 88900"/>
                <a:gd name="connsiteX1" fmla="*/ 6466 w 114300"/>
                <a:gd name="connsiteY1" fmla="*/ 55626 h 88900"/>
                <a:gd name="connsiteX2" fmla="*/ 62473 w 114300"/>
                <a:gd name="connsiteY2" fmla="*/ 58293 h 88900"/>
                <a:gd name="connsiteX3" fmla="*/ 114670 w 114300"/>
                <a:gd name="connsiteY3" fmla="*/ 0 h 88900"/>
              </a:gdLst>
              <a:ahLst/>
              <a:cxnLst>
                <a:cxn ang="0">
                  <a:pos x="connsiteX0" y="connsiteY0"/>
                </a:cxn>
                <a:cxn ang="0">
                  <a:pos x="connsiteX1" y="connsiteY1"/>
                </a:cxn>
                <a:cxn ang="0">
                  <a:pos x="connsiteX2" y="connsiteY2"/>
                </a:cxn>
                <a:cxn ang="0">
                  <a:pos x="connsiteX3" y="connsiteY3"/>
                </a:cxn>
              </a:cxnLst>
              <a:rect l="l" t="t" r="r" b="b"/>
              <a:pathLst>
                <a:path w="114300" h="88900">
                  <a:moveTo>
                    <a:pt x="114670" y="0"/>
                  </a:moveTo>
                  <a:cubicBezTo>
                    <a:pt x="114670" y="0"/>
                    <a:pt x="28564" y="12065"/>
                    <a:pt x="6466" y="55626"/>
                  </a:cubicBezTo>
                  <a:cubicBezTo>
                    <a:pt x="-15632" y="99187"/>
                    <a:pt x="22849" y="104775"/>
                    <a:pt x="62473" y="58293"/>
                  </a:cubicBezTo>
                  <a:cubicBezTo>
                    <a:pt x="101970" y="11557"/>
                    <a:pt x="114670" y="0"/>
                    <a:pt x="114670" y="0"/>
                  </a:cubicBezTo>
                </a:path>
              </a:pathLst>
            </a:custGeom>
            <a:solidFill>
              <a:srgbClr val="83CC1B"/>
            </a:solidFill>
            <a:ln w="12689" cap="flat">
              <a:noFill/>
              <a:prstDash val="solid"/>
              <a:miter/>
            </a:ln>
          </p:spPr>
          <p:txBody>
            <a:bodyPr rtlCol="0" anchor="ctr"/>
            <a:lstStyle/>
            <a:p>
              <a:endParaRPr lang="bg-BG"/>
            </a:p>
          </p:txBody>
        </p:sp>
      </p:grpSp>
      <p:sp>
        <p:nvSpPr>
          <p:cNvPr id="4" name="object 3">
            <a:extLst>
              <a:ext uri="{FF2B5EF4-FFF2-40B4-BE49-F238E27FC236}">
                <a16:creationId xmlns:a16="http://schemas.microsoft.com/office/drawing/2014/main" id="{447E4D88-761A-CF30-99B8-4699A11B9155}"/>
              </a:ext>
            </a:extLst>
          </p:cNvPr>
          <p:cNvSpPr txBox="1"/>
          <p:nvPr/>
        </p:nvSpPr>
        <p:spPr>
          <a:xfrm>
            <a:off x="902441" y="3811602"/>
            <a:ext cx="2214950" cy="1047210"/>
          </a:xfrm>
          <a:prstGeom prst="rect">
            <a:avLst/>
          </a:prstGeom>
        </p:spPr>
        <p:txBody>
          <a:bodyPr vert="horz" wrap="square" lIns="0" tIns="12700" rIns="0" bIns="0" rtlCol="0">
            <a:spAutoFit/>
          </a:bodyPr>
          <a:lstStyle/>
          <a:p>
            <a:pPr marL="452755" marR="160655" indent="-285750">
              <a:lnSpc>
                <a:spcPct val="118600"/>
              </a:lnSpc>
              <a:spcBef>
                <a:spcPts val="100"/>
              </a:spcBef>
              <a:buFont typeface="Arial" panose="020B0604020202020204" pitchFamily="34" charset="0"/>
              <a:buChar char="•"/>
            </a:pPr>
            <a:r>
              <a:rPr lang="en-US" sz="1400" dirty="0">
                <a:latin typeface="+mj-lt"/>
                <a:cs typeface="Arial"/>
              </a:rPr>
              <a:t>Child Follow-up Register.</a:t>
            </a:r>
          </a:p>
          <a:p>
            <a:pPr marL="452755" marR="160655" indent="-285750">
              <a:lnSpc>
                <a:spcPct val="118600"/>
              </a:lnSpc>
              <a:spcBef>
                <a:spcPts val="100"/>
              </a:spcBef>
              <a:buFont typeface="Arial" panose="020B0604020202020204" pitchFamily="34" charset="0"/>
              <a:buChar char="•"/>
            </a:pPr>
            <a:r>
              <a:rPr lang="en-US" sz="1400" dirty="0">
                <a:latin typeface="+mj-lt"/>
                <a:cs typeface="Arial"/>
              </a:rPr>
              <a:t>Reported Quarterly</a:t>
            </a:r>
          </a:p>
          <a:p>
            <a:pPr marL="167005" marR="160655" algn="ctr">
              <a:lnSpc>
                <a:spcPct val="118600"/>
              </a:lnSpc>
              <a:spcBef>
                <a:spcPts val="100"/>
              </a:spcBef>
            </a:pPr>
            <a:endParaRPr sz="1400" dirty="0">
              <a:latin typeface="+mj-lt"/>
              <a:cs typeface="Arial"/>
            </a:endParaRPr>
          </a:p>
        </p:txBody>
      </p:sp>
      <p:sp>
        <p:nvSpPr>
          <p:cNvPr id="66" name="object 3">
            <a:extLst>
              <a:ext uri="{FF2B5EF4-FFF2-40B4-BE49-F238E27FC236}">
                <a16:creationId xmlns:a16="http://schemas.microsoft.com/office/drawing/2014/main" id="{6AD237E3-4261-FDB5-251F-3E41385BE1E1}"/>
              </a:ext>
            </a:extLst>
          </p:cNvPr>
          <p:cNvSpPr txBox="1"/>
          <p:nvPr/>
        </p:nvSpPr>
        <p:spPr>
          <a:xfrm>
            <a:off x="1274883" y="2185576"/>
            <a:ext cx="1494241" cy="579774"/>
          </a:xfrm>
          <a:prstGeom prst="rect">
            <a:avLst/>
          </a:prstGeom>
        </p:spPr>
        <p:txBody>
          <a:bodyPr vert="horz" wrap="square" lIns="0" tIns="12700" rIns="0" bIns="0" rtlCol="0">
            <a:spAutoFit/>
          </a:bodyPr>
          <a:lstStyle/>
          <a:p>
            <a:pPr marL="167005" marR="160655" algn="ctr">
              <a:lnSpc>
                <a:spcPct val="118600"/>
              </a:lnSpc>
              <a:spcBef>
                <a:spcPts val="100"/>
              </a:spcBef>
            </a:pPr>
            <a:r>
              <a:rPr lang="en-US" sz="1600" b="1" dirty="0">
                <a:latin typeface="+mj-lt"/>
                <a:cs typeface="Arial"/>
              </a:rPr>
              <a:t>Data Source / Reporting</a:t>
            </a:r>
            <a:endParaRPr sz="1600" b="1" dirty="0">
              <a:latin typeface="+mj-lt"/>
              <a:cs typeface="Arial"/>
            </a:endParaRPr>
          </a:p>
        </p:txBody>
      </p:sp>
      <p:grpSp>
        <p:nvGrpSpPr>
          <p:cNvPr id="67" name="Group 66">
            <a:extLst>
              <a:ext uri="{FF2B5EF4-FFF2-40B4-BE49-F238E27FC236}">
                <a16:creationId xmlns:a16="http://schemas.microsoft.com/office/drawing/2014/main" id="{8B709D4C-472F-BB09-74F5-02836FBFA798}"/>
              </a:ext>
            </a:extLst>
          </p:cNvPr>
          <p:cNvGrpSpPr/>
          <p:nvPr/>
        </p:nvGrpSpPr>
        <p:grpSpPr>
          <a:xfrm>
            <a:off x="4325551" y="1781978"/>
            <a:ext cx="3688976" cy="4383048"/>
            <a:chOff x="583687" y="407303"/>
            <a:chExt cx="2652210" cy="2724586"/>
          </a:xfrm>
        </p:grpSpPr>
        <p:sp>
          <p:nvSpPr>
            <p:cNvPr id="68" name="Свободна форма: фигура 11">
              <a:extLst>
                <a:ext uri="{FF2B5EF4-FFF2-40B4-BE49-F238E27FC236}">
                  <a16:creationId xmlns:a16="http://schemas.microsoft.com/office/drawing/2014/main" id="{D294A893-52A7-B840-50A7-8CCD77E64043}"/>
                </a:ext>
              </a:extLst>
            </p:cNvPr>
            <p:cNvSpPr/>
            <p:nvPr/>
          </p:nvSpPr>
          <p:spPr>
            <a:xfrm>
              <a:off x="677366" y="592080"/>
              <a:ext cx="2413000" cy="2413000"/>
            </a:xfrm>
            <a:custGeom>
              <a:avLst/>
              <a:gdLst>
                <a:gd name="connsiteX0" fmla="*/ 2422704 w 2413000"/>
                <a:gd name="connsiteY0" fmla="*/ 1249928 h 2413000"/>
                <a:gd name="connsiteX1" fmla="*/ 1806246 w 2413000"/>
                <a:gd name="connsiteY1" fmla="*/ 2259705 h 2413000"/>
                <a:gd name="connsiteX2" fmla="*/ 1647242 w 2413000"/>
                <a:gd name="connsiteY2" fmla="*/ 2330190 h 2413000"/>
                <a:gd name="connsiteX3" fmla="*/ 250115 w 2413000"/>
                <a:gd name="connsiteY3" fmla="*/ 1945126 h 2413000"/>
                <a:gd name="connsiteX4" fmla="*/ 132767 w 2413000"/>
                <a:gd name="connsiteY4" fmla="*/ 1759452 h 2413000"/>
                <a:gd name="connsiteX5" fmla="*/ 88825 w 2413000"/>
                <a:gd name="connsiteY5" fmla="*/ 705987 h 2413000"/>
                <a:gd name="connsiteX6" fmla="*/ 1371779 w 2413000"/>
                <a:gd name="connsiteY6" fmla="*/ 11551 h 2413000"/>
                <a:gd name="connsiteX7" fmla="*/ 1587425 w 2413000"/>
                <a:gd name="connsiteY7" fmla="*/ 62605 h 2413000"/>
                <a:gd name="connsiteX8" fmla="*/ 2410893 w 2413000"/>
                <a:gd name="connsiteY8" fmla="*/ 1003294 h 2413000"/>
                <a:gd name="connsiteX9" fmla="*/ 2422704 w 2413000"/>
                <a:gd name="connsiteY9" fmla="*/ 1249928 h 241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3000" h="2413000">
                  <a:moveTo>
                    <a:pt x="2422704" y="1249928"/>
                  </a:moveTo>
                  <a:cubicBezTo>
                    <a:pt x="2416354" y="1676648"/>
                    <a:pt x="2163497" y="2066030"/>
                    <a:pt x="1806246" y="2259705"/>
                  </a:cubicBezTo>
                  <a:cubicBezTo>
                    <a:pt x="1755192" y="2287391"/>
                    <a:pt x="1702106" y="2311013"/>
                    <a:pt x="1647242" y="2330190"/>
                  </a:cubicBezTo>
                  <a:cubicBezTo>
                    <a:pt x="1147878" y="2541391"/>
                    <a:pt x="564567" y="2349367"/>
                    <a:pt x="250115" y="1945126"/>
                  </a:cubicBezTo>
                  <a:cubicBezTo>
                    <a:pt x="205157" y="1887341"/>
                    <a:pt x="165787" y="1825365"/>
                    <a:pt x="132767" y="1759452"/>
                  </a:cubicBezTo>
                  <a:cubicBezTo>
                    <a:pt x="1068" y="1430268"/>
                    <a:pt x="-64718" y="1057142"/>
                    <a:pt x="88825" y="705987"/>
                  </a:cubicBezTo>
                  <a:cubicBezTo>
                    <a:pt x="308281" y="223133"/>
                    <a:pt x="835077" y="-62236"/>
                    <a:pt x="1371779" y="11551"/>
                  </a:cubicBezTo>
                  <a:cubicBezTo>
                    <a:pt x="1444931" y="22473"/>
                    <a:pt x="1517194" y="39618"/>
                    <a:pt x="1587425" y="62605"/>
                  </a:cubicBezTo>
                  <a:cubicBezTo>
                    <a:pt x="2008938" y="200527"/>
                    <a:pt x="2360855" y="548380"/>
                    <a:pt x="2410893" y="1003294"/>
                  </a:cubicBezTo>
                  <a:cubicBezTo>
                    <a:pt x="2423212" y="1082669"/>
                    <a:pt x="2427403" y="1165473"/>
                    <a:pt x="2422704" y="1249928"/>
                  </a:cubicBezTo>
                </a:path>
              </a:pathLst>
            </a:custGeom>
            <a:solidFill>
              <a:srgbClr val="FFFFFF"/>
            </a:solidFill>
            <a:ln w="12689" cap="flat">
              <a:noFill/>
              <a:prstDash val="solid"/>
              <a:miter/>
            </a:ln>
          </p:spPr>
          <p:txBody>
            <a:bodyPr rtlCol="0" anchor="ctr"/>
            <a:lstStyle/>
            <a:p>
              <a:endParaRPr lang="bg-BG" dirty="0"/>
            </a:p>
          </p:txBody>
        </p:sp>
        <p:sp>
          <p:nvSpPr>
            <p:cNvPr id="69" name="Свободна форма: фигура 12">
              <a:extLst>
                <a:ext uri="{FF2B5EF4-FFF2-40B4-BE49-F238E27FC236}">
                  <a16:creationId xmlns:a16="http://schemas.microsoft.com/office/drawing/2014/main" id="{00AC17DA-3827-9558-24F9-D233691207DA}"/>
                </a:ext>
              </a:extLst>
            </p:cNvPr>
            <p:cNvSpPr/>
            <p:nvPr/>
          </p:nvSpPr>
          <p:spPr>
            <a:xfrm>
              <a:off x="1406829" y="592140"/>
              <a:ext cx="1054100" cy="850900"/>
            </a:xfrm>
            <a:custGeom>
              <a:avLst/>
              <a:gdLst>
                <a:gd name="connsiteX0" fmla="*/ 642316 w 1054100"/>
                <a:gd name="connsiteY0" fmla="*/ 11491 h 850900"/>
                <a:gd name="connsiteX1" fmla="*/ 61672 w 1054100"/>
                <a:gd name="connsiteY1" fmla="*/ 70419 h 850900"/>
                <a:gd name="connsiteX2" fmla="*/ 66244 w 1054100"/>
                <a:gd name="connsiteY2" fmla="*/ 566227 h 850900"/>
                <a:gd name="connsiteX3" fmla="*/ 118187 w 1054100"/>
                <a:gd name="connsiteY3" fmla="*/ 647253 h 850900"/>
                <a:gd name="connsiteX4" fmla="*/ 728422 w 1054100"/>
                <a:gd name="connsiteY4" fmla="*/ 817052 h 850900"/>
                <a:gd name="connsiteX5" fmla="*/ 1032333 w 1054100"/>
                <a:gd name="connsiteY5" fmla="*/ 474660 h 850900"/>
                <a:gd name="connsiteX6" fmla="*/ 1051637 w 1054100"/>
                <a:gd name="connsiteY6" fmla="*/ 381315 h 850900"/>
                <a:gd name="connsiteX7" fmla="*/ 1014172 w 1054100"/>
                <a:gd name="connsiteY7" fmla="*/ 124775 h 850900"/>
                <a:gd name="connsiteX8" fmla="*/ 857962 w 1054100"/>
                <a:gd name="connsiteY8" fmla="*/ 62545 h 850900"/>
                <a:gd name="connsiteX9" fmla="*/ 642316 w 1054100"/>
                <a:gd name="connsiteY9" fmla="*/ 11491 h 850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54100" h="850900">
                  <a:moveTo>
                    <a:pt x="642316" y="11491"/>
                  </a:moveTo>
                  <a:cubicBezTo>
                    <a:pt x="442291" y="-15941"/>
                    <a:pt x="243536" y="6538"/>
                    <a:pt x="61672" y="70419"/>
                  </a:cubicBezTo>
                  <a:cubicBezTo>
                    <a:pt x="-26847" y="221803"/>
                    <a:pt x="-15417" y="412176"/>
                    <a:pt x="66244" y="566227"/>
                  </a:cubicBezTo>
                  <a:cubicBezTo>
                    <a:pt x="81230" y="594548"/>
                    <a:pt x="98629" y="621726"/>
                    <a:pt x="118187" y="647253"/>
                  </a:cubicBezTo>
                  <a:cubicBezTo>
                    <a:pt x="263602" y="832038"/>
                    <a:pt x="514173" y="901761"/>
                    <a:pt x="728422" y="817052"/>
                  </a:cubicBezTo>
                  <a:cubicBezTo>
                    <a:pt x="882346" y="753679"/>
                    <a:pt x="974167" y="617281"/>
                    <a:pt x="1032333" y="474660"/>
                  </a:cubicBezTo>
                  <a:cubicBezTo>
                    <a:pt x="1041858" y="444180"/>
                    <a:pt x="1048335" y="412811"/>
                    <a:pt x="1051637" y="381315"/>
                  </a:cubicBezTo>
                  <a:cubicBezTo>
                    <a:pt x="1060908" y="294701"/>
                    <a:pt x="1047192" y="205928"/>
                    <a:pt x="1014172" y="124775"/>
                  </a:cubicBezTo>
                  <a:cubicBezTo>
                    <a:pt x="963499" y="100772"/>
                    <a:pt x="911302" y="80071"/>
                    <a:pt x="857962" y="62545"/>
                  </a:cubicBezTo>
                  <a:cubicBezTo>
                    <a:pt x="787731" y="39558"/>
                    <a:pt x="715595" y="22413"/>
                    <a:pt x="642316" y="11491"/>
                  </a:cubicBezTo>
                </a:path>
              </a:pathLst>
            </a:custGeom>
            <a:solidFill>
              <a:srgbClr val="F1F0D7"/>
            </a:solidFill>
            <a:ln w="12689" cap="flat">
              <a:noFill/>
              <a:prstDash val="solid"/>
              <a:miter/>
            </a:ln>
          </p:spPr>
          <p:txBody>
            <a:bodyPr rtlCol="0" anchor="ctr"/>
            <a:lstStyle/>
            <a:p>
              <a:endParaRPr lang="bg-BG"/>
            </a:p>
          </p:txBody>
        </p:sp>
        <p:sp>
          <p:nvSpPr>
            <p:cNvPr id="70" name="Свободна форма: фигура 13">
              <a:extLst>
                <a:ext uri="{FF2B5EF4-FFF2-40B4-BE49-F238E27FC236}">
                  <a16:creationId xmlns:a16="http://schemas.microsoft.com/office/drawing/2014/main" id="{B56C289E-B2C6-98FA-3341-FA11B7172AE4}"/>
                </a:ext>
              </a:extLst>
            </p:cNvPr>
            <p:cNvSpPr/>
            <p:nvPr/>
          </p:nvSpPr>
          <p:spPr>
            <a:xfrm>
              <a:off x="1425065" y="407303"/>
              <a:ext cx="914400" cy="927100"/>
            </a:xfrm>
            <a:custGeom>
              <a:avLst/>
              <a:gdLst>
                <a:gd name="connsiteX0" fmla="*/ 143512 w 914400"/>
                <a:gd name="connsiteY0" fmla="*/ 129780 h 927100"/>
                <a:gd name="connsiteX1" fmla="*/ 580011 w 914400"/>
                <a:gd name="connsiteY1" fmla="*/ 15988 h 927100"/>
                <a:gd name="connsiteX2" fmla="*/ 642368 w 914400"/>
                <a:gd name="connsiteY2" fmla="*/ 38721 h 927100"/>
                <a:gd name="connsiteX3" fmla="*/ 923800 w 914400"/>
                <a:gd name="connsiteY3" fmla="*/ 514208 h 927100"/>
                <a:gd name="connsiteX4" fmla="*/ 906782 w 914400"/>
                <a:gd name="connsiteY4" fmla="*/ 596251 h 927100"/>
                <a:gd name="connsiteX5" fmla="*/ 639828 w 914400"/>
                <a:gd name="connsiteY5" fmla="*/ 896860 h 927100"/>
                <a:gd name="connsiteX6" fmla="*/ 104015 w 914400"/>
                <a:gd name="connsiteY6" fmla="*/ 747762 h 927100"/>
                <a:gd name="connsiteX7" fmla="*/ 58295 w 914400"/>
                <a:gd name="connsiteY7" fmla="*/ 676642 h 927100"/>
                <a:gd name="connsiteX8" fmla="*/ 81409 w 914400"/>
                <a:gd name="connsiteY8" fmla="*/ 200519 h 927100"/>
                <a:gd name="connsiteX9" fmla="*/ 143512 w 914400"/>
                <a:gd name="connsiteY9" fmla="*/ 129780 h 927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4400" h="927100">
                  <a:moveTo>
                    <a:pt x="143512" y="129780"/>
                  </a:moveTo>
                  <a:cubicBezTo>
                    <a:pt x="258193" y="14337"/>
                    <a:pt x="430659" y="-25541"/>
                    <a:pt x="580011" y="15988"/>
                  </a:cubicBezTo>
                  <a:cubicBezTo>
                    <a:pt x="601347" y="21957"/>
                    <a:pt x="622175" y="29450"/>
                    <a:pt x="642368" y="38721"/>
                  </a:cubicBezTo>
                  <a:cubicBezTo>
                    <a:pt x="835281" y="113016"/>
                    <a:pt x="944501" y="320153"/>
                    <a:pt x="923800" y="514208"/>
                  </a:cubicBezTo>
                  <a:cubicBezTo>
                    <a:pt x="920879" y="541895"/>
                    <a:pt x="915164" y="569454"/>
                    <a:pt x="906782" y="596251"/>
                  </a:cubicBezTo>
                  <a:cubicBezTo>
                    <a:pt x="855728" y="721473"/>
                    <a:pt x="774956" y="841234"/>
                    <a:pt x="639828" y="896860"/>
                  </a:cubicBezTo>
                  <a:cubicBezTo>
                    <a:pt x="451741" y="971282"/>
                    <a:pt x="231650" y="910068"/>
                    <a:pt x="104015" y="747762"/>
                  </a:cubicBezTo>
                  <a:cubicBezTo>
                    <a:pt x="86870" y="725410"/>
                    <a:pt x="71503" y="701534"/>
                    <a:pt x="58295" y="676642"/>
                  </a:cubicBezTo>
                  <a:cubicBezTo>
                    <a:pt x="-20826" y="527163"/>
                    <a:pt x="-25271" y="338568"/>
                    <a:pt x="81409" y="200519"/>
                  </a:cubicBezTo>
                  <a:cubicBezTo>
                    <a:pt x="99062" y="175500"/>
                    <a:pt x="119890" y="151623"/>
                    <a:pt x="143512" y="129780"/>
                  </a:cubicBezTo>
                </a:path>
              </a:pathLst>
            </a:custGeom>
            <a:solidFill>
              <a:schemeClr val="tx2"/>
            </a:solidFill>
            <a:ln w="12689" cap="flat">
              <a:noFill/>
              <a:prstDash val="solid"/>
              <a:miter/>
            </a:ln>
          </p:spPr>
          <p:txBody>
            <a:bodyPr rtlCol="0" anchor="ctr"/>
            <a:lstStyle/>
            <a:p>
              <a:endParaRPr lang="bg-BG" dirty="0"/>
            </a:p>
          </p:txBody>
        </p:sp>
        <p:sp>
          <p:nvSpPr>
            <p:cNvPr id="71" name="Свободна форма: фигура 14">
              <a:extLst>
                <a:ext uri="{FF2B5EF4-FFF2-40B4-BE49-F238E27FC236}">
                  <a16:creationId xmlns:a16="http://schemas.microsoft.com/office/drawing/2014/main" id="{82E26C4C-8908-E803-2192-D89A8A99F42C}"/>
                </a:ext>
              </a:extLst>
            </p:cNvPr>
            <p:cNvSpPr/>
            <p:nvPr/>
          </p:nvSpPr>
          <p:spPr>
            <a:xfrm>
              <a:off x="1591056" y="557657"/>
              <a:ext cx="749300" cy="774700"/>
            </a:xfrm>
            <a:custGeom>
              <a:avLst/>
              <a:gdLst>
                <a:gd name="connsiteX0" fmla="*/ 629920 w 749300"/>
                <a:gd name="connsiteY0" fmla="*/ 21209 h 774700"/>
                <a:gd name="connsiteX1" fmla="*/ 593852 w 749300"/>
                <a:gd name="connsiteY1" fmla="*/ 266573 h 774700"/>
                <a:gd name="connsiteX2" fmla="*/ 271399 w 749300"/>
                <a:gd name="connsiteY2" fmla="*/ 577850 h 774700"/>
                <a:gd name="connsiteX3" fmla="*/ 0 w 749300"/>
                <a:gd name="connsiteY3" fmla="*/ 661924 h 774700"/>
                <a:gd name="connsiteX4" fmla="*/ 473837 w 749300"/>
                <a:gd name="connsiteY4" fmla="*/ 746506 h 774700"/>
                <a:gd name="connsiteX5" fmla="*/ 740791 w 749300"/>
                <a:gd name="connsiteY5" fmla="*/ 445770 h 774700"/>
                <a:gd name="connsiteX6" fmla="*/ 757809 w 749300"/>
                <a:gd name="connsiteY6" fmla="*/ 363728 h 774700"/>
                <a:gd name="connsiteX7" fmla="*/ 638175 w 749300"/>
                <a:gd name="connsiteY7" fmla="*/ 0 h 774700"/>
                <a:gd name="connsiteX8" fmla="*/ 629920 w 749300"/>
                <a:gd name="connsiteY8" fmla="*/ 21209 h 774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9300" h="774700">
                  <a:moveTo>
                    <a:pt x="629920" y="21209"/>
                  </a:moveTo>
                  <a:cubicBezTo>
                    <a:pt x="606171" y="100711"/>
                    <a:pt x="622300" y="185928"/>
                    <a:pt x="593852" y="266573"/>
                  </a:cubicBezTo>
                  <a:cubicBezTo>
                    <a:pt x="538861" y="422148"/>
                    <a:pt x="416306" y="511683"/>
                    <a:pt x="271399" y="577850"/>
                  </a:cubicBezTo>
                  <a:cubicBezTo>
                    <a:pt x="185039" y="617220"/>
                    <a:pt x="92710" y="647192"/>
                    <a:pt x="0" y="661924"/>
                  </a:cubicBezTo>
                  <a:cubicBezTo>
                    <a:pt x="129794" y="774446"/>
                    <a:pt x="313309" y="809879"/>
                    <a:pt x="473837" y="746506"/>
                  </a:cubicBezTo>
                  <a:cubicBezTo>
                    <a:pt x="608965" y="690880"/>
                    <a:pt x="689737" y="570992"/>
                    <a:pt x="740791" y="445770"/>
                  </a:cubicBezTo>
                  <a:cubicBezTo>
                    <a:pt x="749173" y="418973"/>
                    <a:pt x="754761" y="391541"/>
                    <a:pt x="757809" y="363728"/>
                  </a:cubicBezTo>
                  <a:cubicBezTo>
                    <a:pt x="771652" y="233680"/>
                    <a:pt x="727075" y="97917"/>
                    <a:pt x="638175" y="0"/>
                  </a:cubicBezTo>
                  <a:cubicBezTo>
                    <a:pt x="634873" y="6731"/>
                    <a:pt x="632079" y="13716"/>
                    <a:pt x="629920" y="21209"/>
                  </a:cubicBezTo>
                </a:path>
              </a:pathLst>
            </a:custGeom>
            <a:solidFill>
              <a:schemeClr val="tx2"/>
            </a:solidFill>
            <a:ln w="12689" cap="flat">
              <a:noFill/>
              <a:prstDash val="solid"/>
              <a:miter/>
            </a:ln>
          </p:spPr>
          <p:txBody>
            <a:bodyPr rtlCol="0" anchor="ctr"/>
            <a:lstStyle/>
            <a:p>
              <a:endParaRPr lang="bg-BG"/>
            </a:p>
          </p:txBody>
        </p:sp>
        <p:sp>
          <p:nvSpPr>
            <p:cNvPr id="72" name="Свободна форма: фигура 15">
              <a:extLst>
                <a:ext uri="{FF2B5EF4-FFF2-40B4-BE49-F238E27FC236}">
                  <a16:creationId xmlns:a16="http://schemas.microsoft.com/office/drawing/2014/main" id="{E4DE420D-EC81-37C8-8C7E-A5F4A87B592B}"/>
                </a:ext>
              </a:extLst>
            </p:cNvPr>
            <p:cNvSpPr/>
            <p:nvPr/>
          </p:nvSpPr>
          <p:spPr>
            <a:xfrm>
              <a:off x="689991" y="1457452"/>
              <a:ext cx="2400300" cy="1549400"/>
            </a:xfrm>
            <a:custGeom>
              <a:avLst/>
              <a:gdLst>
                <a:gd name="connsiteX0" fmla="*/ 2398395 w 2400300"/>
                <a:gd name="connsiteY0" fmla="*/ 137922 h 1549400"/>
                <a:gd name="connsiteX1" fmla="*/ 2373122 w 2400300"/>
                <a:gd name="connsiteY1" fmla="*/ 0 h 1549400"/>
                <a:gd name="connsiteX2" fmla="*/ 2211197 w 2400300"/>
                <a:gd name="connsiteY2" fmla="*/ 837184 h 1549400"/>
                <a:gd name="connsiteX3" fmla="*/ 1736852 w 2400300"/>
                <a:gd name="connsiteY3" fmla="*/ 1171702 h 1549400"/>
                <a:gd name="connsiteX4" fmla="*/ 1234313 w 2400300"/>
                <a:gd name="connsiteY4" fmla="*/ 1282827 h 1549400"/>
                <a:gd name="connsiteX5" fmla="*/ 955421 w 2400300"/>
                <a:gd name="connsiteY5" fmla="*/ 1222375 h 1549400"/>
                <a:gd name="connsiteX6" fmla="*/ 736727 w 2400300"/>
                <a:gd name="connsiteY6" fmla="*/ 1105154 h 1549400"/>
                <a:gd name="connsiteX7" fmla="*/ 305308 w 2400300"/>
                <a:gd name="connsiteY7" fmla="*/ 875792 h 1549400"/>
                <a:gd name="connsiteX8" fmla="*/ 0 w 2400300"/>
                <a:gd name="connsiteY8" fmla="*/ 455930 h 1549400"/>
                <a:gd name="connsiteX9" fmla="*/ 120269 w 2400300"/>
                <a:gd name="connsiteY9" fmla="*/ 894334 h 1549400"/>
                <a:gd name="connsiteX10" fmla="*/ 237617 w 2400300"/>
                <a:gd name="connsiteY10" fmla="*/ 1080008 h 1549400"/>
                <a:gd name="connsiteX11" fmla="*/ 1634744 w 2400300"/>
                <a:gd name="connsiteY11" fmla="*/ 1464945 h 1549400"/>
                <a:gd name="connsiteX12" fmla="*/ 1793875 w 2400300"/>
                <a:gd name="connsiteY12" fmla="*/ 1394460 h 1549400"/>
                <a:gd name="connsiteX13" fmla="*/ 2410333 w 2400300"/>
                <a:gd name="connsiteY13" fmla="*/ 384683 h 1549400"/>
                <a:gd name="connsiteX14" fmla="*/ 2398395 w 2400300"/>
                <a:gd name="connsiteY14" fmla="*/ 137922 h 154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00300" h="1549400">
                  <a:moveTo>
                    <a:pt x="2398395" y="137922"/>
                  </a:moveTo>
                  <a:cubicBezTo>
                    <a:pt x="2393188" y="90805"/>
                    <a:pt x="2384552" y="44831"/>
                    <a:pt x="2373122" y="0"/>
                  </a:cubicBezTo>
                  <a:cubicBezTo>
                    <a:pt x="2423668" y="292608"/>
                    <a:pt x="2409190" y="593598"/>
                    <a:pt x="2211197" y="837184"/>
                  </a:cubicBezTo>
                  <a:cubicBezTo>
                    <a:pt x="2086483" y="990473"/>
                    <a:pt x="1911731" y="1086358"/>
                    <a:pt x="1736852" y="1171702"/>
                  </a:cubicBezTo>
                  <a:cubicBezTo>
                    <a:pt x="1576832" y="1249807"/>
                    <a:pt x="1413891" y="1294384"/>
                    <a:pt x="1234313" y="1282827"/>
                  </a:cubicBezTo>
                  <a:cubicBezTo>
                    <a:pt x="1138936" y="1276731"/>
                    <a:pt x="1044448" y="1257300"/>
                    <a:pt x="955421" y="1222375"/>
                  </a:cubicBezTo>
                  <a:cubicBezTo>
                    <a:pt x="877570" y="1191641"/>
                    <a:pt x="809752" y="1145032"/>
                    <a:pt x="736727" y="1105154"/>
                  </a:cubicBezTo>
                  <a:cubicBezTo>
                    <a:pt x="594106" y="1027176"/>
                    <a:pt x="438277" y="970788"/>
                    <a:pt x="305308" y="875792"/>
                  </a:cubicBezTo>
                  <a:cubicBezTo>
                    <a:pt x="148717" y="764032"/>
                    <a:pt x="51308" y="618363"/>
                    <a:pt x="0" y="455930"/>
                  </a:cubicBezTo>
                  <a:cubicBezTo>
                    <a:pt x="20447" y="606552"/>
                    <a:pt x="64389" y="754380"/>
                    <a:pt x="120269" y="894334"/>
                  </a:cubicBezTo>
                  <a:cubicBezTo>
                    <a:pt x="153162" y="960120"/>
                    <a:pt x="192659" y="1022223"/>
                    <a:pt x="237617" y="1080008"/>
                  </a:cubicBezTo>
                  <a:cubicBezTo>
                    <a:pt x="552069" y="1484249"/>
                    <a:pt x="1135380" y="1676273"/>
                    <a:pt x="1634744" y="1464945"/>
                  </a:cubicBezTo>
                  <a:cubicBezTo>
                    <a:pt x="1689608" y="1445768"/>
                    <a:pt x="1742821" y="1422019"/>
                    <a:pt x="1793875" y="1394460"/>
                  </a:cubicBezTo>
                  <a:cubicBezTo>
                    <a:pt x="2151126" y="1200912"/>
                    <a:pt x="2403856" y="811403"/>
                    <a:pt x="2410333" y="384683"/>
                  </a:cubicBezTo>
                  <a:cubicBezTo>
                    <a:pt x="2414778" y="300101"/>
                    <a:pt x="2410587" y="217297"/>
                    <a:pt x="2398395" y="137922"/>
                  </a:cubicBezTo>
                </a:path>
              </a:pathLst>
            </a:custGeom>
            <a:solidFill>
              <a:srgbClr val="F1F0D7"/>
            </a:solidFill>
            <a:ln w="12689" cap="flat">
              <a:noFill/>
              <a:prstDash val="solid"/>
              <a:miter/>
            </a:ln>
          </p:spPr>
          <p:txBody>
            <a:bodyPr rtlCol="0" anchor="ctr"/>
            <a:lstStyle/>
            <a:p>
              <a:endParaRPr lang="bg-BG"/>
            </a:p>
          </p:txBody>
        </p:sp>
        <p:sp>
          <p:nvSpPr>
            <p:cNvPr id="73" name="Свободна форма: фигура 16">
              <a:extLst>
                <a:ext uri="{FF2B5EF4-FFF2-40B4-BE49-F238E27FC236}">
                  <a16:creationId xmlns:a16="http://schemas.microsoft.com/office/drawing/2014/main" id="{3FA8DFB9-F8DD-9AB2-6EDC-365ED6661251}"/>
                </a:ext>
              </a:extLst>
            </p:cNvPr>
            <p:cNvSpPr/>
            <p:nvPr/>
          </p:nvSpPr>
          <p:spPr>
            <a:xfrm>
              <a:off x="583687" y="1455489"/>
              <a:ext cx="1308100" cy="1676400"/>
            </a:xfrm>
            <a:custGeom>
              <a:avLst/>
              <a:gdLst>
                <a:gd name="connsiteX0" fmla="*/ 46360 w 1308100"/>
                <a:gd name="connsiteY0" fmla="*/ 1455 h 1676400"/>
                <a:gd name="connsiteX1" fmla="*/ 31374 w 1308100"/>
                <a:gd name="connsiteY1" fmla="*/ 704400 h 1676400"/>
                <a:gd name="connsiteX2" fmla="*/ 281437 w 1308100"/>
                <a:gd name="connsiteY2" fmla="*/ 1276408 h 1676400"/>
                <a:gd name="connsiteX3" fmla="*/ 741939 w 1308100"/>
                <a:gd name="connsiteY3" fmla="*/ 1597972 h 1676400"/>
                <a:gd name="connsiteX4" fmla="*/ 1299215 w 1308100"/>
                <a:gd name="connsiteY4" fmla="*/ 1668838 h 1676400"/>
                <a:gd name="connsiteX5" fmla="*/ 1293119 w 1308100"/>
                <a:gd name="connsiteY5" fmla="*/ 1624007 h 1676400"/>
                <a:gd name="connsiteX6" fmla="*/ 784738 w 1308100"/>
                <a:gd name="connsiteY6" fmla="*/ 1536377 h 1676400"/>
                <a:gd name="connsiteX7" fmla="*/ 334904 w 1308100"/>
                <a:gd name="connsiteY7" fmla="*/ 1238943 h 1676400"/>
                <a:gd name="connsiteX8" fmla="*/ 81031 w 1308100"/>
                <a:gd name="connsiteY8" fmla="*/ 705797 h 1676400"/>
                <a:gd name="connsiteX9" fmla="*/ 50297 w 1308100"/>
                <a:gd name="connsiteY9" fmla="*/ 2725 h 1676400"/>
                <a:gd name="connsiteX10" fmla="*/ 46360 w 1308100"/>
                <a:gd name="connsiteY10" fmla="*/ 1455 h 167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08100" h="1676400">
                  <a:moveTo>
                    <a:pt x="46360" y="1455"/>
                  </a:moveTo>
                  <a:cubicBezTo>
                    <a:pt x="-2027" y="237548"/>
                    <a:pt x="-21077" y="467037"/>
                    <a:pt x="31374" y="704400"/>
                  </a:cubicBezTo>
                  <a:cubicBezTo>
                    <a:pt x="75062" y="901885"/>
                    <a:pt x="151516" y="1118420"/>
                    <a:pt x="281437" y="1276408"/>
                  </a:cubicBezTo>
                  <a:cubicBezTo>
                    <a:pt x="401579" y="1422331"/>
                    <a:pt x="567441" y="1528884"/>
                    <a:pt x="741939" y="1597972"/>
                  </a:cubicBezTo>
                  <a:cubicBezTo>
                    <a:pt x="909325" y="1664139"/>
                    <a:pt x="1120399" y="1718749"/>
                    <a:pt x="1299215" y="1668838"/>
                  </a:cubicBezTo>
                  <a:cubicBezTo>
                    <a:pt x="1324869" y="1661599"/>
                    <a:pt x="1318265" y="1625785"/>
                    <a:pt x="1293119" y="1624007"/>
                  </a:cubicBezTo>
                  <a:cubicBezTo>
                    <a:pt x="1117605" y="1611307"/>
                    <a:pt x="951616" y="1599369"/>
                    <a:pt x="784738" y="1536377"/>
                  </a:cubicBezTo>
                  <a:cubicBezTo>
                    <a:pt x="616463" y="1473004"/>
                    <a:pt x="453776" y="1375595"/>
                    <a:pt x="334904" y="1238943"/>
                  </a:cubicBezTo>
                  <a:cubicBezTo>
                    <a:pt x="207269" y="1092385"/>
                    <a:pt x="129672" y="891471"/>
                    <a:pt x="81031" y="705797"/>
                  </a:cubicBezTo>
                  <a:cubicBezTo>
                    <a:pt x="21722" y="479356"/>
                    <a:pt x="5720" y="232976"/>
                    <a:pt x="50297" y="2725"/>
                  </a:cubicBezTo>
                  <a:cubicBezTo>
                    <a:pt x="50805" y="-69"/>
                    <a:pt x="46868" y="-1085"/>
                    <a:pt x="46360" y="1455"/>
                  </a:cubicBezTo>
                </a:path>
              </a:pathLst>
            </a:custGeom>
            <a:solidFill>
              <a:schemeClr val="tx2"/>
            </a:solidFill>
            <a:ln w="12689" cap="flat">
              <a:noFill/>
              <a:prstDash val="solid"/>
              <a:miter/>
            </a:ln>
          </p:spPr>
          <p:txBody>
            <a:bodyPr rtlCol="0" anchor="ctr"/>
            <a:lstStyle/>
            <a:p>
              <a:endParaRPr lang="bg-BG"/>
            </a:p>
          </p:txBody>
        </p:sp>
        <p:sp>
          <p:nvSpPr>
            <p:cNvPr id="74" name="Свободна форма: фигура 17">
              <a:extLst>
                <a:ext uri="{FF2B5EF4-FFF2-40B4-BE49-F238E27FC236}">
                  <a16:creationId xmlns:a16="http://schemas.microsoft.com/office/drawing/2014/main" id="{4F8E777A-830C-4F91-9E31-537F0C7788E8}"/>
                </a:ext>
              </a:extLst>
            </p:cNvPr>
            <p:cNvSpPr/>
            <p:nvPr/>
          </p:nvSpPr>
          <p:spPr>
            <a:xfrm>
              <a:off x="2489350" y="671867"/>
              <a:ext cx="685800" cy="749300"/>
            </a:xfrm>
            <a:custGeom>
              <a:avLst/>
              <a:gdLst>
                <a:gd name="connsiteX0" fmla="*/ 6454 w 685800"/>
                <a:gd name="connsiteY0" fmla="*/ 24855 h 749300"/>
                <a:gd name="connsiteX1" fmla="*/ 673839 w 685800"/>
                <a:gd name="connsiteY1" fmla="*/ 745453 h 749300"/>
                <a:gd name="connsiteX2" fmla="*/ 692508 w 685800"/>
                <a:gd name="connsiteY2" fmla="*/ 737579 h 749300"/>
                <a:gd name="connsiteX3" fmla="*/ 16614 w 685800"/>
                <a:gd name="connsiteY3" fmla="*/ 852 h 749300"/>
                <a:gd name="connsiteX4" fmla="*/ 6454 w 685800"/>
                <a:gd name="connsiteY4" fmla="*/ 24855 h 749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 h="749300">
                  <a:moveTo>
                    <a:pt x="6454" y="24855"/>
                  </a:moveTo>
                  <a:cubicBezTo>
                    <a:pt x="324208" y="165571"/>
                    <a:pt x="536806" y="434176"/>
                    <a:pt x="673839" y="745453"/>
                  </a:cubicBezTo>
                  <a:cubicBezTo>
                    <a:pt x="678665" y="756375"/>
                    <a:pt x="694921" y="748374"/>
                    <a:pt x="692508" y="737579"/>
                  </a:cubicBezTo>
                  <a:cubicBezTo>
                    <a:pt x="615673" y="406871"/>
                    <a:pt x="321668" y="123788"/>
                    <a:pt x="16614" y="852"/>
                  </a:cubicBezTo>
                  <a:cubicBezTo>
                    <a:pt x="2898" y="-4736"/>
                    <a:pt x="-7135" y="18759"/>
                    <a:pt x="6454" y="24855"/>
                  </a:cubicBezTo>
                </a:path>
              </a:pathLst>
            </a:custGeom>
            <a:solidFill>
              <a:schemeClr val="tx2"/>
            </a:solidFill>
            <a:ln w="12689" cap="flat">
              <a:noFill/>
              <a:prstDash val="solid"/>
              <a:miter/>
            </a:ln>
          </p:spPr>
          <p:txBody>
            <a:bodyPr rtlCol="0" anchor="ctr"/>
            <a:lstStyle/>
            <a:p>
              <a:endParaRPr lang="bg-BG"/>
            </a:p>
          </p:txBody>
        </p:sp>
        <p:sp>
          <p:nvSpPr>
            <p:cNvPr id="75" name="Свободна форма: фигура 19">
              <a:extLst>
                <a:ext uri="{FF2B5EF4-FFF2-40B4-BE49-F238E27FC236}">
                  <a16:creationId xmlns:a16="http://schemas.microsoft.com/office/drawing/2014/main" id="{697314DB-3B80-C18E-725F-77B25904A0BE}"/>
                </a:ext>
              </a:extLst>
            </p:cNvPr>
            <p:cNvSpPr/>
            <p:nvPr/>
          </p:nvSpPr>
          <p:spPr>
            <a:xfrm>
              <a:off x="641301" y="982061"/>
              <a:ext cx="254000" cy="368300"/>
            </a:xfrm>
            <a:custGeom>
              <a:avLst/>
              <a:gdLst>
                <a:gd name="connsiteX0" fmla="*/ 21004 w 254000"/>
                <a:gd name="connsiteY0" fmla="*/ 366298 h 368300"/>
                <a:gd name="connsiteX1" fmla="*/ 260399 w 254000"/>
                <a:gd name="connsiteY1" fmla="*/ 11587 h 368300"/>
                <a:gd name="connsiteX2" fmla="*/ 252271 w 254000"/>
                <a:gd name="connsiteY2" fmla="*/ 1046 h 368300"/>
                <a:gd name="connsiteX3" fmla="*/ 430 w 254000"/>
                <a:gd name="connsiteY3" fmla="*/ 360583 h 368300"/>
                <a:gd name="connsiteX4" fmla="*/ 21004 w 254000"/>
                <a:gd name="connsiteY4" fmla="*/ 366298 h 36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000" h="368300">
                  <a:moveTo>
                    <a:pt x="21004" y="366298"/>
                  </a:moveTo>
                  <a:cubicBezTo>
                    <a:pt x="71677" y="226852"/>
                    <a:pt x="155497" y="114584"/>
                    <a:pt x="260399" y="11587"/>
                  </a:cubicBezTo>
                  <a:cubicBezTo>
                    <a:pt x="265733" y="6253"/>
                    <a:pt x="258748" y="-3145"/>
                    <a:pt x="252271" y="1046"/>
                  </a:cubicBezTo>
                  <a:cubicBezTo>
                    <a:pt x="123874" y="82199"/>
                    <a:pt x="38530" y="215676"/>
                    <a:pt x="430" y="360583"/>
                  </a:cubicBezTo>
                  <a:cubicBezTo>
                    <a:pt x="-3126" y="374045"/>
                    <a:pt x="16432" y="379125"/>
                    <a:pt x="21004" y="366298"/>
                  </a:cubicBezTo>
                </a:path>
              </a:pathLst>
            </a:custGeom>
            <a:solidFill>
              <a:schemeClr val="tx2"/>
            </a:solidFill>
            <a:ln w="12689" cap="flat">
              <a:noFill/>
              <a:prstDash val="solid"/>
              <a:miter/>
            </a:ln>
          </p:spPr>
          <p:txBody>
            <a:bodyPr rtlCol="0" anchor="ctr"/>
            <a:lstStyle/>
            <a:p>
              <a:endParaRPr lang="bg-BG"/>
            </a:p>
          </p:txBody>
        </p:sp>
        <p:sp>
          <p:nvSpPr>
            <p:cNvPr id="76" name="Свободна форма: фигура 20">
              <a:extLst>
                <a:ext uri="{FF2B5EF4-FFF2-40B4-BE49-F238E27FC236}">
                  <a16:creationId xmlns:a16="http://schemas.microsoft.com/office/drawing/2014/main" id="{59F0FC6B-6B05-A02D-2904-83985F9B32FC}"/>
                </a:ext>
              </a:extLst>
            </p:cNvPr>
            <p:cNvSpPr/>
            <p:nvPr/>
          </p:nvSpPr>
          <p:spPr>
            <a:xfrm>
              <a:off x="2257997" y="2005855"/>
              <a:ext cx="977900" cy="1066800"/>
            </a:xfrm>
            <a:custGeom>
              <a:avLst/>
              <a:gdLst>
                <a:gd name="connsiteX0" fmla="*/ 965898 w 977900"/>
                <a:gd name="connsiteY0" fmla="*/ 4555 h 1066800"/>
                <a:gd name="connsiteX1" fmla="*/ 603059 w 977900"/>
                <a:gd name="connsiteY1" fmla="*/ 633967 h 1066800"/>
                <a:gd name="connsiteX2" fmla="*/ 9461 w 977900"/>
                <a:gd name="connsiteY2" fmla="*/ 1052686 h 1066800"/>
                <a:gd name="connsiteX3" fmla="*/ 13017 w 977900"/>
                <a:gd name="connsiteY3" fmla="*/ 1078848 h 1066800"/>
                <a:gd name="connsiteX4" fmla="*/ 344233 w 977900"/>
                <a:gd name="connsiteY4" fmla="*/ 921241 h 1066800"/>
                <a:gd name="connsiteX5" fmla="*/ 626427 w 977900"/>
                <a:gd name="connsiteY5" fmla="*/ 676512 h 1066800"/>
                <a:gd name="connsiteX6" fmla="*/ 846772 w 977900"/>
                <a:gd name="connsiteY6" fmla="*/ 372474 h 1066800"/>
                <a:gd name="connsiteX7" fmla="*/ 978725 w 977900"/>
                <a:gd name="connsiteY7" fmla="*/ 7984 h 1066800"/>
                <a:gd name="connsiteX8" fmla="*/ 965898 w 977900"/>
                <a:gd name="connsiteY8" fmla="*/ 4555 h 106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7900" h="1066800">
                  <a:moveTo>
                    <a:pt x="965898" y="4555"/>
                  </a:moveTo>
                  <a:cubicBezTo>
                    <a:pt x="876871" y="229980"/>
                    <a:pt x="756602" y="445753"/>
                    <a:pt x="603059" y="633967"/>
                  </a:cubicBezTo>
                  <a:cubicBezTo>
                    <a:pt x="454469" y="816085"/>
                    <a:pt x="244665" y="1004045"/>
                    <a:pt x="9461" y="1052686"/>
                  </a:cubicBezTo>
                  <a:cubicBezTo>
                    <a:pt x="-5144" y="1055734"/>
                    <a:pt x="-1969" y="1079737"/>
                    <a:pt x="13017" y="1078848"/>
                  </a:cubicBezTo>
                  <a:cubicBezTo>
                    <a:pt x="135699" y="1071482"/>
                    <a:pt x="247332" y="990329"/>
                    <a:pt x="344233" y="921241"/>
                  </a:cubicBezTo>
                  <a:cubicBezTo>
                    <a:pt x="447230" y="847708"/>
                    <a:pt x="540067" y="769984"/>
                    <a:pt x="626427" y="676512"/>
                  </a:cubicBezTo>
                  <a:cubicBezTo>
                    <a:pt x="715835" y="579611"/>
                    <a:pt x="787590" y="491600"/>
                    <a:pt x="846772" y="372474"/>
                  </a:cubicBezTo>
                  <a:cubicBezTo>
                    <a:pt x="904430" y="256269"/>
                    <a:pt x="952690" y="135365"/>
                    <a:pt x="978725" y="7984"/>
                  </a:cubicBezTo>
                  <a:cubicBezTo>
                    <a:pt x="980249" y="-398"/>
                    <a:pt x="968946" y="-3192"/>
                    <a:pt x="965898" y="4555"/>
                  </a:cubicBezTo>
                </a:path>
              </a:pathLst>
            </a:custGeom>
            <a:solidFill>
              <a:schemeClr val="tx2"/>
            </a:solidFill>
            <a:ln w="12689" cap="flat">
              <a:noFill/>
              <a:prstDash val="solid"/>
              <a:miter/>
            </a:ln>
          </p:spPr>
          <p:txBody>
            <a:bodyPr rtlCol="0" anchor="ctr"/>
            <a:lstStyle/>
            <a:p>
              <a:endParaRPr lang="bg-BG" dirty="0"/>
            </a:p>
          </p:txBody>
        </p:sp>
        <p:sp>
          <p:nvSpPr>
            <p:cNvPr id="77" name="Свободна форма: фигура 21">
              <a:extLst>
                <a:ext uri="{FF2B5EF4-FFF2-40B4-BE49-F238E27FC236}">
                  <a16:creationId xmlns:a16="http://schemas.microsoft.com/office/drawing/2014/main" id="{CA73F2D3-7275-9BCB-E01D-522DD2A379BA}"/>
                </a:ext>
              </a:extLst>
            </p:cNvPr>
            <p:cNvSpPr/>
            <p:nvPr/>
          </p:nvSpPr>
          <p:spPr>
            <a:xfrm>
              <a:off x="1103626" y="657128"/>
              <a:ext cx="215900" cy="139700"/>
            </a:xfrm>
            <a:custGeom>
              <a:avLst/>
              <a:gdLst>
                <a:gd name="connsiteX0" fmla="*/ 28706 w 215900"/>
                <a:gd name="connsiteY0" fmla="*/ 144369 h 139700"/>
                <a:gd name="connsiteX1" fmla="*/ 125988 w 215900"/>
                <a:gd name="connsiteY1" fmla="*/ 69439 h 139700"/>
                <a:gd name="connsiteX2" fmla="*/ 218063 w 215900"/>
                <a:gd name="connsiteY2" fmla="*/ 20671 h 139700"/>
                <a:gd name="connsiteX3" fmla="*/ 212475 w 215900"/>
                <a:gd name="connsiteY3" fmla="*/ 97 h 139700"/>
                <a:gd name="connsiteX4" fmla="*/ 5211 w 215900"/>
                <a:gd name="connsiteY4" fmla="*/ 121001 h 139700"/>
                <a:gd name="connsiteX5" fmla="*/ 28706 w 215900"/>
                <a:gd name="connsiteY5" fmla="*/ 144369 h 13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5900" h="139700">
                  <a:moveTo>
                    <a:pt x="28706" y="144369"/>
                  </a:moveTo>
                  <a:cubicBezTo>
                    <a:pt x="59059" y="116556"/>
                    <a:pt x="90809" y="90775"/>
                    <a:pt x="125988" y="69439"/>
                  </a:cubicBezTo>
                  <a:cubicBezTo>
                    <a:pt x="155706" y="51532"/>
                    <a:pt x="188599" y="38832"/>
                    <a:pt x="218063" y="20671"/>
                  </a:cubicBezTo>
                  <a:cubicBezTo>
                    <a:pt x="226572" y="15464"/>
                    <a:pt x="224032" y="-1427"/>
                    <a:pt x="212475" y="97"/>
                  </a:cubicBezTo>
                  <a:cubicBezTo>
                    <a:pt x="133100" y="10257"/>
                    <a:pt x="62107" y="68677"/>
                    <a:pt x="5211" y="121001"/>
                  </a:cubicBezTo>
                  <a:cubicBezTo>
                    <a:pt x="-10537" y="135352"/>
                    <a:pt x="12958" y="158847"/>
                    <a:pt x="28706" y="144369"/>
                  </a:cubicBezTo>
                </a:path>
              </a:pathLst>
            </a:custGeom>
            <a:solidFill>
              <a:schemeClr val="tx2"/>
            </a:solidFill>
            <a:ln w="12689" cap="flat">
              <a:noFill/>
              <a:prstDash val="solid"/>
              <a:miter/>
            </a:ln>
          </p:spPr>
          <p:txBody>
            <a:bodyPr rtlCol="0" anchor="ctr"/>
            <a:lstStyle/>
            <a:p>
              <a:endParaRPr lang="bg-BG"/>
            </a:p>
          </p:txBody>
        </p:sp>
        <p:sp>
          <p:nvSpPr>
            <p:cNvPr id="78" name="Свободна форма: фигура 23">
              <a:extLst>
                <a:ext uri="{FF2B5EF4-FFF2-40B4-BE49-F238E27FC236}">
                  <a16:creationId xmlns:a16="http://schemas.microsoft.com/office/drawing/2014/main" id="{95A3E9BD-A04A-D201-D16A-7E182B014033}"/>
                </a:ext>
              </a:extLst>
            </p:cNvPr>
            <p:cNvSpPr/>
            <p:nvPr/>
          </p:nvSpPr>
          <p:spPr>
            <a:xfrm>
              <a:off x="1362964" y="907161"/>
              <a:ext cx="25400" cy="25400"/>
            </a:xfrm>
            <a:custGeom>
              <a:avLst/>
              <a:gdLst>
                <a:gd name="connsiteX0" fmla="*/ 33655 w 25400"/>
                <a:gd name="connsiteY0" fmla="*/ 15748 h 25400"/>
                <a:gd name="connsiteX1" fmla="*/ 0 w 25400"/>
                <a:gd name="connsiteY1" fmla="*/ 20447 h 25400"/>
                <a:gd name="connsiteX2" fmla="*/ 17907 w 25400"/>
                <a:gd name="connsiteY2" fmla="*/ 0 h 25400"/>
                <a:gd name="connsiteX3" fmla="*/ 33655 w 25400"/>
                <a:gd name="connsiteY3" fmla="*/ 15748 h 25400"/>
              </a:gdLst>
              <a:ahLst/>
              <a:cxnLst>
                <a:cxn ang="0">
                  <a:pos x="connsiteX0" y="connsiteY0"/>
                </a:cxn>
                <a:cxn ang="0">
                  <a:pos x="connsiteX1" y="connsiteY1"/>
                </a:cxn>
                <a:cxn ang="0">
                  <a:pos x="connsiteX2" y="connsiteY2"/>
                </a:cxn>
                <a:cxn ang="0">
                  <a:pos x="connsiteX3" y="connsiteY3"/>
                </a:cxn>
              </a:cxnLst>
              <a:rect l="l" t="t" r="r" b="b"/>
              <a:pathLst>
                <a:path w="25400" h="25400">
                  <a:moveTo>
                    <a:pt x="33655" y="15748"/>
                  </a:moveTo>
                  <a:cubicBezTo>
                    <a:pt x="22352" y="42799"/>
                    <a:pt x="11176" y="31623"/>
                    <a:pt x="0" y="20447"/>
                  </a:cubicBezTo>
                  <a:cubicBezTo>
                    <a:pt x="11176" y="9271"/>
                    <a:pt x="11176" y="9271"/>
                    <a:pt x="17907" y="0"/>
                  </a:cubicBezTo>
                  <a:cubicBezTo>
                    <a:pt x="26543" y="0"/>
                    <a:pt x="33655" y="7112"/>
                    <a:pt x="33655" y="15748"/>
                  </a:cubicBezTo>
                </a:path>
              </a:pathLst>
            </a:custGeom>
            <a:solidFill>
              <a:schemeClr val="tx2"/>
            </a:solidFill>
            <a:ln w="12689" cap="flat">
              <a:noFill/>
              <a:prstDash val="solid"/>
              <a:miter/>
            </a:ln>
          </p:spPr>
          <p:txBody>
            <a:bodyPr rtlCol="0" anchor="ctr"/>
            <a:lstStyle/>
            <a:p>
              <a:endParaRPr lang="bg-BG"/>
            </a:p>
          </p:txBody>
        </p:sp>
        <p:sp>
          <p:nvSpPr>
            <p:cNvPr id="79" name="Свободна форма: фигура 24">
              <a:extLst>
                <a:ext uri="{FF2B5EF4-FFF2-40B4-BE49-F238E27FC236}">
                  <a16:creationId xmlns:a16="http://schemas.microsoft.com/office/drawing/2014/main" id="{620BFEDB-2B1F-01D0-827E-2B4A249892AA}"/>
                </a:ext>
              </a:extLst>
            </p:cNvPr>
            <p:cNvSpPr/>
            <p:nvPr/>
          </p:nvSpPr>
          <p:spPr>
            <a:xfrm>
              <a:off x="1396492" y="1063687"/>
              <a:ext cx="25400" cy="25400"/>
            </a:xfrm>
            <a:custGeom>
              <a:avLst/>
              <a:gdLst>
                <a:gd name="connsiteX0" fmla="*/ 32385 w 25400"/>
                <a:gd name="connsiteY0" fmla="*/ 21782 h 25400"/>
                <a:gd name="connsiteX1" fmla="*/ 0 w 25400"/>
                <a:gd name="connsiteY1" fmla="*/ 9590 h 25400"/>
                <a:gd name="connsiteX2" fmla="*/ 26416 w 25400"/>
                <a:gd name="connsiteY2" fmla="*/ 192 h 25400"/>
                <a:gd name="connsiteX3" fmla="*/ 32385 w 25400"/>
                <a:gd name="connsiteY3" fmla="*/ 21782 h 25400"/>
              </a:gdLst>
              <a:ahLst/>
              <a:cxnLst>
                <a:cxn ang="0">
                  <a:pos x="connsiteX0" y="connsiteY0"/>
                </a:cxn>
                <a:cxn ang="0">
                  <a:pos x="connsiteX1" y="connsiteY1"/>
                </a:cxn>
                <a:cxn ang="0">
                  <a:pos x="connsiteX2" y="connsiteY2"/>
                </a:cxn>
                <a:cxn ang="0">
                  <a:pos x="connsiteX3" y="connsiteY3"/>
                </a:cxn>
              </a:cxnLst>
              <a:rect l="l" t="t" r="r" b="b"/>
              <a:pathLst>
                <a:path w="25400" h="25400">
                  <a:moveTo>
                    <a:pt x="32385" y="21782"/>
                  </a:moveTo>
                  <a:cubicBezTo>
                    <a:pt x="11176" y="43118"/>
                    <a:pt x="0" y="31942"/>
                    <a:pt x="0" y="9590"/>
                  </a:cubicBezTo>
                  <a:cubicBezTo>
                    <a:pt x="0" y="9590"/>
                    <a:pt x="11176" y="-1586"/>
                    <a:pt x="26416" y="192"/>
                  </a:cubicBezTo>
                  <a:cubicBezTo>
                    <a:pt x="34036" y="4383"/>
                    <a:pt x="36703" y="14162"/>
                    <a:pt x="32385" y="21782"/>
                  </a:cubicBezTo>
                </a:path>
              </a:pathLst>
            </a:custGeom>
            <a:solidFill>
              <a:schemeClr val="tx2"/>
            </a:solidFill>
            <a:ln w="12689" cap="flat">
              <a:noFill/>
              <a:prstDash val="solid"/>
              <a:miter/>
            </a:ln>
          </p:spPr>
          <p:txBody>
            <a:bodyPr rtlCol="0" anchor="ctr"/>
            <a:lstStyle/>
            <a:p>
              <a:endParaRPr lang="bg-BG"/>
            </a:p>
          </p:txBody>
        </p:sp>
        <p:sp>
          <p:nvSpPr>
            <p:cNvPr id="80" name="Свободна форма: фигура 25">
              <a:extLst>
                <a:ext uri="{FF2B5EF4-FFF2-40B4-BE49-F238E27FC236}">
                  <a16:creationId xmlns:a16="http://schemas.microsoft.com/office/drawing/2014/main" id="{B6C5A872-888D-1DDA-65B1-39C064904FB5}"/>
                </a:ext>
              </a:extLst>
            </p:cNvPr>
            <p:cNvSpPr/>
            <p:nvPr/>
          </p:nvSpPr>
          <p:spPr>
            <a:xfrm>
              <a:off x="1497330" y="1203960"/>
              <a:ext cx="25400" cy="25400"/>
            </a:xfrm>
            <a:custGeom>
              <a:avLst/>
              <a:gdLst>
                <a:gd name="connsiteX0" fmla="*/ 31496 w 25400"/>
                <a:gd name="connsiteY0" fmla="*/ 21717 h 25400"/>
                <a:gd name="connsiteX1" fmla="*/ 0 w 25400"/>
                <a:gd name="connsiteY1" fmla="*/ 3556 h 25400"/>
                <a:gd name="connsiteX2" fmla="*/ 25527 w 25400"/>
                <a:gd name="connsiteY2" fmla="*/ 0 h 25400"/>
                <a:gd name="connsiteX3" fmla="*/ 31496 w 25400"/>
                <a:gd name="connsiteY3" fmla="*/ 21717 h 25400"/>
              </a:gdLst>
              <a:ahLst/>
              <a:cxnLst>
                <a:cxn ang="0">
                  <a:pos x="connsiteX0" y="connsiteY0"/>
                </a:cxn>
                <a:cxn ang="0">
                  <a:pos x="connsiteX1" y="connsiteY1"/>
                </a:cxn>
                <a:cxn ang="0">
                  <a:pos x="connsiteX2" y="connsiteY2"/>
                </a:cxn>
                <a:cxn ang="0">
                  <a:pos x="connsiteX3" y="connsiteY3"/>
                </a:cxn>
              </a:cxnLst>
              <a:rect l="l" t="t" r="r" b="b"/>
              <a:pathLst>
                <a:path w="25400" h="25400">
                  <a:moveTo>
                    <a:pt x="31496" y="21717"/>
                  </a:moveTo>
                  <a:cubicBezTo>
                    <a:pt x="11176" y="37084"/>
                    <a:pt x="0" y="25908"/>
                    <a:pt x="0" y="3556"/>
                  </a:cubicBezTo>
                  <a:cubicBezTo>
                    <a:pt x="11176" y="3556"/>
                    <a:pt x="11176" y="3556"/>
                    <a:pt x="25527" y="0"/>
                  </a:cubicBezTo>
                  <a:cubicBezTo>
                    <a:pt x="33147" y="4445"/>
                    <a:pt x="35814" y="14224"/>
                    <a:pt x="31496" y="21717"/>
                  </a:cubicBezTo>
                </a:path>
              </a:pathLst>
            </a:custGeom>
            <a:solidFill>
              <a:schemeClr val="tx2"/>
            </a:solidFill>
            <a:ln w="12689" cap="flat">
              <a:noFill/>
              <a:prstDash val="solid"/>
              <a:miter/>
            </a:ln>
          </p:spPr>
          <p:txBody>
            <a:bodyPr rtlCol="0" anchor="ctr"/>
            <a:lstStyle/>
            <a:p>
              <a:endParaRPr lang="bg-BG"/>
            </a:p>
          </p:txBody>
        </p:sp>
        <p:sp>
          <p:nvSpPr>
            <p:cNvPr id="81" name="Свободна форма: фигура 26">
              <a:extLst>
                <a:ext uri="{FF2B5EF4-FFF2-40B4-BE49-F238E27FC236}">
                  <a16:creationId xmlns:a16="http://schemas.microsoft.com/office/drawing/2014/main" id="{99CB44B4-FD6F-A415-4910-C63B138009E9}"/>
                </a:ext>
              </a:extLst>
            </p:cNvPr>
            <p:cNvSpPr/>
            <p:nvPr/>
          </p:nvSpPr>
          <p:spPr>
            <a:xfrm>
              <a:off x="2136140" y="1159590"/>
              <a:ext cx="215900" cy="165100"/>
            </a:xfrm>
            <a:custGeom>
              <a:avLst/>
              <a:gdLst>
                <a:gd name="connsiteX0" fmla="*/ 0 w 215900"/>
                <a:gd name="connsiteY0" fmla="*/ 173402 h 165100"/>
                <a:gd name="connsiteX1" fmla="*/ 209550 w 215900"/>
                <a:gd name="connsiteY1" fmla="*/ 41957 h 165100"/>
                <a:gd name="connsiteX2" fmla="*/ 129794 w 215900"/>
                <a:gd name="connsiteY2" fmla="*/ 77263 h 165100"/>
                <a:gd name="connsiteX3" fmla="*/ 0 w 215900"/>
                <a:gd name="connsiteY3" fmla="*/ 173402 h 165100"/>
              </a:gdLst>
              <a:ahLst/>
              <a:cxnLst>
                <a:cxn ang="0">
                  <a:pos x="connsiteX0" y="connsiteY0"/>
                </a:cxn>
                <a:cxn ang="0">
                  <a:pos x="connsiteX1" y="connsiteY1"/>
                </a:cxn>
                <a:cxn ang="0">
                  <a:pos x="connsiteX2" y="connsiteY2"/>
                </a:cxn>
                <a:cxn ang="0">
                  <a:pos x="connsiteX3" y="connsiteY3"/>
                </a:cxn>
              </a:cxnLst>
              <a:rect l="l" t="t" r="r" b="b"/>
              <a:pathLst>
                <a:path w="215900" h="165100">
                  <a:moveTo>
                    <a:pt x="0" y="173402"/>
                  </a:moveTo>
                  <a:cubicBezTo>
                    <a:pt x="0" y="173402"/>
                    <a:pt x="182372" y="133778"/>
                    <a:pt x="209550" y="41957"/>
                  </a:cubicBezTo>
                  <a:cubicBezTo>
                    <a:pt x="236855" y="-49864"/>
                    <a:pt x="172593" y="30908"/>
                    <a:pt x="129794" y="77263"/>
                  </a:cubicBezTo>
                  <a:cubicBezTo>
                    <a:pt x="87122" y="123618"/>
                    <a:pt x="0" y="173402"/>
                    <a:pt x="0" y="173402"/>
                  </a:cubicBezTo>
                </a:path>
              </a:pathLst>
            </a:custGeom>
            <a:solidFill>
              <a:schemeClr val="tx2"/>
            </a:solidFill>
            <a:ln w="12689" cap="flat">
              <a:noFill/>
              <a:prstDash val="solid"/>
              <a:miter/>
            </a:ln>
          </p:spPr>
          <p:txBody>
            <a:bodyPr rtlCol="0" anchor="ctr"/>
            <a:lstStyle/>
            <a:p>
              <a:endParaRPr lang="bg-BG"/>
            </a:p>
          </p:txBody>
        </p:sp>
        <p:sp>
          <p:nvSpPr>
            <p:cNvPr id="82" name="Свободна форма: фигура 27">
              <a:extLst>
                <a:ext uri="{FF2B5EF4-FFF2-40B4-BE49-F238E27FC236}">
                  <a16:creationId xmlns:a16="http://schemas.microsoft.com/office/drawing/2014/main" id="{BF415BB7-657A-2A6C-7027-2AE7006C8405}"/>
                </a:ext>
              </a:extLst>
            </p:cNvPr>
            <p:cNvSpPr/>
            <p:nvPr/>
          </p:nvSpPr>
          <p:spPr>
            <a:xfrm>
              <a:off x="1442985" y="476377"/>
              <a:ext cx="114300" cy="88900"/>
            </a:xfrm>
            <a:custGeom>
              <a:avLst/>
              <a:gdLst>
                <a:gd name="connsiteX0" fmla="*/ 114670 w 114300"/>
                <a:gd name="connsiteY0" fmla="*/ 0 h 88900"/>
                <a:gd name="connsiteX1" fmla="*/ 6466 w 114300"/>
                <a:gd name="connsiteY1" fmla="*/ 55626 h 88900"/>
                <a:gd name="connsiteX2" fmla="*/ 62473 w 114300"/>
                <a:gd name="connsiteY2" fmla="*/ 58293 h 88900"/>
                <a:gd name="connsiteX3" fmla="*/ 114670 w 114300"/>
                <a:gd name="connsiteY3" fmla="*/ 0 h 88900"/>
              </a:gdLst>
              <a:ahLst/>
              <a:cxnLst>
                <a:cxn ang="0">
                  <a:pos x="connsiteX0" y="connsiteY0"/>
                </a:cxn>
                <a:cxn ang="0">
                  <a:pos x="connsiteX1" y="connsiteY1"/>
                </a:cxn>
                <a:cxn ang="0">
                  <a:pos x="connsiteX2" y="connsiteY2"/>
                </a:cxn>
                <a:cxn ang="0">
                  <a:pos x="connsiteX3" y="connsiteY3"/>
                </a:cxn>
              </a:cxnLst>
              <a:rect l="l" t="t" r="r" b="b"/>
              <a:pathLst>
                <a:path w="114300" h="88900">
                  <a:moveTo>
                    <a:pt x="114670" y="0"/>
                  </a:moveTo>
                  <a:cubicBezTo>
                    <a:pt x="114670" y="0"/>
                    <a:pt x="28564" y="12065"/>
                    <a:pt x="6466" y="55626"/>
                  </a:cubicBezTo>
                  <a:cubicBezTo>
                    <a:pt x="-15632" y="99187"/>
                    <a:pt x="22849" y="104775"/>
                    <a:pt x="62473" y="58293"/>
                  </a:cubicBezTo>
                  <a:cubicBezTo>
                    <a:pt x="101970" y="11557"/>
                    <a:pt x="114670" y="0"/>
                    <a:pt x="114670" y="0"/>
                  </a:cubicBezTo>
                </a:path>
              </a:pathLst>
            </a:custGeom>
            <a:solidFill>
              <a:schemeClr val="tx2"/>
            </a:solidFill>
            <a:ln w="12689" cap="flat">
              <a:noFill/>
              <a:prstDash val="solid"/>
              <a:miter/>
            </a:ln>
          </p:spPr>
          <p:txBody>
            <a:bodyPr rtlCol="0" anchor="ctr"/>
            <a:lstStyle/>
            <a:p>
              <a:endParaRPr lang="bg-BG"/>
            </a:p>
          </p:txBody>
        </p:sp>
      </p:grpSp>
      <p:grpSp>
        <p:nvGrpSpPr>
          <p:cNvPr id="100" name="Group 99">
            <a:extLst>
              <a:ext uri="{FF2B5EF4-FFF2-40B4-BE49-F238E27FC236}">
                <a16:creationId xmlns:a16="http://schemas.microsoft.com/office/drawing/2014/main" id="{0C140023-832E-D31A-3200-E478C742FD5C}"/>
              </a:ext>
            </a:extLst>
          </p:cNvPr>
          <p:cNvGrpSpPr/>
          <p:nvPr/>
        </p:nvGrpSpPr>
        <p:grpSpPr>
          <a:xfrm>
            <a:off x="8447386" y="1832417"/>
            <a:ext cx="3688976" cy="4383048"/>
            <a:chOff x="583687" y="407303"/>
            <a:chExt cx="2652210" cy="2724586"/>
          </a:xfrm>
        </p:grpSpPr>
        <p:sp>
          <p:nvSpPr>
            <p:cNvPr id="101" name="Свободна форма: фигура 11">
              <a:extLst>
                <a:ext uri="{FF2B5EF4-FFF2-40B4-BE49-F238E27FC236}">
                  <a16:creationId xmlns:a16="http://schemas.microsoft.com/office/drawing/2014/main" id="{0A890819-F2B9-A1BD-1D1A-DE9987E0E0D6}"/>
                </a:ext>
              </a:extLst>
            </p:cNvPr>
            <p:cNvSpPr/>
            <p:nvPr/>
          </p:nvSpPr>
          <p:spPr>
            <a:xfrm>
              <a:off x="677366" y="592080"/>
              <a:ext cx="2413000" cy="2413000"/>
            </a:xfrm>
            <a:custGeom>
              <a:avLst/>
              <a:gdLst>
                <a:gd name="connsiteX0" fmla="*/ 2422704 w 2413000"/>
                <a:gd name="connsiteY0" fmla="*/ 1249928 h 2413000"/>
                <a:gd name="connsiteX1" fmla="*/ 1806246 w 2413000"/>
                <a:gd name="connsiteY1" fmla="*/ 2259705 h 2413000"/>
                <a:gd name="connsiteX2" fmla="*/ 1647242 w 2413000"/>
                <a:gd name="connsiteY2" fmla="*/ 2330190 h 2413000"/>
                <a:gd name="connsiteX3" fmla="*/ 250115 w 2413000"/>
                <a:gd name="connsiteY3" fmla="*/ 1945126 h 2413000"/>
                <a:gd name="connsiteX4" fmla="*/ 132767 w 2413000"/>
                <a:gd name="connsiteY4" fmla="*/ 1759452 h 2413000"/>
                <a:gd name="connsiteX5" fmla="*/ 88825 w 2413000"/>
                <a:gd name="connsiteY5" fmla="*/ 705987 h 2413000"/>
                <a:gd name="connsiteX6" fmla="*/ 1371779 w 2413000"/>
                <a:gd name="connsiteY6" fmla="*/ 11551 h 2413000"/>
                <a:gd name="connsiteX7" fmla="*/ 1587425 w 2413000"/>
                <a:gd name="connsiteY7" fmla="*/ 62605 h 2413000"/>
                <a:gd name="connsiteX8" fmla="*/ 2410893 w 2413000"/>
                <a:gd name="connsiteY8" fmla="*/ 1003294 h 2413000"/>
                <a:gd name="connsiteX9" fmla="*/ 2422704 w 2413000"/>
                <a:gd name="connsiteY9" fmla="*/ 1249928 h 241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3000" h="2413000">
                  <a:moveTo>
                    <a:pt x="2422704" y="1249928"/>
                  </a:moveTo>
                  <a:cubicBezTo>
                    <a:pt x="2416354" y="1676648"/>
                    <a:pt x="2163497" y="2066030"/>
                    <a:pt x="1806246" y="2259705"/>
                  </a:cubicBezTo>
                  <a:cubicBezTo>
                    <a:pt x="1755192" y="2287391"/>
                    <a:pt x="1702106" y="2311013"/>
                    <a:pt x="1647242" y="2330190"/>
                  </a:cubicBezTo>
                  <a:cubicBezTo>
                    <a:pt x="1147878" y="2541391"/>
                    <a:pt x="564567" y="2349367"/>
                    <a:pt x="250115" y="1945126"/>
                  </a:cubicBezTo>
                  <a:cubicBezTo>
                    <a:pt x="205157" y="1887341"/>
                    <a:pt x="165787" y="1825365"/>
                    <a:pt x="132767" y="1759452"/>
                  </a:cubicBezTo>
                  <a:cubicBezTo>
                    <a:pt x="1068" y="1430268"/>
                    <a:pt x="-64718" y="1057142"/>
                    <a:pt x="88825" y="705987"/>
                  </a:cubicBezTo>
                  <a:cubicBezTo>
                    <a:pt x="308281" y="223133"/>
                    <a:pt x="835077" y="-62236"/>
                    <a:pt x="1371779" y="11551"/>
                  </a:cubicBezTo>
                  <a:cubicBezTo>
                    <a:pt x="1444931" y="22473"/>
                    <a:pt x="1517194" y="39618"/>
                    <a:pt x="1587425" y="62605"/>
                  </a:cubicBezTo>
                  <a:cubicBezTo>
                    <a:pt x="2008938" y="200527"/>
                    <a:pt x="2360855" y="548380"/>
                    <a:pt x="2410893" y="1003294"/>
                  </a:cubicBezTo>
                  <a:cubicBezTo>
                    <a:pt x="2423212" y="1082669"/>
                    <a:pt x="2427403" y="1165473"/>
                    <a:pt x="2422704" y="1249928"/>
                  </a:cubicBezTo>
                </a:path>
              </a:pathLst>
            </a:custGeom>
            <a:solidFill>
              <a:srgbClr val="FFFFFF"/>
            </a:solidFill>
            <a:ln w="12689" cap="flat">
              <a:noFill/>
              <a:prstDash val="solid"/>
              <a:miter/>
            </a:ln>
          </p:spPr>
          <p:txBody>
            <a:bodyPr rtlCol="0" anchor="ctr"/>
            <a:lstStyle/>
            <a:p>
              <a:endParaRPr lang="bg-BG" dirty="0"/>
            </a:p>
          </p:txBody>
        </p:sp>
        <p:sp>
          <p:nvSpPr>
            <p:cNvPr id="102" name="Свободна форма: фигура 12">
              <a:extLst>
                <a:ext uri="{FF2B5EF4-FFF2-40B4-BE49-F238E27FC236}">
                  <a16:creationId xmlns:a16="http://schemas.microsoft.com/office/drawing/2014/main" id="{2C8A9956-91B8-D029-163E-188B35CC51F4}"/>
                </a:ext>
              </a:extLst>
            </p:cNvPr>
            <p:cNvSpPr/>
            <p:nvPr/>
          </p:nvSpPr>
          <p:spPr>
            <a:xfrm>
              <a:off x="1406829" y="592140"/>
              <a:ext cx="1054100" cy="850900"/>
            </a:xfrm>
            <a:custGeom>
              <a:avLst/>
              <a:gdLst>
                <a:gd name="connsiteX0" fmla="*/ 642316 w 1054100"/>
                <a:gd name="connsiteY0" fmla="*/ 11491 h 850900"/>
                <a:gd name="connsiteX1" fmla="*/ 61672 w 1054100"/>
                <a:gd name="connsiteY1" fmla="*/ 70419 h 850900"/>
                <a:gd name="connsiteX2" fmla="*/ 66244 w 1054100"/>
                <a:gd name="connsiteY2" fmla="*/ 566227 h 850900"/>
                <a:gd name="connsiteX3" fmla="*/ 118187 w 1054100"/>
                <a:gd name="connsiteY3" fmla="*/ 647253 h 850900"/>
                <a:gd name="connsiteX4" fmla="*/ 728422 w 1054100"/>
                <a:gd name="connsiteY4" fmla="*/ 817052 h 850900"/>
                <a:gd name="connsiteX5" fmla="*/ 1032333 w 1054100"/>
                <a:gd name="connsiteY5" fmla="*/ 474660 h 850900"/>
                <a:gd name="connsiteX6" fmla="*/ 1051637 w 1054100"/>
                <a:gd name="connsiteY6" fmla="*/ 381315 h 850900"/>
                <a:gd name="connsiteX7" fmla="*/ 1014172 w 1054100"/>
                <a:gd name="connsiteY7" fmla="*/ 124775 h 850900"/>
                <a:gd name="connsiteX8" fmla="*/ 857962 w 1054100"/>
                <a:gd name="connsiteY8" fmla="*/ 62545 h 850900"/>
                <a:gd name="connsiteX9" fmla="*/ 642316 w 1054100"/>
                <a:gd name="connsiteY9" fmla="*/ 11491 h 850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54100" h="850900">
                  <a:moveTo>
                    <a:pt x="642316" y="11491"/>
                  </a:moveTo>
                  <a:cubicBezTo>
                    <a:pt x="442291" y="-15941"/>
                    <a:pt x="243536" y="6538"/>
                    <a:pt x="61672" y="70419"/>
                  </a:cubicBezTo>
                  <a:cubicBezTo>
                    <a:pt x="-26847" y="221803"/>
                    <a:pt x="-15417" y="412176"/>
                    <a:pt x="66244" y="566227"/>
                  </a:cubicBezTo>
                  <a:cubicBezTo>
                    <a:pt x="81230" y="594548"/>
                    <a:pt x="98629" y="621726"/>
                    <a:pt x="118187" y="647253"/>
                  </a:cubicBezTo>
                  <a:cubicBezTo>
                    <a:pt x="263602" y="832038"/>
                    <a:pt x="514173" y="901761"/>
                    <a:pt x="728422" y="817052"/>
                  </a:cubicBezTo>
                  <a:cubicBezTo>
                    <a:pt x="882346" y="753679"/>
                    <a:pt x="974167" y="617281"/>
                    <a:pt x="1032333" y="474660"/>
                  </a:cubicBezTo>
                  <a:cubicBezTo>
                    <a:pt x="1041858" y="444180"/>
                    <a:pt x="1048335" y="412811"/>
                    <a:pt x="1051637" y="381315"/>
                  </a:cubicBezTo>
                  <a:cubicBezTo>
                    <a:pt x="1060908" y="294701"/>
                    <a:pt x="1047192" y="205928"/>
                    <a:pt x="1014172" y="124775"/>
                  </a:cubicBezTo>
                  <a:cubicBezTo>
                    <a:pt x="963499" y="100772"/>
                    <a:pt x="911302" y="80071"/>
                    <a:pt x="857962" y="62545"/>
                  </a:cubicBezTo>
                  <a:cubicBezTo>
                    <a:pt x="787731" y="39558"/>
                    <a:pt x="715595" y="22413"/>
                    <a:pt x="642316" y="11491"/>
                  </a:cubicBezTo>
                </a:path>
              </a:pathLst>
            </a:custGeom>
            <a:solidFill>
              <a:srgbClr val="F1F0D7"/>
            </a:solidFill>
            <a:ln w="12689" cap="flat">
              <a:noFill/>
              <a:prstDash val="solid"/>
              <a:miter/>
            </a:ln>
          </p:spPr>
          <p:txBody>
            <a:bodyPr rtlCol="0" anchor="ctr"/>
            <a:lstStyle/>
            <a:p>
              <a:endParaRPr lang="bg-BG"/>
            </a:p>
          </p:txBody>
        </p:sp>
        <p:sp>
          <p:nvSpPr>
            <p:cNvPr id="103" name="Свободна форма: фигура 13">
              <a:extLst>
                <a:ext uri="{FF2B5EF4-FFF2-40B4-BE49-F238E27FC236}">
                  <a16:creationId xmlns:a16="http://schemas.microsoft.com/office/drawing/2014/main" id="{6860A326-E300-02E8-C336-B0980B1388CB}"/>
                </a:ext>
              </a:extLst>
            </p:cNvPr>
            <p:cNvSpPr/>
            <p:nvPr/>
          </p:nvSpPr>
          <p:spPr>
            <a:xfrm>
              <a:off x="1425065" y="407303"/>
              <a:ext cx="914400" cy="927100"/>
            </a:xfrm>
            <a:custGeom>
              <a:avLst/>
              <a:gdLst>
                <a:gd name="connsiteX0" fmla="*/ 143512 w 914400"/>
                <a:gd name="connsiteY0" fmla="*/ 129780 h 927100"/>
                <a:gd name="connsiteX1" fmla="*/ 580011 w 914400"/>
                <a:gd name="connsiteY1" fmla="*/ 15988 h 927100"/>
                <a:gd name="connsiteX2" fmla="*/ 642368 w 914400"/>
                <a:gd name="connsiteY2" fmla="*/ 38721 h 927100"/>
                <a:gd name="connsiteX3" fmla="*/ 923800 w 914400"/>
                <a:gd name="connsiteY3" fmla="*/ 514208 h 927100"/>
                <a:gd name="connsiteX4" fmla="*/ 906782 w 914400"/>
                <a:gd name="connsiteY4" fmla="*/ 596251 h 927100"/>
                <a:gd name="connsiteX5" fmla="*/ 639828 w 914400"/>
                <a:gd name="connsiteY5" fmla="*/ 896860 h 927100"/>
                <a:gd name="connsiteX6" fmla="*/ 104015 w 914400"/>
                <a:gd name="connsiteY6" fmla="*/ 747762 h 927100"/>
                <a:gd name="connsiteX7" fmla="*/ 58295 w 914400"/>
                <a:gd name="connsiteY7" fmla="*/ 676642 h 927100"/>
                <a:gd name="connsiteX8" fmla="*/ 81409 w 914400"/>
                <a:gd name="connsiteY8" fmla="*/ 200519 h 927100"/>
                <a:gd name="connsiteX9" fmla="*/ 143512 w 914400"/>
                <a:gd name="connsiteY9" fmla="*/ 129780 h 927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4400" h="927100">
                  <a:moveTo>
                    <a:pt x="143512" y="129780"/>
                  </a:moveTo>
                  <a:cubicBezTo>
                    <a:pt x="258193" y="14337"/>
                    <a:pt x="430659" y="-25541"/>
                    <a:pt x="580011" y="15988"/>
                  </a:cubicBezTo>
                  <a:cubicBezTo>
                    <a:pt x="601347" y="21957"/>
                    <a:pt x="622175" y="29450"/>
                    <a:pt x="642368" y="38721"/>
                  </a:cubicBezTo>
                  <a:cubicBezTo>
                    <a:pt x="835281" y="113016"/>
                    <a:pt x="944501" y="320153"/>
                    <a:pt x="923800" y="514208"/>
                  </a:cubicBezTo>
                  <a:cubicBezTo>
                    <a:pt x="920879" y="541895"/>
                    <a:pt x="915164" y="569454"/>
                    <a:pt x="906782" y="596251"/>
                  </a:cubicBezTo>
                  <a:cubicBezTo>
                    <a:pt x="855728" y="721473"/>
                    <a:pt x="774956" y="841234"/>
                    <a:pt x="639828" y="896860"/>
                  </a:cubicBezTo>
                  <a:cubicBezTo>
                    <a:pt x="451741" y="971282"/>
                    <a:pt x="231650" y="910068"/>
                    <a:pt x="104015" y="747762"/>
                  </a:cubicBezTo>
                  <a:cubicBezTo>
                    <a:pt x="86870" y="725410"/>
                    <a:pt x="71503" y="701534"/>
                    <a:pt x="58295" y="676642"/>
                  </a:cubicBezTo>
                  <a:cubicBezTo>
                    <a:pt x="-20826" y="527163"/>
                    <a:pt x="-25271" y="338568"/>
                    <a:pt x="81409" y="200519"/>
                  </a:cubicBezTo>
                  <a:cubicBezTo>
                    <a:pt x="99062" y="175500"/>
                    <a:pt x="119890" y="151623"/>
                    <a:pt x="143512" y="129780"/>
                  </a:cubicBezTo>
                </a:path>
              </a:pathLst>
            </a:custGeom>
            <a:solidFill>
              <a:srgbClr val="83CC1B"/>
            </a:solidFill>
            <a:ln w="12689" cap="flat">
              <a:noFill/>
              <a:prstDash val="solid"/>
              <a:miter/>
            </a:ln>
          </p:spPr>
          <p:txBody>
            <a:bodyPr rtlCol="0" anchor="ctr"/>
            <a:lstStyle/>
            <a:p>
              <a:endParaRPr lang="bg-BG" dirty="0"/>
            </a:p>
          </p:txBody>
        </p:sp>
        <p:sp>
          <p:nvSpPr>
            <p:cNvPr id="104" name="Свободна форма: фигура 14">
              <a:extLst>
                <a:ext uri="{FF2B5EF4-FFF2-40B4-BE49-F238E27FC236}">
                  <a16:creationId xmlns:a16="http://schemas.microsoft.com/office/drawing/2014/main" id="{A370B719-E309-F261-2684-CFF61C9C6592}"/>
                </a:ext>
              </a:extLst>
            </p:cNvPr>
            <p:cNvSpPr/>
            <p:nvPr/>
          </p:nvSpPr>
          <p:spPr>
            <a:xfrm>
              <a:off x="1591056" y="557657"/>
              <a:ext cx="749300" cy="774700"/>
            </a:xfrm>
            <a:custGeom>
              <a:avLst/>
              <a:gdLst>
                <a:gd name="connsiteX0" fmla="*/ 629920 w 749300"/>
                <a:gd name="connsiteY0" fmla="*/ 21209 h 774700"/>
                <a:gd name="connsiteX1" fmla="*/ 593852 w 749300"/>
                <a:gd name="connsiteY1" fmla="*/ 266573 h 774700"/>
                <a:gd name="connsiteX2" fmla="*/ 271399 w 749300"/>
                <a:gd name="connsiteY2" fmla="*/ 577850 h 774700"/>
                <a:gd name="connsiteX3" fmla="*/ 0 w 749300"/>
                <a:gd name="connsiteY3" fmla="*/ 661924 h 774700"/>
                <a:gd name="connsiteX4" fmla="*/ 473837 w 749300"/>
                <a:gd name="connsiteY4" fmla="*/ 746506 h 774700"/>
                <a:gd name="connsiteX5" fmla="*/ 740791 w 749300"/>
                <a:gd name="connsiteY5" fmla="*/ 445770 h 774700"/>
                <a:gd name="connsiteX6" fmla="*/ 757809 w 749300"/>
                <a:gd name="connsiteY6" fmla="*/ 363728 h 774700"/>
                <a:gd name="connsiteX7" fmla="*/ 638175 w 749300"/>
                <a:gd name="connsiteY7" fmla="*/ 0 h 774700"/>
                <a:gd name="connsiteX8" fmla="*/ 629920 w 749300"/>
                <a:gd name="connsiteY8" fmla="*/ 21209 h 774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9300" h="774700">
                  <a:moveTo>
                    <a:pt x="629920" y="21209"/>
                  </a:moveTo>
                  <a:cubicBezTo>
                    <a:pt x="606171" y="100711"/>
                    <a:pt x="622300" y="185928"/>
                    <a:pt x="593852" y="266573"/>
                  </a:cubicBezTo>
                  <a:cubicBezTo>
                    <a:pt x="538861" y="422148"/>
                    <a:pt x="416306" y="511683"/>
                    <a:pt x="271399" y="577850"/>
                  </a:cubicBezTo>
                  <a:cubicBezTo>
                    <a:pt x="185039" y="617220"/>
                    <a:pt x="92710" y="647192"/>
                    <a:pt x="0" y="661924"/>
                  </a:cubicBezTo>
                  <a:cubicBezTo>
                    <a:pt x="129794" y="774446"/>
                    <a:pt x="313309" y="809879"/>
                    <a:pt x="473837" y="746506"/>
                  </a:cubicBezTo>
                  <a:cubicBezTo>
                    <a:pt x="608965" y="690880"/>
                    <a:pt x="689737" y="570992"/>
                    <a:pt x="740791" y="445770"/>
                  </a:cubicBezTo>
                  <a:cubicBezTo>
                    <a:pt x="749173" y="418973"/>
                    <a:pt x="754761" y="391541"/>
                    <a:pt x="757809" y="363728"/>
                  </a:cubicBezTo>
                  <a:cubicBezTo>
                    <a:pt x="771652" y="233680"/>
                    <a:pt x="727075" y="97917"/>
                    <a:pt x="638175" y="0"/>
                  </a:cubicBezTo>
                  <a:cubicBezTo>
                    <a:pt x="634873" y="6731"/>
                    <a:pt x="632079" y="13716"/>
                    <a:pt x="629920" y="21209"/>
                  </a:cubicBezTo>
                </a:path>
              </a:pathLst>
            </a:custGeom>
            <a:solidFill>
              <a:srgbClr val="5DB723"/>
            </a:solidFill>
            <a:ln w="12689" cap="flat">
              <a:noFill/>
              <a:prstDash val="solid"/>
              <a:miter/>
            </a:ln>
          </p:spPr>
          <p:txBody>
            <a:bodyPr rtlCol="0" anchor="ctr"/>
            <a:lstStyle/>
            <a:p>
              <a:endParaRPr lang="bg-BG"/>
            </a:p>
          </p:txBody>
        </p:sp>
        <p:sp>
          <p:nvSpPr>
            <p:cNvPr id="105" name="Свободна форма: фигура 15">
              <a:extLst>
                <a:ext uri="{FF2B5EF4-FFF2-40B4-BE49-F238E27FC236}">
                  <a16:creationId xmlns:a16="http://schemas.microsoft.com/office/drawing/2014/main" id="{739ECA3D-416D-06C5-5348-BC12010E2271}"/>
                </a:ext>
              </a:extLst>
            </p:cNvPr>
            <p:cNvSpPr/>
            <p:nvPr/>
          </p:nvSpPr>
          <p:spPr>
            <a:xfrm>
              <a:off x="689991" y="1457452"/>
              <a:ext cx="2400300" cy="1549400"/>
            </a:xfrm>
            <a:custGeom>
              <a:avLst/>
              <a:gdLst>
                <a:gd name="connsiteX0" fmla="*/ 2398395 w 2400300"/>
                <a:gd name="connsiteY0" fmla="*/ 137922 h 1549400"/>
                <a:gd name="connsiteX1" fmla="*/ 2373122 w 2400300"/>
                <a:gd name="connsiteY1" fmla="*/ 0 h 1549400"/>
                <a:gd name="connsiteX2" fmla="*/ 2211197 w 2400300"/>
                <a:gd name="connsiteY2" fmla="*/ 837184 h 1549400"/>
                <a:gd name="connsiteX3" fmla="*/ 1736852 w 2400300"/>
                <a:gd name="connsiteY3" fmla="*/ 1171702 h 1549400"/>
                <a:gd name="connsiteX4" fmla="*/ 1234313 w 2400300"/>
                <a:gd name="connsiteY4" fmla="*/ 1282827 h 1549400"/>
                <a:gd name="connsiteX5" fmla="*/ 955421 w 2400300"/>
                <a:gd name="connsiteY5" fmla="*/ 1222375 h 1549400"/>
                <a:gd name="connsiteX6" fmla="*/ 736727 w 2400300"/>
                <a:gd name="connsiteY6" fmla="*/ 1105154 h 1549400"/>
                <a:gd name="connsiteX7" fmla="*/ 305308 w 2400300"/>
                <a:gd name="connsiteY7" fmla="*/ 875792 h 1549400"/>
                <a:gd name="connsiteX8" fmla="*/ 0 w 2400300"/>
                <a:gd name="connsiteY8" fmla="*/ 455930 h 1549400"/>
                <a:gd name="connsiteX9" fmla="*/ 120269 w 2400300"/>
                <a:gd name="connsiteY9" fmla="*/ 894334 h 1549400"/>
                <a:gd name="connsiteX10" fmla="*/ 237617 w 2400300"/>
                <a:gd name="connsiteY10" fmla="*/ 1080008 h 1549400"/>
                <a:gd name="connsiteX11" fmla="*/ 1634744 w 2400300"/>
                <a:gd name="connsiteY11" fmla="*/ 1464945 h 1549400"/>
                <a:gd name="connsiteX12" fmla="*/ 1793875 w 2400300"/>
                <a:gd name="connsiteY12" fmla="*/ 1394460 h 1549400"/>
                <a:gd name="connsiteX13" fmla="*/ 2410333 w 2400300"/>
                <a:gd name="connsiteY13" fmla="*/ 384683 h 1549400"/>
                <a:gd name="connsiteX14" fmla="*/ 2398395 w 2400300"/>
                <a:gd name="connsiteY14" fmla="*/ 137922 h 154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00300" h="1549400">
                  <a:moveTo>
                    <a:pt x="2398395" y="137922"/>
                  </a:moveTo>
                  <a:cubicBezTo>
                    <a:pt x="2393188" y="90805"/>
                    <a:pt x="2384552" y="44831"/>
                    <a:pt x="2373122" y="0"/>
                  </a:cubicBezTo>
                  <a:cubicBezTo>
                    <a:pt x="2423668" y="292608"/>
                    <a:pt x="2409190" y="593598"/>
                    <a:pt x="2211197" y="837184"/>
                  </a:cubicBezTo>
                  <a:cubicBezTo>
                    <a:pt x="2086483" y="990473"/>
                    <a:pt x="1911731" y="1086358"/>
                    <a:pt x="1736852" y="1171702"/>
                  </a:cubicBezTo>
                  <a:cubicBezTo>
                    <a:pt x="1576832" y="1249807"/>
                    <a:pt x="1413891" y="1294384"/>
                    <a:pt x="1234313" y="1282827"/>
                  </a:cubicBezTo>
                  <a:cubicBezTo>
                    <a:pt x="1138936" y="1276731"/>
                    <a:pt x="1044448" y="1257300"/>
                    <a:pt x="955421" y="1222375"/>
                  </a:cubicBezTo>
                  <a:cubicBezTo>
                    <a:pt x="877570" y="1191641"/>
                    <a:pt x="809752" y="1145032"/>
                    <a:pt x="736727" y="1105154"/>
                  </a:cubicBezTo>
                  <a:cubicBezTo>
                    <a:pt x="594106" y="1027176"/>
                    <a:pt x="438277" y="970788"/>
                    <a:pt x="305308" y="875792"/>
                  </a:cubicBezTo>
                  <a:cubicBezTo>
                    <a:pt x="148717" y="764032"/>
                    <a:pt x="51308" y="618363"/>
                    <a:pt x="0" y="455930"/>
                  </a:cubicBezTo>
                  <a:cubicBezTo>
                    <a:pt x="20447" y="606552"/>
                    <a:pt x="64389" y="754380"/>
                    <a:pt x="120269" y="894334"/>
                  </a:cubicBezTo>
                  <a:cubicBezTo>
                    <a:pt x="153162" y="960120"/>
                    <a:pt x="192659" y="1022223"/>
                    <a:pt x="237617" y="1080008"/>
                  </a:cubicBezTo>
                  <a:cubicBezTo>
                    <a:pt x="552069" y="1484249"/>
                    <a:pt x="1135380" y="1676273"/>
                    <a:pt x="1634744" y="1464945"/>
                  </a:cubicBezTo>
                  <a:cubicBezTo>
                    <a:pt x="1689608" y="1445768"/>
                    <a:pt x="1742821" y="1422019"/>
                    <a:pt x="1793875" y="1394460"/>
                  </a:cubicBezTo>
                  <a:cubicBezTo>
                    <a:pt x="2151126" y="1200912"/>
                    <a:pt x="2403856" y="811403"/>
                    <a:pt x="2410333" y="384683"/>
                  </a:cubicBezTo>
                  <a:cubicBezTo>
                    <a:pt x="2414778" y="300101"/>
                    <a:pt x="2410587" y="217297"/>
                    <a:pt x="2398395" y="137922"/>
                  </a:cubicBezTo>
                </a:path>
              </a:pathLst>
            </a:custGeom>
            <a:solidFill>
              <a:srgbClr val="F1F0D7"/>
            </a:solidFill>
            <a:ln w="12689" cap="flat">
              <a:noFill/>
              <a:prstDash val="solid"/>
              <a:miter/>
            </a:ln>
          </p:spPr>
          <p:txBody>
            <a:bodyPr rtlCol="0" anchor="ctr"/>
            <a:lstStyle/>
            <a:p>
              <a:endParaRPr lang="bg-BG"/>
            </a:p>
          </p:txBody>
        </p:sp>
        <p:sp>
          <p:nvSpPr>
            <p:cNvPr id="106" name="Свободна форма: фигура 16">
              <a:extLst>
                <a:ext uri="{FF2B5EF4-FFF2-40B4-BE49-F238E27FC236}">
                  <a16:creationId xmlns:a16="http://schemas.microsoft.com/office/drawing/2014/main" id="{1C5BAA28-F361-1253-08FC-D884EF5C7AB2}"/>
                </a:ext>
              </a:extLst>
            </p:cNvPr>
            <p:cNvSpPr/>
            <p:nvPr/>
          </p:nvSpPr>
          <p:spPr>
            <a:xfrm>
              <a:off x="583687" y="1455489"/>
              <a:ext cx="1308100" cy="1676400"/>
            </a:xfrm>
            <a:custGeom>
              <a:avLst/>
              <a:gdLst>
                <a:gd name="connsiteX0" fmla="*/ 46360 w 1308100"/>
                <a:gd name="connsiteY0" fmla="*/ 1455 h 1676400"/>
                <a:gd name="connsiteX1" fmla="*/ 31374 w 1308100"/>
                <a:gd name="connsiteY1" fmla="*/ 704400 h 1676400"/>
                <a:gd name="connsiteX2" fmla="*/ 281437 w 1308100"/>
                <a:gd name="connsiteY2" fmla="*/ 1276408 h 1676400"/>
                <a:gd name="connsiteX3" fmla="*/ 741939 w 1308100"/>
                <a:gd name="connsiteY3" fmla="*/ 1597972 h 1676400"/>
                <a:gd name="connsiteX4" fmla="*/ 1299215 w 1308100"/>
                <a:gd name="connsiteY4" fmla="*/ 1668838 h 1676400"/>
                <a:gd name="connsiteX5" fmla="*/ 1293119 w 1308100"/>
                <a:gd name="connsiteY5" fmla="*/ 1624007 h 1676400"/>
                <a:gd name="connsiteX6" fmla="*/ 784738 w 1308100"/>
                <a:gd name="connsiteY6" fmla="*/ 1536377 h 1676400"/>
                <a:gd name="connsiteX7" fmla="*/ 334904 w 1308100"/>
                <a:gd name="connsiteY7" fmla="*/ 1238943 h 1676400"/>
                <a:gd name="connsiteX8" fmla="*/ 81031 w 1308100"/>
                <a:gd name="connsiteY8" fmla="*/ 705797 h 1676400"/>
                <a:gd name="connsiteX9" fmla="*/ 50297 w 1308100"/>
                <a:gd name="connsiteY9" fmla="*/ 2725 h 1676400"/>
                <a:gd name="connsiteX10" fmla="*/ 46360 w 1308100"/>
                <a:gd name="connsiteY10" fmla="*/ 1455 h 167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08100" h="1676400">
                  <a:moveTo>
                    <a:pt x="46360" y="1455"/>
                  </a:moveTo>
                  <a:cubicBezTo>
                    <a:pt x="-2027" y="237548"/>
                    <a:pt x="-21077" y="467037"/>
                    <a:pt x="31374" y="704400"/>
                  </a:cubicBezTo>
                  <a:cubicBezTo>
                    <a:pt x="75062" y="901885"/>
                    <a:pt x="151516" y="1118420"/>
                    <a:pt x="281437" y="1276408"/>
                  </a:cubicBezTo>
                  <a:cubicBezTo>
                    <a:pt x="401579" y="1422331"/>
                    <a:pt x="567441" y="1528884"/>
                    <a:pt x="741939" y="1597972"/>
                  </a:cubicBezTo>
                  <a:cubicBezTo>
                    <a:pt x="909325" y="1664139"/>
                    <a:pt x="1120399" y="1718749"/>
                    <a:pt x="1299215" y="1668838"/>
                  </a:cubicBezTo>
                  <a:cubicBezTo>
                    <a:pt x="1324869" y="1661599"/>
                    <a:pt x="1318265" y="1625785"/>
                    <a:pt x="1293119" y="1624007"/>
                  </a:cubicBezTo>
                  <a:cubicBezTo>
                    <a:pt x="1117605" y="1611307"/>
                    <a:pt x="951616" y="1599369"/>
                    <a:pt x="784738" y="1536377"/>
                  </a:cubicBezTo>
                  <a:cubicBezTo>
                    <a:pt x="616463" y="1473004"/>
                    <a:pt x="453776" y="1375595"/>
                    <a:pt x="334904" y="1238943"/>
                  </a:cubicBezTo>
                  <a:cubicBezTo>
                    <a:pt x="207269" y="1092385"/>
                    <a:pt x="129672" y="891471"/>
                    <a:pt x="81031" y="705797"/>
                  </a:cubicBezTo>
                  <a:cubicBezTo>
                    <a:pt x="21722" y="479356"/>
                    <a:pt x="5720" y="232976"/>
                    <a:pt x="50297" y="2725"/>
                  </a:cubicBezTo>
                  <a:cubicBezTo>
                    <a:pt x="50805" y="-69"/>
                    <a:pt x="46868" y="-1085"/>
                    <a:pt x="46360" y="1455"/>
                  </a:cubicBezTo>
                </a:path>
              </a:pathLst>
            </a:custGeom>
            <a:solidFill>
              <a:srgbClr val="B5D385"/>
            </a:solidFill>
            <a:ln w="12689" cap="flat">
              <a:noFill/>
              <a:prstDash val="solid"/>
              <a:miter/>
            </a:ln>
          </p:spPr>
          <p:txBody>
            <a:bodyPr rtlCol="0" anchor="ctr"/>
            <a:lstStyle/>
            <a:p>
              <a:endParaRPr lang="bg-BG"/>
            </a:p>
          </p:txBody>
        </p:sp>
        <p:sp>
          <p:nvSpPr>
            <p:cNvPr id="107" name="Свободна форма: фигура 17">
              <a:extLst>
                <a:ext uri="{FF2B5EF4-FFF2-40B4-BE49-F238E27FC236}">
                  <a16:creationId xmlns:a16="http://schemas.microsoft.com/office/drawing/2014/main" id="{AA8870A4-608B-4763-A354-95A20D4643B4}"/>
                </a:ext>
              </a:extLst>
            </p:cNvPr>
            <p:cNvSpPr/>
            <p:nvPr/>
          </p:nvSpPr>
          <p:spPr>
            <a:xfrm>
              <a:off x="2489350" y="671867"/>
              <a:ext cx="685800" cy="749300"/>
            </a:xfrm>
            <a:custGeom>
              <a:avLst/>
              <a:gdLst>
                <a:gd name="connsiteX0" fmla="*/ 6454 w 685800"/>
                <a:gd name="connsiteY0" fmla="*/ 24855 h 749300"/>
                <a:gd name="connsiteX1" fmla="*/ 673839 w 685800"/>
                <a:gd name="connsiteY1" fmla="*/ 745453 h 749300"/>
                <a:gd name="connsiteX2" fmla="*/ 692508 w 685800"/>
                <a:gd name="connsiteY2" fmla="*/ 737579 h 749300"/>
                <a:gd name="connsiteX3" fmla="*/ 16614 w 685800"/>
                <a:gd name="connsiteY3" fmla="*/ 852 h 749300"/>
                <a:gd name="connsiteX4" fmla="*/ 6454 w 685800"/>
                <a:gd name="connsiteY4" fmla="*/ 24855 h 749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 h="749300">
                  <a:moveTo>
                    <a:pt x="6454" y="24855"/>
                  </a:moveTo>
                  <a:cubicBezTo>
                    <a:pt x="324208" y="165571"/>
                    <a:pt x="536806" y="434176"/>
                    <a:pt x="673839" y="745453"/>
                  </a:cubicBezTo>
                  <a:cubicBezTo>
                    <a:pt x="678665" y="756375"/>
                    <a:pt x="694921" y="748374"/>
                    <a:pt x="692508" y="737579"/>
                  </a:cubicBezTo>
                  <a:cubicBezTo>
                    <a:pt x="615673" y="406871"/>
                    <a:pt x="321668" y="123788"/>
                    <a:pt x="16614" y="852"/>
                  </a:cubicBezTo>
                  <a:cubicBezTo>
                    <a:pt x="2898" y="-4736"/>
                    <a:pt x="-7135" y="18759"/>
                    <a:pt x="6454" y="24855"/>
                  </a:cubicBezTo>
                </a:path>
              </a:pathLst>
            </a:custGeom>
            <a:solidFill>
              <a:srgbClr val="B5D385"/>
            </a:solidFill>
            <a:ln w="12689" cap="flat">
              <a:noFill/>
              <a:prstDash val="solid"/>
              <a:miter/>
            </a:ln>
          </p:spPr>
          <p:txBody>
            <a:bodyPr rtlCol="0" anchor="ctr"/>
            <a:lstStyle/>
            <a:p>
              <a:endParaRPr lang="bg-BG"/>
            </a:p>
          </p:txBody>
        </p:sp>
        <p:sp>
          <p:nvSpPr>
            <p:cNvPr id="108" name="Свободна форма: фигура 19">
              <a:extLst>
                <a:ext uri="{FF2B5EF4-FFF2-40B4-BE49-F238E27FC236}">
                  <a16:creationId xmlns:a16="http://schemas.microsoft.com/office/drawing/2014/main" id="{94BAA8CB-637C-98FD-C8AA-050FC95F9A6E}"/>
                </a:ext>
              </a:extLst>
            </p:cNvPr>
            <p:cNvSpPr/>
            <p:nvPr/>
          </p:nvSpPr>
          <p:spPr>
            <a:xfrm>
              <a:off x="641301" y="982061"/>
              <a:ext cx="254000" cy="368300"/>
            </a:xfrm>
            <a:custGeom>
              <a:avLst/>
              <a:gdLst>
                <a:gd name="connsiteX0" fmla="*/ 21004 w 254000"/>
                <a:gd name="connsiteY0" fmla="*/ 366298 h 368300"/>
                <a:gd name="connsiteX1" fmla="*/ 260399 w 254000"/>
                <a:gd name="connsiteY1" fmla="*/ 11587 h 368300"/>
                <a:gd name="connsiteX2" fmla="*/ 252271 w 254000"/>
                <a:gd name="connsiteY2" fmla="*/ 1046 h 368300"/>
                <a:gd name="connsiteX3" fmla="*/ 430 w 254000"/>
                <a:gd name="connsiteY3" fmla="*/ 360583 h 368300"/>
                <a:gd name="connsiteX4" fmla="*/ 21004 w 254000"/>
                <a:gd name="connsiteY4" fmla="*/ 366298 h 36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000" h="368300">
                  <a:moveTo>
                    <a:pt x="21004" y="366298"/>
                  </a:moveTo>
                  <a:cubicBezTo>
                    <a:pt x="71677" y="226852"/>
                    <a:pt x="155497" y="114584"/>
                    <a:pt x="260399" y="11587"/>
                  </a:cubicBezTo>
                  <a:cubicBezTo>
                    <a:pt x="265733" y="6253"/>
                    <a:pt x="258748" y="-3145"/>
                    <a:pt x="252271" y="1046"/>
                  </a:cubicBezTo>
                  <a:cubicBezTo>
                    <a:pt x="123874" y="82199"/>
                    <a:pt x="38530" y="215676"/>
                    <a:pt x="430" y="360583"/>
                  </a:cubicBezTo>
                  <a:cubicBezTo>
                    <a:pt x="-3126" y="374045"/>
                    <a:pt x="16432" y="379125"/>
                    <a:pt x="21004" y="366298"/>
                  </a:cubicBezTo>
                </a:path>
              </a:pathLst>
            </a:custGeom>
            <a:solidFill>
              <a:srgbClr val="B5D385"/>
            </a:solidFill>
            <a:ln w="12689" cap="flat">
              <a:noFill/>
              <a:prstDash val="solid"/>
              <a:miter/>
            </a:ln>
          </p:spPr>
          <p:txBody>
            <a:bodyPr rtlCol="0" anchor="ctr"/>
            <a:lstStyle/>
            <a:p>
              <a:endParaRPr lang="bg-BG"/>
            </a:p>
          </p:txBody>
        </p:sp>
        <p:sp>
          <p:nvSpPr>
            <p:cNvPr id="109" name="Свободна форма: фигура 20">
              <a:extLst>
                <a:ext uri="{FF2B5EF4-FFF2-40B4-BE49-F238E27FC236}">
                  <a16:creationId xmlns:a16="http://schemas.microsoft.com/office/drawing/2014/main" id="{64314E24-5F50-0453-162A-65E4A4346C28}"/>
                </a:ext>
              </a:extLst>
            </p:cNvPr>
            <p:cNvSpPr/>
            <p:nvPr/>
          </p:nvSpPr>
          <p:spPr>
            <a:xfrm>
              <a:off x="2257997" y="2005855"/>
              <a:ext cx="977900" cy="1066800"/>
            </a:xfrm>
            <a:custGeom>
              <a:avLst/>
              <a:gdLst>
                <a:gd name="connsiteX0" fmla="*/ 965898 w 977900"/>
                <a:gd name="connsiteY0" fmla="*/ 4555 h 1066800"/>
                <a:gd name="connsiteX1" fmla="*/ 603059 w 977900"/>
                <a:gd name="connsiteY1" fmla="*/ 633967 h 1066800"/>
                <a:gd name="connsiteX2" fmla="*/ 9461 w 977900"/>
                <a:gd name="connsiteY2" fmla="*/ 1052686 h 1066800"/>
                <a:gd name="connsiteX3" fmla="*/ 13017 w 977900"/>
                <a:gd name="connsiteY3" fmla="*/ 1078848 h 1066800"/>
                <a:gd name="connsiteX4" fmla="*/ 344233 w 977900"/>
                <a:gd name="connsiteY4" fmla="*/ 921241 h 1066800"/>
                <a:gd name="connsiteX5" fmla="*/ 626427 w 977900"/>
                <a:gd name="connsiteY5" fmla="*/ 676512 h 1066800"/>
                <a:gd name="connsiteX6" fmla="*/ 846772 w 977900"/>
                <a:gd name="connsiteY6" fmla="*/ 372474 h 1066800"/>
                <a:gd name="connsiteX7" fmla="*/ 978725 w 977900"/>
                <a:gd name="connsiteY7" fmla="*/ 7984 h 1066800"/>
                <a:gd name="connsiteX8" fmla="*/ 965898 w 977900"/>
                <a:gd name="connsiteY8" fmla="*/ 4555 h 106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7900" h="1066800">
                  <a:moveTo>
                    <a:pt x="965898" y="4555"/>
                  </a:moveTo>
                  <a:cubicBezTo>
                    <a:pt x="876871" y="229980"/>
                    <a:pt x="756602" y="445753"/>
                    <a:pt x="603059" y="633967"/>
                  </a:cubicBezTo>
                  <a:cubicBezTo>
                    <a:pt x="454469" y="816085"/>
                    <a:pt x="244665" y="1004045"/>
                    <a:pt x="9461" y="1052686"/>
                  </a:cubicBezTo>
                  <a:cubicBezTo>
                    <a:pt x="-5144" y="1055734"/>
                    <a:pt x="-1969" y="1079737"/>
                    <a:pt x="13017" y="1078848"/>
                  </a:cubicBezTo>
                  <a:cubicBezTo>
                    <a:pt x="135699" y="1071482"/>
                    <a:pt x="247332" y="990329"/>
                    <a:pt x="344233" y="921241"/>
                  </a:cubicBezTo>
                  <a:cubicBezTo>
                    <a:pt x="447230" y="847708"/>
                    <a:pt x="540067" y="769984"/>
                    <a:pt x="626427" y="676512"/>
                  </a:cubicBezTo>
                  <a:cubicBezTo>
                    <a:pt x="715835" y="579611"/>
                    <a:pt x="787590" y="491600"/>
                    <a:pt x="846772" y="372474"/>
                  </a:cubicBezTo>
                  <a:cubicBezTo>
                    <a:pt x="904430" y="256269"/>
                    <a:pt x="952690" y="135365"/>
                    <a:pt x="978725" y="7984"/>
                  </a:cubicBezTo>
                  <a:cubicBezTo>
                    <a:pt x="980249" y="-398"/>
                    <a:pt x="968946" y="-3192"/>
                    <a:pt x="965898" y="4555"/>
                  </a:cubicBezTo>
                </a:path>
              </a:pathLst>
            </a:custGeom>
            <a:solidFill>
              <a:srgbClr val="B5D385"/>
            </a:solidFill>
            <a:ln w="12689" cap="flat">
              <a:noFill/>
              <a:prstDash val="solid"/>
              <a:miter/>
            </a:ln>
          </p:spPr>
          <p:txBody>
            <a:bodyPr rtlCol="0" anchor="ctr"/>
            <a:lstStyle/>
            <a:p>
              <a:endParaRPr lang="bg-BG"/>
            </a:p>
          </p:txBody>
        </p:sp>
        <p:sp>
          <p:nvSpPr>
            <p:cNvPr id="110" name="Свободна форма: фигура 21">
              <a:extLst>
                <a:ext uri="{FF2B5EF4-FFF2-40B4-BE49-F238E27FC236}">
                  <a16:creationId xmlns:a16="http://schemas.microsoft.com/office/drawing/2014/main" id="{C5378BF5-AED8-6686-6836-7BA008471EE9}"/>
                </a:ext>
              </a:extLst>
            </p:cNvPr>
            <p:cNvSpPr/>
            <p:nvPr/>
          </p:nvSpPr>
          <p:spPr>
            <a:xfrm>
              <a:off x="1103626" y="657128"/>
              <a:ext cx="215900" cy="139700"/>
            </a:xfrm>
            <a:custGeom>
              <a:avLst/>
              <a:gdLst>
                <a:gd name="connsiteX0" fmla="*/ 28706 w 215900"/>
                <a:gd name="connsiteY0" fmla="*/ 144369 h 139700"/>
                <a:gd name="connsiteX1" fmla="*/ 125988 w 215900"/>
                <a:gd name="connsiteY1" fmla="*/ 69439 h 139700"/>
                <a:gd name="connsiteX2" fmla="*/ 218063 w 215900"/>
                <a:gd name="connsiteY2" fmla="*/ 20671 h 139700"/>
                <a:gd name="connsiteX3" fmla="*/ 212475 w 215900"/>
                <a:gd name="connsiteY3" fmla="*/ 97 h 139700"/>
                <a:gd name="connsiteX4" fmla="*/ 5211 w 215900"/>
                <a:gd name="connsiteY4" fmla="*/ 121001 h 139700"/>
                <a:gd name="connsiteX5" fmla="*/ 28706 w 215900"/>
                <a:gd name="connsiteY5" fmla="*/ 144369 h 13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5900" h="139700">
                  <a:moveTo>
                    <a:pt x="28706" y="144369"/>
                  </a:moveTo>
                  <a:cubicBezTo>
                    <a:pt x="59059" y="116556"/>
                    <a:pt x="90809" y="90775"/>
                    <a:pt x="125988" y="69439"/>
                  </a:cubicBezTo>
                  <a:cubicBezTo>
                    <a:pt x="155706" y="51532"/>
                    <a:pt x="188599" y="38832"/>
                    <a:pt x="218063" y="20671"/>
                  </a:cubicBezTo>
                  <a:cubicBezTo>
                    <a:pt x="226572" y="15464"/>
                    <a:pt x="224032" y="-1427"/>
                    <a:pt x="212475" y="97"/>
                  </a:cubicBezTo>
                  <a:cubicBezTo>
                    <a:pt x="133100" y="10257"/>
                    <a:pt x="62107" y="68677"/>
                    <a:pt x="5211" y="121001"/>
                  </a:cubicBezTo>
                  <a:cubicBezTo>
                    <a:pt x="-10537" y="135352"/>
                    <a:pt x="12958" y="158847"/>
                    <a:pt x="28706" y="144369"/>
                  </a:cubicBezTo>
                </a:path>
              </a:pathLst>
            </a:custGeom>
            <a:solidFill>
              <a:srgbClr val="B5D385"/>
            </a:solidFill>
            <a:ln w="12689" cap="flat">
              <a:noFill/>
              <a:prstDash val="solid"/>
              <a:miter/>
            </a:ln>
          </p:spPr>
          <p:txBody>
            <a:bodyPr rtlCol="0" anchor="ctr"/>
            <a:lstStyle/>
            <a:p>
              <a:endParaRPr lang="bg-BG"/>
            </a:p>
          </p:txBody>
        </p:sp>
        <p:sp>
          <p:nvSpPr>
            <p:cNvPr id="111" name="Свободна форма: фигура 23">
              <a:extLst>
                <a:ext uri="{FF2B5EF4-FFF2-40B4-BE49-F238E27FC236}">
                  <a16:creationId xmlns:a16="http://schemas.microsoft.com/office/drawing/2014/main" id="{1085D145-3D96-BBD7-E525-93595D1D018F}"/>
                </a:ext>
              </a:extLst>
            </p:cNvPr>
            <p:cNvSpPr/>
            <p:nvPr/>
          </p:nvSpPr>
          <p:spPr>
            <a:xfrm>
              <a:off x="1362964" y="907161"/>
              <a:ext cx="25400" cy="25400"/>
            </a:xfrm>
            <a:custGeom>
              <a:avLst/>
              <a:gdLst>
                <a:gd name="connsiteX0" fmla="*/ 33655 w 25400"/>
                <a:gd name="connsiteY0" fmla="*/ 15748 h 25400"/>
                <a:gd name="connsiteX1" fmla="*/ 0 w 25400"/>
                <a:gd name="connsiteY1" fmla="*/ 20447 h 25400"/>
                <a:gd name="connsiteX2" fmla="*/ 17907 w 25400"/>
                <a:gd name="connsiteY2" fmla="*/ 0 h 25400"/>
                <a:gd name="connsiteX3" fmla="*/ 33655 w 25400"/>
                <a:gd name="connsiteY3" fmla="*/ 15748 h 25400"/>
              </a:gdLst>
              <a:ahLst/>
              <a:cxnLst>
                <a:cxn ang="0">
                  <a:pos x="connsiteX0" y="connsiteY0"/>
                </a:cxn>
                <a:cxn ang="0">
                  <a:pos x="connsiteX1" y="connsiteY1"/>
                </a:cxn>
                <a:cxn ang="0">
                  <a:pos x="connsiteX2" y="connsiteY2"/>
                </a:cxn>
                <a:cxn ang="0">
                  <a:pos x="connsiteX3" y="connsiteY3"/>
                </a:cxn>
              </a:cxnLst>
              <a:rect l="l" t="t" r="r" b="b"/>
              <a:pathLst>
                <a:path w="25400" h="25400">
                  <a:moveTo>
                    <a:pt x="33655" y="15748"/>
                  </a:moveTo>
                  <a:cubicBezTo>
                    <a:pt x="22352" y="42799"/>
                    <a:pt x="11176" y="31623"/>
                    <a:pt x="0" y="20447"/>
                  </a:cubicBezTo>
                  <a:cubicBezTo>
                    <a:pt x="11176" y="9271"/>
                    <a:pt x="11176" y="9271"/>
                    <a:pt x="17907" y="0"/>
                  </a:cubicBezTo>
                  <a:cubicBezTo>
                    <a:pt x="26543" y="0"/>
                    <a:pt x="33655" y="7112"/>
                    <a:pt x="33655" y="15748"/>
                  </a:cubicBezTo>
                </a:path>
              </a:pathLst>
            </a:custGeom>
            <a:solidFill>
              <a:srgbClr val="5DB723"/>
            </a:solidFill>
            <a:ln w="12689" cap="flat">
              <a:noFill/>
              <a:prstDash val="solid"/>
              <a:miter/>
            </a:ln>
          </p:spPr>
          <p:txBody>
            <a:bodyPr rtlCol="0" anchor="ctr"/>
            <a:lstStyle/>
            <a:p>
              <a:endParaRPr lang="bg-BG"/>
            </a:p>
          </p:txBody>
        </p:sp>
        <p:sp>
          <p:nvSpPr>
            <p:cNvPr id="112" name="Свободна форма: фигура 24">
              <a:extLst>
                <a:ext uri="{FF2B5EF4-FFF2-40B4-BE49-F238E27FC236}">
                  <a16:creationId xmlns:a16="http://schemas.microsoft.com/office/drawing/2014/main" id="{F5A032D0-B1F6-1E54-8800-B913839B10F9}"/>
                </a:ext>
              </a:extLst>
            </p:cNvPr>
            <p:cNvSpPr/>
            <p:nvPr/>
          </p:nvSpPr>
          <p:spPr>
            <a:xfrm>
              <a:off x="1396492" y="1063687"/>
              <a:ext cx="25400" cy="25400"/>
            </a:xfrm>
            <a:custGeom>
              <a:avLst/>
              <a:gdLst>
                <a:gd name="connsiteX0" fmla="*/ 32385 w 25400"/>
                <a:gd name="connsiteY0" fmla="*/ 21782 h 25400"/>
                <a:gd name="connsiteX1" fmla="*/ 0 w 25400"/>
                <a:gd name="connsiteY1" fmla="*/ 9590 h 25400"/>
                <a:gd name="connsiteX2" fmla="*/ 26416 w 25400"/>
                <a:gd name="connsiteY2" fmla="*/ 192 h 25400"/>
                <a:gd name="connsiteX3" fmla="*/ 32385 w 25400"/>
                <a:gd name="connsiteY3" fmla="*/ 21782 h 25400"/>
              </a:gdLst>
              <a:ahLst/>
              <a:cxnLst>
                <a:cxn ang="0">
                  <a:pos x="connsiteX0" y="connsiteY0"/>
                </a:cxn>
                <a:cxn ang="0">
                  <a:pos x="connsiteX1" y="connsiteY1"/>
                </a:cxn>
                <a:cxn ang="0">
                  <a:pos x="connsiteX2" y="connsiteY2"/>
                </a:cxn>
                <a:cxn ang="0">
                  <a:pos x="connsiteX3" y="connsiteY3"/>
                </a:cxn>
              </a:cxnLst>
              <a:rect l="l" t="t" r="r" b="b"/>
              <a:pathLst>
                <a:path w="25400" h="25400">
                  <a:moveTo>
                    <a:pt x="32385" y="21782"/>
                  </a:moveTo>
                  <a:cubicBezTo>
                    <a:pt x="11176" y="43118"/>
                    <a:pt x="0" y="31942"/>
                    <a:pt x="0" y="9590"/>
                  </a:cubicBezTo>
                  <a:cubicBezTo>
                    <a:pt x="0" y="9590"/>
                    <a:pt x="11176" y="-1586"/>
                    <a:pt x="26416" y="192"/>
                  </a:cubicBezTo>
                  <a:cubicBezTo>
                    <a:pt x="34036" y="4383"/>
                    <a:pt x="36703" y="14162"/>
                    <a:pt x="32385" y="21782"/>
                  </a:cubicBezTo>
                </a:path>
              </a:pathLst>
            </a:custGeom>
            <a:solidFill>
              <a:srgbClr val="5DB723"/>
            </a:solidFill>
            <a:ln w="12689" cap="flat">
              <a:noFill/>
              <a:prstDash val="solid"/>
              <a:miter/>
            </a:ln>
          </p:spPr>
          <p:txBody>
            <a:bodyPr rtlCol="0" anchor="ctr"/>
            <a:lstStyle/>
            <a:p>
              <a:endParaRPr lang="bg-BG"/>
            </a:p>
          </p:txBody>
        </p:sp>
        <p:sp>
          <p:nvSpPr>
            <p:cNvPr id="113" name="Свободна форма: фигура 25">
              <a:extLst>
                <a:ext uri="{FF2B5EF4-FFF2-40B4-BE49-F238E27FC236}">
                  <a16:creationId xmlns:a16="http://schemas.microsoft.com/office/drawing/2014/main" id="{7386178D-32EF-CB81-E7DB-02809C00F294}"/>
                </a:ext>
              </a:extLst>
            </p:cNvPr>
            <p:cNvSpPr/>
            <p:nvPr/>
          </p:nvSpPr>
          <p:spPr>
            <a:xfrm>
              <a:off x="1497330" y="1203960"/>
              <a:ext cx="25400" cy="25400"/>
            </a:xfrm>
            <a:custGeom>
              <a:avLst/>
              <a:gdLst>
                <a:gd name="connsiteX0" fmla="*/ 31496 w 25400"/>
                <a:gd name="connsiteY0" fmla="*/ 21717 h 25400"/>
                <a:gd name="connsiteX1" fmla="*/ 0 w 25400"/>
                <a:gd name="connsiteY1" fmla="*/ 3556 h 25400"/>
                <a:gd name="connsiteX2" fmla="*/ 25527 w 25400"/>
                <a:gd name="connsiteY2" fmla="*/ 0 h 25400"/>
                <a:gd name="connsiteX3" fmla="*/ 31496 w 25400"/>
                <a:gd name="connsiteY3" fmla="*/ 21717 h 25400"/>
              </a:gdLst>
              <a:ahLst/>
              <a:cxnLst>
                <a:cxn ang="0">
                  <a:pos x="connsiteX0" y="connsiteY0"/>
                </a:cxn>
                <a:cxn ang="0">
                  <a:pos x="connsiteX1" y="connsiteY1"/>
                </a:cxn>
                <a:cxn ang="0">
                  <a:pos x="connsiteX2" y="connsiteY2"/>
                </a:cxn>
                <a:cxn ang="0">
                  <a:pos x="connsiteX3" y="connsiteY3"/>
                </a:cxn>
              </a:cxnLst>
              <a:rect l="l" t="t" r="r" b="b"/>
              <a:pathLst>
                <a:path w="25400" h="25400">
                  <a:moveTo>
                    <a:pt x="31496" y="21717"/>
                  </a:moveTo>
                  <a:cubicBezTo>
                    <a:pt x="11176" y="37084"/>
                    <a:pt x="0" y="25908"/>
                    <a:pt x="0" y="3556"/>
                  </a:cubicBezTo>
                  <a:cubicBezTo>
                    <a:pt x="11176" y="3556"/>
                    <a:pt x="11176" y="3556"/>
                    <a:pt x="25527" y="0"/>
                  </a:cubicBezTo>
                  <a:cubicBezTo>
                    <a:pt x="33147" y="4445"/>
                    <a:pt x="35814" y="14224"/>
                    <a:pt x="31496" y="21717"/>
                  </a:cubicBezTo>
                </a:path>
              </a:pathLst>
            </a:custGeom>
            <a:solidFill>
              <a:srgbClr val="5DB723"/>
            </a:solidFill>
            <a:ln w="12689" cap="flat">
              <a:noFill/>
              <a:prstDash val="solid"/>
              <a:miter/>
            </a:ln>
          </p:spPr>
          <p:txBody>
            <a:bodyPr rtlCol="0" anchor="ctr"/>
            <a:lstStyle/>
            <a:p>
              <a:endParaRPr lang="bg-BG"/>
            </a:p>
          </p:txBody>
        </p:sp>
        <p:sp>
          <p:nvSpPr>
            <p:cNvPr id="114" name="Свободна форма: фигура 26">
              <a:extLst>
                <a:ext uri="{FF2B5EF4-FFF2-40B4-BE49-F238E27FC236}">
                  <a16:creationId xmlns:a16="http://schemas.microsoft.com/office/drawing/2014/main" id="{8062C822-8576-B5F0-E4C0-541F96114F27}"/>
                </a:ext>
              </a:extLst>
            </p:cNvPr>
            <p:cNvSpPr/>
            <p:nvPr/>
          </p:nvSpPr>
          <p:spPr>
            <a:xfrm>
              <a:off x="2136140" y="1159590"/>
              <a:ext cx="215900" cy="165100"/>
            </a:xfrm>
            <a:custGeom>
              <a:avLst/>
              <a:gdLst>
                <a:gd name="connsiteX0" fmla="*/ 0 w 215900"/>
                <a:gd name="connsiteY0" fmla="*/ 173402 h 165100"/>
                <a:gd name="connsiteX1" fmla="*/ 209550 w 215900"/>
                <a:gd name="connsiteY1" fmla="*/ 41957 h 165100"/>
                <a:gd name="connsiteX2" fmla="*/ 129794 w 215900"/>
                <a:gd name="connsiteY2" fmla="*/ 77263 h 165100"/>
                <a:gd name="connsiteX3" fmla="*/ 0 w 215900"/>
                <a:gd name="connsiteY3" fmla="*/ 173402 h 165100"/>
              </a:gdLst>
              <a:ahLst/>
              <a:cxnLst>
                <a:cxn ang="0">
                  <a:pos x="connsiteX0" y="connsiteY0"/>
                </a:cxn>
                <a:cxn ang="0">
                  <a:pos x="connsiteX1" y="connsiteY1"/>
                </a:cxn>
                <a:cxn ang="0">
                  <a:pos x="connsiteX2" y="connsiteY2"/>
                </a:cxn>
                <a:cxn ang="0">
                  <a:pos x="connsiteX3" y="connsiteY3"/>
                </a:cxn>
              </a:cxnLst>
              <a:rect l="l" t="t" r="r" b="b"/>
              <a:pathLst>
                <a:path w="215900" h="165100">
                  <a:moveTo>
                    <a:pt x="0" y="173402"/>
                  </a:moveTo>
                  <a:cubicBezTo>
                    <a:pt x="0" y="173402"/>
                    <a:pt x="182372" y="133778"/>
                    <a:pt x="209550" y="41957"/>
                  </a:cubicBezTo>
                  <a:cubicBezTo>
                    <a:pt x="236855" y="-49864"/>
                    <a:pt x="172593" y="30908"/>
                    <a:pt x="129794" y="77263"/>
                  </a:cubicBezTo>
                  <a:cubicBezTo>
                    <a:pt x="87122" y="123618"/>
                    <a:pt x="0" y="173402"/>
                    <a:pt x="0" y="173402"/>
                  </a:cubicBezTo>
                </a:path>
              </a:pathLst>
            </a:custGeom>
            <a:solidFill>
              <a:srgbClr val="5DB723"/>
            </a:solidFill>
            <a:ln w="12689" cap="flat">
              <a:noFill/>
              <a:prstDash val="solid"/>
              <a:miter/>
            </a:ln>
          </p:spPr>
          <p:txBody>
            <a:bodyPr rtlCol="0" anchor="ctr"/>
            <a:lstStyle/>
            <a:p>
              <a:endParaRPr lang="bg-BG"/>
            </a:p>
          </p:txBody>
        </p:sp>
        <p:sp>
          <p:nvSpPr>
            <p:cNvPr id="115" name="Свободна форма: фигура 27">
              <a:extLst>
                <a:ext uri="{FF2B5EF4-FFF2-40B4-BE49-F238E27FC236}">
                  <a16:creationId xmlns:a16="http://schemas.microsoft.com/office/drawing/2014/main" id="{BC3716B4-AB8E-6C80-4367-1FD0B3E60163}"/>
                </a:ext>
              </a:extLst>
            </p:cNvPr>
            <p:cNvSpPr/>
            <p:nvPr/>
          </p:nvSpPr>
          <p:spPr>
            <a:xfrm>
              <a:off x="1442985" y="476377"/>
              <a:ext cx="114300" cy="88900"/>
            </a:xfrm>
            <a:custGeom>
              <a:avLst/>
              <a:gdLst>
                <a:gd name="connsiteX0" fmla="*/ 114670 w 114300"/>
                <a:gd name="connsiteY0" fmla="*/ 0 h 88900"/>
                <a:gd name="connsiteX1" fmla="*/ 6466 w 114300"/>
                <a:gd name="connsiteY1" fmla="*/ 55626 h 88900"/>
                <a:gd name="connsiteX2" fmla="*/ 62473 w 114300"/>
                <a:gd name="connsiteY2" fmla="*/ 58293 h 88900"/>
                <a:gd name="connsiteX3" fmla="*/ 114670 w 114300"/>
                <a:gd name="connsiteY3" fmla="*/ 0 h 88900"/>
              </a:gdLst>
              <a:ahLst/>
              <a:cxnLst>
                <a:cxn ang="0">
                  <a:pos x="connsiteX0" y="connsiteY0"/>
                </a:cxn>
                <a:cxn ang="0">
                  <a:pos x="connsiteX1" y="connsiteY1"/>
                </a:cxn>
                <a:cxn ang="0">
                  <a:pos x="connsiteX2" y="connsiteY2"/>
                </a:cxn>
                <a:cxn ang="0">
                  <a:pos x="connsiteX3" y="connsiteY3"/>
                </a:cxn>
              </a:cxnLst>
              <a:rect l="l" t="t" r="r" b="b"/>
              <a:pathLst>
                <a:path w="114300" h="88900">
                  <a:moveTo>
                    <a:pt x="114670" y="0"/>
                  </a:moveTo>
                  <a:cubicBezTo>
                    <a:pt x="114670" y="0"/>
                    <a:pt x="28564" y="12065"/>
                    <a:pt x="6466" y="55626"/>
                  </a:cubicBezTo>
                  <a:cubicBezTo>
                    <a:pt x="-15632" y="99187"/>
                    <a:pt x="22849" y="104775"/>
                    <a:pt x="62473" y="58293"/>
                  </a:cubicBezTo>
                  <a:cubicBezTo>
                    <a:pt x="101970" y="11557"/>
                    <a:pt x="114670" y="0"/>
                    <a:pt x="114670" y="0"/>
                  </a:cubicBezTo>
                </a:path>
              </a:pathLst>
            </a:custGeom>
            <a:solidFill>
              <a:srgbClr val="83CC1B"/>
            </a:solidFill>
            <a:ln w="12689" cap="flat">
              <a:noFill/>
              <a:prstDash val="solid"/>
              <a:miter/>
            </a:ln>
          </p:spPr>
          <p:txBody>
            <a:bodyPr rtlCol="0" anchor="ctr"/>
            <a:lstStyle/>
            <a:p>
              <a:endParaRPr lang="bg-BG"/>
            </a:p>
          </p:txBody>
        </p:sp>
      </p:grpSp>
      <p:sp>
        <p:nvSpPr>
          <p:cNvPr id="116" name="object 3">
            <a:extLst>
              <a:ext uri="{FF2B5EF4-FFF2-40B4-BE49-F238E27FC236}">
                <a16:creationId xmlns:a16="http://schemas.microsoft.com/office/drawing/2014/main" id="{E15AA5AE-984D-D879-F3C5-3885FE4918E5}"/>
              </a:ext>
            </a:extLst>
          </p:cNvPr>
          <p:cNvSpPr txBox="1"/>
          <p:nvPr/>
        </p:nvSpPr>
        <p:spPr>
          <a:xfrm>
            <a:off x="5356107" y="2314833"/>
            <a:ext cx="1599021" cy="286745"/>
          </a:xfrm>
          <a:prstGeom prst="rect">
            <a:avLst/>
          </a:prstGeom>
        </p:spPr>
        <p:txBody>
          <a:bodyPr vert="horz" wrap="square" lIns="0" tIns="12700" rIns="0" bIns="0" rtlCol="0">
            <a:spAutoFit/>
          </a:bodyPr>
          <a:lstStyle/>
          <a:p>
            <a:pPr marL="167005" marR="160655" algn="ctr">
              <a:lnSpc>
                <a:spcPct val="118600"/>
              </a:lnSpc>
              <a:spcBef>
                <a:spcPts val="100"/>
              </a:spcBef>
            </a:pPr>
            <a:r>
              <a:rPr lang="en-US" sz="1600" b="1" dirty="0">
                <a:solidFill>
                  <a:schemeClr val="bg1"/>
                </a:solidFill>
                <a:latin typeface="+mj-lt"/>
                <a:cs typeface="Arial"/>
              </a:rPr>
              <a:t>Disaggregation</a:t>
            </a:r>
            <a:endParaRPr sz="1600" b="1" dirty="0">
              <a:solidFill>
                <a:schemeClr val="bg1"/>
              </a:solidFill>
              <a:latin typeface="+mj-lt"/>
              <a:cs typeface="Arial"/>
            </a:endParaRPr>
          </a:p>
        </p:txBody>
      </p:sp>
      <p:sp>
        <p:nvSpPr>
          <p:cNvPr id="118" name="object 3">
            <a:extLst>
              <a:ext uri="{FF2B5EF4-FFF2-40B4-BE49-F238E27FC236}">
                <a16:creationId xmlns:a16="http://schemas.microsoft.com/office/drawing/2014/main" id="{A4D33D79-1807-20C2-D5A5-3022E4EA8C46}"/>
              </a:ext>
            </a:extLst>
          </p:cNvPr>
          <p:cNvSpPr txBox="1"/>
          <p:nvPr/>
        </p:nvSpPr>
        <p:spPr>
          <a:xfrm>
            <a:off x="5185380" y="3653843"/>
            <a:ext cx="2214950" cy="1047210"/>
          </a:xfrm>
          <a:prstGeom prst="rect">
            <a:avLst/>
          </a:prstGeom>
        </p:spPr>
        <p:txBody>
          <a:bodyPr vert="horz" wrap="square" lIns="0" tIns="12700" rIns="0" bIns="0" rtlCol="0">
            <a:spAutoFit/>
          </a:bodyPr>
          <a:lstStyle/>
          <a:p>
            <a:pPr marL="167005" marR="160655" algn="ctr">
              <a:lnSpc>
                <a:spcPct val="118600"/>
              </a:lnSpc>
              <a:spcBef>
                <a:spcPts val="100"/>
              </a:spcBef>
            </a:pPr>
            <a:r>
              <a:rPr lang="en-US" sz="1400" dirty="0"/>
              <a:t>Infant Test by Age at Sample Collection </a:t>
            </a:r>
            <a:r>
              <a:rPr lang="en-US" sz="1400" dirty="0">
                <a:latin typeface="+mj-lt"/>
                <a:cs typeface="Arial"/>
              </a:rPr>
              <a:t>:</a:t>
            </a:r>
          </a:p>
          <a:p>
            <a:pPr marL="452755" marR="160655" indent="-285750">
              <a:lnSpc>
                <a:spcPct val="118600"/>
              </a:lnSpc>
              <a:spcBef>
                <a:spcPts val="100"/>
              </a:spcBef>
              <a:buFont typeface="Arial" panose="020B0604020202020204" pitchFamily="34" charset="0"/>
              <a:buChar char="•"/>
            </a:pPr>
            <a:r>
              <a:rPr lang="en-US" sz="1400" dirty="0">
                <a:latin typeface="+mj-lt"/>
                <a:cs typeface="Arial"/>
              </a:rPr>
              <a:t>&lt; 2 months</a:t>
            </a:r>
          </a:p>
          <a:p>
            <a:pPr marL="452755" marR="160655" indent="-285750">
              <a:lnSpc>
                <a:spcPct val="118600"/>
              </a:lnSpc>
              <a:spcBef>
                <a:spcPts val="100"/>
              </a:spcBef>
              <a:buFont typeface="Arial" panose="020B0604020202020204" pitchFamily="34" charset="0"/>
              <a:buChar char="•"/>
            </a:pPr>
            <a:r>
              <a:rPr lang="en-US" sz="1400" dirty="0">
                <a:latin typeface="+mj-lt"/>
                <a:cs typeface="Arial"/>
              </a:rPr>
              <a:t>2-12 months</a:t>
            </a:r>
          </a:p>
        </p:txBody>
      </p:sp>
      <p:sp>
        <p:nvSpPr>
          <p:cNvPr id="10" name="object 3">
            <a:extLst>
              <a:ext uri="{FF2B5EF4-FFF2-40B4-BE49-F238E27FC236}">
                <a16:creationId xmlns:a16="http://schemas.microsoft.com/office/drawing/2014/main" id="{C8346B9B-8C78-555C-9786-14FDED6B0F52}"/>
              </a:ext>
            </a:extLst>
          </p:cNvPr>
          <p:cNvSpPr txBox="1"/>
          <p:nvPr/>
        </p:nvSpPr>
        <p:spPr>
          <a:xfrm>
            <a:off x="9526411" y="2329769"/>
            <a:ext cx="1547862" cy="286745"/>
          </a:xfrm>
          <a:prstGeom prst="rect">
            <a:avLst/>
          </a:prstGeom>
        </p:spPr>
        <p:txBody>
          <a:bodyPr vert="horz" wrap="square" lIns="0" tIns="12700" rIns="0" bIns="0" rtlCol="0">
            <a:spAutoFit/>
          </a:bodyPr>
          <a:lstStyle/>
          <a:p>
            <a:pPr marL="167005" marR="160655" algn="ctr">
              <a:lnSpc>
                <a:spcPct val="118600"/>
              </a:lnSpc>
              <a:spcBef>
                <a:spcPts val="100"/>
              </a:spcBef>
            </a:pPr>
            <a:r>
              <a:rPr lang="en-US" sz="1600" b="1" dirty="0">
                <a:latin typeface="+mj-lt"/>
                <a:cs typeface="Arial"/>
              </a:rPr>
              <a:t>Data Quality</a:t>
            </a:r>
            <a:endParaRPr sz="1600" b="1" dirty="0">
              <a:latin typeface="+mj-lt"/>
              <a:cs typeface="Arial"/>
            </a:endParaRPr>
          </a:p>
        </p:txBody>
      </p:sp>
      <p:sp>
        <p:nvSpPr>
          <p:cNvPr id="61" name="object 3">
            <a:extLst>
              <a:ext uri="{FF2B5EF4-FFF2-40B4-BE49-F238E27FC236}">
                <a16:creationId xmlns:a16="http://schemas.microsoft.com/office/drawing/2014/main" id="{B4989978-CD7D-E78C-94F9-4259E0A2EB10}"/>
              </a:ext>
            </a:extLst>
          </p:cNvPr>
          <p:cNvSpPr txBox="1"/>
          <p:nvPr/>
        </p:nvSpPr>
        <p:spPr>
          <a:xfrm>
            <a:off x="8310170" y="3444059"/>
            <a:ext cx="3808167" cy="1547090"/>
          </a:xfrm>
          <a:prstGeom prst="rect">
            <a:avLst/>
          </a:prstGeom>
        </p:spPr>
        <p:txBody>
          <a:bodyPr vert="horz" wrap="square" lIns="0" tIns="12700" rIns="0" bIns="0" rtlCol="0">
            <a:spAutoFit/>
          </a:bodyPr>
          <a:lstStyle/>
          <a:p>
            <a:pPr marL="452755" marR="160655" indent="-285750" algn="ctr">
              <a:lnSpc>
                <a:spcPct val="118600"/>
              </a:lnSpc>
              <a:spcBef>
                <a:spcPts val="100"/>
              </a:spcBef>
              <a:buFont typeface="Arial" panose="020B0604020202020204" pitchFamily="34" charset="0"/>
              <a:buChar char="•"/>
            </a:pPr>
            <a:r>
              <a:rPr lang="en-US" sz="1400" dirty="0">
                <a:latin typeface="+mj-lt"/>
                <a:cs typeface="Arial"/>
              </a:rPr>
              <a:t>Denominator is a proxy denominator, numerator can be greater, equal to or less than the denominator.</a:t>
            </a:r>
          </a:p>
          <a:p>
            <a:pPr marL="452755" marR="160655" indent="-285750" algn="ctr">
              <a:lnSpc>
                <a:spcPct val="118600"/>
              </a:lnSpc>
              <a:spcBef>
                <a:spcPts val="100"/>
              </a:spcBef>
              <a:buFont typeface="Arial" panose="020B0604020202020204" pitchFamily="34" charset="0"/>
              <a:buChar char="•"/>
            </a:pPr>
            <a:r>
              <a:rPr lang="en-US" sz="1400" dirty="0">
                <a:latin typeface="+mj-lt"/>
                <a:cs typeface="Arial"/>
              </a:rPr>
              <a:t>Emphasis has been placed on the fact that infant’s samples should be collected at &gt;2months rather than 2-12months.</a:t>
            </a:r>
          </a:p>
        </p:txBody>
      </p:sp>
    </p:spTree>
    <p:extLst>
      <p:ext uri="{BB962C8B-B14F-4D97-AF65-F5344CB8AC3E}">
        <p14:creationId xmlns:p14="http://schemas.microsoft.com/office/powerpoint/2010/main" val="289276870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AC5FD8C-1AF9-4BEB-A638-5263D7C2792C}"/>
              </a:ext>
            </a:extLst>
          </p:cNvPr>
          <p:cNvSpPr/>
          <p:nvPr/>
        </p:nvSpPr>
        <p:spPr>
          <a:xfrm>
            <a:off x="0" y="3494627"/>
            <a:ext cx="12172949" cy="1242634"/>
          </a:xfrm>
          <a:prstGeom prst="rect">
            <a:avLst/>
          </a:prstGeom>
          <a:solidFill>
            <a:srgbClr val="E7E6E6"/>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2" name="Title 1">
            <a:extLst>
              <a:ext uri="{FF2B5EF4-FFF2-40B4-BE49-F238E27FC236}">
                <a16:creationId xmlns:a16="http://schemas.microsoft.com/office/drawing/2014/main" id="{1BD024B5-574F-472D-AF3D-A31FBBD0B863}"/>
              </a:ext>
            </a:extLst>
          </p:cNvPr>
          <p:cNvSpPr>
            <a:spLocks noGrp="1"/>
          </p:cNvSpPr>
          <p:nvPr>
            <p:ph type="title"/>
          </p:nvPr>
        </p:nvSpPr>
        <p:spPr>
          <a:xfrm>
            <a:off x="0" y="0"/>
            <a:ext cx="10972800" cy="1143000"/>
          </a:xfrm>
        </p:spPr>
        <p:txBody>
          <a:bodyPr>
            <a:normAutofit/>
          </a:bodyPr>
          <a:lstStyle/>
          <a:p>
            <a:r>
              <a:rPr lang="en-US" sz="3600" dirty="0">
                <a:solidFill>
                  <a:schemeClr val="tx2">
                    <a:lumMod val="75000"/>
                  </a:schemeClr>
                </a:solidFill>
              </a:rPr>
              <a:t>PMTCT_HEI_POS</a:t>
            </a:r>
            <a:endParaRPr lang="en-NG" sz="3600" dirty="0">
              <a:solidFill>
                <a:schemeClr val="tx2">
                  <a:lumMod val="75000"/>
                </a:schemeClr>
              </a:solidFill>
            </a:endParaRPr>
          </a:p>
        </p:txBody>
      </p:sp>
      <p:grpSp>
        <p:nvGrpSpPr>
          <p:cNvPr id="5" name="Group 4">
            <a:extLst>
              <a:ext uri="{FF2B5EF4-FFF2-40B4-BE49-F238E27FC236}">
                <a16:creationId xmlns:a16="http://schemas.microsoft.com/office/drawing/2014/main" id="{1133AD3F-77E3-CA29-D7B7-F85B4786A583}"/>
              </a:ext>
            </a:extLst>
          </p:cNvPr>
          <p:cNvGrpSpPr/>
          <p:nvPr/>
        </p:nvGrpSpPr>
        <p:grpSpPr>
          <a:xfrm>
            <a:off x="785655" y="1925936"/>
            <a:ext cx="2529744" cy="4226674"/>
            <a:chOff x="843884" y="2079348"/>
            <a:chExt cx="2529744" cy="1871686"/>
          </a:xfrm>
        </p:grpSpPr>
        <p:pic>
          <p:nvPicPr>
            <p:cNvPr id="6" name="Картина 75">
              <a:extLst>
                <a:ext uri="{FF2B5EF4-FFF2-40B4-BE49-F238E27FC236}">
                  <a16:creationId xmlns:a16="http://schemas.microsoft.com/office/drawing/2014/main" id="{6C58ADA0-4E71-7A4B-C233-F5406EA79A3B}"/>
                </a:ext>
              </a:extLst>
            </p:cNvPr>
            <p:cNvPicPr>
              <a:picLocks noChangeAspect="1"/>
            </p:cNvPicPr>
            <p:nvPr/>
          </p:nvPicPr>
          <p:blipFill>
            <a:blip r:embed="rId3"/>
            <a:stretch>
              <a:fillRect/>
            </a:stretch>
          </p:blipFill>
          <p:spPr>
            <a:xfrm>
              <a:off x="871728" y="2249234"/>
              <a:ext cx="2501900" cy="1701800"/>
            </a:xfrm>
            <a:custGeom>
              <a:avLst/>
              <a:gdLst>
                <a:gd name="connsiteX0" fmla="*/ 0 w 2501900"/>
                <a:gd name="connsiteY0" fmla="*/ 0 h 1701800"/>
                <a:gd name="connsiteX1" fmla="*/ 2508504 w 2501900"/>
                <a:gd name="connsiteY1" fmla="*/ 0 h 1701800"/>
                <a:gd name="connsiteX2" fmla="*/ 2508504 w 2501900"/>
                <a:gd name="connsiteY2" fmla="*/ 1706880 h 1701800"/>
                <a:gd name="connsiteX3" fmla="*/ 0 w 2501900"/>
                <a:gd name="connsiteY3" fmla="*/ 1706880 h 1701800"/>
              </a:gdLst>
              <a:ahLst/>
              <a:cxnLst>
                <a:cxn ang="0">
                  <a:pos x="connsiteX0" y="connsiteY0"/>
                </a:cxn>
                <a:cxn ang="0">
                  <a:pos x="connsiteX1" y="connsiteY1"/>
                </a:cxn>
                <a:cxn ang="0">
                  <a:pos x="connsiteX2" y="connsiteY2"/>
                </a:cxn>
                <a:cxn ang="0">
                  <a:pos x="connsiteX3" y="connsiteY3"/>
                </a:cxn>
              </a:cxnLst>
              <a:rect l="l" t="t" r="r" b="b"/>
              <a:pathLst>
                <a:path w="2501900" h="1701800">
                  <a:moveTo>
                    <a:pt x="0" y="0"/>
                  </a:moveTo>
                  <a:lnTo>
                    <a:pt x="2508504" y="0"/>
                  </a:lnTo>
                  <a:lnTo>
                    <a:pt x="2508504" y="1706880"/>
                  </a:lnTo>
                  <a:lnTo>
                    <a:pt x="0" y="1706880"/>
                  </a:lnTo>
                  <a:close/>
                </a:path>
              </a:pathLst>
            </a:custGeom>
            <a:ln/>
          </p:spPr>
        </p:pic>
        <p:sp>
          <p:nvSpPr>
            <p:cNvPr id="7" name="Свободна форма: фигура 76">
              <a:extLst>
                <a:ext uri="{FF2B5EF4-FFF2-40B4-BE49-F238E27FC236}">
                  <a16:creationId xmlns:a16="http://schemas.microsoft.com/office/drawing/2014/main" id="{41BABE07-E017-2B32-6332-47B1ACDB5325}"/>
                </a:ext>
              </a:extLst>
            </p:cNvPr>
            <p:cNvSpPr/>
            <p:nvPr/>
          </p:nvSpPr>
          <p:spPr>
            <a:xfrm>
              <a:off x="973455" y="2350643"/>
              <a:ext cx="2197100" cy="1397000"/>
            </a:xfrm>
            <a:custGeom>
              <a:avLst/>
              <a:gdLst>
                <a:gd name="connsiteX0" fmla="*/ 2138807 w 2197100"/>
                <a:gd name="connsiteY0" fmla="*/ 1398270 h 1397000"/>
                <a:gd name="connsiteX1" fmla="*/ 64897 w 2197100"/>
                <a:gd name="connsiteY1" fmla="*/ 1398270 h 1397000"/>
                <a:gd name="connsiteX2" fmla="*/ 0 w 2197100"/>
                <a:gd name="connsiteY2" fmla="*/ 1333373 h 1397000"/>
                <a:gd name="connsiteX3" fmla="*/ 0 w 2197100"/>
                <a:gd name="connsiteY3" fmla="*/ 64897 h 1397000"/>
                <a:gd name="connsiteX4" fmla="*/ 64897 w 2197100"/>
                <a:gd name="connsiteY4" fmla="*/ 0 h 1397000"/>
                <a:gd name="connsiteX5" fmla="*/ 2138807 w 2197100"/>
                <a:gd name="connsiteY5" fmla="*/ 0 h 1397000"/>
                <a:gd name="connsiteX6" fmla="*/ 2203704 w 2197100"/>
                <a:gd name="connsiteY6" fmla="*/ 64897 h 1397000"/>
                <a:gd name="connsiteX7" fmla="*/ 2203704 w 2197100"/>
                <a:gd name="connsiteY7" fmla="*/ 1333373 h 1397000"/>
                <a:gd name="connsiteX8" fmla="*/ 2138807 w 2197100"/>
                <a:gd name="connsiteY8" fmla="*/ 1398270 h 139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7100" h="1397000">
                  <a:moveTo>
                    <a:pt x="2138807" y="1398270"/>
                  </a:moveTo>
                  <a:lnTo>
                    <a:pt x="64897" y="1398270"/>
                  </a:lnTo>
                  <a:cubicBezTo>
                    <a:pt x="29083" y="1398270"/>
                    <a:pt x="0" y="1369187"/>
                    <a:pt x="0" y="1333373"/>
                  </a:cubicBezTo>
                  <a:lnTo>
                    <a:pt x="0" y="64897"/>
                  </a:lnTo>
                  <a:cubicBezTo>
                    <a:pt x="0" y="29083"/>
                    <a:pt x="29083" y="0"/>
                    <a:pt x="64897" y="0"/>
                  </a:cubicBezTo>
                  <a:lnTo>
                    <a:pt x="2138807" y="0"/>
                  </a:lnTo>
                  <a:cubicBezTo>
                    <a:pt x="2174621" y="0"/>
                    <a:pt x="2203704" y="29083"/>
                    <a:pt x="2203704" y="64897"/>
                  </a:cubicBezTo>
                  <a:lnTo>
                    <a:pt x="2203704" y="1333373"/>
                  </a:lnTo>
                  <a:cubicBezTo>
                    <a:pt x="2203704" y="1369187"/>
                    <a:pt x="2174621" y="1398270"/>
                    <a:pt x="2138807" y="1398270"/>
                  </a:cubicBezTo>
                </a:path>
              </a:pathLst>
            </a:custGeom>
            <a:solidFill>
              <a:srgbClr val="F4F4F4"/>
            </a:solidFill>
            <a:ln w="12689" cap="flat">
              <a:noFill/>
              <a:prstDash val="solid"/>
              <a:miter/>
            </a:ln>
          </p:spPr>
          <p:txBody>
            <a:bodyPr rtlCol="0" anchor="ctr"/>
            <a:lstStyle/>
            <a:p>
              <a:pPr algn="ctr"/>
              <a:r>
                <a:rPr lang="en-US" sz="1400" dirty="0">
                  <a:effectLst/>
                  <a:latin typeface="Calibri" panose="020F0502020204030204" pitchFamily="34" charset="0"/>
                  <a:ea typeface="Calibri" panose="020F0502020204030204" pitchFamily="34" charset="0"/>
                  <a:cs typeface="Times New Roman" panose="02020603050405020304" pitchFamily="18" charset="0"/>
                </a:rPr>
                <a:t>Number of HIV-infected infants identified in the reporting period, whose diagnostic sample was collected by 12 months of age.</a:t>
              </a:r>
              <a:endParaRPr lang="bg-BG" sz="1400" dirty="0"/>
            </a:p>
          </p:txBody>
        </p:sp>
        <p:pic>
          <p:nvPicPr>
            <p:cNvPr id="8" name="Картина 77">
              <a:extLst>
                <a:ext uri="{FF2B5EF4-FFF2-40B4-BE49-F238E27FC236}">
                  <a16:creationId xmlns:a16="http://schemas.microsoft.com/office/drawing/2014/main" id="{FAA37948-0743-F862-1314-FDC07A57BA95}"/>
                </a:ext>
              </a:extLst>
            </p:cNvPr>
            <p:cNvPicPr>
              <a:picLocks noChangeAspect="1"/>
            </p:cNvPicPr>
            <p:nvPr/>
          </p:nvPicPr>
          <p:blipFill>
            <a:blip r:embed="rId4"/>
            <a:stretch>
              <a:fillRect/>
            </a:stretch>
          </p:blipFill>
          <p:spPr>
            <a:xfrm>
              <a:off x="843884" y="2193214"/>
              <a:ext cx="2501900" cy="673100"/>
            </a:xfrm>
            <a:custGeom>
              <a:avLst/>
              <a:gdLst>
                <a:gd name="connsiteX0" fmla="*/ 0 w 2501900"/>
                <a:gd name="connsiteY0" fmla="*/ 0 h 673100"/>
                <a:gd name="connsiteX1" fmla="*/ 2508504 w 2501900"/>
                <a:gd name="connsiteY1" fmla="*/ 0 h 673100"/>
                <a:gd name="connsiteX2" fmla="*/ 2508504 w 2501900"/>
                <a:gd name="connsiteY2" fmla="*/ 676656 h 673100"/>
                <a:gd name="connsiteX3" fmla="*/ 0 w 2501900"/>
                <a:gd name="connsiteY3" fmla="*/ 676656 h 673100"/>
              </a:gdLst>
              <a:ahLst/>
              <a:cxnLst>
                <a:cxn ang="0">
                  <a:pos x="connsiteX0" y="connsiteY0"/>
                </a:cxn>
                <a:cxn ang="0">
                  <a:pos x="connsiteX1" y="connsiteY1"/>
                </a:cxn>
                <a:cxn ang="0">
                  <a:pos x="connsiteX2" y="connsiteY2"/>
                </a:cxn>
                <a:cxn ang="0">
                  <a:pos x="connsiteX3" y="connsiteY3"/>
                </a:cxn>
              </a:cxnLst>
              <a:rect l="l" t="t" r="r" b="b"/>
              <a:pathLst>
                <a:path w="2501900" h="673100">
                  <a:moveTo>
                    <a:pt x="0" y="0"/>
                  </a:moveTo>
                  <a:lnTo>
                    <a:pt x="2508504" y="0"/>
                  </a:lnTo>
                  <a:lnTo>
                    <a:pt x="2508504" y="676656"/>
                  </a:lnTo>
                  <a:lnTo>
                    <a:pt x="0" y="676656"/>
                  </a:lnTo>
                  <a:close/>
                </a:path>
              </a:pathLst>
            </a:custGeom>
            <a:ln/>
          </p:spPr>
        </p:pic>
        <p:sp>
          <p:nvSpPr>
            <p:cNvPr id="9" name="Свободна форма: фигура 79">
              <a:extLst>
                <a:ext uri="{FF2B5EF4-FFF2-40B4-BE49-F238E27FC236}">
                  <a16:creationId xmlns:a16="http://schemas.microsoft.com/office/drawing/2014/main" id="{84AAB4F2-64AB-2903-AEEC-41602F9CD501}"/>
                </a:ext>
              </a:extLst>
            </p:cNvPr>
            <p:cNvSpPr/>
            <p:nvPr/>
          </p:nvSpPr>
          <p:spPr>
            <a:xfrm>
              <a:off x="871728" y="2079348"/>
              <a:ext cx="2413000" cy="573638"/>
            </a:xfrm>
            <a:custGeom>
              <a:avLst/>
              <a:gdLst>
                <a:gd name="connsiteX0" fmla="*/ 2357120 w 2413000"/>
                <a:gd name="connsiteY0" fmla="*/ 613664 h 609600"/>
                <a:gd name="connsiteX1" fmla="*/ 64897 w 2413000"/>
                <a:gd name="connsiteY1" fmla="*/ 613664 h 609600"/>
                <a:gd name="connsiteX2" fmla="*/ 0 w 2413000"/>
                <a:gd name="connsiteY2" fmla="*/ 548767 h 609600"/>
                <a:gd name="connsiteX3" fmla="*/ 0 w 2413000"/>
                <a:gd name="connsiteY3" fmla="*/ 64897 h 609600"/>
                <a:gd name="connsiteX4" fmla="*/ 64897 w 2413000"/>
                <a:gd name="connsiteY4" fmla="*/ 0 h 609600"/>
                <a:gd name="connsiteX5" fmla="*/ 2357120 w 2413000"/>
                <a:gd name="connsiteY5" fmla="*/ 0 h 609600"/>
                <a:gd name="connsiteX6" fmla="*/ 2422017 w 2413000"/>
                <a:gd name="connsiteY6" fmla="*/ 64897 h 609600"/>
                <a:gd name="connsiteX7" fmla="*/ 2422017 w 2413000"/>
                <a:gd name="connsiteY7" fmla="*/ 548767 h 609600"/>
                <a:gd name="connsiteX8" fmla="*/ 2357120 w 2413000"/>
                <a:gd name="connsiteY8" fmla="*/ 613664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13000" h="609600">
                  <a:moveTo>
                    <a:pt x="2357120" y="613664"/>
                  </a:moveTo>
                  <a:lnTo>
                    <a:pt x="64897" y="613664"/>
                  </a:lnTo>
                  <a:cubicBezTo>
                    <a:pt x="29083" y="613664"/>
                    <a:pt x="0" y="584581"/>
                    <a:pt x="0" y="548767"/>
                  </a:cubicBezTo>
                  <a:lnTo>
                    <a:pt x="0" y="64897"/>
                  </a:lnTo>
                  <a:cubicBezTo>
                    <a:pt x="0" y="29083"/>
                    <a:pt x="29083" y="0"/>
                    <a:pt x="64897" y="0"/>
                  </a:cubicBezTo>
                  <a:lnTo>
                    <a:pt x="2357120" y="0"/>
                  </a:lnTo>
                  <a:cubicBezTo>
                    <a:pt x="2392934" y="0"/>
                    <a:pt x="2422017" y="29083"/>
                    <a:pt x="2422017" y="64897"/>
                  </a:cubicBezTo>
                  <a:lnTo>
                    <a:pt x="2422017" y="548767"/>
                  </a:lnTo>
                  <a:cubicBezTo>
                    <a:pt x="2422017" y="584708"/>
                    <a:pt x="2392934" y="613664"/>
                    <a:pt x="2357120" y="613664"/>
                  </a:cubicBezTo>
                </a:path>
              </a:pathLst>
            </a:custGeom>
            <a:solidFill>
              <a:schemeClr val="accent1"/>
            </a:solidFill>
            <a:ln w="12689" cap="flat">
              <a:noFill/>
              <a:prstDash val="solid"/>
              <a:miter/>
            </a:ln>
          </p:spPr>
          <p:txBody>
            <a:bodyPr rtlCol="0" anchor="ctr"/>
            <a:lstStyle/>
            <a:p>
              <a:r>
                <a:rPr lang="en-US" dirty="0"/>
                <a:t>          Description</a:t>
              </a:r>
              <a:endParaRPr lang="bg-BG" dirty="0"/>
            </a:p>
          </p:txBody>
        </p:sp>
      </p:grpSp>
      <p:grpSp>
        <p:nvGrpSpPr>
          <p:cNvPr id="19" name="Group 18">
            <a:extLst>
              <a:ext uri="{FF2B5EF4-FFF2-40B4-BE49-F238E27FC236}">
                <a16:creationId xmlns:a16="http://schemas.microsoft.com/office/drawing/2014/main" id="{2EA1526F-0DBB-53B8-AC8E-775264D398E6}"/>
              </a:ext>
            </a:extLst>
          </p:cNvPr>
          <p:cNvGrpSpPr/>
          <p:nvPr/>
        </p:nvGrpSpPr>
        <p:grpSpPr>
          <a:xfrm>
            <a:off x="5005230" y="1925936"/>
            <a:ext cx="2529744" cy="4226674"/>
            <a:chOff x="843884" y="2079348"/>
            <a:chExt cx="2529744" cy="1871686"/>
          </a:xfrm>
        </p:grpSpPr>
        <p:pic>
          <p:nvPicPr>
            <p:cNvPr id="20" name="Картина 75">
              <a:extLst>
                <a:ext uri="{FF2B5EF4-FFF2-40B4-BE49-F238E27FC236}">
                  <a16:creationId xmlns:a16="http://schemas.microsoft.com/office/drawing/2014/main" id="{E62E6D58-7EAB-5CC5-963C-32457C95ECDD}"/>
                </a:ext>
              </a:extLst>
            </p:cNvPr>
            <p:cNvPicPr>
              <a:picLocks noChangeAspect="1"/>
            </p:cNvPicPr>
            <p:nvPr/>
          </p:nvPicPr>
          <p:blipFill>
            <a:blip r:embed="rId3"/>
            <a:stretch>
              <a:fillRect/>
            </a:stretch>
          </p:blipFill>
          <p:spPr>
            <a:xfrm>
              <a:off x="871728" y="2249234"/>
              <a:ext cx="2501900" cy="1701800"/>
            </a:xfrm>
            <a:custGeom>
              <a:avLst/>
              <a:gdLst>
                <a:gd name="connsiteX0" fmla="*/ 0 w 2501900"/>
                <a:gd name="connsiteY0" fmla="*/ 0 h 1701800"/>
                <a:gd name="connsiteX1" fmla="*/ 2508504 w 2501900"/>
                <a:gd name="connsiteY1" fmla="*/ 0 h 1701800"/>
                <a:gd name="connsiteX2" fmla="*/ 2508504 w 2501900"/>
                <a:gd name="connsiteY2" fmla="*/ 1706880 h 1701800"/>
                <a:gd name="connsiteX3" fmla="*/ 0 w 2501900"/>
                <a:gd name="connsiteY3" fmla="*/ 1706880 h 1701800"/>
              </a:gdLst>
              <a:ahLst/>
              <a:cxnLst>
                <a:cxn ang="0">
                  <a:pos x="connsiteX0" y="connsiteY0"/>
                </a:cxn>
                <a:cxn ang="0">
                  <a:pos x="connsiteX1" y="connsiteY1"/>
                </a:cxn>
                <a:cxn ang="0">
                  <a:pos x="connsiteX2" y="connsiteY2"/>
                </a:cxn>
                <a:cxn ang="0">
                  <a:pos x="connsiteX3" y="connsiteY3"/>
                </a:cxn>
              </a:cxnLst>
              <a:rect l="l" t="t" r="r" b="b"/>
              <a:pathLst>
                <a:path w="2501900" h="1701800">
                  <a:moveTo>
                    <a:pt x="0" y="0"/>
                  </a:moveTo>
                  <a:lnTo>
                    <a:pt x="2508504" y="0"/>
                  </a:lnTo>
                  <a:lnTo>
                    <a:pt x="2508504" y="1706880"/>
                  </a:lnTo>
                  <a:lnTo>
                    <a:pt x="0" y="1706880"/>
                  </a:lnTo>
                  <a:close/>
                </a:path>
              </a:pathLst>
            </a:custGeom>
            <a:ln/>
          </p:spPr>
        </p:pic>
        <p:sp>
          <p:nvSpPr>
            <p:cNvPr id="21" name="Свободна форма: фигура 76">
              <a:extLst>
                <a:ext uri="{FF2B5EF4-FFF2-40B4-BE49-F238E27FC236}">
                  <a16:creationId xmlns:a16="http://schemas.microsoft.com/office/drawing/2014/main" id="{A8F78D0F-2B6C-B6ED-DF33-6E03410B9A6F}"/>
                </a:ext>
              </a:extLst>
            </p:cNvPr>
            <p:cNvSpPr/>
            <p:nvPr/>
          </p:nvSpPr>
          <p:spPr>
            <a:xfrm>
              <a:off x="973455" y="2350643"/>
              <a:ext cx="2197100" cy="1397000"/>
            </a:xfrm>
            <a:custGeom>
              <a:avLst/>
              <a:gdLst>
                <a:gd name="connsiteX0" fmla="*/ 2138807 w 2197100"/>
                <a:gd name="connsiteY0" fmla="*/ 1398270 h 1397000"/>
                <a:gd name="connsiteX1" fmla="*/ 64897 w 2197100"/>
                <a:gd name="connsiteY1" fmla="*/ 1398270 h 1397000"/>
                <a:gd name="connsiteX2" fmla="*/ 0 w 2197100"/>
                <a:gd name="connsiteY2" fmla="*/ 1333373 h 1397000"/>
                <a:gd name="connsiteX3" fmla="*/ 0 w 2197100"/>
                <a:gd name="connsiteY3" fmla="*/ 64897 h 1397000"/>
                <a:gd name="connsiteX4" fmla="*/ 64897 w 2197100"/>
                <a:gd name="connsiteY4" fmla="*/ 0 h 1397000"/>
                <a:gd name="connsiteX5" fmla="*/ 2138807 w 2197100"/>
                <a:gd name="connsiteY5" fmla="*/ 0 h 1397000"/>
                <a:gd name="connsiteX6" fmla="*/ 2203704 w 2197100"/>
                <a:gd name="connsiteY6" fmla="*/ 64897 h 1397000"/>
                <a:gd name="connsiteX7" fmla="*/ 2203704 w 2197100"/>
                <a:gd name="connsiteY7" fmla="*/ 1333373 h 1397000"/>
                <a:gd name="connsiteX8" fmla="*/ 2138807 w 2197100"/>
                <a:gd name="connsiteY8" fmla="*/ 1398270 h 139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7100" h="1397000">
                  <a:moveTo>
                    <a:pt x="2138807" y="1398270"/>
                  </a:moveTo>
                  <a:lnTo>
                    <a:pt x="64897" y="1398270"/>
                  </a:lnTo>
                  <a:cubicBezTo>
                    <a:pt x="29083" y="1398270"/>
                    <a:pt x="0" y="1369187"/>
                    <a:pt x="0" y="1333373"/>
                  </a:cubicBezTo>
                  <a:lnTo>
                    <a:pt x="0" y="64897"/>
                  </a:lnTo>
                  <a:cubicBezTo>
                    <a:pt x="0" y="29083"/>
                    <a:pt x="29083" y="0"/>
                    <a:pt x="64897" y="0"/>
                  </a:cubicBezTo>
                  <a:lnTo>
                    <a:pt x="2138807" y="0"/>
                  </a:lnTo>
                  <a:cubicBezTo>
                    <a:pt x="2174621" y="0"/>
                    <a:pt x="2203704" y="29083"/>
                    <a:pt x="2203704" y="64897"/>
                  </a:cubicBezTo>
                  <a:lnTo>
                    <a:pt x="2203704" y="1333373"/>
                  </a:lnTo>
                  <a:cubicBezTo>
                    <a:pt x="2203704" y="1369187"/>
                    <a:pt x="2174621" y="1398270"/>
                    <a:pt x="2138807" y="1398270"/>
                  </a:cubicBezTo>
                </a:path>
              </a:pathLst>
            </a:custGeom>
            <a:solidFill>
              <a:srgbClr val="F4F4F4"/>
            </a:solidFill>
            <a:ln w="12689" cap="flat">
              <a:noFill/>
              <a:prstDash val="solid"/>
              <a:miter/>
            </a:ln>
          </p:spPr>
          <p:txBody>
            <a:bodyPr rtlCol="0" anchor="ctr"/>
            <a:lstStyle/>
            <a:p>
              <a:pPr algn="ctr"/>
              <a:r>
                <a:rPr lang="en-US" sz="1400" dirty="0"/>
                <a:t>N/A</a:t>
              </a:r>
              <a:endParaRPr lang="bg-BG" sz="1400" dirty="0"/>
            </a:p>
          </p:txBody>
        </p:sp>
        <p:pic>
          <p:nvPicPr>
            <p:cNvPr id="22" name="Картина 77">
              <a:extLst>
                <a:ext uri="{FF2B5EF4-FFF2-40B4-BE49-F238E27FC236}">
                  <a16:creationId xmlns:a16="http://schemas.microsoft.com/office/drawing/2014/main" id="{6A2E83C2-AF99-C499-43C2-324F693D95FE}"/>
                </a:ext>
              </a:extLst>
            </p:cNvPr>
            <p:cNvPicPr>
              <a:picLocks noChangeAspect="1"/>
            </p:cNvPicPr>
            <p:nvPr/>
          </p:nvPicPr>
          <p:blipFill>
            <a:blip r:embed="rId4"/>
            <a:stretch>
              <a:fillRect/>
            </a:stretch>
          </p:blipFill>
          <p:spPr>
            <a:xfrm>
              <a:off x="843884" y="2193214"/>
              <a:ext cx="2501900" cy="673100"/>
            </a:xfrm>
            <a:custGeom>
              <a:avLst/>
              <a:gdLst>
                <a:gd name="connsiteX0" fmla="*/ 0 w 2501900"/>
                <a:gd name="connsiteY0" fmla="*/ 0 h 673100"/>
                <a:gd name="connsiteX1" fmla="*/ 2508504 w 2501900"/>
                <a:gd name="connsiteY1" fmla="*/ 0 h 673100"/>
                <a:gd name="connsiteX2" fmla="*/ 2508504 w 2501900"/>
                <a:gd name="connsiteY2" fmla="*/ 676656 h 673100"/>
                <a:gd name="connsiteX3" fmla="*/ 0 w 2501900"/>
                <a:gd name="connsiteY3" fmla="*/ 676656 h 673100"/>
              </a:gdLst>
              <a:ahLst/>
              <a:cxnLst>
                <a:cxn ang="0">
                  <a:pos x="connsiteX0" y="connsiteY0"/>
                </a:cxn>
                <a:cxn ang="0">
                  <a:pos x="connsiteX1" y="connsiteY1"/>
                </a:cxn>
                <a:cxn ang="0">
                  <a:pos x="connsiteX2" y="connsiteY2"/>
                </a:cxn>
                <a:cxn ang="0">
                  <a:pos x="connsiteX3" y="connsiteY3"/>
                </a:cxn>
              </a:cxnLst>
              <a:rect l="l" t="t" r="r" b="b"/>
              <a:pathLst>
                <a:path w="2501900" h="673100">
                  <a:moveTo>
                    <a:pt x="0" y="0"/>
                  </a:moveTo>
                  <a:lnTo>
                    <a:pt x="2508504" y="0"/>
                  </a:lnTo>
                  <a:lnTo>
                    <a:pt x="2508504" y="676656"/>
                  </a:lnTo>
                  <a:lnTo>
                    <a:pt x="0" y="676656"/>
                  </a:lnTo>
                  <a:close/>
                </a:path>
              </a:pathLst>
            </a:custGeom>
            <a:ln/>
          </p:spPr>
        </p:pic>
        <p:sp>
          <p:nvSpPr>
            <p:cNvPr id="23" name="Свободна форма: фигура 79">
              <a:extLst>
                <a:ext uri="{FF2B5EF4-FFF2-40B4-BE49-F238E27FC236}">
                  <a16:creationId xmlns:a16="http://schemas.microsoft.com/office/drawing/2014/main" id="{94732E2C-5C7B-75AE-572C-977C1DE1FF5B}"/>
                </a:ext>
              </a:extLst>
            </p:cNvPr>
            <p:cNvSpPr/>
            <p:nvPr/>
          </p:nvSpPr>
          <p:spPr>
            <a:xfrm>
              <a:off x="871728" y="2079348"/>
              <a:ext cx="2413000" cy="573638"/>
            </a:xfrm>
            <a:custGeom>
              <a:avLst/>
              <a:gdLst>
                <a:gd name="connsiteX0" fmla="*/ 2357120 w 2413000"/>
                <a:gd name="connsiteY0" fmla="*/ 613664 h 609600"/>
                <a:gd name="connsiteX1" fmla="*/ 64897 w 2413000"/>
                <a:gd name="connsiteY1" fmla="*/ 613664 h 609600"/>
                <a:gd name="connsiteX2" fmla="*/ 0 w 2413000"/>
                <a:gd name="connsiteY2" fmla="*/ 548767 h 609600"/>
                <a:gd name="connsiteX3" fmla="*/ 0 w 2413000"/>
                <a:gd name="connsiteY3" fmla="*/ 64897 h 609600"/>
                <a:gd name="connsiteX4" fmla="*/ 64897 w 2413000"/>
                <a:gd name="connsiteY4" fmla="*/ 0 h 609600"/>
                <a:gd name="connsiteX5" fmla="*/ 2357120 w 2413000"/>
                <a:gd name="connsiteY5" fmla="*/ 0 h 609600"/>
                <a:gd name="connsiteX6" fmla="*/ 2422017 w 2413000"/>
                <a:gd name="connsiteY6" fmla="*/ 64897 h 609600"/>
                <a:gd name="connsiteX7" fmla="*/ 2422017 w 2413000"/>
                <a:gd name="connsiteY7" fmla="*/ 548767 h 609600"/>
                <a:gd name="connsiteX8" fmla="*/ 2357120 w 2413000"/>
                <a:gd name="connsiteY8" fmla="*/ 613664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13000" h="609600">
                  <a:moveTo>
                    <a:pt x="2357120" y="613664"/>
                  </a:moveTo>
                  <a:lnTo>
                    <a:pt x="64897" y="613664"/>
                  </a:lnTo>
                  <a:cubicBezTo>
                    <a:pt x="29083" y="613664"/>
                    <a:pt x="0" y="584581"/>
                    <a:pt x="0" y="548767"/>
                  </a:cubicBezTo>
                  <a:lnTo>
                    <a:pt x="0" y="64897"/>
                  </a:lnTo>
                  <a:cubicBezTo>
                    <a:pt x="0" y="29083"/>
                    <a:pt x="29083" y="0"/>
                    <a:pt x="64897" y="0"/>
                  </a:cubicBezTo>
                  <a:lnTo>
                    <a:pt x="2357120" y="0"/>
                  </a:lnTo>
                  <a:cubicBezTo>
                    <a:pt x="2392934" y="0"/>
                    <a:pt x="2422017" y="29083"/>
                    <a:pt x="2422017" y="64897"/>
                  </a:cubicBezTo>
                  <a:lnTo>
                    <a:pt x="2422017" y="548767"/>
                  </a:lnTo>
                  <a:cubicBezTo>
                    <a:pt x="2422017" y="584708"/>
                    <a:pt x="2392934" y="613664"/>
                    <a:pt x="2357120" y="613664"/>
                  </a:cubicBezTo>
                </a:path>
              </a:pathLst>
            </a:custGeom>
            <a:solidFill>
              <a:srgbClr val="92D050"/>
            </a:solidFill>
            <a:ln w="12689" cap="flat">
              <a:noFill/>
              <a:prstDash val="solid"/>
              <a:miter/>
            </a:ln>
          </p:spPr>
          <p:txBody>
            <a:bodyPr rtlCol="0" anchor="ctr"/>
            <a:lstStyle/>
            <a:p>
              <a:r>
                <a:rPr lang="en-US" dirty="0"/>
                <a:t>          Denominator</a:t>
              </a:r>
              <a:endParaRPr lang="bg-BG" dirty="0"/>
            </a:p>
          </p:txBody>
        </p:sp>
      </p:grpSp>
      <p:grpSp>
        <p:nvGrpSpPr>
          <p:cNvPr id="24" name="Group 23">
            <a:extLst>
              <a:ext uri="{FF2B5EF4-FFF2-40B4-BE49-F238E27FC236}">
                <a16:creationId xmlns:a16="http://schemas.microsoft.com/office/drawing/2014/main" id="{E6BC21EF-40CB-A3F6-C5F0-942D33E84DE3}"/>
              </a:ext>
            </a:extLst>
          </p:cNvPr>
          <p:cNvGrpSpPr/>
          <p:nvPr/>
        </p:nvGrpSpPr>
        <p:grpSpPr>
          <a:xfrm>
            <a:off x="9224805" y="1925936"/>
            <a:ext cx="2529744" cy="4226674"/>
            <a:chOff x="843884" y="2079348"/>
            <a:chExt cx="2529744" cy="1871686"/>
          </a:xfrm>
        </p:grpSpPr>
        <p:pic>
          <p:nvPicPr>
            <p:cNvPr id="25" name="Картина 75">
              <a:extLst>
                <a:ext uri="{FF2B5EF4-FFF2-40B4-BE49-F238E27FC236}">
                  <a16:creationId xmlns:a16="http://schemas.microsoft.com/office/drawing/2014/main" id="{2185EB07-98BE-F162-3F7B-E9C3C69373E3}"/>
                </a:ext>
              </a:extLst>
            </p:cNvPr>
            <p:cNvPicPr>
              <a:picLocks noChangeAspect="1"/>
            </p:cNvPicPr>
            <p:nvPr/>
          </p:nvPicPr>
          <p:blipFill>
            <a:blip r:embed="rId3"/>
            <a:stretch>
              <a:fillRect/>
            </a:stretch>
          </p:blipFill>
          <p:spPr>
            <a:xfrm>
              <a:off x="871728" y="2249234"/>
              <a:ext cx="2501900" cy="1701800"/>
            </a:xfrm>
            <a:custGeom>
              <a:avLst/>
              <a:gdLst>
                <a:gd name="connsiteX0" fmla="*/ 0 w 2501900"/>
                <a:gd name="connsiteY0" fmla="*/ 0 h 1701800"/>
                <a:gd name="connsiteX1" fmla="*/ 2508504 w 2501900"/>
                <a:gd name="connsiteY1" fmla="*/ 0 h 1701800"/>
                <a:gd name="connsiteX2" fmla="*/ 2508504 w 2501900"/>
                <a:gd name="connsiteY2" fmla="*/ 1706880 h 1701800"/>
                <a:gd name="connsiteX3" fmla="*/ 0 w 2501900"/>
                <a:gd name="connsiteY3" fmla="*/ 1706880 h 1701800"/>
              </a:gdLst>
              <a:ahLst/>
              <a:cxnLst>
                <a:cxn ang="0">
                  <a:pos x="connsiteX0" y="connsiteY0"/>
                </a:cxn>
                <a:cxn ang="0">
                  <a:pos x="connsiteX1" y="connsiteY1"/>
                </a:cxn>
                <a:cxn ang="0">
                  <a:pos x="connsiteX2" y="connsiteY2"/>
                </a:cxn>
                <a:cxn ang="0">
                  <a:pos x="connsiteX3" y="connsiteY3"/>
                </a:cxn>
              </a:cxnLst>
              <a:rect l="l" t="t" r="r" b="b"/>
              <a:pathLst>
                <a:path w="2501900" h="1701800">
                  <a:moveTo>
                    <a:pt x="0" y="0"/>
                  </a:moveTo>
                  <a:lnTo>
                    <a:pt x="2508504" y="0"/>
                  </a:lnTo>
                  <a:lnTo>
                    <a:pt x="2508504" y="1706880"/>
                  </a:lnTo>
                  <a:lnTo>
                    <a:pt x="0" y="1706880"/>
                  </a:lnTo>
                  <a:close/>
                </a:path>
              </a:pathLst>
            </a:custGeom>
            <a:ln/>
          </p:spPr>
        </p:pic>
        <p:sp>
          <p:nvSpPr>
            <p:cNvPr id="26" name="Свободна форма: фигура 76">
              <a:extLst>
                <a:ext uri="{FF2B5EF4-FFF2-40B4-BE49-F238E27FC236}">
                  <a16:creationId xmlns:a16="http://schemas.microsoft.com/office/drawing/2014/main" id="{320F1E17-FB82-A94E-033C-039418367EB4}"/>
                </a:ext>
              </a:extLst>
            </p:cNvPr>
            <p:cNvSpPr/>
            <p:nvPr/>
          </p:nvSpPr>
          <p:spPr>
            <a:xfrm>
              <a:off x="979678" y="2391218"/>
              <a:ext cx="2197100" cy="1397000"/>
            </a:xfrm>
            <a:custGeom>
              <a:avLst/>
              <a:gdLst>
                <a:gd name="connsiteX0" fmla="*/ 2138807 w 2197100"/>
                <a:gd name="connsiteY0" fmla="*/ 1398270 h 1397000"/>
                <a:gd name="connsiteX1" fmla="*/ 64897 w 2197100"/>
                <a:gd name="connsiteY1" fmla="*/ 1398270 h 1397000"/>
                <a:gd name="connsiteX2" fmla="*/ 0 w 2197100"/>
                <a:gd name="connsiteY2" fmla="*/ 1333373 h 1397000"/>
                <a:gd name="connsiteX3" fmla="*/ 0 w 2197100"/>
                <a:gd name="connsiteY3" fmla="*/ 64897 h 1397000"/>
                <a:gd name="connsiteX4" fmla="*/ 64897 w 2197100"/>
                <a:gd name="connsiteY4" fmla="*/ 0 h 1397000"/>
                <a:gd name="connsiteX5" fmla="*/ 2138807 w 2197100"/>
                <a:gd name="connsiteY5" fmla="*/ 0 h 1397000"/>
                <a:gd name="connsiteX6" fmla="*/ 2203704 w 2197100"/>
                <a:gd name="connsiteY6" fmla="*/ 64897 h 1397000"/>
                <a:gd name="connsiteX7" fmla="*/ 2203704 w 2197100"/>
                <a:gd name="connsiteY7" fmla="*/ 1333373 h 1397000"/>
                <a:gd name="connsiteX8" fmla="*/ 2138807 w 2197100"/>
                <a:gd name="connsiteY8" fmla="*/ 1398270 h 139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7100" h="1397000">
                  <a:moveTo>
                    <a:pt x="2138807" y="1398270"/>
                  </a:moveTo>
                  <a:lnTo>
                    <a:pt x="64897" y="1398270"/>
                  </a:lnTo>
                  <a:cubicBezTo>
                    <a:pt x="29083" y="1398270"/>
                    <a:pt x="0" y="1369187"/>
                    <a:pt x="0" y="1333373"/>
                  </a:cubicBezTo>
                  <a:lnTo>
                    <a:pt x="0" y="64897"/>
                  </a:lnTo>
                  <a:cubicBezTo>
                    <a:pt x="0" y="29083"/>
                    <a:pt x="29083" y="0"/>
                    <a:pt x="64897" y="0"/>
                  </a:cubicBezTo>
                  <a:lnTo>
                    <a:pt x="2138807" y="0"/>
                  </a:lnTo>
                  <a:cubicBezTo>
                    <a:pt x="2174621" y="0"/>
                    <a:pt x="2203704" y="29083"/>
                    <a:pt x="2203704" y="64897"/>
                  </a:cubicBezTo>
                  <a:lnTo>
                    <a:pt x="2203704" y="1333373"/>
                  </a:lnTo>
                  <a:cubicBezTo>
                    <a:pt x="2203704" y="1369187"/>
                    <a:pt x="2174621" y="1398270"/>
                    <a:pt x="2138807" y="1398270"/>
                  </a:cubicBezTo>
                </a:path>
              </a:pathLst>
            </a:custGeom>
            <a:solidFill>
              <a:srgbClr val="F4F4F4"/>
            </a:solidFill>
            <a:ln w="12689" cap="flat">
              <a:noFill/>
              <a:prstDash val="solid"/>
              <a:miter/>
            </a:ln>
          </p:spPr>
          <p:txBody>
            <a:bodyPr rtlCol="0" anchor="ctr"/>
            <a:lstStyle/>
            <a:p>
              <a:pPr algn="ctr"/>
              <a:r>
                <a:rPr lang="en-US" sz="1400" dirty="0">
                  <a:effectLst/>
                  <a:latin typeface="Calibri" panose="020F0502020204030204" pitchFamily="34" charset="0"/>
                  <a:ea typeface="Calibri" panose="020F0502020204030204" pitchFamily="34" charset="0"/>
                  <a:cs typeface="Times New Roman" panose="02020603050405020304" pitchFamily="18" charset="0"/>
                </a:rPr>
                <a:t>Number of HIV-infected infants identified in the reporting period, whose diagnostic sample was collected by 12 months of age.</a:t>
              </a:r>
              <a:endParaRPr lang="bg-BG" sz="1400" dirty="0"/>
            </a:p>
            <a:p>
              <a:pPr algn="ctr"/>
              <a:endParaRPr lang="bg-BG" sz="1400" dirty="0"/>
            </a:p>
          </p:txBody>
        </p:sp>
        <p:pic>
          <p:nvPicPr>
            <p:cNvPr id="27" name="Картина 77">
              <a:extLst>
                <a:ext uri="{FF2B5EF4-FFF2-40B4-BE49-F238E27FC236}">
                  <a16:creationId xmlns:a16="http://schemas.microsoft.com/office/drawing/2014/main" id="{24678BD9-B6E0-922A-BF13-B658BE6D7E79}"/>
                </a:ext>
              </a:extLst>
            </p:cNvPr>
            <p:cNvPicPr>
              <a:picLocks noChangeAspect="1"/>
            </p:cNvPicPr>
            <p:nvPr/>
          </p:nvPicPr>
          <p:blipFill>
            <a:blip r:embed="rId4"/>
            <a:stretch>
              <a:fillRect/>
            </a:stretch>
          </p:blipFill>
          <p:spPr>
            <a:xfrm>
              <a:off x="843884" y="2193214"/>
              <a:ext cx="2501900" cy="673100"/>
            </a:xfrm>
            <a:custGeom>
              <a:avLst/>
              <a:gdLst>
                <a:gd name="connsiteX0" fmla="*/ 0 w 2501900"/>
                <a:gd name="connsiteY0" fmla="*/ 0 h 673100"/>
                <a:gd name="connsiteX1" fmla="*/ 2508504 w 2501900"/>
                <a:gd name="connsiteY1" fmla="*/ 0 h 673100"/>
                <a:gd name="connsiteX2" fmla="*/ 2508504 w 2501900"/>
                <a:gd name="connsiteY2" fmla="*/ 676656 h 673100"/>
                <a:gd name="connsiteX3" fmla="*/ 0 w 2501900"/>
                <a:gd name="connsiteY3" fmla="*/ 676656 h 673100"/>
              </a:gdLst>
              <a:ahLst/>
              <a:cxnLst>
                <a:cxn ang="0">
                  <a:pos x="connsiteX0" y="connsiteY0"/>
                </a:cxn>
                <a:cxn ang="0">
                  <a:pos x="connsiteX1" y="connsiteY1"/>
                </a:cxn>
                <a:cxn ang="0">
                  <a:pos x="connsiteX2" y="connsiteY2"/>
                </a:cxn>
                <a:cxn ang="0">
                  <a:pos x="connsiteX3" y="connsiteY3"/>
                </a:cxn>
              </a:cxnLst>
              <a:rect l="l" t="t" r="r" b="b"/>
              <a:pathLst>
                <a:path w="2501900" h="673100">
                  <a:moveTo>
                    <a:pt x="0" y="0"/>
                  </a:moveTo>
                  <a:lnTo>
                    <a:pt x="2508504" y="0"/>
                  </a:lnTo>
                  <a:lnTo>
                    <a:pt x="2508504" y="676656"/>
                  </a:lnTo>
                  <a:lnTo>
                    <a:pt x="0" y="676656"/>
                  </a:lnTo>
                  <a:close/>
                </a:path>
              </a:pathLst>
            </a:custGeom>
            <a:ln/>
          </p:spPr>
        </p:pic>
        <p:sp>
          <p:nvSpPr>
            <p:cNvPr id="28" name="Свободна форма: фигура 79">
              <a:extLst>
                <a:ext uri="{FF2B5EF4-FFF2-40B4-BE49-F238E27FC236}">
                  <a16:creationId xmlns:a16="http://schemas.microsoft.com/office/drawing/2014/main" id="{11C40151-090B-88ED-5F43-FB823F510F1C}"/>
                </a:ext>
              </a:extLst>
            </p:cNvPr>
            <p:cNvSpPr/>
            <p:nvPr/>
          </p:nvSpPr>
          <p:spPr>
            <a:xfrm>
              <a:off x="871728" y="2079348"/>
              <a:ext cx="2413000" cy="573638"/>
            </a:xfrm>
            <a:custGeom>
              <a:avLst/>
              <a:gdLst>
                <a:gd name="connsiteX0" fmla="*/ 2357120 w 2413000"/>
                <a:gd name="connsiteY0" fmla="*/ 613664 h 609600"/>
                <a:gd name="connsiteX1" fmla="*/ 64897 w 2413000"/>
                <a:gd name="connsiteY1" fmla="*/ 613664 h 609600"/>
                <a:gd name="connsiteX2" fmla="*/ 0 w 2413000"/>
                <a:gd name="connsiteY2" fmla="*/ 548767 h 609600"/>
                <a:gd name="connsiteX3" fmla="*/ 0 w 2413000"/>
                <a:gd name="connsiteY3" fmla="*/ 64897 h 609600"/>
                <a:gd name="connsiteX4" fmla="*/ 64897 w 2413000"/>
                <a:gd name="connsiteY4" fmla="*/ 0 h 609600"/>
                <a:gd name="connsiteX5" fmla="*/ 2357120 w 2413000"/>
                <a:gd name="connsiteY5" fmla="*/ 0 h 609600"/>
                <a:gd name="connsiteX6" fmla="*/ 2422017 w 2413000"/>
                <a:gd name="connsiteY6" fmla="*/ 64897 h 609600"/>
                <a:gd name="connsiteX7" fmla="*/ 2422017 w 2413000"/>
                <a:gd name="connsiteY7" fmla="*/ 548767 h 609600"/>
                <a:gd name="connsiteX8" fmla="*/ 2357120 w 2413000"/>
                <a:gd name="connsiteY8" fmla="*/ 613664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13000" h="609600">
                  <a:moveTo>
                    <a:pt x="2357120" y="613664"/>
                  </a:moveTo>
                  <a:lnTo>
                    <a:pt x="64897" y="613664"/>
                  </a:lnTo>
                  <a:cubicBezTo>
                    <a:pt x="29083" y="613664"/>
                    <a:pt x="0" y="584581"/>
                    <a:pt x="0" y="548767"/>
                  </a:cubicBezTo>
                  <a:lnTo>
                    <a:pt x="0" y="64897"/>
                  </a:lnTo>
                  <a:cubicBezTo>
                    <a:pt x="0" y="29083"/>
                    <a:pt x="29083" y="0"/>
                    <a:pt x="64897" y="0"/>
                  </a:cubicBezTo>
                  <a:lnTo>
                    <a:pt x="2357120" y="0"/>
                  </a:lnTo>
                  <a:cubicBezTo>
                    <a:pt x="2392934" y="0"/>
                    <a:pt x="2422017" y="29083"/>
                    <a:pt x="2422017" y="64897"/>
                  </a:cubicBezTo>
                  <a:lnTo>
                    <a:pt x="2422017" y="548767"/>
                  </a:lnTo>
                  <a:cubicBezTo>
                    <a:pt x="2422017" y="584708"/>
                    <a:pt x="2392934" y="613664"/>
                    <a:pt x="2357120" y="613664"/>
                  </a:cubicBezTo>
                </a:path>
              </a:pathLst>
            </a:custGeom>
            <a:solidFill>
              <a:schemeClr val="accent1"/>
            </a:solidFill>
            <a:ln w="12689" cap="flat">
              <a:noFill/>
              <a:prstDash val="solid"/>
              <a:miter/>
            </a:ln>
          </p:spPr>
          <p:txBody>
            <a:bodyPr rtlCol="0" anchor="ctr"/>
            <a:lstStyle/>
            <a:p>
              <a:r>
                <a:rPr lang="en-US" dirty="0"/>
                <a:t>          Numerator</a:t>
              </a:r>
              <a:endParaRPr lang="bg-BG" dirty="0"/>
            </a:p>
          </p:txBody>
        </p:sp>
      </p:grpSp>
      <p:sp>
        <p:nvSpPr>
          <p:cNvPr id="31" name="Freeform 251">
            <a:extLst>
              <a:ext uri="{FF2B5EF4-FFF2-40B4-BE49-F238E27FC236}">
                <a16:creationId xmlns:a16="http://schemas.microsoft.com/office/drawing/2014/main" id="{B861DED8-6089-EE9E-240A-891C94194D37}"/>
              </a:ext>
            </a:extLst>
          </p:cNvPr>
          <p:cNvSpPr>
            <a:spLocks/>
          </p:cNvSpPr>
          <p:nvPr/>
        </p:nvSpPr>
        <p:spPr bwMode="auto">
          <a:xfrm>
            <a:off x="3838661" y="3867388"/>
            <a:ext cx="248233" cy="363705"/>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solidFill>
            <a:srgbClr val="4454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Light"/>
            </a:endParaRPr>
          </a:p>
        </p:txBody>
      </p:sp>
      <p:sp>
        <p:nvSpPr>
          <p:cNvPr id="32" name="Freeform 251">
            <a:extLst>
              <a:ext uri="{FF2B5EF4-FFF2-40B4-BE49-F238E27FC236}">
                <a16:creationId xmlns:a16="http://schemas.microsoft.com/office/drawing/2014/main" id="{5035F5E8-ECC6-315B-60FE-1EA49C004617}"/>
              </a:ext>
            </a:extLst>
          </p:cNvPr>
          <p:cNvSpPr>
            <a:spLocks/>
          </p:cNvSpPr>
          <p:nvPr/>
        </p:nvSpPr>
        <p:spPr bwMode="auto">
          <a:xfrm>
            <a:off x="4040771" y="3867388"/>
            <a:ext cx="248233" cy="363705"/>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solidFill>
            <a:srgbClr val="4454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Light"/>
            </a:endParaRPr>
          </a:p>
        </p:txBody>
      </p:sp>
      <p:sp>
        <p:nvSpPr>
          <p:cNvPr id="34" name="Freeform 251">
            <a:extLst>
              <a:ext uri="{FF2B5EF4-FFF2-40B4-BE49-F238E27FC236}">
                <a16:creationId xmlns:a16="http://schemas.microsoft.com/office/drawing/2014/main" id="{2E4C47E6-6135-35D6-CF7C-2F438F39CBFF}"/>
              </a:ext>
            </a:extLst>
          </p:cNvPr>
          <p:cNvSpPr>
            <a:spLocks/>
          </p:cNvSpPr>
          <p:nvPr/>
        </p:nvSpPr>
        <p:spPr bwMode="auto">
          <a:xfrm>
            <a:off x="7876199" y="3867387"/>
            <a:ext cx="248233" cy="363705"/>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solidFill>
            <a:srgbClr val="4454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Light"/>
            </a:endParaRPr>
          </a:p>
        </p:txBody>
      </p:sp>
      <p:sp>
        <p:nvSpPr>
          <p:cNvPr id="35" name="Freeform 251">
            <a:extLst>
              <a:ext uri="{FF2B5EF4-FFF2-40B4-BE49-F238E27FC236}">
                <a16:creationId xmlns:a16="http://schemas.microsoft.com/office/drawing/2014/main" id="{9AB6035F-8A04-78C3-BBC4-6DB411572D6F}"/>
              </a:ext>
            </a:extLst>
          </p:cNvPr>
          <p:cNvSpPr>
            <a:spLocks/>
          </p:cNvSpPr>
          <p:nvPr/>
        </p:nvSpPr>
        <p:spPr bwMode="auto">
          <a:xfrm>
            <a:off x="8084942" y="3867386"/>
            <a:ext cx="248233" cy="363705"/>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solidFill>
            <a:srgbClr val="4454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Light"/>
            </a:endParaRPr>
          </a:p>
        </p:txBody>
      </p:sp>
    </p:spTree>
    <p:extLst>
      <p:ext uri="{BB962C8B-B14F-4D97-AF65-F5344CB8AC3E}">
        <p14:creationId xmlns:p14="http://schemas.microsoft.com/office/powerpoint/2010/main" val="1069087651"/>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AC5FD8C-1AF9-4BEB-A638-5263D7C2792C}"/>
              </a:ext>
            </a:extLst>
          </p:cNvPr>
          <p:cNvSpPr/>
          <p:nvPr/>
        </p:nvSpPr>
        <p:spPr>
          <a:xfrm>
            <a:off x="0" y="3494627"/>
            <a:ext cx="12172949" cy="1242634"/>
          </a:xfrm>
          <a:prstGeom prst="rect">
            <a:avLst/>
          </a:prstGeom>
          <a:solidFill>
            <a:srgbClr val="E7E6E6"/>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2" name="Title 1">
            <a:extLst>
              <a:ext uri="{FF2B5EF4-FFF2-40B4-BE49-F238E27FC236}">
                <a16:creationId xmlns:a16="http://schemas.microsoft.com/office/drawing/2014/main" id="{1BD024B5-574F-472D-AF3D-A31FBBD0B863}"/>
              </a:ext>
            </a:extLst>
          </p:cNvPr>
          <p:cNvSpPr>
            <a:spLocks noGrp="1"/>
          </p:cNvSpPr>
          <p:nvPr>
            <p:ph type="title"/>
          </p:nvPr>
        </p:nvSpPr>
        <p:spPr>
          <a:xfrm>
            <a:off x="0" y="0"/>
            <a:ext cx="10972800" cy="1143000"/>
          </a:xfrm>
        </p:spPr>
        <p:txBody>
          <a:bodyPr>
            <a:normAutofit/>
          </a:bodyPr>
          <a:lstStyle/>
          <a:p>
            <a:r>
              <a:rPr lang="en-US" sz="3600" dirty="0">
                <a:solidFill>
                  <a:schemeClr val="tx2">
                    <a:lumMod val="75000"/>
                  </a:schemeClr>
                </a:solidFill>
              </a:rPr>
              <a:t>PMTCT_HEI_POS</a:t>
            </a:r>
            <a:endParaRPr lang="en-NG" sz="3600" dirty="0">
              <a:solidFill>
                <a:schemeClr val="tx2">
                  <a:lumMod val="75000"/>
                </a:schemeClr>
              </a:solidFill>
            </a:endParaRPr>
          </a:p>
        </p:txBody>
      </p:sp>
      <p:sp>
        <p:nvSpPr>
          <p:cNvPr id="31" name="Freeform 251">
            <a:extLst>
              <a:ext uri="{FF2B5EF4-FFF2-40B4-BE49-F238E27FC236}">
                <a16:creationId xmlns:a16="http://schemas.microsoft.com/office/drawing/2014/main" id="{B861DED8-6089-EE9E-240A-891C94194D37}"/>
              </a:ext>
            </a:extLst>
          </p:cNvPr>
          <p:cNvSpPr>
            <a:spLocks/>
          </p:cNvSpPr>
          <p:nvPr/>
        </p:nvSpPr>
        <p:spPr bwMode="auto">
          <a:xfrm>
            <a:off x="3838661" y="3867388"/>
            <a:ext cx="248233" cy="363705"/>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solidFill>
            <a:srgbClr val="4454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Light"/>
            </a:endParaRPr>
          </a:p>
        </p:txBody>
      </p:sp>
      <p:sp>
        <p:nvSpPr>
          <p:cNvPr id="32" name="Freeform 251">
            <a:extLst>
              <a:ext uri="{FF2B5EF4-FFF2-40B4-BE49-F238E27FC236}">
                <a16:creationId xmlns:a16="http://schemas.microsoft.com/office/drawing/2014/main" id="{5035F5E8-ECC6-315B-60FE-1EA49C004617}"/>
              </a:ext>
            </a:extLst>
          </p:cNvPr>
          <p:cNvSpPr>
            <a:spLocks/>
          </p:cNvSpPr>
          <p:nvPr/>
        </p:nvSpPr>
        <p:spPr bwMode="auto">
          <a:xfrm>
            <a:off x="4040771" y="3867388"/>
            <a:ext cx="248233" cy="363705"/>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solidFill>
            <a:srgbClr val="4454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Light"/>
            </a:endParaRPr>
          </a:p>
        </p:txBody>
      </p:sp>
      <p:sp>
        <p:nvSpPr>
          <p:cNvPr id="34" name="Freeform 251">
            <a:extLst>
              <a:ext uri="{FF2B5EF4-FFF2-40B4-BE49-F238E27FC236}">
                <a16:creationId xmlns:a16="http://schemas.microsoft.com/office/drawing/2014/main" id="{2E4C47E6-6135-35D6-CF7C-2F438F39CBFF}"/>
              </a:ext>
            </a:extLst>
          </p:cNvPr>
          <p:cNvSpPr>
            <a:spLocks/>
          </p:cNvSpPr>
          <p:nvPr/>
        </p:nvSpPr>
        <p:spPr bwMode="auto">
          <a:xfrm>
            <a:off x="7876199" y="3867387"/>
            <a:ext cx="248233" cy="363705"/>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solidFill>
            <a:srgbClr val="4454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Light"/>
            </a:endParaRPr>
          </a:p>
        </p:txBody>
      </p:sp>
      <p:sp>
        <p:nvSpPr>
          <p:cNvPr id="35" name="Freeform 251">
            <a:extLst>
              <a:ext uri="{FF2B5EF4-FFF2-40B4-BE49-F238E27FC236}">
                <a16:creationId xmlns:a16="http://schemas.microsoft.com/office/drawing/2014/main" id="{9AB6035F-8A04-78C3-BBC4-6DB411572D6F}"/>
              </a:ext>
            </a:extLst>
          </p:cNvPr>
          <p:cNvSpPr>
            <a:spLocks/>
          </p:cNvSpPr>
          <p:nvPr/>
        </p:nvSpPr>
        <p:spPr bwMode="auto">
          <a:xfrm>
            <a:off x="8084942" y="3867386"/>
            <a:ext cx="248233" cy="363705"/>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solidFill>
            <a:srgbClr val="4454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Light"/>
            </a:endParaRPr>
          </a:p>
        </p:txBody>
      </p:sp>
      <p:grpSp>
        <p:nvGrpSpPr>
          <p:cNvPr id="29" name="Group 28">
            <a:extLst>
              <a:ext uri="{FF2B5EF4-FFF2-40B4-BE49-F238E27FC236}">
                <a16:creationId xmlns:a16="http://schemas.microsoft.com/office/drawing/2014/main" id="{384E601B-B96F-4224-D79B-C7C5017A001A}"/>
              </a:ext>
            </a:extLst>
          </p:cNvPr>
          <p:cNvGrpSpPr/>
          <p:nvPr/>
        </p:nvGrpSpPr>
        <p:grpSpPr>
          <a:xfrm>
            <a:off x="203716" y="1820078"/>
            <a:ext cx="3688976" cy="4383048"/>
            <a:chOff x="583687" y="407303"/>
            <a:chExt cx="2652210" cy="2724586"/>
          </a:xfrm>
        </p:grpSpPr>
        <p:sp>
          <p:nvSpPr>
            <p:cNvPr id="30" name="Свободна форма: фигура 11">
              <a:extLst>
                <a:ext uri="{FF2B5EF4-FFF2-40B4-BE49-F238E27FC236}">
                  <a16:creationId xmlns:a16="http://schemas.microsoft.com/office/drawing/2014/main" id="{911F6F5A-6F05-A873-F036-D58091B0E75C}"/>
                </a:ext>
              </a:extLst>
            </p:cNvPr>
            <p:cNvSpPr/>
            <p:nvPr/>
          </p:nvSpPr>
          <p:spPr>
            <a:xfrm>
              <a:off x="677366" y="592080"/>
              <a:ext cx="2413000" cy="2413000"/>
            </a:xfrm>
            <a:custGeom>
              <a:avLst/>
              <a:gdLst>
                <a:gd name="connsiteX0" fmla="*/ 2422704 w 2413000"/>
                <a:gd name="connsiteY0" fmla="*/ 1249928 h 2413000"/>
                <a:gd name="connsiteX1" fmla="*/ 1806246 w 2413000"/>
                <a:gd name="connsiteY1" fmla="*/ 2259705 h 2413000"/>
                <a:gd name="connsiteX2" fmla="*/ 1647242 w 2413000"/>
                <a:gd name="connsiteY2" fmla="*/ 2330190 h 2413000"/>
                <a:gd name="connsiteX3" fmla="*/ 250115 w 2413000"/>
                <a:gd name="connsiteY3" fmla="*/ 1945126 h 2413000"/>
                <a:gd name="connsiteX4" fmla="*/ 132767 w 2413000"/>
                <a:gd name="connsiteY4" fmla="*/ 1759452 h 2413000"/>
                <a:gd name="connsiteX5" fmla="*/ 88825 w 2413000"/>
                <a:gd name="connsiteY5" fmla="*/ 705987 h 2413000"/>
                <a:gd name="connsiteX6" fmla="*/ 1371779 w 2413000"/>
                <a:gd name="connsiteY6" fmla="*/ 11551 h 2413000"/>
                <a:gd name="connsiteX7" fmla="*/ 1587425 w 2413000"/>
                <a:gd name="connsiteY7" fmla="*/ 62605 h 2413000"/>
                <a:gd name="connsiteX8" fmla="*/ 2410893 w 2413000"/>
                <a:gd name="connsiteY8" fmla="*/ 1003294 h 2413000"/>
                <a:gd name="connsiteX9" fmla="*/ 2422704 w 2413000"/>
                <a:gd name="connsiteY9" fmla="*/ 1249928 h 241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3000" h="2413000">
                  <a:moveTo>
                    <a:pt x="2422704" y="1249928"/>
                  </a:moveTo>
                  <a:cubicBezTo>
                    <a:pt x="2416354" y="1676648"/>
                    <a:pt x="2163497" y="2066030"/>
                    <a:pt x="1806246" y="2259705"/>
                  </a:cubicBezTo>
                  <a:cubicBezTo>
                    <a:pt x="1755192" y="2287391"/>
                    <a:pt x="1702106" y="2311013"/>
                    <a:pt x="1647242" y="2330190"/>
                  </a:cubicBezTo>
                  <a:cubicBezTo>
                    <a:pt x="1147878" y="2541391"/>
                    <a:pt x="564567" y="2349367"/>
                    <a:pt x="250115" y="1945126"/>
                  </a:cubicBezTo>
                  <a:cubicBezTo>
                    <a:pt x="205157" y="1887341"/>
                    <a:pt x="165787" y="1825365"/>
                    <a:pt x="132767" y="1759452"/>
                  </a:cubicBezTo>
                  <a:cubicBezTo>
                    <a:pt x="1068" y="1430268"/>
                    <a:pt x="-64718" y="1057142"/>
                    <a:pt x="88825" y="705987"/>
                  </a:cubicBezTo>
                  <a:cubicBezTo>
                    <a:pt x="308281" y="223133"/>
                    <a:pt x="835077" y="-62236"/>
                    <a:pt x="1371779" y="11551"/>
                  </a:cubicBezTo>
                  <a:cubicBezTo>
                    <a:pt x="1444931" y="22473"/>
                    <a:pt x="1517194" y="39618"/>
                    <a:pt x="1587425" y="62605"/>
                  </a:cubicBezTo>
                  <a:cubicBezTo>
                    <a:pt x="2008938" y="200527"/>
                    <a:pt x="2360855" y="548380"/>
                    <a:pt x="2410893" y="1003294"/>
                  </a:cubicBezTo>
                  <a:cubicBezTo>
                    <a:pt x="2423212" y="1082669"/>
                    <a:pt x="2427403" y="1165473"/>
                    <a:pt x="2422704" y="1249928"/>
                  </a:cubicBezTo>
                </a:path>
              </a:pathLst>
            </a:custGeom>
            <a:solidFill>
              <a:srgbClr val="FFFFFF"/>
            </a:solidFill>
            <a:ln w="12689" cap="flat">
              <a:noFill/>
              <a:prstDash val="solid"/>
              <a:miter/>
            </a:ln>
          </p:spPr>
          <p:txBody>
            <a:bodyPr rtlCol="0" anchor="ctr"/>
            <a:lstStyle/>
            <a:p>
              <a:endParaRPr lang="bg-BG"/>
            </a:p>
          </p:txBody>
        </p:sp>
        <p:sp>
          <p:nvSpPr>
            <p:cNvPr id="33" name="Свободна форма: фигура 12">
              <a:extLst>
                <a:ext uri="{FF2B5EF4-FFF2-40B4-BE49-F238E27FC236}">
                  <a16:creationId xmlns:a16="http://schemas.microsoft.com/office/drawing/2014/main" id="{D290E99A-E62F-B88E-9E0D-6ED6B9F2FEAE}"/>
                </a:ext>
              </a:extLst>
            </p:cNvPr>
            <p:cNvSpPr/>
            <p:nvPr/>
          </p:nvSpPr>
          <p:spPr>
            <a:xfrm>
              <a:off x="1406829" y="592140"/>
              <a:ext cx="1054100" cy="850900"/>
            </a:xfrm>
            <a:custGeom>
              <a:avLst/>
              <a:gdLst>
                <a:gd name="connsiteX0" fmla="*/ 642316 w 1054100"/>
                <a:gd name="connsiteY0" fmla="*/ 11491 h 850900"/>
                <a:gd name="connsiteX1" fmla="*/ 61672 w 1054100"/>
                <a:gd name="connsiteY1" fmla="*/ 70419 h 850900"/>
                <a:gd name="connsiteX2" fmla="*/ 66244 w 1054100"/>
                <a:gd name="connsiteY2" fmla="*/ 566227 h 850900"/>
                <a:gd name="connsiteX3" fmla="*/ 118187 w 1054100"/>
                <a:gd name="connsiteY3" fmla="*/ 647253 h 850900"/>
                <a:gd name="connsiteX4" fmla="*/ 728422 w 1054100"/>
                <a:gd name="connsiteY4" fmla="*/ 817052 h 850900"/>
                <a:gd name="connsiteX5" fmla="*/ 1032333 w 1054100"/>
                <a:gd name="connsiteY5" fmla="*/ 474660 h 850900"/>
                <a:gd name="connsiteX6" fmla="*/ 1051637 w 1054100"/>
                <a:gd name="connsiteY6" fmla="*/ 381315 h 850900"/>
                <a:gd name="connsiteX7" fmla="*/ 1014172 w 1054100"/>
                <a:gd name="connsiteY7" fmla="*/ 124775 h 850900"/>
                <a:gd name="connsiteX8" fmla="*/ 857962 w 1054100"/>
                <a:gd name="connsiteY8" fmla="*/ 62545 h 850900"/>
                <a:gd name="connsiteX9" fmla="*/ 642316 w 1054100"/>
                <a:gd name="connsiteY9" fmla="*/ 11491 h 850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54100" h="850900">
                  <a:moveTo>
                    <a:pt x="642316" y="11491"/>
                  </a:moveTo>
                  <a:cubicBezTo>
                    <a:pt x="442291" y="-15941"/>
                    <a:pt x="243536" y="6538"/>
                    <a:pt x="61672" y="70419"/>
                  </a:cubicBezTo>
                  <a:cubicBezTo>
                    <a:pt x="-26847" y="221803"/>
                    <a:pt x="-15417" y="412176"/>
                    <a:pt x="66244" y="566227"/>
                  </a:cubicBezTo>
                  <a:cubicBezTo>
                    <a:pt x="81230" y="594548"/>
                    <a:pt x="98629" y="621726"/>
                    <a:pt x="118187" y="647253"/>
                  </a:cubicBezTo>
                  <a:cubicBezTo>
                    <a:pt x="263602" y="832038"/>
                    <a:pt x="514173" y="901761"/>
                    <a:pt x="728422" y="817052"/>
                  </a:cubicBezTo>
                  <a:cubicBezTo>
                    <a:pt x="882346" y="753679"/>
                    <a:pt x="974167" y="617281"/>
                    <a:pt x="1032333" y="474660"/>
                  </a:cubicBezTo>
                  <a:cubicBezTo>
                    <a:pt x="1041858" y="444180"/>
                    <a:pt x="1048335" y="412811"/>
                    <a:pt x="1051637" y="381315"/>
                  </a:cubicBezTo>
                  <a:cubicBezTo>
                    <a:pt x="1060908" y="294701"/>
                    <a:pt x="1047192" y="205928"/>
                    <a:pt x="1014172" y="124775"/>
                  </a:cubicBezTo>
                  <a:cubicBezTo>
                    <a:pt x="963499" y="100772"/>
                    <a:pt x="911302" y="80071"/>
                    <a:pt x="857962" y="62545"/>
                  </a:cubicBezTo>
                  <a:cubicBezTo>
                    <a:pt x="787731" y="39558"/>
                    <a:pt x="715595" y="22413"/>
                    <a:pt x="642316" y="11491"/>
                  </a:cubicBezTo>
                </a:path>
              </a:pathLst>
            </a:custGeom>
            <a:solidFill>
              <a:srgbClr val="F1F0D7"/>
            </a:solidFill>
            <a:ln w="12689" cap="flat">
              <a:noFill/>
              <a:prstDash val="solid"/>
              <a:miter/>
            </a:ln>
          </p:spPr>
          <p:txBody>
            <a:bodyPr rtlCol="0" anchor="ctr"/>
            <a:lstStyle/>
            <a:p>
              <a:endParaRPr lang="bg-BG"/>
            </a:p>
          </p:txBody>
        </p:sp>
        <p:sp>
          <p:nvSpPr>
            <p:cNvPr id="36" name="Свободна форма: фигура 13">
              <a:extLst>
                <a:ext uri="{FF2B5EF4-FFF2-40B4-BE49-F238E27FC236}">
                  <a16:creationId xmlns:a16="http://schemas.microsoft.com/office/drawing/2014/main" id="{DABFA090-7E97-D4D9-C7A8-5454663A2952}"/>
                </a:ext>
              </a:extLst>
            </p:cNvPr>
            <p:cNvSpPr/>
            <p:nvPr/>
          </p:nvSpPr>
          <p:spPr>
            <a:xfrm>
              <a:off x="1425065" y="407303"/>
              <a:ext cx="914400" cy="927100"/>
            </a:xfrm>
            <a:custGeom>
              <a:avLst/>
              <a:gdLst>
                <a:gd name="connsiteX0" fmla="*/ 143512 w 914400"/>
                <a:gd name="connsiteY0" fmla="*/ 129780 h 927100"/>
                <a:gd name="connsiteX1" fmla="*/ 580011 w 914400"/>
                <a:gd name="connsiteY1" fmla="*/ 15988 h 927100"/>
                <a:gd name="connsiteX2" fmla="*/ 642368 w 914400"/>
                <a:gd name="connsiteY2" fmla="*/ 38721 h 927100"/>
                <a:gd name="connsiteX3" fmla="*/ 923800 w 914400"/>
                <a:gd name="connsiteY3" fmla="*/ 514208 h 927100"/>
                <a:gd name="connsiteX4" fmla="*/ 906782 w 914400"/>
                <a:gd name="connsiteY4" fmla="*/ 596251 h 927100"/>
                <a:gd name="connsiteX5" fmla="*/ 639828 w 914400"/>
                <a:gd name="connsiteY5" fmla="*/ 896860 h 927100"/>
                <a:gd name="connsiteX6" fmla="*/ 104015 w 914400"/>
                <a:gd name="connsiteY6" fmla="*/ 747762 h 927100"/>
                <a:gd name="connsiteX7" fmla="*/ 58295 w 914400"/>
                <a:gd name="connsiteY7" fmla="*/ 676642 h 927100"/>
                <a:gd name="connsiteX8" fmla="*/ 81409 w 914400"/>
                <a:gd name="connsiteY8" fmla="*/ 200519 h 927100"/>
                <a:gd name="connsiteX9" fmla="*/ 143512 w 914400"/>
                <a:gd name="connsiteY9" fmla="*/ 129780 h 927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4400" h="927100">
                  <a:moveTo>
                    <a:pt x="143512" y="129780"/>
                  </a:moveTo>
                  <a:cubicBezTo>
                    <a:pt x="258193" y="14337"/>
                    <a:pt x="430659" y="-25541"/>
                    <a:pt x="580011" y="15988"/>
                  </a:cubicBezTo>
                  <a:cubicBezTo>
                    <a:pt x="601347" y="21957"/>
                    <a:pt x="622175" y="29450"/>
                    <a:pt x="642368" y="38721"/>
                  </a:cubicBezTo>
                  <a:cubicBezTo>
                    <a:pt x="835281" y="113016"/>
                    <a:pt x="944501" y="320153"/>
                    <a:pt x="923800" y="514208"/>
                  </a:cubicBezTo>
                  <a:cubicBezTo>
                    <a:pt x="920879" y="541895"/>
                    <a:pt x="915164" y="569454"/>
                    <a:pt x="906782" y="596251"/>
                  </a:cubicBezTo>
                  <a:cubicBezTo>
                    <a:pt x="855728" y="721473"/>
                    <a:pt x="774956" y="841234"/>
                    <a:pt x="639828" y="896860"/>
                  </a:cubicBezTo>
                  <a:cubicBezTo>
                    <a:pt x="451741" y="971282"/>
                    <a:pt x="231650" y="910068"/>
                    <a:pt x="104015" y="747762"/>
                  </a:cubicBezTo>
                  <a:cubicBezTo>
                    <a:pt x="86870" y="725410"/>
                    <a:pt x="71503" y="701534"/>
                    <a:pt x="58295" y="676642"/>
                  </a:cubicBezTo>
                  <a:cubicBezTo>
                    <a:pt x="-20826" y="527163"/>
                    <a:pt x="-25271" y="338568"/>
                    <a:pt x="81409" y="200519"/>
                  </a:cubicBezTo>
                  <a:cubicBezTo>
                    <a:pt x="99062" y="175500"/>
                    <a:pt x="119890" y="151623"/>
                    <a:pt x="143512" y="129780"/>
                  </a:cubicBezTo>
                </a:path>
              </a:pathLst>
            </a:custGeom>
            <a:solidFill>
              <a:srgbClr val="83CC1B"/>
            </a:solidFill>
            <a:ln w="12689" cap="flat">
              <a:noFill/>
              <a:prstDash val="solid"/>
              <a:miter/>
            </a:ln>
          </p:spPr>
          <p:txBody>
            <a:bodyPr rtlCol="0" anchor="ctr"/>
            <a:lstStyle/>
            <a:p>
              <a:endParaRPr lang="bg-BG"/>
            </a:p>
          </p:txBody>
        </p:sp>
        <p:sp>
          <p:nvSpPr>
            <p:cNvPr id="37" name="Свободна форма: фигура 14">
              <a:extLst>
                <a:ext uri="{FF2B5EF4-FFF2-40B4-BE49-F238E27FC236}">
                  <a16:creationId xmlns:a16="http://schemas.microsoft.com/office/drawing/2014/main" id="{9C71F291-6856-E849-2045-23D7264219FA}"/>
                </a:ext>
              </a:extLst>
            </p:cNvPr>
            <p:cNvSpPr/>
            <p:nvPr/>
          </p:nvSpPr>
          <p:spPr>
            <a:xfrm>
              <a:off x="1591056" y="557657"/>
              <a:ext cx="749300" cy="774700"/>
            </a:xfrm>
            <a:custGeom>
              <a:avLst/>
              <a:gdLst>
                <a:gd name="connsiteX0" fmla="*/ 629920 w 749300"/>
                <a:gd name="connsiteY0" fmla="*/ 21209 h 774700"/>
                <a:gd name="connsiteX1" fmla="*/ 593852 w 749300"/>
                <a:gd name="connsiteY1" fmla="*/ 266573 h 774700"/>
                <a:gd name="connsiteX2" fmla="*/ 271399 w 749300"/>
                <a:gd name="connsiteY2" fmla="*/ 577850 h 774700"/>
                <a:gd name="connsiteX3" fmla="*/ 0 w 749300"/>
                <a:gd name="connsiteY3" fmla="*/ 661924 h 774700"/>
                <a:gd name="connsiteX4" fmla="*/ 473837 w 749300"/>
                <a:gd name="connsiteY4" fmla="*/ 746506 h 774700"/>
                <a:gd name="connsiteX5" fmla="*/ 740791 w 749300"/>
                <a:gd name="connsiteY5" fmla="*/ 445770 h 774700"/>
                <a:gd name="connsiteX6" fmla="*/ 757809 w 749300"/>
                <a:gd name="connsiteY6" fmla="*/ 363728 h 774700"/>
                <a:gd name="connsiteX7" fmla="*/ 638175 w 749300"/>
                <a:gd name="connsiteY7" fmla="*/ 0 h 774700"/>
                <a:gd name="connsiteX8" fmla="*/ 629920 w 749300"/>
                <a:gd name="connsiteY8" fmla="*/ 21209 h 774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9300" h="774700">
                  <a:moveTo>
                    <a:pt x="629920" y="21209"/>
                  </a:moveTo>
                  <a:cubicBezTo>
                    <a:pt x="606171" y="100711"/>
                    <a:pt x="622300" y="185928"/>
                    <a:pt x="593852" y="266573"/>
                  </a:cubicBezTo>
                  <a:cubicBezTo>
                    <a:pt x="538861" y="422148"/>
                    <a:pt x="416306" y="511683"/>
                    <a:pt x="271399" y="577850"/>
                  </a:cubicBezTo>
                  <a:cubicBezTo>
                    <a:pt x="185039" y="617220"/>
                    <a:pt x="92710" y="647192"/>
                    <a:pt x="0" y="661924"/>
                  </a:cubicBezTo>
                  <a:cubicBezTo>
                    <a:pt x="129794" y="774446"/>
                    <a:pt x="313309" y="809879"/>
                    <a:pt x="473837" y="746506"/>
                  </a:cubicBezTo>
                  <a:cubicBezTo>
                    <a:pt x="608965" y="690880"/>
                    <a:pt x="689737" y="570992"/>
                    <a:pt x="740791" y="445770"/>
                  </a:cubicBezTo>
                  <a:cubicBezTo>
                    <a:pt x="749173" y="418973"/>
                    <a:pt x="754761" y="391541"/>
                    <a:pt x="757809" y="363728"/>
                  </a:cubicBezTo>
                  <a:cubicBezTo>
                    <a:pt x="771652" y="233680"/>
                    <a:pt x="727075" y="97917"/>
                    <a:pt x="638175" y="0"/>
                  </a:cubicBezTo>
                  <a:cubicBezTo>
                    <a:pt x="634873" y="6731"/>
                    <a:pt x="632079" y="13716"/>
                    <a:pt x="629920" y="21209"/>
                  </a:cubicBezTo>
                </a:path>
              </a:pathLst>
            </a:custGeom>
            <a:solidFill>
              <a:srgbClr val="5DB723"/>
            </a:solidFill>
            <a:ln w="12689" cap="flat">
              <a:noFill/>
              <a:prstDash val="solid"/>
              <a:miter/>
            </a:ln>
          </p:spPr>
          <p:txBody>
            <a:bodyPr rtlCol="0" anchor="ctr"/>
            <a:lstStyle/>
            <a:p>
              <a:endParaRPr lang="bg-BG"/>
            </a:p>
          </p:txBody>
        </p:sp>
        <p:sp>
          <p:nvSpPr>
            <p:cNvPr id="38" name="Свободна форма: фигура 15">
              <a:extLst>
                <a:ext uri="{FF2B5EF4-FFF2-40B4-BE49-F238E27FC236}">
                  <a16:creationId xmlns:a16="http://schemas.microsoft.com/office/drawing/2014/main" id="{DBC6C10A-97E4-C6A4-3A0D-F73B29F8ADF9}"/>
                </a:ext>
              </a:extLst>
            </p:cNvPr>
            <p:cNvSpPr/>
            <p:nvPr/>
          </p:nvSpPr>
          <p:spPr>
            <a:xfrm>
              <a:off x="689991" y="1457452"/>
              <a:ext cx="2400300" cy="1549400"/>
            </a:xfrm>
            <a:custGeom>
              <a:avLst/>
              <a:gdLst>
                <a:gd name="connsiteX0" fmla="*/ 2398395 w 2400300"/>
                <a:gd name="connsiteY0" fmla="*/ 137922 h 1549400"/>
                <a:gd name="connsiteX1" fmla="*/ 2373122 w 2400300"/>
                <a:gd name="connsiteY1" fmla="*/ 0 h 1549400"/>
                <a:gd name="connsiteX2" fmla="*/ 2211197 w 2400300"/>
                <a:gd name="connsiteY2" fmla="*/ 837184 h 1549400"/>
                <a:gd name="connsiteX3" fmla="*/ 1736852 w 2400300"/>
                <a:gd name="connsiteY3" fmla="*/ 1171702 h 1549400"/>
                <a:gd name="connsiteX4" fmla="*/ 1234313 w 2400300"/>
                <a:gd name="connsiteY4" fmla="*/ 1282827 h 1549400"/>
                <a:gd name="connsiteX5" fmla="*/ 955421 w 2400300"/>
                <a:gd name="connsiteY5" fmla="*/ 1222375 h 1549400"/>
                <a:gd name="connsiteX6" fmla="*/ 736727 w 2400300"/>
                <a:gd name="connsiteY6" fmla="*/ 1105154 h 1549400"/>
                <a:gd name="connsiteX7" fmla="*/ 305308 w 2400300"/>
                <a:gd name="connsiteY7" fmla="*/ 875792 h 1549400"/>
                <a:gd name="connsiteX8" fmla="*/ 0 w 2400300"/>
                <a:gd name="connsiteY8" fmla="*/ 455930 h 1549400"/>
                <a:gd name="connsiteX9" fmla="*/ 120269 w 2400300"/>
                <a:gd name="connsiteY9" fmla="*/ 894334 h 1549400"/>
                <a:gd name="connsiteX10" fmla="*/ 237617 w 2400300"/>
                <a:gd name="connsiteY10" fmla="*/ 1080008 h 1549400"/>
                <a:gd name="connsiteX11" fmla="*/ 1634744 w 2400300"/>
                <a:gd name="connsiteY11" fmla="*/ 1464945 h 1549400"/>
                <a:gd name="connsiteX12" fmla="*/ 1793875 w 2400300"/>
                <a:gd name="connsiteY12" fmla="*/ 1394460 h 1549400"/>
                <a:gd name="connsiteX13" fmla="*/ 2410333 w 2400300"/>
                <a:gd name="connsiteY13" fmla="*/ 384683 h 1549400"/>
                <a:gd name="connsiteX14" fmla="*/ 2398395 w 2400300"/>
                <a:gd name="connsiteY14" fmla="*/ 137922 h 154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00300" h="1549400">
                  <a:moveTo>
                    <a:pt x="2398395" y="137922"/>
                  </a:moveTo>
                  <a:cubicBezTo>
                    <a:pt x="2393188" y="90805"/>
                    <a:pt x="2384552" y="44831"/>
                    <a:pt x="2373122" y="0"/>
                  </a:cubicBezTo>
                  <a:cubicBezTo>
                    <a:pt x="2423668" y="292608"/>
                    <a:pt x="2409190" y="593598"/>
                    <a:pt x="2211197" y="837184"/>
                  </a:cubicBezTo>
                  <a:cubicBezTo>
                    <a:pt x="2086483" y="990473"/>
                    <a:pt x="1911731" y="1086358"/>
                    <a:pt x="1736852" y="1171702"/>
                  </a:cubicBezTo>
                  <a:cubicBezTo>
                    <a:pt x="1576832" y="1249807"/>
                    <a:pt x="1413891" y="1294384"/>
                    <a:pt x="1234313" y="1282827"/>
                  </a:cubicBezTo>
                  <a:cubicBezTo>
                    <a:pt x="1138936" y="1276731"/>
                    <a:pt x="1044448" y="1257300"/>
                    <a:pt x="955421" y="1222375"/>
                  </a:cubicBezTo>
                  <a:cubicBezTo>
                    <a:pt x="877570" y="1191641"/>
                    <a:pt x="809752" y="1145032"/>
                    <a:pt x="736727" y="1105154"/>
                  </a:cubicBezTo>
                  <a:cubicBezTo>
                    <a:pt x="594106" y="1027176"/>
                    <a:pt x="438277" y="970788"/>
                    <a:pt x="305308" y="875792"/>
                  </a:cubicBezTo>
                  <a:cubicBezTo>
                    <a:pt x="148717" y="764032"/>
                    <a:pt x="51308" y="618363"/>
                    <a:pt x="0" y="455930"/>
                  </a:cubicBezTo>
                  <a:cubicBezTo>
                    <a:pt x="20447" y="606552"/>
                    <a:pt x="64389" y="754380"/>
                    <a:pt x="120269" y="894334"/>
                  </a:cubicBezTo>
                  <a:cubicBezTo>
                    <a:pt x="153162" y="960120"/>
                    <a:pt x="192659" y="1022223"/>
                    <a:pt x="237617" y="1080008"/>
                  </a:cubicBezTo>
                  <a:cubicBezTo>
                    <a:pt x="552069" y="1484249"/>
                    <a:pt x="1135380" y="1676273"/>
                    <a:pt x="1634744" y="1464945"/>
                  </a:cubicBezTo>
                  <a:cubicBezTo>
                    <a:pt x="1689608" y="1445768"/>
                    <a:pt x="1742821" y="1422019"/>
                    <a:pt x="1793875" y="1394460"/>
                  </a:cubicBezTo>
                  <a:cubicBezTo>
                    <a:pt x="2151126" y="1200912"/>
                    <a:pt x="2403856" y="811403"/>
                    <a:pt x="2410333" y="384683"/>
                  </a:cubicBezTo>
                  <a:cubicBezTo>
                    <a:pt x="2414778" y="300101"/>
                    <a:pt x="2410587" y="217297"/>
                    <a:pt x="2398395" y="137922"/>
                  </a:cubicBezTo>
                </a:path>
              </a:pathLst>
            </a:custGeom>
            <a:solidFill>
              <a:srgbClr val="F1F0D7"/>
            </a:solidFill>
            <a:ln w="12689" cap="flat">
              <a:noFill/>
              <a:prstDash val="solid"/>
              <a:miter/>
            </a:ln>
          </p:spPr>
          <p:txBody>
            <a:bodyPr rtlCol="0" anchor="ctr"/>
            <a:lstStyle/>
            <a:p>
              <a:endParaRPr lang="bg-BG"/>
            </a:p>
          </p:txBody>
        </p:sp>
        <p:sp>
          <p:nvSpPr>
            <p:cNvPr id="39" name="Свободна форма: фигура 16">
              <a:extLst>
                <a:ext uri="{FF2B5EF4-FFF2-40B4-BE49-F238E27FC236}">
                  <a16:creationId xmlns:a16="http://schemas.microsoft.com/office/drawing/2014/main" id="{4B2707B0-8623-967D-A968-02FDDB586EF5}"/>
                </a:ext>
              </a:extLst>
            </p:cNvPr>
            <p:cNvSpPr/>
            <p:nvPr/>
          </p:nvSpPr>
          <p:spPr>
            <a:xfrm>
              <a:off x="583687" y="1455489"/>
              <a:ext cx="1308100" cy="1676400"/>
            </a:xfrm>
            <a:custGeom>
              <a:avLst/>
              <a:gdLst>
                <a:gd name="connsiteX0" fmla="*/ 46360 w 1308100"/>
                <a:gd name="connsiteY0" fmla="*/ 1455 h 1676400"/>
                <a:gd name="connsiteX1" fmla="*/ 31374 w 1308100"/>
                <a:gd name="connsiteY1" fmla="*/ 704400 h 1676400"/>
                <a:gd name="connsiteX2" fmla="*/ 281437 w 1308100"/>
                <a:gd name="connsiteY2" fmla="*/ 1276408 h 1676400"/>
                <a:gd name="connsiteX3" fmla="*/ 741939 w 1308100"/>
                <a:gd name="connsiteY3" fmla="*/ 1597972 h 1676400"/>
                <a:gd name="connsiteX4" fmla="*/ 1299215 w 1308100"/>
                <a:gd name="connsiteY4" fmla="*/ 1668838 h 1676400"/>
                <a:gd name="connsiteX5" fmla="*/ 1293119 w 1308100"/>
                <a:gd name="connsiteY5" fmla="*/ 1624007 h 1676400"/>
                <a:gd name="connsiteX6" fmla="*/ 784738 w 1308100"/>
                <a:gd name="connsiteY6" fmla="*/ 1536377 h 1676400"/>
                <a:gd name="connsiteX7" fmla="*/ 334904 w 1308100"/>
                <a:gd name="connsiteY7" fmla="*/ 1238943 h 1676400"/>
                <a:gd name="connsiteX8" fmla="*/ 81031 w 1308100"/>
                <a:gd name="connsiteY8" fmla="*/ 705797 h 1676400"/>
                <a:gd name="connsiteX9" fmla="*/ 50297 w 1308100"/>
                <a:gd name="connsiteY9" fmla="*/ 2725 h 1676400"/>
                <a:gd name="connsiteX10" fmla="*/ 46360 w 1308100"/>
                <a:gd name="connsiteY10" fmla="*/ 1455 h 167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08100" h="1676400">
                  <a:moveTo>
                    <a:pt x="46360" y="1455"/>
                  </a:moveTo>
                  <a:cubicBezTo>
                    <a:pt x="-2027" y="237548"/>
                    <a:pt x="-21077" y="467037"/>
                    <a:pt x="31374" y="704400"/>
                  </a:cubicBezTo>
                  <a:cubicBezTo>
                    <a:pt x="75062" y="901885"/>
                    <a:pt x="151516" y="1118420"/>
                    <a:pt x="281437" y="1276408"/>
                  </a:cubicBezTo>
                  <a:cubicBezTo>
                    <a:pt x="401579" y="1422331"/>
                    <a:pt x="567441" y="1528884"/>
                    <a:pt x="741939" y="1597972"/>
                  </a:cubicBezTo>
                  <a:cubicBezTo>
                    <a:pt x="909325" y="1664139"/>
                    <a:pt x="1120399" y="1718749"/>
                    <a:pt x="1299215" y="1668838"/>
                  </a:cubicBezTo>
                  <a:cubicBezTo>
                    <a:pt x="1324869" y="1661599"/>
                    <a:pt x="1318265" y="1625785"/>
                    <a:pt x="1293119" y="1624007"/>
                  </a:cubicBezTo>
                  <a:cubicBezTo>
                    <a:pt x="1117605" y="1611307"/>
                    <a:pt x="951616" y="1599369"/>
                    <a:pt x="784738" y="1536377"/>
                  </a:cubicBezTo>
                  <a:cubicBezTo>
                    <a:pt x="616463" y="1473004"/>
                    <a:pt x="453776" y="1375595"/>
                    <a:pt x="334904" y="1238943"/>
                  </a:cubicBezTo>
                  <a:cubicBezTo>
                    <a:pt x="207269" y="1092385"/>
                    <a:pt x="129672" y="891471"/>
                    <a:pt x="81031" y="705797"/>
                  </a:cubicBezTo>
                  <a:cubicBezTo>
                    <a:pt x="21722" y="479356"/>
                    <a:pt x="5720" y="232976"/>
                    <a:pt x="50297" y="2725"/>
                  </a:cubicBezTo>
                  <a:cubicBezTo>
                    <a:pt x="50805" y="-69"/>
                    <a:pt x="46868" y="-1085"/>
                    <a:pt x="46360" y="1455"/>
                  </a:cubicBezTo>
                </a:path>
              </a:pathLst>
            </a:custGeom>
            <a:solidFill>
              <a:srgbClr val="B5D385"/>
            </a:solidFill>
            <a:ln w="12689" cap="flat">
              <a:noFill/>
              <a:prstDash val="solid"/>
              <a:miter/>
            </a:ln>
          </p:spPr>
          <p:txBody>
            <a:bodyPr rtlCol="0" anchor="ctr"/>
            <a:lstStyle/>
            <a:p>
              <a:endParaRPr lang="bg-BG"/>
            </a:p>
          </p:txBody>
        </p:sp>
        <p:sp>
          <p:nvSpPr>
            <p:cNvPr id="40" name="Свободна форма: фигура 17">
              <a:extLst>
                <a:ext uri="{FF2B5EF4-FFF2-40B4-BE49-F238E27FC236}">
                  <a16:creationId xmlns:a16="http://schemas.microsoft.com/office/drawing/2014/main" id="{9F6F68F7-4F0B-5983-EA2A-72727855002A}"/>
                </a:ext>
              </a:extLst>
            </p:cNvPr>
            <p:cNvSpPr/>
            <p:nvPr/>
          </p:nvSpPr>
          <p:spPr>
            <a:xfrm>
              <a:off x="2489350" y="671867"/>
              <a:ext cx="685800" cy="749300"/>
            </a:xfrm>
            <a:custGeom>
              <a:avLst/>
              <a:gdLst>
                <a:gd name="connsiteX0" fmla="*/ 6454 w 685800"/>
                <a:gd name="connsiteY0" fmla="*/ 24855 h 749300"/>
                <a:gd name="connsiteX1" fmla="*/ 673839 w 685800"/>
                <a:gd name="connsiteY1" fmla="*/ 745453 h 749300"/>
                <a:gd name="connsiteX2" fmla="*/ 692508 w 685800"/>
                <a:gd name="connsiteY2" fmla="*/ 737579 h 749300"/>
                <a:gd name="connsiteX3" fmla="*/ 16614 w 685800"/>
                <a:gd name="connsiteY3" fmla="*/ 852 h 749300"/>
                <a:gd name="connsiteX4" fmla="*/ 6454 w 685800"/>
                <a:gd name="connsiteY4" fmla="*/ 24855 h 749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 h="749300">
                  <a:moveTo>
                    <a:pt x="6454" y="24855"/>
                  </a:moveTo>
                  <a:cubicBezTo>
                    <a:pt x="324208" y="165571"/>
                    <a:pt x="536806" y="434176"/>
                    <a:pt x="673839" y="745453"/>
                  </a:cubicBezTo>
                  <a:cubicBezTo>
                    <a:pt x="678665" y="756375"/>
                    <a:pt x="694921" y="748374"/>
                    <a:pt x="692508" y="737579"/>
                  </a:cubicBezTo>
                  <a:cubicBezTo>
                    <a:pt x="615673" y="406871"/>
                    <a:pt x="321668" y="123788"/>
                    <a:pt x="16614" y="852"/>
                  </a:cubicBezTo>
                  <a:cubicBezTo>
                    <a:pt x="2898" y="-4736"/>
                    <a:pt x="-7135" y="18759"/>
                    <a:pt x="6454" y="24855"/>
                  </a:cubicBezTo>
                </a:path>
              </a:pathLst>
            </a:custGeom>
            <a:solidFill>
              <a:srgbClr val="B5D385"/>
            </a:solidFill>
            <a:ln w="12689" cap="flat">
              <a:noFill/>
              <a:prstDash val="solid"/>
              <a:miter/>
            </a:ln>
          </p:spPr>
          <p:txBody>
            <a:bodyPr rtlCol="0" anchor="ctr"/>
            <a:lstStyle/>
            <a:p>
              <a:endParaRPr lang="bg-BG"/>
            </a:p>
          </p:txBody>
        </p:sp>
        <p:sp>
          <p:nvSpPr>
            <p:cNvPr id="41" name="Свободна форма: фигура 19">
              <a:extLst>
                <a:ext uri="{FF2B5EF4-FFF2-40B4-BE49-F238E27FC236}">
                  <a16:creationId xmlns:a16="http://schemas.microsoft.com/office/drawing/2014/main" id="{9F72082B-63BE-2C5D-627E-6AE40CE91270}"/>
                </a:ext>
              </a:extLst>
            </p:cNvPr>
            <p:cNvSpPr/>
            <p:nvPr/>
          </p:nvSpPr>
          <p:spPr>
            <a:xfrm>
              <a:off x="641301" y="982061"/>
              <a:ext cx="254000" cy="368300"/>
            </a:xfrm>
            <a:custGeom>
              <a:avLst/>
              <a:gdLst>
                <a:gd name="connsiteX0" fmla="*/ 21004 w 254000"/>
                <a:gd name="connsiteY0" fmla="*/ 366298 h 368300"/>
                <a:gd name="connsiteX1" fmla="*/ 260399 w 254000"/>
                <a:gd name="connsiteY1" fmla="*/ 11587 h 368300"/>
                <a:gd name="connsiteX2" fmla="*/ 252271 w 254000"/>
                <a:gd name="connsiteY2" fmla="*/ 1046 h 368300"/>
                <a:gd name="connsiteX3" fmla="*/ 430 w 254000"/>
                <a:gd name="connsiteY3" fmla="*/ 360583 h 368300"/>
                <a:gd name="connsiteX4" fmla="*/ 21004 w 254000"/>
                <a:gd name="connsiteY4" fmla="*/ 366298 h 36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000" h="368300">
                  <a:moveTo>
                    <a:pt x="21004" y="366298"/>
                  </a:moveTo>
                  <a:cubicBezTo>
                    <a:pt x="71677" y="226852"/>
                    <a:pt x="155497" y="114584"/>
                    <a:pt x="260399" y="11587"/>
                  </a:cubicBezTo>
                  <a:cubicBezTo>
                    <a:pt x="265733" y="6253"/>
                    <a:pt x="258748" y="-3145"/>
                    <a:pt x="252271" y="1046"/>
                  </a:cubicBezTo>
                  <a:cubicBezTo>
                    <a:pt x="123874" y="82199"/>
                    <a:pt x="38530" y="215676"/>
                    <a:pt x="430" y="360583"/>
                  </a:cubicBezTo>
                  <a:cubicBezTo>
                    <a:pt x="-3126" y="374045"/>
                    <a:pt x="16432" y="379125"/>
                    <a:pt x="21004" y="366298"/>
                  </a:cubicBezTo>
                </a:path>
              </a:pathLst>
            </a:custGeom>
            <a:solidFill>
              <a:srgbClr val="B5D385"/>
            </a:solidFill>
            <a:ln w="12689" cap="flat">
              <a:noFill/>
              <a:prstDash val="solid"/>
              <a:miter/>
            </a:ln>
          </p:spPr>
          <p:txBody>
            <a:bodyPr rtlCol="0" anchor="ctr"/>
            <a:lstStyle/>
            <a:p>
              <a:endParaRPr lang="bg-BG"/>
            </a:p>
          </p:txBody>
        </p:sp>
        <p:sp>
          <p:nvSpPr>
            <p:cNvPr id="42" name="Свободна форма: фигура 20">
              <a:extLst>
                <a:ext uri="{FF2B5EF4-FFF2-40B4-BE49-F238E27FC236}">
                  <a16:creationId xmlns:a16="http://schemas.microsoft.com/office/drawing/2014/main" id="{DEBAAFAC-C565-46AE-7382-6E219F62C9D9}"/>
                </a:ext>
              </a:extLst>
            </p:cNvPr>
            <p:cNvSpPr/>
            <p:nvPr/>
          </p:nvSpPr>
          <p:spPr>
            <a:xfrm>
              <a:off x="2257997" y="2005855"/>
              <a:ext cx="977900" cy="1066800"/>
            </a:xfrm>
            <a:custGeom>
              <a:avLst/>
              <a:gdLst>
                <a:gd name="connsiteX0" fmla="*/ 965898 w 977900"/>
                <a:gd name="connsiteY0" fmla="*/ 4555 h 1066800"/>
                <a:gd name="connsiteX1" fmla="*/ 603059 w 977900"/>
                <a:gd name="connsiteY1" fmla="*/ 633967 h 1066800"/>
                <a:gd name="connsiteX2" fmla="*/ 9461 w 977900"/>
                <a:gd name="connsiteY2" fmla="*/ 1052686 h 1066800"/>
                <a:gd name="connsiteX3" fmla="*/ 13017 w 977900"/>
                <a:gd name="connsiteY3" fmla="*/ 1078848 h 1066800"/>
                <a:gd name="connsiteX4" fmla="*/ 344233 w 977900"/>
                <a:gd name="connsiteY4" fmla="*/ 921241 h 1066800"/>
                <a:gd name="connsiteX5" fmla="*/ 626427 w 977900"/>
                <a:gd name="connsiteY5" fmla="*/ 676512 h 1066800"/>
                <a:gd name="connsiteX6" fmla="*/ 846772 w 977900"/>
                <a:gd name="connsiteY6" fmla="*/ 372474 h 1066800"/>
                <a:gd name="connsiteX7" fmla="*/ 978725 w 977900"/>
                <a:gd name="connsiteY7" fmla="*/ 7984 h 1066800"/>
                <a:gd name="connsiteX8" fmla="*/ 965898 w 977900"/>
                <a:gd name="connsiteY8" fmla="*/ 4555 h 106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7900" h="1066800">
                  <a:moveTo>
                    <a:pt x="965898" y="4555"/>
                  </a:moveTo>
                  <a:cubicBezTo>
                    <a:pt x="876871" y="229980"/>
                    <a:pt x="756602" y="445753"/>
                    <a:pt x="603059" y="633967"/>
                  </a:cubicBezTo>
                  <a:cubicBezTo>
                    <a:pt x="454469" y="816085"/>
                    <a:pt x="244665" y="1004045"/>
                    <a:pt x="9461" y="1052686"/>
                  </a:cubicBezTo>
                  <a:cubicBezTo>
                    <a:pt x="-5144" y="1055734"/>
                    <a:pt x="-1969" y="1079737"/>
                    <a:pt x="13017" y="1078848"/>
                  </a:cubicBezTo>
                  <a:cubicBezTo>
                    <a:pt x="135699" y="1071482"/>
                    <a:pt x="247332" y="990329"/>
                    <a:pt x="344233" y="921241"/>
                  </a:cubicBezTo>
                  <a:cubicBezTo>
                    <a:pt x="447230" y="847708"/>
                    <a:pt x="540067" y="769984"/>
                    <a:pt x="626427" y="676512"/>
                  </a:cubicBezTo>
                  <a:cubicBezTo>
                    <a:pt x="715835" y="579611"/>
                    <a:pt x="787590" y="491600"/>
                    <a:pt x="846772" y="372474"/>
                  </a:cubicBezTo>
                  <a:cubicBezTo>
                    <a:pt x="904430" y="256269"/>
                    <a:pt x="952690" y="135365"/>
                    <a:pt x="978725" y="7984"/>
                  </a:cubicBezTo>
                  <a:cubicBezTo>
                    <a:pt x="980249" y="-398"/>
                    <a:pt x="968946" y="-3192"/>
                    <a:pt x="965898" y="4555"/>
                  </a:cubicBezTo>
                </a:path>
              </a:pathLst>
            </a:custGeom>
            <a:solidFill>
              <a:srgbClr val="B5D385"/>
            </a:solidFill>
            <a:ln w="12689" cap="flat">
              <a:noFill/>
              <a:prstDash val="solid"/>
              <a:miter/>
            </a:ln>
          </p:spPr>
          <p:txBody>
            <a:bodyPr rtlCol="0" anchor="ctr"/>
            <a:lstStyle/>
            <a:p>
              <a:endParaRPr lang="bg-BG"/>
            </a:p>
          </p:txBody>
        </p:sp>
        <p:sp>
          <p:nvSpPr>
            <p:cNvPr id="43" name="Свободна форма: фигура 21">
              <a:extLst>
                <a:ext uri="{FF2B5EF4-FFF2-40B4-BE49-F238E27FC236}">
                  <a16:creationId xmlns:a16="http://schemas.microsoft.com/office/drawing/2014/main" id="{C3F7BE0D-12A4-B6A1-C2D4-00F83F207F80}"/>
                </a:ext>
              </a:extLst>
            </p:cNvPr>
            <p:cNvSpPr/>
            <p:nvPr/>
          </p:nvSpPr>
          <p:spPr>
            <a:xfrm>
              <a:off x="1103626" y="657128"/>
              <a:ext cx="215900" cy="139700"/>
            </a:xfrm>
            <a:custGeom>
              <a:avLst/>
              <a:gdLst>
                <a:gd name="connsiteX0" fmla="*/ 28706 w 215900"/>
                <a:gd name="connsiteY0" fmla="*/ 144369 h 139700"/>
                <a:gd name="connsiteX1" fmla="*/ 125988 w 215900"/>
                <a:gd name="connsiteY1" fmla="*/ 69439 h 139700"/>
                <a:gd name="connsiteX2" fmla="*/ 218063 w 215900"/>
                <a:gd name="connsiteY2" fmla="*/ 20671 h 139700"/>
                <a:gd name="connsiteX3" fmla="*/ 212475 w 215900"/>
                <a:gd name="connsiteY3" fmla="*/ 97 h 139700"/>
                <a:gd name="connsiteX4" fmla="*/ 5211 w 215900"/>
                <a:gd name="connsiteY4" fmla="*/ 121001 h 139700"/>
                <a:gd name="connsiteX5" fmla="*/ 28706 w 215900"/>
                <a:gd name="connsiteY5" fmla="*/ 144369 h 13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5900" h="139700">
                  <a:moveTo>
                    <a:pt x="28706" y="144369"/>
                  </a:moveTo>
                  <a:cubicBezTo>
                    <a:pt x="59059" y="116556"/>
                    <a:pt x="90809" y="90775"/>
                    <a:pt x="125988" y="69439"/>
                  </a:cubicBezTo>
                  <a:cubicBezTo>
                    <a:pt x="155706" y="51532"/>
                    <a:pt x="188599" y="38832"/>
                    <a:pt x="218063" y="20671"/>
                  </a:cubicBezTo>
                  <a:cubicBezTo>
                    <a:pt x="226572" y="15464"/>
                    <a:pt x="224032" y="-1427"/>
                    <a:pt x="212475" y="97"/>
                  </a:cubicBezTo>
                  <a:cubicBezTo>
                    <a:pt x="133100" y="10257"/>
                    <a:pt x="62107" y="68677"/>
                    <a:pt x="5211" y="121001"/>
                  </a:cubicBezTo>
                  <a:cubicBezTo>
                    <a:pt x="-10537" y="135352"/>
                    <a:pt x="12958" y="158847"/>
                    <a:pt x="28706" y="144369"/>
                  </a:cubicBezTo>
                </a:path>
              </a:pathLst>
            </a:custGeom>
            <a:solidFill>
              <a:srgbClr val="B5D385"/>
            </a:solidFill>
            <a:ln w="12689" cap="flat">
              <a:noFill/>
              <a:prstDash val="solid"/>
              <a:miter/>
            </a:ln>
          </p:spPr>
          <p:txBody>
            <a:bodyPr rtlCol="0" anchor="ctr"/>
            <a:lstStyle/>
            <a:p>
              <a:endParaRPr lang="bg-BG"/>
            </a:p>
          </p:txBody>
        </p:sp>
        <p:sp>
          <p:nvSpPr>
            <p:cNvPr id="44" name="Свободна форма: фигура 23">
              <a:extLst>
                <a:ext uri="{FF2B5EF4-FFF2-40B4-BE49-F238E27FC236}">
                  <a16:creationId xmlns:a16="http://schemas.microsoft.com/office/drawing/2014/main" id="{4DD3DC03-7316-EA02-E257-5E65D887AAEB}"/>
                </a:ext>
              </a:extLst>
            </p:cNvPr>
            <p:cNvSpPr/>
            <p:nvPr/>
          </p:nvSpPr>
          <p:spPr>
            <a:xfrm>
              <a:off x="1362964" y="907161"/>
              <a:ext cx="25400" cy="25400"/>
            </a:xfrm>
            <a:custGeom>
              <a:avLst/>
              <a:gdLst>
                <a:gd name="connsiteX0" fmla="*/ 33655 w 25400"/>
                <a:gd name="connsiteY0" fmla="*/ 15748 h 25400"/>
                <a:gd name="connsiteX1" fmla="*/ 0 w 25400"/>
                <a:gd name="connsiteY1" fmla="*/ 20447 h 25400"/>
                <a:gd name="connsiteX2" fmla="*/ 17907 w 25400"/>
                <a:gd name="connsiteY2" fmla="*/ 0 h 25400"/>
                <a:gd name="connsiteX3" fmla="*/ 33655 w 25400"/>
                <a:gd name="connsiteY3" fmla="*/ 15748 h 25400"/>
              </a:gdLst>
              <a:ahLst/>
              <a:cxnLst>
                <a:cxn ang="0">
                  <a:pos x="connsiteX0" y="connsiteY0"/>
                </a:cxn>
                <a:cxn ang="0">
                  <a:pos x="connsiteX1" y="connsiteY1"/>
                </a:cxn>
                <a:cxn ang="0">
                  <a:pos x="connsiteX2" y="connsiteY2"/>
                </a:cxn>
                <a:cxn ang="0">
                  <a:pos x="connsiteX3" y="connsiteY3"/>
                </a:cxn>
              </a:cxnLst>
              <a:rect l="l" t="t" r="r" b="b"/>
              <a:pathLst>
                <a:path w="25400" h="25400">
                  <a:moveTo>
                    <a:pt x="33655" y="15748"/>
                  </a:moveTo>
                  <a:cubicBezTo>
                    <a:pt x="22352" y="42799"/>
                    <a:pt x="11176" y="31623"/>
                    <a:pt x="0" y="20447"/>
                  </a:cubicBezTo>
                  <a:cubicBezTo>
                    <a:pt x="11176" y="9271"/>
                    <a:pt x="11176" y="9271"/>
                    <a:pt x="17907" y="0"/>
                  </a:cubicBezTo>
                  <a:cubicBezTo>
                    <a:pt x="26543" y="0"/>
                    <a:pt x="33655" y="7112"/>
                    <a:pt x="33655" y="15748"/>
                  </a:cubicBezTo>
                </a:path>
              </a:pathLst>
            </a:custGeom>
            <a:solidFill>
              <a:srgbClr val="5DB723"/>
            </a:solidFill>
            <a:ln w="12689" cap="flat">
              <a:noFill/>
              <a:prstDash val="solid"/>
              <a:miter/>
            </a:ln>
          </p:spPr>
          <p:txBody>
            <a:bodyPr rtlCol="0" anchor="ctr"/>
            <a:lstStyle/>
            <a:p>
              <a:endParaRPr lang="bg-BG"/>
            </a:p>
          </p:txBody>
        </p:sp>
        <p:sp>
          <p:nvSpPr>
            <p:cNvPr id="45" name="Свободна форма: фигура 24">
              <a:extLst>
                <a:ext uri="{FF2B5EF4-FFF2-40B4-BE49-F238E27FC236}">
                  <a16:creationId xmlns:a16="http://schemas.microsoft.com/office/drawing/2014/main" id="{81D44499-6569-F412-7347-8635BBF12605}"/>
                </a:ext>
              </a:extLst>
            </p:cNvPr>
            <p:cNvSpPr/>
            <p:nvPr/>
          </p:nvSpPr>
          <p:spPr>
            <a:xfrm>
              <a:off x="1396492" y="1063687"/>
              <a:ext cx="25400" cy="25400"/>
            </a:xfrm>
            <a:custGeom>
              <a:avLst/>
              <a:gdLst>
                <a:gd name="connsiteX0" fmla="*/ 32385 w 25400"/>
                <a:gd name="connsiteY0" fmla="*/ 21782 h 25400"/>
                <a:gd name="connsiteX1" fmla="*/ 0 w 25400"/>
                <a:gd name="connsiteY1" fmla="*/ 9590 h 25400"/>
                <a:gd name="connsiteX2" fmla="*/ 26416 w 25400"/>
                <a:gd name="connsiteY2" fmla="*/ 192 h 25400"/>
                <a:gd name="connsiteX3" fmla="*/ 32385 w 25400"/>
                <a:gd name="connsiteY3" fmla="*/ 21782 h 25400"/>
              </a:gdLst>
              <a:ahLst/>
              <a:cxnLst>
                <a:cxn ang="0">
                  <a:pos x="connsiteX0" y="connsiteY0"/>
                </a:cxn>
                <a:cxn ang="0">
                  <a:pos x="connsiteX1" y="connsiteY1"/>
                </a:cxn>
                <a:cxn ang="0">
                  <a:pos x="connsiteX2" y="connsiteY2"/>
                </a:cxn>
                <a:cxn ang="0">
                  <a:pos x="connsiteX3" y="connsiteY3"/>
                </a:cxn>
              </a:cxnLst>
              <a:rect l="l" t="t" r="r" b="b"/>
              <a:pathLst>
                <a:path w="25400" h="25400">
                  <a:moveTo>
                    <a:pt x="32385" y="21782"/>
                  </a:moveTo>
                  <a:cubicBezTo>
                    <a:pt x="11176" y="43118"/>
                    <a:pt x="0" y="31942"/>
                    <a:pt x="0" y="9590"/>
                  </a:cubicBezTo>
                  <a:cubicBezTo>
                    <a:pt x="0" y="9590"/>
                    <a:pt x="11176" y="-1586"/>
                    <a:pt x="26416" y="192"/>
                  </a:cubicBezTo>
                  <a:cubicBezTo>
                    <a:pt x="34036" y="4383"/>
                    <a:pt x="36703" y="14162"/>
                    <a:pt x="32385" y="21782"/>
                  </a:cubicBezTo>
                </a:path>
              </a:pathLst>
            </a:custGeom>
            <a:solidFill>
              <a:srgbClr val="5DB723"/>
            </a:solidFill>
            <a:ln w="12689" cap="flat">
              <a:noFill/>
              <a:prstDash val="solid"/>
              <a:miter/>
            </a:ln>
          </p:spPr>
          <p:txBody>
            <a:bodyPr rtlCol="0" anchor="ctr"/>
            <a:lstStyle/>
            <a:p>
              <a:endParaRPr lang="bg-BG"/>
            </a:p>
          </p:txBody>
        </p:sp>
        <p:sp>
          <p:nvSpPr>
            <p:cNvPr id="46" name="Свободна форма: фигура 25">
              <a:extLst>
                <a:ext uri="{FF2B5EF4-FFF2-40B4-BE49-F238E27FC236}">
                  <a16:creationId xmlns:a16="http://schemas.microsoft.com/office/drawing/2014/main" id="{2B142C3F-1649-A313-1FDD-A510D2109931}"/>
                </a:ext>
              </a:extLst>
            </p:cNvPr>
            <p:cNvSpPr/>
            <p:nvPr/>
          </p:nvSpPr>
          <p:spPr>
            <a:xfrm>
              <a:off x="1497330" y="1203960"/>
              <a:ext cx="25400" cy="25400"/>
            </a:xfrm>
            <a:custGeom>
              <a:avLst/>
              <a:gdLst>
                <a:gd name="connsiteX0" fmla="*/ 31496 w 25400"/>
                <a:gd name="connsiteY0" fmla="*/ 21717 h 25400"/>
                <a:gd name="connsiteX1" fmla="*/ 0 w 25400"/>
                <a:gd name="connsiteY1" fmla="*/ 3556 h 25400"/>
                <a:gd name="connsiteX2" fmla="*/ 25527 w 25400"/>
                <a:gd name="connsiteY2" fmla="*/ 0 h 25400"/>
                <a:gd name="connsiteX3" fmla="*/ 31496 w 25400"/>
                <a:gd name="connsiteY3" fmla="*/ 21717 h 25400"/>
              </a:gdLst>
              <a:ahLst/>
              <a:cxnLst>
                <a:cxn ang="0">
                  <a:pos x="connsiteX0" y="connsiteY0"/>
                </a:cxn>
                <a:cxn ang="0">
                  <a:pos x="connsiteX1" y="connsiteY1"/>
                </a:cxn>
                <a:cxn ang="0">
                  <a:pos x="connsiteX2" y="connsiteY2"/>
                </a:cxn>
                <a:cxn ang="0">
                  <a:pos x="connsiteX3" y="connsiteY3"/>
                </a:cxn>
              </a:cxnLst>
              <a:rect l="l" t="t" r="r" b="b"/>
              <a:pathLst>
                <a:path w="25400" h="25400">
                  <a:moveTo>
                    <a:pt x="31496" y="21717"/>
                  </a:moveTo>
                  <a:cubicBezTo>
                    <a:pt x="11176" y="37084"/>
                    <a:pt x="0" y="25908"/>
                    <a:pt x="0" y="3556"/>
                  </a:cubicBezTo>
                  <a:cubicBezTo>
                    <a:pt x="11176" y="3556"/>
                    <a:pt x="11176" y="3556"/>
                    <a:pt x="25527" y="0"/>
                  </a:cubicBezTo>
                  <a:cubicBezTo>
                    <a:pt x="33147" y="4445"/>
                    <a:pt x="35814" y="14224"/>
                    <a:pt x="31496" y="21717"/>
                  </a:cubicBezTo>
                </a:path>
              </a:pathLst>
            </a:custGeom>
            <a:solidFill>
              <a:srgbClr val="5DB723"/>
            </a:solidFill>
            <a:ln w="12689" cap="flat">
              <a:noFill/>
              <a:prstDash val="solid"/>
              <a:miter/>
            </a:ln>
          </p:spPr>
          <p:txBody>
            <a:bodyPr rtlCol="0" anchor="ctr"/>
            <a:lstStyle/>
            <a:p>
              <a:endParaRPr lang="bg-BG"/>
            </a:p>
          </p:txBody>
        </p:sp>
        <p:sp>
          <p:nvSpPr>
            <p:cNvPr id="47" name="Свободна форма: фигура 26">
              <a:extLst>
                <a:ext uri="{FF2B5EF4-FFF2-40B4-BE49-F238E27FC236}">
                  <a16:creationId xmlns:a16="http://schemas.microsoft.com/office/drawing/2014/main" id="{BB335A08-3B53-7D21-99A5-B68056764635}"/>
                </a:ext>
              </a:extLst>
            </p:cNvPr>
            <p:cNvSpPr/>
            <p:nvPr/>
          </p:nvSpPr>
          <p:spPr>
            <a:xfrm>
              <a:off x="2136140" y="1159590"/>
              <a:ext cx="215900" cy="165100"/>
            </a:xfrm>
            <a:custGeom>
              <a:avLst/>
              <a:gdLst>
                <a:gd name="connsiteX0" fmla="*/ 0 w 215900"/>
                <a:gd name="connsiteY0" fmla="*/ 173402 h 165100"/>
                <a:gd name="connsiteX1" fmla="*/ 209550 w 215900"/>
                <a:gd name="connsiteY1" fmla="*/ 41957 h 165100"/>
                <a:gd name="connsiteX2" fmla="*/ 129794 w 215900"/>
                <a:gd name="connsiteY2" fmla="*/ 77263 h 165100"/>
                <a:gd name="connsiteX3" fmla="*/ 0 w 215900"/>
                <a:gd name="connsiteY3" fmla="*/ 173402 h 165100"/>
              </a:gdLst>
              <a:ahLst/>
              <a:cxnLst>
                <a:cxn ang="0">
                  <a:pos x="connsiteX0" y="connsiteY0"/>
                </a:cxn>
                <a:cxn ang="0">
                  <a:pos x="connsiteX1" y="connsiteY1"/>
                </a:cxn>
                <a:cxn ang="0">
                  <a:pos x="connsiteX2" y="connsiteY2"/>
                </a:cxn>
                <a:cxn ang="0">
                  <a:pos x="connsiteX3" y="connsiteY3"/>
                </a:cxn>
              </a:cxnLst>
              <a:rect l="l" t="t" r="r" b="b"/>
              <a:pathLst>
                <a:path w="215900" h="165100">
                  <a:moveTo>
                    <a:pt x="0" y="173402"/>
                  </a:moveTo>
                  <a:cubicBezTo>
                    <a:pt x="0" y="173402"/>
                    <a:pt x="182372" y="133778"/>
                    <a:pt x="209550" y="41957"/>
                  </a:cubicBezTo>
                  <a:cubicBezTo>
                    <a:pt x="236855" y="-49864"/>
                    <a:pt x="172593" y="30908"/>
                    <a:pt x="129794" y="77263"/>
                  </a:cubicBezTo>
                  <a:cubicBezTo>
                    <a:pt x="87122" y="123618"/>
                    <a:pt x="0" y="173402"/>
                    <a:pt x="0" y="173402"/>
                  </a:cubicBezTo>
                </a:path>
              </a:pathLst>
            </a:custGeom>
            <a:solidFill>
              <a:srgbClr val="5DB723"/>
            </a:solidFill>
            <a:ln w="12689" cap="flat">
              <a:noFill/>
              <a:prstDash val="solid"/>
              <a:miter/>
            </a:ln>
          </p:spPr>
          <p:txBody>
            <a:bodyPr rtlCol="0" anchor="ctr"/>
            <a:lstStyle/>
            <a:p>
              <a:endParaRPr lang="bg-BG"/>
            </a:p>
          </p:txBody>
        </p:sp>
        <p:sp>
          <p:nvSpPr>
            <p:cNvPr id="48" name="Свободна форма: фигура 27">
              <a:extLst>
                <a:ext uri="{FF2B5EF4-FFF2-40B4-BE49-F238E27FC236}">
                  <a16:creationId xmlns:a16="http://schemas.microsoft.com/office/drawing/2014/main" id="{11A1A586-660E-62CE-47C0-70FBBD17564E}"/>
                </a:ext>
              </a:extLst>
            </p:cNvPr>
            <p:cNvSpPr/>
            <p:nvPr/>
          </p:nvSpPr>
          <p:spPr>
            <a:xfrm>
              <a:off x="1442985" y="476377"/>
              <a:ext cx="114300" cy="88900"/>
            </a:xfrm>
            <a:custGeom>
              <a:avLst/>
              <a:gdLst>
                <a:gd name="connsiteX0" fmla="*/ 114670 w 114300"/>
                <a:gd name="connsiteY0" fmla="*/ 0 h 88900"/>
                <a:gd name="connsiteX1" fmla="*/ 6466 w 114300"/>
                <a:gd name="connsiteY1" fmla="*/ 55626 h 88900"/>
                <a:gd name="connsiteX2" fmla="*/ 62473 w 114300"/>
                <a:gd name="connsiteY2" fmla="*/ 58293 h 88900"/>
                <a:gd name="connsiteX3" fmla="*/ 114670 w 114300"/>
                <a:gd name="connsiteY3" fmla="*/ 0 h 88900"/>
              </a:gdLst>
              <a:ahLst/>
              <a:cxnLst>
                <a:cxn ang="0">
                  <a:pos x="connsiteX0" y="connsiteY0"/>
                </a:cxn>
                <a:cxn ang="0">
                  <a:pos x="connsiteX1" y="connsiteY1"/>
                </a:cxn>
                <a:cxn ang="0">
                  <a:pos x="connsiteX2" y="connsiteY2"/>
                </a:cxn>
                <a:cxn ang="0">
                  <a:pos x="connsiteX3" y="connsiteY3"/>
                </a:cxn>
              </a:cxnLst>
              <a:rect l="l" t="t" r="r" b="b"/>
              <a:pathLst>
                <a:path w="114300" h="88900">
                  <a:moveTo>
                    <a:pt x="114670" y="0"/>
                  </a:moveTo>
                  <a:cubicBezTo>
                    <a:pt x="114670" y="0"/>
                    <a:pt x="28564" y="12065"/>
                    <a:pt x="6466" y="55626"/>
                  </a:cubicBezTo>
                  <a:cubicBezTo>
                    <a:pt x="-15632" y="99187"/>
                    <a:pt x="22849" y="104775"/>
                    <a:pt x="62473" y="58293"/>
                  </a:cubicBezTo>
                  <a:cubicBezTo>
                    <a:pt x="101970" y="11557"/>
                    <a:pt x="114670" y="0"/>
                    <a:pt x="114670" y="0"/>
                  </a:cubicBezTo>
                </a:path>
              </a:pathLst>
            </a:custGeom>
            <a:solidFill>
              <a:srgbClr val="83CC1B"/>
            </a:solidFill>
            <a:ln w="12689" cap="flat">
              <a:noFill/>
              <a:prstDash val="solid"/>
              <a:miter/>
            </a:ln>
          </p:spPr>
          <p:txBody>
            <a:bodyPr rtlCol="0" anchor="ctr"/>
            <a:lstStyle/>
            <a:p>
              <a:endParaRPr lang="bg-BG"/>
            </a:p>
          </p:txBody>
        </p:sp>
      </p:grpSp>
      <p:sp>
        <p:nvSpPr>
          <p:cNvPr id="4" name="object 3">
            <a:extLst>
              <a:ext uri="{FF2B5EF4-FFF2-40B4-BE49-F238E27FC236}">
                <a16:creationId xmlns:a16="http://schemas.microsoft.com/office/drawing/2014/main" id="{447E4D88-761A-CF30-99B8-4699A11B9155}"/>
              </a:ext>
            </a:extLst>
          </p:cNvPr>
          <p:cNvSpPr txBox="1"/>
          <p:nvPr/>
        </p:nvSpPr>
        <p:spPr>
          <a:xfrm>
            <a:off x="902441" y="3811602"/>
            <a:ext cx="2214950" cy="1047210"/>
          </a:xfrm>
          <a:prstGeom prst="rect">
            <a:avLst/>
          </a:prstGeom>
        </p:spPr>
        <p:txBody>
          <a:bodyPr vert="horz" wrap="square" lIns="0" tIns="12700" rIns="0" bIns="0" rtlCol="0">
            <a:spAutoFit/>
          </a:bodyPr>
          <a:lstStyle/>
          <a:p>
            <a:pPr marL="452755" marR="160655" indent="-285750">
              <a:lnSpc>
                <a:spcPct val="118600"/>
              </a:lnSpc>
              <a:spcBef>
                <a:spcPts val="100"/>
              </a:spcBef>
              <a:buFont typeface="Arial" panose="020B0604020202020204" pitchFamily="34" charset="0"/>
              <a:buChar char="•"/>
            </a:pPr>
            <a:r>
              <a:rPr lang="en-US" sz="1400" dirty="0">
                <a:latin typeface="+mj-lt"/>
                <a:cs typeface="Arial"/>
              </a:rPr>
              <a:t>Child Follow-up Register.</a:t>
            </a:r>
          </a:p>
          <a:p>
            <a:pPr marL="452755" marR="160655" indent="-285750">
              <a:lnSpc>
                <a:spcPct val="118600"/>
              </a:lnSpc>
              <a:spcBef>
                <a:spcPts val="100"/>
              </a:spcBef>
              <a:buFont typeface="Arial" panose="020B0604020202020204" pitchFamily="34" charset="0"/>
              <a:buChar char="•"/>
            </a:pPr>
            <a:r>
              <a:rPr lang="en-US" sz="1400" dirty="0">
                <a:latin typeface="+mj-lt"/>
                <a:cs typeface="Arial"/>
              </a:rPr>
              <a:t>Reported Quarterly</a:t>
            </a:r>
          </a:p>
          <a:p>
            <a:pPr marL="167005" marR="160655" algn="ctr">
              <a:lnSpc>
                <a:spcPct val="118600"/>
              </a:lnSpc>
              <a:spcBef>
                <a:spcPts val="100"/>
              </a:spcBef>
            </a:pPr>
            <a:endParaRPr sz="1400" dirty="0">
              <a:latin typeface="+mj-lt"/>
              <a:cs typeface="Arial"/>
            </a:endParaRPr>
          </a:p>
        </p:txBody>
      </p:sp>
      <p:sp>
        <p:nvSpPr>
          <p:cNvPr id="66" name="object 3">
            <a:extLst>
              <a:ext uri="{FF2B5EF4-FFF2-40B4-BE49-F238E27FC236}">
                <a16:creationId xmlns:a16="http://schemas.microsoft.com/office/drawing/2014/main" id="{6AD237E3-4261-FDB5-251F-3E41385BE1E1}"/>
              </a:ext>
            </a:extLst>
          </p:cNvPr>
          <p:cNvSpPr txBox="1"/>
          <p:nvPr/>
        </p:nvSpPr>
        <p:spPr>
          <a:xfrm>
            <a:off x="1274883" y="2185576"/>
            <a:ext cx="1494241" cy="579774"/>
          </a:xfrm>
          <a:prstGeom prst="rect">
            <a:avLst/>
          </a:prstGeom>
        </p:spPr>
        <p:txBody>
          <a:bodyPr vert="horz" wrap="square" lIns="0" tIns="12700" rIns="0" bIns="0" rtlCol="0">
            <a:spAutoFit/>
          </a:bodyPr>
          <a:lstStyle/>
          <a:p>
            <a:pPr marL="167005" marR="160655" algn="ctr">
              <a:lnSpc>
                <a:spcPct val="118600"/>
              </a:lnSpc>
              <a:spcBef>
                <a:spcPts val="100"/>
              </a:spcBef>
            </a:pPr>
            <a:r>
              <a:rPr lang="en-US" sz="1600" b="1" dirty="0">
                <a:latin typeface="+mj-lt"/>
                <a:cs typeface="Arial"/>
              </a:rPr>
              <a:t>Data Source / Reporting</a:t>
            </a:r>
            <a:endParaRPr sz="1600" b="1" dirty="0">
              <a:latin typeface="+mj-lt"/>
              <a:cs typeface="Arial"/>
            </a:endParaRPr>
          </a:p>
        </p:txBody>
      </p:sp>
      <p:grpSp>
        <p:nvGrpSpPr>
          <p:cNvPr id="67" name="Group 66">
            <a:extLst>
              <a:ext uri="{FF2B5EF4-FFF2-40B4-BE49-F238E27FC236}">
                <a16:creationId xmlns:a16="http://schemas.microsoft.com/office/drawing/2014/main" id="{8B709D4C-472F-BB09-74F5-02836FBFA798}"/>
              </a:ext>
            </a:extLst>
          </p:cNvPr>
          <p:cNvGrpSpPr/>
          <p:nvPr/>
        </p:nvGrpSpPr>
        <p:grpSpPr>
          <a:xfrm>
            <a:off x="4325551" y="1781978"/>
            <a:ext cx="3688976" cy="4383048"/>
            <a:chOff x="583687" y="407303"/>
            <a:chExt cx="2652210" cy="2724586"/>
          </a:xfrm>
        </p:grpSpPr>
        <p:sp>
          <p:nvSpPr>
            <p:cNvPr id="68" name="Свободна форма: фигура 11">
              <a:extLst>
                <a:ext uri="{FF2B5EF4-FFF2-40B4-BE49-F238E27FC236}">
                  <a16:creationId xmlns:a16="http://schemas.microsoft.com/office/drawing/2014/main" id="{D294A893-52A7-B840-50A7-8CCD77E64043}"/>
                </a:ext>
              </a:extLst>
            </p:cNvPr>
            <p:cNvSpPr/>
            <p:nvPr/>
          </p:nvSpPr>
          <p:spPr>
            <a:xfrm>
              <a:off x="677366" y="592080"/>
              <a:ext cx="2413000" cy="2413000"/>
            </a:xfrm>
            <a:custGeom>
              <a:avLst/>
              <a:gdLst>
                <a:gd name="connsiteX0" fmla="*/ 2422704 w 2413000"/>
                <a:gd name="connsiteY0" fmla="*/ 1249928 h 2413000"/>
                <a:gd name="connsiteX1" fmla="*/ 1806246 w 2413000"/>
                <a:gd name="connsiteY1" fmla="*/ 2259705 h 2413000"/>
                <a:gd name="connsiteX2" fmla="*/ 1647242 w 2413000"/>
                <a:gd name="connsiteY2" fmla="*/ 2330190 h 2413000"/>
                <a:gd name="connsiteX3" fmla="*/ 250115 w 2413000"/>
                <a:gd name="connsiteY3" fmla="*/ 1945126 h 2413000"/>
                <a:gd name="connsiteX4" fmla="*/ 132767 w 2413000"/>
                <a:gd name="connsiteY4" fmla="*/ 1759452 h 2413000"/>
                <a:gd name="connsiteX5" fmla="*/ 88825 w 2413000"/>
                <a:gd name="connsiteY5" fmla="*/ 705987 h 2413000"/>
                <a:gd name="connsiteX6" fmla="*/ 1371779 w 2413000"/>
                <a:gd name="connsiteY6" fmla="*/ 11551 h 2413000"/>
                <a:gd name="connsiteX7" fmla="*/ 1587425 w 2413000"/>
                <a:gd name="connsiteY7" fmla="*/ 62605 h 2413000"/>
                <a:gd name="connsiteX8" fmla="*/ 2410893 w 2413000"/>
                <a:gd name="connsiteY8" fmla="*/ 1003294 h 2413000"/>
                <a:gd name="connsiteX9" fmla="*/ 2422704 w 2413000"/>
                <a:gd name="connsiteY9" fmla="*/ 1249928 h 241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3000" h="2413000">
                  <a:moveTo>
                    <a:pt x="2422704" y="1249928"/>
                  </a:moveTo>
                  <a:cubicBezTo>
                    <a:pt x="2416354" y="1676648"/>
                    <a:pt x="2163497" y="2066030"/>
                    <a:pt x="1806246" y="2259705"/>
                  </a:cubicBezTo>
                  <a:cubicBezTo>
                    <a:pt x="1755192" y="2287391"/>
                    <a:pt x="1702106" y="2311013"/>
                    <a:pt x="1647242" y="2330190"/>
                  </a:cubicBezTo>
                  <a:cubicBezTo>
                    <a:pt x="1147878" y="2541391"/>
                    <a:pt x="564567" y="2349367"/>
                    <a:pt x="250115" y="1945126"/>
                  </a:cubicBezTo>
                  <a:cubicBezTo>
                    <a:pt x="205157" y="1887341"/>
                    <a:pt x="165787" y="1825365"/>
                    <a:pt x="132767" y="1759452"/>
                  </a:cubicBezTo>
                  <a:cubicBezTo>
                    <a:pt x="1068" y="1430268"/>
                    <a:pt x="-64718" y="1057142"/>
                    <a:pt x="88825" y="705987"/>
                  </a:cubicBezTo>
                  <a:cubicBezTo>
                    <a:pt x="308281" y="223133"/>
                    <a:pt x="835077" y="-62236"/>
                    <a:pt x="1371779" y="11551"/>
                  </a:cubicBezTo>
                  <a:cubicBezTo>
                    <a:pt x="1444931" y="22473"/>
                    <a:pt x="1517194" y="39618"/>
                    <a:pt x="1587425" y="62605"/>
                  </a:cubicBezTo>
                  <a:cubicBezTo>
                    <a:pt x="2008938" y="200527"/>
                    <a:pt x="2360855" y="548380"/>
                    <a:pt x="2410893" y="1003294"/>
                  </a:cubicBezTo>
                  <a:cubicBezTo>
                    <a:pt x="2423212" y="1082669"/>
                    <a:pt x="2427403" y="1165473"/>
                    <a:pt x="2422704" y="1249928"/>
                  </a:cubicBezTo>
                </a:path>
              </a:pathLst>
            </a:custGeom>
            <a:solidFill>
              <a:srgbClr val="FFFFFF"/>
            </a:solidFill>
            <a:ln w="12689" cap="flat">
              <a:noFill/>
              <a:prstDash val="solid"/>
              <a:miter/>
            </a:ln>
          </p:spPr>
          <p:txBody>
            <a:bodyPr rtlCol="0" anchor="ctr"/>
            <a:lstStyle/>
            <a:p>
              <a:endParaRPr lang="bg-BG" dirty="0"/>
            </a:p>
          </p:txBody>
        </p:sp>
        <p:sp>
          <p:nvSpPr>
            <p:cNvPr id="69" name="Свободна форма: фигура 12">
              <a:extLst>
                <a:ext uri="{FF2B5EF4-FFF2-40B4-BE49-F238E27FC236}">
                  <a16:creationId xmlns:a16="http://schemas.microsoft.com/office/drawing/2014/main" id="{00AC17DA-3827-9558-24F9-D233691207DA}"/>
                </a:ext>
              </a:extLst>
            </p:cNvPr>
            <p:cNvSpPr/>
            <p:nvPr/>
          </p:nvSpPr>
          <p:spPr>
            <a:xfrm>
              <a:off x="1406829" y="592140"/>
              <a:ext cx="1054100" cy="850900"/>
            </a:xfrm>
            <a:custGeom>
              <a:avLst/>
              <a:gdLst>
                <a:gd name="connsiteX0" fmla="*/ 642316 w 1054100"/>
                <a:gd name="connsiteY0" fmla="*/ 11491 h 850900"/>
                <a:gd name="connsiteX1" fmla="*/ 61672 w 1054100"/>
                <a:gd name="connsiteY1" fmla="*/ 70419 h 850900"/>
                <a:gd name="connsiteX2" fmla="*/ 66244 w 1054100"/>
                <a:gd name="connsiteY2" fmla="*/ 566227 h 850900"/>
                <a:gd name="connsiteX3" fmla="*/ 118187 w 1054100"/>
                <a:gd name="connsiteY3" fmla="*/ 647253 h 850900"/>
                <a:gd name="connsiteX4" fmla="*/ 728422 w 1054100"/>
                <a:gd name="connsiteY4" fmla="*/ 817052 h 850900"/>
                <a:gd name="connsiteX5" fmla="*/ 1032333 w 1054100"/>
                <a:gd name="connsiteY5" fmla="*/ 474660 h 850900"/>
                <a:gd name="connsiteX6" fmla="*/ 1051637 w 1054100"/>
                <a:gd name="connsiteY6" fmla="*/ 381315 h 850900"/>
                <a:gd name="connsiteX7" fmla="*/ 1014172 w 1054100"/>
                <a:gd name="connsiteY7" fmla="*/ 124775 h 850900"/>
                <a:gd name="connsiteX8" fmla="*/ 857962 w 1054100"/>
                <a:gd name="connsiteY8" fmla="*/ 62545 h 850900"/>
                <a:gd name="connsiteX9" fmla="*/ 642316 w 1054100"/>
                <a:gd name="connsiteY9" fmla="*/ 11491 h 850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54100" h="850900">
                  <a:moveTo>
                    <a:pt x="642316" y="11491"/>
                  </a:moveTo>
                  <a:cubicBezTo>
                    <a:pt x="442291" y="-15941"/>
                    <a:pt x="243536" y="6538"/>
                    <a:pt x="61672" y="70419"/>
                  </a:cubicBezTo>
                  <a:cubicBezTo>
                    <a:pt x="-26847" y="221803"/>
                    <a:pt x="-15417" y="412176"/>
                    <a:pt x="66244" y="566227"/>
                  </a:cubicBezTo>
                  <a:cubicBezTo>
                    <a:pt x="81230" y="594548"/>
                    <a:pt x="98629" y="621726"/>
                    <a:pt x="118187" y="647253"/>
                  </a:cubicBezTo>
                  <a:cubicBezTo>
                    <a:pt x="263602" y="832038"/>
                    <a:pt x="514173" y="901761"/>
                    <a:pt x="728422" y="817052"/>
                  </a:cubicBezTo>
                  <a:cubicBezTo>
                    <a:pt x="882346" y="753679"/>
                    <a:pt x="974167" y="617281"/>
                    <a:pt x="1032333" y="474660"/>
                  </a:cubicBezTo>
                  <a:cubicBezTo>
                    <a:pt x="1041858" y="444180"/>
                    <a:pt x="1048335" y="412811"/>
                    <a:pt x="1051637" y="381315"/>
                  </a:cubicBezTo>
                  <a:cubicBezTo>
                    <a:pt x="1060908" y="294701"/>
                    <a:pt x="1047192" y="205928"/>
                    <a:pt x="1014172" y="124775"/>
                  </a:cubicBezTo>
                  <a:cubicBezTo>
                    <a:pt x="963499" y="100772"/>
                    <a:pt x="911302" y="80071"/>
                    <a:pt x="857962" y="62545"/>
                  </a:cubicBezTo>
                  <a:cubicBezTo>
                    <a:pt x="787731" y="39558"/>
                    <a:pt x="715595" y="22413"/>
                    <a:pt x="642316" y="11491"/>
                  </a:cubicBezTo>
                </a:path>
              </a:pathLst>
            </a:custGeom>
            <a:solidFill>
              <a:srgbClr val="F1F0D7"/>
            </a:solidFill>
            <a:ln w="12689" cap="flat">
              <a:noFill/>
              <a:prstDash val="solid"/>
              <a:miter/>
            </a:ln>
          </p:spPr>
          <p:txBody>
            <a:bodyPr rtlCol="0" anchor="ctr"/>
            <a:lstStyle/>
            <a:p>
              <a:endParaRPr lang="bg-BG"/>
            </a:p>
          </p:txBody>
        </p:sp>
        <p:sp>
          <p:nvSpPr>
            <p:cNvPr id="70" name="Свободна форма: фигура 13">
              <a:extLst>
                <a:ext uri="{FF2B5EF4-FFF2-40B4-BE49-F238E27FC236}">
                  <a16:creationId xmlns:a16="http://schemas.microsoft.com/office/drawing/2014/main" id="{B56C289E-B2C6-98FA-3341-FA11B7172AE4}"/>
                </a:ext>
              </a:extLst>
            </p:cNvPr>
            <p:cNvSpPr/>
            <p:nvPr/>
          </p:nvSpPr>
          <p:spPr>
            <a:xfrm>
              <a:off x="1425065" y="407303"/>
              <a:ext cx="914400" cy="927100"/>
            </a:xfrm>
            <a:custGeom>
              <a:avLst/>
              <a:gdLst>
                <a:gd name="connsiteX0" fmla="*/ 143512 w 914400"/>
                <a:gd name="connsiteY0" fmla="*/ 129780 h 927100"/>
                <a:gd name="connsiteX1" fmla="*/ 580011 w 914400"/>
                <a:gd name="connsiteY1" fmla="*/ 15988 h 927100"/>
                <a:gd name="connsiteX2" fmla="*/ 642368 w 914400"/>
                <a:gd name="connsiteY2" fmla="*/ 38721 h 927100"/>
                <a:gd name="connsiteX3" fmla="*/ 923800 w 914400"/>
                <a:gd name="connsiteY3" fmla="*/ 514208 h 927100"/>
                <a:gd name="connsiteX4" fmla="*/ 906782 w 914400"/>
                <a:gd name="connsiteY4" fmla="*/ 596251 h 927100"/>
                <a:gd name="connsiteX5" fmla="*/ 639828 w 914400"/>
                <a:gd name="connsiteY5" fmla="*/ 896860 h 927100"/>
                <a:gd name="connsiteX6" fmla="*/ 104015 w 914400"/>
                <a:gd name="connsiteY6" fmla="*/ 747762 h 927100"/>
                <a:gd name="connsiteX7" fmla="*/ 58295 w 914400"/>
                <a:gd name="connsiteY7" fmla="*/ 676642 h 927100"/>
                <a:gd name="connsiteX8" fmla="*/ 81409 w 914400"/>
                <a:gd name="connsiteY8" fmla="*/ 200519 h 927100"/>
                <a:gd name="connsiteX9" fmla="*/ 143512 w 914400"/>
                <a:gd name="connsiteY9" fmla="*/ 129780 h 927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4400" h="927100">
                  <a:moveTo>
                    <a:pt x="143512" y="129780"/>
                  </a:moveTo>
                  <a:cubicBezTo>
                    <a:pt x="258193" y="14337"/>
                    <a:pt x="430659" y="-25541"/>
                    <a:pt x="580011" y="15988"/>
                  </a:cubicBezTo>
                  <a:cubicBezTo>
                    <a:pt x="601347" y="21957"/>
                    <a:pt x="622175" y="29450"/>
                    <a:pt x="642368" y="38721"/>
                  </a:cubicBezTo>
                  <a:cubicBezTo>
                    <a:pt x="835281" y="113016"/>
                    <a:pt x="944501" y="320153"/>
                    <a:pt x="923800" y="514208"/>
                  </a:cubicBezTo>
                  <a:cubicBezTo>
                    <a:pt x="920879" y="541895"/>
                    <a:pt x="915164" y="569454"/>
                    <a:pt x="906782" y="596251"/>
                  </a:cubicBezTo>
                  <a:cubicBezTo>
                    <a:pt x="855728" y="721473"/>
                    <a:pt x="774956" y="841234"/>
                    <a:pt x="639828" y="896860"/>
                  </a:cubicBezTo>
                  <a:cubicBezTo>
                    <a:pt x="451741" y="971282"/>
                    <a:pt x="231650" y="910068"/>
                    <a:pt x="104015" y="747762"/>
                  </a:cubicBezTo>
                  <a:cubicBezTo>
                    <a:pt x="86870" y="725410"/>
                    <a:pt x="71503" y="701534"/>
                    <a:pt x="58295" y="676642"/>
                  </a:cubicBezTo>
                  <a:cubicBezTo>
                    <a:pt x="-20826" y="527163"/>
                    <a:pt x="-25271" y="338568"/>
                    <a:pt x="81409" y="200519"/>
                  </a:cubicBezTo>
                  <a:cubicBezTo>
                    <a:pt x="99062" y="175500"/>
                    <a:pt x="119890" y="151623"/>
                    <a:pt x="143512" y="129780"/>
                  </a:cubicBezTo>
                </a:path>
              </a:pathLst>
            </a:custGeom>
            <a:solidFill>
              <a:schemeClr val="tx2"/>
            </a:solidFill>
            <a:ln w="12689" cap="flat">
              <a:noFill/>
              <a:prstDash val="solid"/>
              <a:miter/>
            </a:ln>
          </p:spPr>
          <p:txBody>
            <a:bodyPr rtlCol="0" anchor="ctr"/>
            <a:lstStyle/>
            <a:p>
              <a:endParaRPr lang="bg-BG" dirty="0"/>
            </a:p>
          </p:txBody>
        </p:sp>
        <p:sp>
          <p:nvSpPr>
            <p:cNvPr id="71" name="Свободна форма: фигура 14">
              <a:extLst>
                <a:ext uri="{FF2B5EF4-FFF2-40B4-BE49-F238E27FC236}">
                  <a16:creationId xmlns:a16="http://schemas.microsoft.com/office/drawing/2014/main" id="{82E26C4C-8908-E803-2192-D89A8A99F42C}"/>
                </a:ext>
              </a:extLst>
            </p:cNvPr>
            <p:cNvSpPr/>
            <p:nvPr/>
          </p:nvSpPr>
          <p:spPr>
            <a:xfrm>
              <a:off x="1591056" y="557657"/>
              <a:ext cx="749300" cy="774700"/>
            </a:xfrm>
            <a:custGeom>
              <a:avLst/>
              <a:gdLst>
                <a:gd name="connsiteX0" fmla="*/ 629920 w 749300"/>
                <a:gd name="connsiteY0" fmla="*/ 21209 h 774700"/>
                <a:gd name="connsiteX1" fmla="*/ 593852 w 749300"/>
                <a:gd name="connsiteY1" fmla="*/ 266573 h 774700"/>
                <a:gd name="connsiteX2" fmla="*/ 271399 w 749300"/>
                <a:gd name="connsiteY2" fmla="*/ 577850 h 774700"/>
                <a:gd name="connsiteX3" fmla="*/ 0 w 749300"/>
                <a:gd name="connsiteY3" fmla="*/ 661924 h 774700"/>
                <a:gd name="connsiteX4" fmla="*/ 473837 w 749300"/>
                <a:gd name="connsiteY4" fmla="*/ 746506 h 774700"/>
                <a:gd name="connsiteX5" fmla="*/ 740791 w 749300"/>
                <a:gd name="connsiteY5" fmla="*/ 445770 h 774700"/>
                <a:gd name="connsiteX6" fmla="*/ 757809 w 749300"/>
                <a:gd name="connsiteY6" fmla="*/ 363728 h 774700"/>
                <a:gd name="connsiteX7" fmla="*/ 638175 w 749300"/>
                <a:gd name="connsiteY7" fmla="*/ 0 h 774700"/>
                <a:gd name="connsiteX8" fmla="*/ 629920 w 749300"/>
                <a:gd name="connsiteY8" fmla="*/ 21209 h 774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9300" h="774700">
                  <a:moveTo>
                    <a:pt x="629920" y="21209"/>
                  </a:moveTo>
                  <a:cubicBezTo>
                    <a:pt x="606171" y="100711"/>
                    <a:pt x="622300" y="185928"/>
                    <a:pt x="593852" y="266573"/>
                  </a:cubicBezTo>
                  <a:cubicBezTo>
                    <a:pt x="538861" y="422148"/>
                    <a:pt x="416306" y="511683"/>
                    <a:pt x="271399" y="577850"/>
                  </a:cubicBezTo>
                  <a:cubicBezTo>
                    <a:pt x="185039" y="617220"/>
                    <a:pt x="92710" y="647192"/>
                    <a:pt x="0" y="661924"/>
                  </a:cubicBezTo>
                  <a:cubicBezTo>
                    <a:pt x="129794" y="774446"/>
                    <a:pt x="313309" y="809879"/>
                    <a:pt x="473837" y="746506"/>
                  </a:cubicBezTo>
                  <a:cubicBezTo>
                    <a:pt x="608965" y="690880"/>
                    <a:pt x="689737" y="570992"/>
                    <a:pt x="740791" y="445770"/>
                  </a:cubicBezTo>
                  <a:cubicBezTo>
                    <a:pt x="749173" y="418973"/>
                    <a:pt x="754761" y="391541"/>
                    <a:pt x="757809" y="363728"/>
                  </a:cubicBezTo>
                  <a:cubicBezTo>
                    <a:pt x="771652" y="233680"/>
                    <a:pt x="727075" y="97917"/>
                    <a:pt x="638175" y="0"/>
                  </a:cubicBezTo>
                  <a:cubicBezTo>
                    <a:pt x="634873" y="6731"/>
                    <a:pt x="632079" y="13716"/>
                    <a:pt x="629920" y="21209"/>
                  </a:cubicBezTo>
                </a:path>
              </a:pathLst>
            </a:custGeom>
            <a:solidFill>
              <a:schemeClr val="tx2"/>
            </a:solidFill>
            <a:ln w="12689" cap="flat">
              <a:noFill/>
              <a:prstDash val="solid"/>
              <a:miter/>
            </a:ln>
          </p:spPr>
          <p:txBody>
            <a:bodyPr rtlCol="0" anchor="ctr"/>
            <a:lstStyle/>
            <a:p>
              <a:endParaRPr lang="bg-BG"/>
            </a:p>
          </p:txBody>
        </p:sp>
        <p:sp>
          <p:nvSpPr>
            <p:cNvPr id="72" name="Свободна форма: фигура 15">
              <a:extLst>
                <a:ext uri="{FF2B5EF4-FFF2-40B4-BE49-F238E27FC236}">
                  <a16:creationId xmlns:a16="http://schemas.microsoft.com/office/drawing/2014/main" id="{E4DE420D-EC81-37C8-8C7E-A5F4A87B592B}"/>
                </a:ext>
              </a:extLst>
            </p:cNvPr>
            <p:cNvSpPr/>
            <p:nvPr/>
          </p:nvSpPr>
          <p:spPr>
            <a:xfrm>
              <a:off x="689991" y="1457452"/>
              <a:ext cx="2400300" cy="1549400"/>
            </a:xfrm>
            <a:custGeom>
              <a:avLst/>
              <a:gdLst>
                <a:gd name="connsiteX0" fmla="*/ 2398395 w 2400300"/>
                <a:gd name="connsiteY0" fmla="*/ 137922 h 1549400"/>
                <a:gd name="connsiteX1" fmla="*/ 2373122 w 2400300"/>
                <a:gd name="connsiteY1" fmla="*/ 0 h 1549400"/>
                <a:gd name="connsiteX2" fmla="*/ 2211197 w 2400300"/>
                <a:gd name="connsiteY2" fmla="*/ 837184 h 1549400"/>
                <a:gd name="connsiteX3" fmla="*/ 1736852 w 2400300"/>
                <a:gd name="connsiteY3" fmla="*/ 1171702 h 1549400"/>
                <a:gd name="connsiteX4" fmla="*/ 1234313 w 2400300"/>
                <a:gd name="connsiteY4" fmla="*/ 1282827 h 1549400"/>
                <a:gd name="connsiteX5" fmla="*/ 955421 w 2400300"/>
                <a:gd name="connsiteY5" fmla="*/ 1222375 h 1549400"/>
                <a:gd name="connsiteX6" fmla="*/ 736727 w 2400300"/>
                <a:gd name="connsiteY6" fmla="*/ 1105154 h 1549400"/>
                <a:gd name="connsiteX7" fmla="*/ 305308 w 2400300"/>
                <a:gd name="connsiteY7" fmla="*/ 875792 h 1549400"/>
                <a:gd name="connsiteX8" fmla="*/ 0 w 2400300"/>
                <a:gd name="connsiteY8" fmla="*/ 455930 h 1549400"/>
                <a:gd name="connsiteX9" fmla="*/ 120269 w 2400300"/>
                <a:gd name="connsiteY9" fmla="*/ 894334 h 1549400"/>
                <a:gd name="connsiteX10" fmla="*/ 237617 w 2400300"/>
                <a:gd name="connsiteY10" fmla="*/ 1080008 h 1549400"/>
                <a:gd name="connsiteX11" fmla="*/ 1634744 w 2400300"/>
                <a:gd name="connsiteY11" fmla="*/ 1464945 h 1549400"/>
                <a:gd name="connsiteX12" fmla="*/ 1793875 w 2400300"/>
                <a:gd name="connsiteY12" fmla="*/ 1394460 h 1549400"/>
                <a:gd name="connsiteX13" fmla="*/ 2410333 w 2400300"/>
                <a:gd name="connsiteY13" fmla="*/ 384683 h 1549400"/>
                <a:gd name="connsiteX14" fmla="*/ 2398395 w 2400300"/>
                <a:gd name="connsiteY14" fmla="*/ 137922 h 154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00300" h="1549400">
                  <a:moveTo>
                    <a:pt x="2398395" y="137922"/>
                  </a:moveTo>
                  <a:cubicBezTo>
                    <a:pt x="2393188" y="90805"/>
                    <a:pt x="2384552" y="44831"/>
                    <a:pt x="2373122" y="0"/>
                  </a:cubicBezTo>
                  <a:cubicBezTo>
                    <a:pt x="2423668" y="292608"/>
                    <a:pt x="2409190" y="593598"/>
                    <a:pt x="2211197" y="837184"/>
                  </a:cubicBezTo>
                  <a:cubicBezTo>
                    <a:pt x="2086483" y="990473"/>
                    <a:pt x="1911731" y="1086358"/>
                    <a:pt x="1736852" y="1171702"/>
                  </a:cubicBezTo>
                  <a:cubicBezTo>
                    <a:pt x="1576832" y="1249807"/>
                    <a:pt x="1413891" y="1294384"/>
                    <a:pt x="1234313" y="1282827"/>
                  </a:cubicBezTo>
                  <a:cubicBezTo>
                    <a:pt x="1138936" y="1276731"/>
                    <a:pt x="1044448" y="1257300"/>
                    <a:pt x="955421" y="1222375"/>
                  </a:cubicBezTo>
                  <a:cubicBezTo>
                    <a:pt x="877570" y="1191641"/>
                    <a:pt x="809752" y="1145032"/>
                    <a:pt x="736727" y="1105154"/>
                  </a:cubicBezTo>
                  <a:cubicBezTo>
                    <a:pt x="594106" y="1027176"/>
                    <a:pt x="438277" y="970788"/>
                    <a:pt x="305308" y="875792"/>
                  </a:cubicBezTo>
                  <a:cubicBezTo>
                    <a:pt x="148717" y="764032"/>
                    <a:pt x="51308" y="618363"/>
                    <a:pt x="0" y="455930"/>
                  </a:cubicBezTo>
                  <a:cubicBezTo>
                    <a:pt x="20447" y="606552"/>
                    <a:pt x="64389" y="754380"/>
                    <a:pt x="120269" y="894334"/>
                  </a:cubicBezTo>
                  <a:cubicBezTo>
                    <a:pt x="153162" y="960120"/>
                    <a:pt x="192659" y="1022223"/>
                    <a:pt x="237617" y="1080008"/>
                  </a:cubicBezTo>
                  <a:cubicBezTo>
                    <a:pt x="552069" y="1484249"/>
                    <a:pt x="1135380" y="1676273"/>
                    <a:pt x="1634744" y="1464945"/>
                  </a:cubicBezTo>
                  <a:cubicBezTo>
                    <a:pt x="1689608" y="1445768"/>
                    <a:pt x="1742821" y="1422019"/>
                    <a:pt x="1793875" y="1394460"/>
                  </a:cubicBezTo>
                  <a:cubicBezTo>
                    <a:pt x="2151126" y="1200912"/>
                    <a:pt x="2403856" y="811403"/>
                    <a:pt x="2410333" y="384683"/>
                  </a:cubicBezTo>
                  <a:cubicBezTo>
                    <a:pt x="2414778" y="300101"/>
                    <a:pt x="2410587" y="217297"/>
                    <a:pt x="2398395" y="137922"/>
                  </a:cubicBezTo>
                </a:path>
              </a:pathLst>
            </a:custGeom>
            <a:solidFill>
              <a:srgbClr val="F1F0D7"/>
            </a:solidFill>
            <a:ln w="12689" cap="flat">
              <a:noFill/>
              <a:prstDash val="solid"/>
              <a:miter/>
            </a:ln>
          </p:spPr>
          <p:txBody>
            <a:bodyPr rtlCol="0" anchor="ctr"/>
            <a:lstStyle/>
            <a:p>
              <a:endParaRPr lang="bg-BG"/>
            </a:p>
          </p:txBody>
        </p:sp>
        <p:sp>
          <p:nvSpPr>
            <p:cNvPr id="73" name="Свободна форма: фигура 16">
              <a:extLst>
                <a:ext uri="{FF2B5EF4-FFF2-40B4-BE49-F238E27FC236}">
                  <a16:creationId xmlns:a16="http://schemas.microsoft.com/office/drawing/2014/main" id="{3FA8DFB9-F8DD-9AB2-6EDC-365ED6661251}"/>
                </a:ext>
              </a:extLst>
            </p:cNvPr>
            <p:cNvSpPr/>
            <p:nvPr/>
          </p:nvSpPr>
          <p:spPr>
            <a:xfrm>
              <a:off x="583687" y="1455489"/>
              <a:ext cx="1308100" cy="1676400"/>
            </a:xfrm>
            <a:custGeom>
              <a:avLst/>
              <a:gdLst>
                <a:gd name="connsiteX0" fmla="*/ 46360 w 1308100"/>
                <a:gd name="connsiteY0" fmla="*/ 1455 h 1676400"/>
                <a:gd name="connsiteX1" fmla="*/ 31374 w 1308100"/>
                <a:gd name="connsiteY1" fmla="*/ 704400 h 1676400"/>
                <a:gd name="connsiteX2" fmla="*/ 281437 w 1308100"/>
                <a:gd name="connsiteY2" fmla="*/ 1276408 h 1676400"/>
                <a:gd name="connsiteX3" fmla="*/ 741939 w 1308100"/>
                <a:gd name="connsiteY3" fmla="*/ 1597972 h 1676400"/>
                <a:gd name="connsiteX4" fmla="*/ 1299215 w 1308100"/>
                <a:gd name="connsiteY4" fmla="*/ 1668838 h 1676400"/>
                <a:gd name="connsiteX5" fmla="*/ 1293119 w 1308100"/>
                <a:gd name="connsiteY5" fmla="*/ 1624007 h 1676400"/>
                <a:gd name="connsiteX6" fmla="*/ 784738 w 1308100"/>
                <a:gd name="connsiteY6" fmla="*/ 1536377 h 1676400"/>
                <a:gd name="connsiteX7" fmla="*/ 334904 w 1308100"/>
                <a:gd name="connsiteY7" fmla="*/ 1238943 h 1676400"/>
                <a:gd name="connsiteX8" fmla="*/ 81031 w 1308100"/>
                <a:gd name="connsiteY8" fmla="*/ 705797 h 1676400"/>
                <a:gd name="connsiteX9" fmla="*/ 50297 w 1308100"/>
                <a:gd name="connsiteY9" fmla="*/ 2725 h 1676400"/>
                <a:gd name="connsiteX10" fmla="*/ 46360 w 1308100"/>
                <a:gd name="connsiteY10" fmla="*/ 1455 h 167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08100" h="1676400">
                  <a:moveTo>
                    <a:pt x="46360" y="1455"/>
                  </a:moveTo>
                  <a:cubicBezTo>
                    <a:pt x="-2027" y="237548"/>
                    <a:pt x="-21077" y="467037"/>
                    <a:pt x="31374" y="704400"/>
                  </a:cubicBezTo>
                  <a:cubicBezTo>
                    <a:pt x="75062" y="901885"/>
                    <a:pt x="151516" y="1118420"/>
                    <a:pt x="281437" y="1276408"/>
                  </a:cubicBezTo>
                  <a:cubicBezTo>
                    <a:pt x="401579" y="1422331"/>
                    <a:pt x="567441" y="1528884"/>
                    <a:pt x="741939" y="1597972"/>
                  </a:cubicBezTo>
                  <a:cubicBezTo>
                    <a:pt x="909325" y="1664139"/>
                    <a:pt x="1120399" y="1718749"/>
                    <a:pt x="1299215" y="1668838"/>
                  </a:cubicBezTo>
                  <a:cubicBezTo>
                    <a:pt x="1324869" y="1661599"/>
                    <a:pt x="1318265" y="1625785"/>
                    <a:pt x="1293119" y="1624007"/>
                  </a:cubicBezTo>
                  <a:cubicBezTo>
                    <a:pt x="1117605" y="1611307"/>
                    <a:pt x="951616" y="1599369"/>
                    <a:pt x="784738" y="1536377"/>
                  </a:cubicBezTo>
                  <a:cubicBezTo>
                    <a:pt x="616463" y="1473004"/>
                    <a:pt x="453776" y="1375595"/>
                    <a:pt x="334904" y="1238943"/>
                  </a:cubicBezTo>
                  <a:cubicBezTo>
                    <a:pt x="207269" y="1092385"/>
                    <a:pt x="129672" y="891471"/>
                    <a:pt x="81031" y="705797"/>
                  </a:cubicBezTo>
                  <a:cubicBezTo>
                    <a:pt x="21722" y="479356"/>
                    <a:pt x="5720" y="232976"/>
                    <a:pt x="50297" y="2725"/>
                  </a:cubicBezTo>
                  <a:cubicBezTo>
                    <a:pt x="50805" y="-69"/>
                    <a:pt x="46868" y="-1085"/>
                    <a:pt x="46360" y="1455"/>
                  </a:cubicBezTo>
                </a:path>
              </a:pathLst>
            </a:custGeom>
            <a:solidFill>
              <a:schemeClr val="tx2"/>
            </a:solidFill>
            <a:ln w="12689" cap="flat">
              <a:noFill/>
              <a:prstDash val="solid"/>
              <a:miter/>
            </a:ln>
          </p:spPr>
          <p:txBody>
            <a:bodyPr rtlCol="0" anchor="ctr"/>
            <a:lstStyle/>
            <a:p>
              <a:endParaRPr lang="bg-BG"/>
            </a:p>
          </p:txBody>
        </p:sp>
        <p:sp>
          <p:nvSpPr>
            <p:cNvPr id="74" name="Свободна форма: фигура 17">
              <a:extLst>
                <a:ext uri="{FF2B5EF4-FFF2-40B4-BE49-F238E27FC236}">
                  <a16:creationId xmlns:a16="http://schemas.microsoft.com/office/drawing/2014/main" id="{4F8E777A-830C-4F91-9E31-537F0C7788E8}"/>
                </a:ext>
              </a:extLst>
            </p:cNvPr>
            <p:cNvSpPr/>
            <p:nvPr/>
          </p:nvSpPr>
          <p:spPr>
            <a:xfrm>
              <a:off x="2489350" y="671867"/>
              <a:ext cx="685800" cy="749300"/>
            </a:xfrm>
            <a:custGeom>
              <a:avLst/>
              <a:gdLst>
                <a:gd name="connsiteX0" fmla="*/ 6454 w 685800"/>
                <a:gd name="connsiteY0" fmla="*/ 24855 h 749300"/>
                <a:gd name="connsiteX1" fmla="*/ 673839 w 685800"/>
                <a:gd name="connsiteY1" fmla="*/ 745453 h 749300"/>
                <a:gd name="connsiteX2" fmla="*/ 692508 w 685800"/>
                <a:gd name="connsiteY2" fmla="*/ 737579 h 749300"/>
                <a:gd name="connsiteX3" fmla="*/ 16614 w 685800"/>
                <a:gd name="connsiteY3" fmla="*/ 852 h 749300"/>
                <a:gd name="connsiteX4" fmla="*/ 6454 w 685800"/>
                <a:gd name="connsiteY4" fmla="*/ 24855 h 749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 h="749300">
                  <a:moveTo>
                    <a:pt x="6454" y="24855"/>
                  </a:moveTo>
                  <a:cubicBezTo>
                    <a:pt x="324208" y="165571"/>
                    <a:pt x="536806" y="434176"/>
                    <a:pt x="673839" y="745453"/>
                  </a:cubicBezTo>
                  <a:cubicBezTo>
                    <a:pt x="678665" y="756375"/>
                    <a:pt x="694921" y="748374"/>
                    <a:pt x="692508" y="737579"/>
                  </a:cubicBezTo>
                  <a:cubicBezTo>
                    <a:pt x="615673" y="406871"/>
                    <a:pt x="321668" y="123788"/>
                    <a:pt x="16614" y="852"/>
                  </a:cubicBezTo>
                  <a:cubicBezTo>
                    <a:pt x="2898" y="-4736"/>
                    <a:pt x="-7135" y="18759"/>
                    <a:pt x="6454" y="24855"/>
                  </a:cubicBezTo>
                </a:path>
              </a:pathLst>
            </a:custGeom>
            <a:solidFill>
              <a:schemeClr val="tx2"/>
            </a:solidFill>
            <a:ln w="12689" cap="flat">
              <a:noFill/>
              <a:prstDash val="solid"/>
              <a:miter/>
            </a:ln>
          </p:spPr>
          <p:txBody>
            <a:bodyPr rtlCol="0" anchor="ctr"/>
            <a:lstStyle/>
            <a:p>
              <a:endParaRPr lang="bg-BG"/>
            </a:p>
          </p:txBody>
        </p:sp>
        <p:sp>
          <p:nvSpPr>
            <p:cNvPr id="75" name="Свободна форма: фигура 19">
              <a:extLst>
                <a:ext uri="{FF2B5EF4-FFF2-40B4-BE49-F238E27FC236}">
                  <a16:creationId xmlns:a16="http://schemas.microsoft.com/office/drawing/2014/main" id="{697314DB-3B80-C18E-725F-77B25904A0BE}"/>
                </a:ext>
              </a:extLst>
            </p:cNvPr>
            <p:cNvSpPr/>
            <p:nvPr/>
          </p:nvSpPr>
          <p:spPr>
            <a:xfrm>
              <a:off x="641301" y="982061"/>
              <a:ext cx="254000" cy="368300"/>
            </a:xfrm>
            <a:custGeom>
              <a:avLst/>
              <a:gdLst>
                <a:gd name="connsiteX0" fmla="*/ 21004 w 254000"/>
                <a:gd name="connsiteY0" fmla="*/ 366298 h 368300"/>
                <a:gd name="connsiteX1" fmla="*/ 260399 w 254000"/>
                <a:gd name="connsiteY1" fmla="*/ 11587 h 368300"/>
                <a:gd name="connsiteX2" fmla="*/ 252271 w 254000"/>
                <a:gd name="connsiteY2" fmla="*/ 1046 h 368300"/>
                <a:gd name="connsiteX3" fmla="*/ 430 w 254000"/>
                <a:gd name="connsiteY3" fmla="*/ 360583 h 368300"/>
                <a:gd name="connsiteX4" fmla="*/ 21004 w 254000"/>
                <a:gd name="connsiteY4" fmla="*/ 366298 h 36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000" h="368300">
                  <a:moveTo>
                    <a:pt x="21004" y="366298"/>
                  </a:moveTo>
                  <a:cubicBezTo>
                    <a:pt x="71677" y="226852"/>
                    <a:pt x="155497" y="114584"/>
                    <a:pt x="260399" y="11587"/>
                  </a:cubicBezTo>
                  <a:cubicBezTo>
                    <a:pt x="265733" y="6253"/>
                    <a:pt x="258748" y="-3145"/>
                    <a:pt x="252271" y="1046"/>
                  </a:cubicBezTo>
                  <a:cubicBezTo>
                    <a:pt x="123874" y="82199"/>
                    <a:pt x="38530" y="215676"/>
                    <a:pt x="430" y="360583"/>
                  </a:cubicBezTo>
                  <a:cubicBezTo>
                    <a:pt x="-3126" y="374045"/>
                    <a:pt x="16432" y="379125"/>
                    <a:pt x="21004" y="366298"/>
                  </a:cubicBezTo>
                </a:path>
              </a:pathLst>
            </a:custGeom>
            <a:solidFill>
              <a:schemeClr val="tx2"/>
            </a:solidFill>
            <a:ln w="12689" cap="flat">
              <a:noFill/>
              <a:prstDash val="solid"/>
              <a:miter/>
            </a:ln>
          </p:spPr>
          <p:txBody>
            <a:bodyPr rtlCol="0" anchor="ctr"/>
            <a:lstStyle/>
            <a:p>
              <a:endParaRPr lang="bg-BG"/>
            </a:p>
          </p:txBody>
        </p:sp>
        <p:sp>
          <p:nvSpPr>
            <p:cNvPr id="76" name="Свободна форма: фигура 20">
              <a:extLst>
                <a:ext uri="{FF2B5EF4-FFF2-40B4-BE49-F238E27FC236}">
                  <a16:creationId xmlns:a16="http://schemas.microsoft.com/office/drawing/2014/main" id="{59F0FC6B-6B05-A02D-2904-83985F9B32FC}"/>
                </a:ext>
              </a:extLst>
            </p:cNvPr>
            <p:cNvSpPr/>
            <p:nvPr/>
          </p:nvSpPr>
          <p:spPr>
            <a:xfrm>
              <a:off x="2257997" y="2005855"/>
              <a:ext cx="977900" cy="1066800"/>
            </a:xfrm>
            <a:custGeom>
              <a:avLst/>
              <a:gdLst>
                <a:gd name="connsiteX0" fmla="*/ 965898 w 977900"/>
                <a:gd name="connsiteY0" fmla="*/ 4555 h 1066800"/>
                <a:gd name="connsiteX1" fmla="*/ 603059 w 977900"/>
                <a:gd name="connsiteY1" fmla="*/ 633967 h 1066800"/>
                <a:gd name="connsiteX2" fmla="*/ 9461 w 977900"/>
                <a:gd name="connsiteY2" fmla="*/ 1052686 h 1066800"/>
                <a:gd name="connsiteX3" fmla="*/ 13017 w 977900"/>
                <a:gd name="connsiteY3" fmla="*/ 1078848 h 1066800"/>
                <a:gd name="connsiteX4" fmla="*/ 344233 w 977900"/>
                <a:gd name="connsiteY4" fmla="*/ 921241 h 1066800"/>
                <a:gd name="connsiteX5" fmla="*/ 626427 w 977900"/>
                <a:gd name="connsiteY5" fmla="*/ 676512 h 1066800"/>
                <a:gd name="connsiteX6" fmla="*/ 846772 w 977900"/>
                <a:gd name="connsiteY6" fmla="*/ 372474 h 1066800"/>
                <a:gd name="connsiteX7" fmla="*/ 978725 w 977900"/>
                <a:gd name="connsiteY7" fmla="*/ 7984 h 1066800"/>
                <a:gd name="connsiteX8" fmla="*/ 965898 w 977900"/>
                <a:gd name="connsiteY8" fmla="*/ 4555 h 106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7900" h="1066800">
                  <a:moveTo>
                    <a:pt x="965898" y="4555"/>
                  </a:moveTo>
                  <a:cubicBezTo>
                    <a:pt x="876871" y="229980"/>
                    <a:pt x="756602" y="445753"/>
                    <a:pt x="603059" y="633967"/>
                  </a:cubicBezTo>
                  <a:cubicBezTo>
                    <a:pt x="454469" y="816085"/>
                    <a:pt x="244665" y="1004045"/>
                    <a:pt x="9461" y="1052686"/>
                  </a:cubicBezTo>
                  <a:cubicBezTo>
                    <a:pt x="-5144" y="1055734"/>
                    <a:pt x="-1969" y="1079737"/>
                    <a:pt x="13017" y="1078848"/>
                  </a:cubicBezTo>
                  <a:cubicBezTo>
                    <a:pt x="135699" y="1071482"/>
                    <a:pt x="247332" y="990329"/>
                    <a:pt x="344233" y="921241"/>
                  </a:cubicBezTo>
                  <a:cubicBezTo>
                    <a:pt x="447230" y="847708"/>
                    <a:pt x="540067" y="769984"/>
                    <a:pt x="626427" y="676512"/>
                  </a:cubicBezTo>
                  <a:cubicBezTo>
                    <a:pt x="715835" y="579611"/>
                    <a:pt x="787590" y="491600"/>
                    <a:pt x="846772" y="372474"/>
                  </a:cubicBezTo>
                  <a:cubicBezTo>
                    <a:pt x="904430" y="256269"/>
                    <a:pt x="952690" y="135365"/>
                    <a:pt x="978725" y="7984"/>
                  </a:cubicBezTo>
                  <a:cubicBezTo>
                    <a:pt x="980249" y="-398"/>
                    <a:pt x="968946" y="-3192"/>
                    <a:pt x="965898" y="4555"/>
                  </a:cubicBezTo>
                </a:path>
              </a:pathLst>
            </a:custGeom>
            <a:solidFill>
              <a:schemeClr val="tx2"/>
            </a:solidFill>
            <a:ln w="12689" cap="flat">
              <a:noFill/>
              <a:prstDash val="solid"/>
              <a:miter/>
            </a:ln>
          </p:spPr>
          <p:txBody>
            <a:bodyPr rtlCol="0" anchor="ctr"/>
            <a:lstStyle/>
            <a:p>
              <a:endParaRPr lang="bg-BG" dirty="0"/>
            </a:p>
          </p:txBody>
        </p:sp>
        <p:sp>
          <p:nvSpPr>
            <p:cNvPr id="77" name="Свободна форма: фигура 21">
              <a:extLst>
                <a:ext uri="{FF2B5EF4-FFF2-40B4-BE49-F238E27FC236}">
                  <a16:creationId xmlns:a16="http://schemas.microsoft.com/office/drawing/2014/main" id="{CA73F2D3-7275-9BCB-E01D-522DD2A379BA}"/>
                </a:ext>
              </a:extLst>
            </p:cNvPr>
            <p:cNvSpPr/>
            <p:nvPr/>
          </p:nvSpPr>
          <p:spPr>
            <a:xfrm>
              <a:off x="1103626" y="657128"/>
              <a:ext cx="215900" cy="139700"/>
            </a:xfrm>
            <a:custGeom>
              <a:avLst/>
              <a:gdLst>
                <a:gd name="connsiteX0" fmla="*/ 28706 w 215900"/>
                <a:gd name="connsiteY0" fmla="*/ 144369 h 139700"/>
                <a:gd name="connsiteX1" fmla="*/ 125988 w 215900"/>
                <a:gd name="connsiteY1" fmla="*/ 69439 h 139700"/>
                <a:gd name="connsiteX2" fmla="*/ 218063 w 215900"/>
                <a:gd name="connsiteY2" fmla="*/ 20671 h 139700"/>
                <a:gd name="connsiteX3" fmla="*/ 212475 w 215900"/>
                <a:gd name="connsiteY3" fmla="*/ 97 h 139700"/>
                <a:gd name="connsiteX4" fmla="*/ 5211 w 215900"/>
                <a:gd name="connsiteY4" fmla="*/ 121001 h 139700"/>
                <a:gd name="connsiteX5" fmla="*/ 28706 w 215900"/>
                <a:gd name="connsiteY5" fmla="*/ 144369 h 13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5900" h="139700">
                  <a:moveTo>
                    <a:pt x="28706" y="144369"/>
                  </a:moveTo>
                  <a:cubicBezTo>
                    <a:pt x="59059" y="116556"/>
                    <a:pt x="90809" y="90775"/>
                    <a:pt x="125988" y="69439"/>
                  </a:cubicBezTo>
                  <a:cubicBezTo>
                    <a:pt x="155706" y="51532"/>
                    <a:pt x="188599" y="38832"/>
                    <a:pt x="218063" y="20671"/>
                  </a:cubicBezTo>
                  <a:cubicBezTo>
                    <a:pt x="226572" y="15464"/>
                    <a:pt x="224032" y="-1427"/>
                    <a:pt x="212475" y="97"/>
                  </a:cubicBezTo>
                  <a:cubicBezTo>
                    <a:pt x="133100" y="10257"/>
                    <a:pt x="62107" y="68677"/>
                    <a:pt x="5211" y="121001"/>
                  </a:cubicBezTo>
                  <a:cubicBezTo>
                    <a:pt x="-10537" y="135352"/>
                    <a:pt x="12958" y="158847"/>
                    <a:pt x="28706" y="144369"/>
                  </a:cubicBezTo>
                </a:path>
              </a:pathLst>
            </a:custGeom>
            <a:solidFill>
              <a:schemeClr val="tx2"/>
            </a:solidFill>
            <a:ln w="12689" cap="flat">
              <a:noFill/>
              <a:prstDash val="solid"/>
              <a:miter/>
            </a:ln>
          </p:spPr>
          <p:txBody>
            <a:bodyPr rtlCol="0" anchor="ctr"/>
            <a:lstStyle/>
            <a:p>
              <a:endParaRPr lang="bg-BG"/>
            </a:p>
          </p:txBody>
        </p:sp>
        <p:sp>
          <p:nvSpPr>
            <p:cNvPr id="78" name="Свободна форма: фигура 23">
              <a:extLst>
                <a:ext uri="{FF2B5EF4-FFF2-40B4-BE49-F238E27FC236}">
                  <a16:creationId xmlns:a16="http://schemas.microsoft.com/office/drawing/2014/main" id="{95A3E9BD-A04A-D201-D16A-7E182B014033}"/>
                </a:ext>
              </a:extLst>
            </p:cNvPr>
            <p:cNvSpPr/>
            <p:nvPr/>
          </p:nvSpPr>
          <p:spPr>
            <a:xfrm>
              <a:off x="1362964" y="907161"/>
              <a:ext cx="25400" cy="25400"/>
            </a:xfrm>
            <a:custGeom>
              <a:avLst/>
              <a:gdLst>
                <a:gd name="connsiteX0" fmla="*/ 33655 w 25400"/>
                <a:gd name="connsiteY0" fmla="*/ 15748 h 25400"/>
                <a:gd name="connsiteX1" fmla="*/ 0 w 25400"/>
                <a:gd name="connsiteY1" fmla="*/ 20447 h 25400"/>
                <a:gd name="connsiteX2" fmla="*/ 17907 w 25400"/>
                <a:gd name="connsiteY2" fmla="*/ 0 h 25400"/>
                <a:gd name="connsiteX3" fmla="*/ 33655 w 25400"/>
                <a:gd name="connsiteY3" fmla="*/ 15748 h 25400"/>
              </a:gdLst>
              <a:ahLst/>
              <a:cxnLst>
                <a:cxn ang="0">
                  <a:pos x="connsiteX0" y="connsiteY0"/>
                </a:cxn>
                <a:cxn ang="0">
                  <a:pos x="connsiteX1" y="connsiteY1"/>
                </a:cxn>
                <a:cxn ang="0">
                  <a:pos x="connsiteX2" y="connsiteY2"/>
                </a:cxn>
                <a:cxn ang="0">
                  <a:pos x="connsiteX3" y="connsiteY3"/>
                </a:cxn>
              </a:cxnLst>
              <a:rect l="l" t="t" r="r" b="b"/>
              <a:pathLst>
                <a:path w="25400" h="25400">
                  <a:moveTo>
                    <a:pt x="33655" y="15748"/>
                  </a:moveTo>
                  <a:cubicBezTo>
                    <a:pt x="22352" y="42799"/>
                    <a:pt x="11176" y="31623"/>
                    <a:pt x="0" y="20447"/>
                  </a:cubicBezTo>
                  <a:cubicBezTo>
                    <a:pt x="11176" y="9271"/>
                    <a:pt x="11176" y="9271"/>
                    <a:pt x="17907" y="0"/>
                  </a:cubicBezTo>
                  <a:cubicBezTo>
                    <a:pt x="26543" y="0"/>
                    <a:pt x="33655" y="7112"/>
                    <a:pt x="33655" y="15748"/>
                  </a:cubicBezTo>
                </a:path>
              </a:pathLst>
            </a:custGeom>
            <a:solidFill>
              <a:schemeClr val="tx2"/>
            </a:solidFill>
            <a:ln w="12689" cap="flat">
              <a:noFill/>
              <a:prstDash val="solid"/>
              <a:miter/>
            </a:ln>
          </p:spPr>
          <p:txBody>
            <a:bodyPr rtlCol="0" anchor="ctr"/>
            <a:lstStyle/>
            <a:p>
              <a:endParaRPr lang="bg-BG"/>
            </a:p>
          </p:txBody>
        </p:sp>
        <p:sp>
          <p:nvSpPr>
            <p:cNvPr id="79" name="Свободна форма: фигура 24">
              <a:extLst>
                <a:ext uri="{FF2B5EF4-FFF2-40B4-BE49-F238E27FC236}">
                  <a16:creationId xmlns:a16="http://schemas.microsoft.com/office/drawing/2014/main" id="{620BFEDB-2B1F-01D0-827E-2B4A249892AA}"/>
                </a:ext>
              </a:extLst>
            </p:cNvPr>
            <p:cNvSpPr/>
            <p:nvPr/>
          </p:nvSpPr>
          <p:spPr>
            <a:xfrm>
              <a:off x="1396492" y="1063687"/>
              <a:ext cx="25400" cy="25400"/>
            </a:xfrm>
            <a:custGeom>
              <a:avLst/>
              <a:gdLst>
                <a:gd name="connsiteX0" fmla="*/ 32385 w 25400"/>
                <a:gd name="connsiteY0" fmla="*/ 21782 h 25400"/>
                <a:gd name="connsiteX1" fmla="*/ 0 w 25400"/>
                <a:gd name="connsiteY1" fmla="*/ 9590 h 25400"/>
                <a:gd name="connsiteX2" fmla="*/ 26416 w 25400"/>
                <a:gd name="connsiteY2" fmla="*/ 192 h 25400"/>
                <a:gd name="connsiteX3" fmla="*/ 32385 w 25400"/>
                <a:gd name="connsiteY3" fmla="*/ 21782 h 25400"/>
              </a:gdLst>
              <a:ahLst/>
              <a:cxnLst>
                <a:cxn ang="0">
                  <a:pos x="connsiteX0" y="connsiteY0"/>
                </a:cxn>
                <a:cxn ang="0">
                  <a:pos x="connsiteX1" y="connsiteY1"/>
                </a:cxn>
                <a:cxn ang="0">
                  <a:pos x="connsiteX2" y="connsiteY2"/>
                </a:cxn>
                <a:cxn ang="0">
                  <a:pos x="connsiteX3" y="connsiteY3"/>
                </a:cxn>
              </a:cxnLst>
              <a:rect l="l" t="t" r="r" b="b"/>
              <a:pathLst>
                <a:path w="25400" h="25400">
                  <a:moveTo>
                    <a:pt x="32385" y="21782"/>
                  </a:moveTo>
                  <a:cubicBezTo>
                    <a:pt x="11176" y="43118"/>
                    <a:pt x="0" y="31942"/>
                    <a:pt x="0" y="9590"/>
                  </a:cubicBezTo>
                  <a:cubicBezTo>
                    <a:pt x="0" y="9590"/>
                    <a:pt x="11176" y="-1586"/>
                    <a:pt x="26416" y="192"/>
                  </a:cubicBezTo>
                  <a:cubicBezTo>
                    <a:pt x="34036" y="4383"/>
                    <a:pt x="36703" y="14162"/>
                    <a:pt x="32385" y="21782"/>
                  </a:cubicBezTo>
                </a:path>
              </a:pathLst>
            </a:custGeom>
            <a:solidFill>
              <a:schemeClr val="tx2"/>
            </a:solidFill>
            <a:ln w="12689" cap="flat">
              <a:noFill/>
              <a:prstDash val="solid"/>
              <a:miter/>
            </a:ln>
          </p:spPr>
          <p:txBody>
            <a:bodyPr rtlCol="0" anchor="ctr"/>
            <a:lstStyle/>
            <a:p>
              <a:endParaRPr lang="bg-BG"/>
            </a:p>
          </p:txBody>
        </p:sp>
        <p:sp>
          <p:nvSpPr>
            <p:cNvPr id="80" name="Свободна форма: фигура 25">
              <a:extLst>
                <a:ext uri="{FF2B5EF4-FFF2-40B4-BE49-F238E27FC236}">
                  <a16:creationId xmlns:a16="http://schemas.microsoft.com/office/drawing/2014/main" id="{B6C5A872-888D-1DDA-65B1-39C064904FB5}"/>
                </a:ext>
              </a:extLst>
            </p:cNvPr>
            <p:cNvSpPr/>
            <p:nvPr/>
          </p:nvSpPr>
          <p:spPr>
            <a:xfrm>
              <a:off x="1497330" y="1203960"/>
              <a:ext cx="25400" cy="25400"/>
            </a:xfrm>
            <a:custGeom>
              <a:avLst/>
              <a:gdLst>
                <a:gd name="connsiteX0" fmla="*/ 31496 w 25400"/>
                <a:gd name="connsiteY0" fmla="*/ 21717 h 25400"/>
                <a:gd name="connsiteX1" fmla="*/ 0 w 25400"/>
                <a:gd name="connsiteY1" fmla="*/ 3556 h 25400"/>
                <a:gd name="connsiteX2" fmla="*/ 25527 w 25400"/>
                <a:gd name="connsiteY2" fmla="*/ 0 h 25400"/>
                <a:gd name="connsiteX3" fmla="*/ 31496 w 25400"/>
                <a:gd name="connsiteY3" fmla="*/ 21717 h 25400"/>
              </a:gdLst>
              <a:ahLst/>
              <a:cxnLst>
                <a:cxn ang="0">
                  <a:pos x="connsiteX0" y="connsiteY0"/>
                </a:cxn>
                <a:cxn ang="0">
                  <a:pos x="connsiteX1" y="connsiteY1"/>
                </a:cxn>
                <a:cxn ang="0">
                  <a:pos x="connsiteX2" y="connsiteY2"/>
                </a:cxn>
                <a:cxn ang="0">
                  <a:pos x="connsiteX3" y="connsiteY3"/>
                </a:cxn>
              </a:cxnLst>
              <a:rect l="l" t="t" r="r" b="b"/>
              <a:pathLst>
                <a:path w="25400" h="25400">
                  <a:moveTo>
                    <a:pt x="31496" y="21717"/>
                  </a:moveTo>
                  <a:cubicBezTo>
                    <a:pt x="11176" y="37084"/>
                    <a:pt x="0" y="25908"/>
                    <a:pt x="0" y="3556"/>
                  </a:cubicBezTo>
                  <a:cubicBezTo>
                    <a:pt x="11176" y="3556"/>
                    <a:pt x="11176" y="3556"/>
                    <a:pt x="25527" y="0"/>
                  </a:cubicBezTo>
                  <a:cubicBezTo>
                    <a:pt x="33147" y="4445"/>
                    <a:pt x="35814" y="14224"/>
                    <a:pt x="31496" y="21717"/>
                  </a:cubicBezTo>
                </a:path>
              </a:pathLst>
            </a:custGeom>
            <a:solidFill>
              <a:schemeClr val="tx2"/>
            </a:solidFill>
            <a:ln w="12689" cap="flat">
              <a:noFill/>
              <a:prstDash val="solid"/>
              <a:miter/>
            </a:ln>
          </p:spPr>
          <p:txBody>
            <a:bodyPr rtlCol="0" anchor="ctr"/>
            <a:lstStyle/>
            <a:p>
              <a:endParaRPr lang="bg-BG"/>
            </a:p>
          </p:txBody>
        </p:sp>
        <p:sp>
          <p:nvSpPr>
            <p:cNvPr id="81" name="Свободна форма: фигура 26">
              <a:extLst>
                <a:ext uri="{FF2B5EF4-FFF2-40B4-BE49-F238E27FC236}">
                  <a16:creationId xmlns:a16="http://schemas.microsoft.com/office/drawing/2014/main" id="{99CB44B4-FD6F-A415-4910-C63B138009E9}"/>
                </a:ext>
              </a:extLst>
            </p:cNvPr>
            <p:cNvSpPr/>
            <p:nvPr/>
          </p:nvSpPr>
          <p:spPr>
            <a:xfrm>
              <a:off x="2136140" y="1159590"/>
              <a:ext cx="215900" cy="165100"/>
            </a:xfrm>
            <a:custGeom>
              <a:avLst/>
              <a:gdLst>
                <a:gd name="connsiteX0" fmla="*/ 0 w 215900"/>
                <a:gd name="connsiteY0" fmla="*/ 173402 h 165100"/>
                <a:gd name="connsiteX1" fmla="*/ 209550 w 215900"/>
                <a:gd name="connsiteY1" fmla="*/ 41957 h 165100"/>
                <a:gd name="connsiteX2" fmla="*/ 129794 w 215900"/>
                <a:gd name="connsiteY2" fmla="*/ 77263 h 165100"/>
                <a:gd name="connsiteX3" fmla="*/ 0 w 215900"/>
                <a:gd name="connsiteY3" fmla="*/ 173402 h 165100"/>
              </a:gdLst>
              <a:ahLst/>
              <a:cxnLst>
                <a:cxn ang="0">
                  <a:pos x="connsiteX0" y="connsiteY0"/>
                </a:cxn>
                <a:cxn ang="0">
                  <a:pos x="connsiteX1" y="connsiteY1"/>
                </a:cxn>
                <a:cxn ang="0">
                  <a:pos x="connsiteX2" y="connsiteY2"/>
                </a:cxn>
                <a:cxn ang="0">
                  <a:pos x="connsiteX3" y="connsiteY3"/>
                </a:cxn>
              </a:cxnLst>
              <a:rect l="l" t="t" r="r" b="b"/>
              <a:pathLst>
                <a:path w="215900" h="165100">
                  <a:moveTo>
                    <a:pt x="0" y="173402"/>
                  </a:moveTo>
                  <a:cubicBezTo>
                    <a:pt x="0" y="173402"/>
                    <a:pt x="182372" y="133778"/>
                    <a:pt x="209550" y="41957"/>
                  </a:cubicBezTo>
                  <a:cubicBezTo>
                    <a:pt x="236855" y="-49864"/>
                    <a:pt x="172593" y="30908"/>
                    <a:pt x="129794" y="77263"/>
                  </a:cubicBezTo>
                  <a:cubicBezTo>
                    <a:pt x="87122" y="123618"/>
                    <a:pt x="0" y="173402"/>
                    <a:pt x="0" y="173402"/>
                  </a:cubicBezTo>
                </a:path>
              </a:pathLst>
            </a:custGeom>
            <a:solidFill>
              <a:schemeClr val="tx2"/>
            </a:solidFill>
            <a:ln w="12689" cap="flat">
              <a:noFill/>
              <a:prstDash val="solid"/>
              <a:miter/>
            </a:ln>
          </p:spPr>
          <p:txBody>
            <a:bodyPr rtlCol="0" anchor="ctr"/>
            <a:lstStyle/>
            <a:p>
              <a:endParaRPr lang="bg-BG"/>
            </a:p>
          </p:txBody>
        </p:sp>
        <p:sp>
          <p:nvSpPr>
            <p:cNvPr id="82" name="Свободна форма: фигура 27">
              <a:extLst>
                <a:ext uri="{FF2B5EF4-FFF2-40B4-BE49-F238E27FC236}">
                  <a16:creationId xmlns:a16="http://schemas.microsoft.com/office/drawing/2014/main" id="{BF415BB7-657A-2A6C-7027-2AE7006C8405}"/>
                </a:ext>
              </a:extLst>
            </p:cNvPr>
            <p:cNvSpPr/>
            <p:nvPr/>
          </p:nvSpPr>
          <p:spPr>
            <a:xfrm>
              <a:off x="1442985" y="476377"/>
              <a:ext cx="114300" cy="88900"/>
            </a:xfrm>
            <a:custGeom>
              <a:avLst/>
              <a:gdLst>
                <a:gd name="connsiteX0" fmla="*/ 114670 w 114300"/>
                <a:gd name="connsiteY0" fmla="*/ 0 h 88900"/>
                <a:gd name="connsiteX1" fmla="*/ 6466 w 114300"/>
                <a:gd name="connsiteY1" fmla="*/ 55626 h 88900"/>
                <a:gd name="connsiteX2" fmla="*/ 62473 w 114300"/>
                <a:gd name="connsiteY2" fmla="*/ 58293 h 88900"/>
                <a:gd name="connsiteX3" fmla="*/ 114670 w 114300"/>
                <a:gd name="connsiteY3" fmla="*/ 0 h 88900"/>
              </a:gdLst>
              <a:ahLst/>
              <a:cxnLst>
                <a:cxn ang="0">
                  <a:pos x="connsiteX0" y="connsiteY0"/>
                </a:cxn>
                <a:cxn ang="0">
                  <a:pos x="connsiteX1" y="connsiteY1"/>
                </a:cxn>
                <a:cxn ang="0">
                  <a:pos x="connsiteX2" y="connsiteY2"/>
                </a:cxn>
                <a:cxn ang="0">
                  <a:pos x="connsiteX3" y="connsiteY3"/>
                </a:cxn>
              </a:cxnLst>
              <a:rect l="l" t="t" r="r" b="b"/>
              <a:pathLst>
                <a:path w="114300" h="88900">
                  <a:moveTo>
                    <a:pt x="114670" y="0"/>
                  </a:moveTo>
                  <a:cubicBezTo>
                    <a:pt x="114670" y="0"/>
                    <a:pt x="28564" y="12065"/>
                    <a:pt x="6466" y="55626"/>
                  </a:cubicBezTo>
                  <a:cubicBezTo>
                    <a:pt x="-15632" y="99187"/>
                    <a:pt x="22849" y="104775"/>
                    <a:pt x="62473" y="58293"/>
                  </a:cubicBezTo>
                  <a:cubicBezTo>
                    <a:pt x="101970" y="11557"/>
                    <a:pt x="114670" y="0"/>
                    <a:pt x="114670" y="0"/>
                  </a:cubicBezTo>
                </a:path>
              </a:pathLst>
            </a:custGeom>
            <a:solidFill>
              <a:schemeClr val="tx2"/>
            </a:solidFill>
            <a:ln w="12689" cap="flat">
              <a:noFill/>
              <a:prstDash val="solid"/>
              <a:miter/>
            </a:ln>
          </p:spPr>
          <p:txBody>
            <a:bodyPr rtlCol="0" anchor="ctr"/>
            <a:lstStyle/>
            <a:p>
              <a:endParaRPr lang="bg-BG"/>
            </a:p>
          </p:txBody>
        </p:sp>
      </p:grpSp>
      <p:sp>
        <p:nvSpPr>
          <p:cNvPr id="10" name="object 3">
            <a:extLst>
              <a:ext uri="{FF2B5EF4-FFF2-40B4-BE49-F238E27FC236}">
                <a16:creationId xmlns:a16="http://schemas.microsoft.com/office/drawing/2014/main" id="{C8346B9B-8C78-555C-9786-14FDED6B0F52}"/>
              </a:ext>
            </a:extLst>
          </p:cNvPr>
          <p:cNvSpPr txBox="1"/>
          <p:nvPr/>
        </p:nvSpPr>
        <p:spPr>
          <a:xfrm>
            <a:off x="5383543" y="2340342"/>
            <a:ext cx="1547862" cy="286745"/>
          </a:xfrm>
          <a:prstGeom prst="rect">
            <a:avLst/>
          </a:prstGeom>
        </p:spPr>
        <p:txBody>
          <a:bodyPr vert="horz" wrap="square" lIns="0" tIns="12700" rIns="0" bIns="0" rtlCol="0">
            <a:spAutoFit/>
          </a:bodyPr>
          <a:lstStyle/>
          <a:p>
            <a:pPr marL="167005" marR="160655" algn="ctr">
              <a:lnSpc>
                <a:spcPct val="118600"/>
              </a:lnSpc>
              <a:spcBef>
                <a:spcPts val="100"/>
              </a:spcBef>
            </a:pPr>
            <a:r>
              <a:rPr lang="en-US" sz="1600" b="1" dirty="0">
                <a:solidFill>
                  <a:schemeClr val="bg1"/>
                </a:solidFill>
                <a:latin typeface="+mj-lt"/>
                <a:cs typeface="Arial"/>
              </a:rPr>
              <a:t>Data Quality</a:t>
            </a:r>
            <a:endParaRPr sz="1600" b="1" dirty="0">
              <a:solidFill>
                <a:schemeClr val="bg1"/>
              </a:solidFill>
              <a:latin typeface="+mj-lt"/>
              <a:cs typeface="Arial"/>
            </a:endParaRPr>
          </a:p>
        </p:txBody>
      </p:sp>
      <p:grpSp>
        <p:nvGrpSpPr>
          <p:cNvPr id="100" name="Group 99">
            <a:extLst>
              <a:ext uri="{FF2B5EF4-FFF2-40B4-BE49-F238E27FC236}">
                <a16:creationId xmlns:a16="http://schemas.microsoft.com/office/drawing/2014/main" id="{0C140023-832E-D31A-3200-E478C742FD5C}"/>
              </a:ext>
            </a:extLst>
          </p:cNvPr>
          <p:cNvGrpSpPr/>
          <p:nvPr/>
        </p:nvGrpSpPr>
        <p:grpSpPr>
          <a:xfrm>
            <a:off x="8447386" y="1832417"/>
            <a:ext cx="3688976" cy="4383048"/>
            <a:chOff x="583687" y="407303"/>
            <a:chExt cx="2652210" cy="2724586"/>
          </a:xfrm>
        </p:grpSpPr>
        <p:sp>
          <p:nvSpPr>
            <p:cNvPr id="101" name="Свободна форма: фигура 11">
              <a:extLst>
                <a:ext uri="{FF2B5EF4-FFF2-40B4-BE49-F238E27FC236}">
                  <a16:creationId xmlns:a16="http://schemas.microsoft.com/office/drawing/2014/main" id="{0A890819-F2B9-A1BD-1D1A-DE9987E0E0D6}"/>
                </a:ext>
              </a:extLst>
            </p:cNvPr>
            <p:cNvSpPr/>
            <p:nvPr/>
          </p:nvSpPr>
          <p:spPr>
            <a:xfrm>
              <a:off x="677366" y="592080"/>
              <a:ext cx="2413000" cy="2413000"/>
            </a:xfrm>
            <a:custGeom>
              <a:avLst/>
              <a:gdLst>
                <a:gd name="connsiteX0" fmla="*/ 2422704 w 2413000"/>
                <a:gd name="connsiteY0" fmla="*/ 1249928 h 2413000"/>
                <a:gd name="connsiteX1" fmla="*/ 1806246 w 2413000"/>
                <a:gd name="connsiteY1" fmla="*/ 2259705 h 2413000"/>
                <a:gd name="connsiteX2" fmla="*/ 1647242 w 2413000"/>
                <a:gd name="connsiteY2" fmla="*/ 2330190 h 2413000"/>
                <a:gd name="connsiteX3" fmla="*/ 250115 w 2413000"/>
                <a:gd name="connsiteY3" fmla="*/ 1945126 h 2413000"/>
                <a:gd name="connsiteX4" fmla="*/ 132767 w 2413000"/>
                <a:gd name="connsiteY4" fmla="*/ 1759452 h 2413000"/>
                <a:gd name="connsiteX5" fmla="*/ 88825 w 2413000"/>
                <a:gd name="connsiteY5" fmla="*/ 705987 h 2413000"/>
                <a:gd name="connsiteX6" fmla="*/ 1371779 w 2413000"/>
                <a:gd name="connsiteY6" fmla="*/ 11551 h 2413000"/>
                <a:gd name="connsiteX7" fmla="*/ 1587425 w 2413000"/>
                <a:gd name="connsiteY7" fmla="*/ 62605 h 2413000"/>
                <a:gd name="connsiteX8" fmla="*/ 2410893 w 2413000"/>
                <a:gd name="connsiteY8" fmla="*/ 1003294 h 2413000"/>
                <a:gd name="connsiteX9" fmla="*/ 2422704 w 2413000"/>
                <a:gd name="connsiteY9" fmla="*/ 1249928 h 241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3000" h="2413000">
                  <a:moveTo>
                    <a:pt x="2422704" y="1249928"/>
                  </a:moveTo>
                  <a:cubicBezTo>
                    <a:pt x="2416354" y="1676648"/>
                    <a:pt x="2163497" y="2066030"/>
                    <a:pt x="1806246" y="2259705"/>
                  </a:cubicBezTo>
                  <a:cubicBezTo>
                    <a:pt x="1755192" y="2287391"/>
                    <a:pt x="1702106" y="2311013"/>
                    <a:pt x="1647242" y="2330190"/>
                  </a:cubicBezTo>
                  <a:cubicBezTo>
                    <a:pt x="1147878" y="2541391"/>
                    <a:pt x="564567" y="2349367"/>
                    <a:pt x="250115" y="1945126"/>
                  </a:cubicBezTo>
                  <a:cubicBezTo>
                    <a:pt x="205157" y="1887341"/>
                    <a:pt x="165787" y="1825365"/>
                    <a:pt x="132767" y="1759452"/>
                  </a:cubicBezTo>
                  <a:cubicBezTo>
                    <a:pt x="1068" y="1430268"/>
                    <a:pt x="-64718" y="1057142"/>
                    <a:pt x="88825" y="705987"/>
                  </a:cubicBezTo>
                  <a:cubicBezTo>
                    <a:pt x="308281" y="223133"/>
                    <a:pt x="835077" y="-62236"/>
                    <a:pt x="1371779" y="11551"/>
                  </a:cubicBezTo>
                  <a:cubicBezTo>
                    <a:pt x="1444931" y="22473"/>
                    <a:pt x="1517194" y="39618"/>
                    <a:pt x="1587425" y="62605"/>
                  </a:cubicBezTo>
                  <a:cubicBezTo>
                    <a:pt x="2008938" y="200527"/>
                    <a:pt x="2360855" y="548380"/>
                    <a:pt x="2410893" y="1003294"/>
                  </a:cubicBezTo>
                  <a:cubicBezTo>
                    <a:pt x="2423212" y="1082669"/>
                    <a:pt x="2427403" y="1165473"/>
                    <a:pt x="2422704" y="1249928"/>
                  </a:cubicBezTo>
                </a:path>
              </a:pathLst>
            </a:custGeom>
            <a:solidFill>
              <a:srgbClr val="FFFFFF"/>
            </a:solidFill>
            <a:ln w="12689" cap="flat">
              <a:noFill/>
              <a:prstDash val="solid"/>
              <a:miter/>
            </a:ln>
          </p:spPr>
          <p:txBody>
            <a:bodyPr rtlCol="0" anchor="ctr"/>
            <a:lstStyle/>
            <a:p>
              <a:endParaRPr lang="bg-BG"/>
            </a:p>
          </p:txBody>
        </p:sp>
        <p:sp>
          <p:nvSpPr>
            <p:cNvPr id="102" name="Свободна форма: фигура 12">
              <a:extLst>
                <a:ext uri="{FF2B5EF4-FFF2-40B4-BE49-F238E27FC236}">
                  <a16:creationId xmlns:a16="http://schemas.microsoft.com/office/drawing/2014/main" id="{2C8A9956-91B8-D029-163E-188B35CC51F4}"/>
                </a:ext>
              </a:extLst>
            </p:cNvPr>
            <p:cNvSpPr/>
            <p:nvPr/>
          </p:nvSpPr>
          <p:spPr>
            <a:xfrm>
              <a:off x="1406829" y="592140"/>
              <a:ext cx="1054100" cy="850900"/>
            </a:xfrm>
            <a:custGeom>
              <a:avLst/>
              <a:gdLst>
                <a:gd name="connsiteX0" fmla="*/ 642316 w 1054100"/>
                <a:gd name="connsiteY0" fmla="*/ 11491 h 850900"/>
                <a:gd name="connsiteX1" fmla="*/ 61672 w 1054100"/>
                <a:gd name="connsiteY1" fmla="*/ 70419 h 850900"/>
                <a:gd name="connsiteX2" fmla="*/ 66244 w 1054100"/>
                <a:gd name="connsiteY2" fmla="*/ 566227 h 850900"/>
                <a:gd name="connsiteX3" fmla="*/ 118187 w 1054100"/>
                <a:gd name="connsiteY3" fmla="*/ 647253 h 850900"/>
                <a:gd name="connsiteX4" fmla="*/ 728422 w 1054100"/>
                <a:gd name="connsiteY4" fmla="*/ 817052 h 850900"/>
                <a:gd name="connsiteX5" fmla="*/ 1032333 w 1054100"/>
                <a:gd name="connsiteY5" fmla="*/ 474660 h 850900"/>
                <a:gd name="connsiteX6" fmla="*/ 1051637 w 1054100"/>
                <a:gd name="connsiteY6" fmla="*/ 381315 h 850900"/>
                <a:gd name="connsiteX7" fmla="*/ 1014172 w 1054100"/>
                <a:gd name="connsiteY7" fmla="*/ 124775 h 850900"/>
                <a:gd name="connsiteX8" fmla="*/ 857962 w 1054100"/>
                <a:gd name="connsiteY8" fmla="*/ 62545 h 850900"/>
                <a:gd name="connsiteX9" fmla="*/ 642316 w 1054100"/>
                <a:gd name="connsiteY9" fmla="*/ 11491 h 850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54100" h="850900">
                  <a:moveTo>
                    <a:pt x="642316" y="11491"/>
                  </a:moveTo>
                  <a:cubicBezTo>
                    <a:pt x="442291" y="-15941"/>
                    <a:pt x="243536" y="6538"/>
                    <a:pt x="61672" y="70419"/>
                  </a:cubicBezTo>
                  <a:cubicBezTo>
                    <a:pt x="-26847" y="221803"/>
                    <a:pt x="-15417" y="412176"/>
                    <a:pt x="66244" y="566227"/>
                  </a:cubicBezTo>
                  <a:cubicBezTo>
                    <a:pt x="81230" y="594548"/>
                    <a:pt x="98629" y="621726"/>
                    <a:pt x="118187" y="647253"/>
                  </a:cubicBezTo>
                  <a:cubicBezTo>
                    <a:pt x="263602" y="832038"/>
                    <a:pt x="514173" y="901761"/>
                    <a:pt x="728422" y="817052"/>
                  </a:cubicBezTo>
                  <a:cubicBezTo>
                    <a:pt x="882346" y="753679"/>
                    <a:pt x="974167" y="617281"/>
                    <a:pt x="1032333" y="474660"/>
                  </a:cubicBezTo>
                  <a:cubicBezTo>
                    <a:pt x="1041858" y="444180"/>
                    <a:pt x="1048335" y="412811"/>
                    <a:pt x="1051637" y="381315"/>
                  </a:cubicBezTo>
                  <a:cubicBezTo>
                    <a:pt x="1060908" y="294701"/>
                    <a:pt x="1047192" y="205928"/>
                    <a:pt x="1014172" y="124775"/>
                  </a:cubicBezTo>
                  <a:cubicBezTo>
                    <a:pt x="963499" y="100772"/>
                    <a:pt x="911302" y="80071"/>
                    <a:pt x="857962" y="62545"/>
                  </a:cubicBezTo>
                  <a:cubicBezTo>
                    <a:pt x="787731" y="39558"/>
                    <a:pt x="715595" y="22413"/>
                    <a:pt x="642316" y="11491"/>
                  </a:cubicBezTo>
                </a:path>
              </a:pathLst>
            </a:custGeom>
            <a:solidFill>
              <a:srgbClr val="F1F0D7"/>
            </a:solidFill>
            <a:ln w="12689" cap="flat">
              <a:noFill/>
              <a:prstDash val="solid"/>
              <a:miter/>
            </a:ln>
          </p:spPr>
          <p:txBody>
            <a:bodyPr rtlCol="0" anchor="ctr"/>
            <a:lstStyle/>
            <a:p>
              <a:endParaRPr lang="bg-BG"/>
            </a:p>
          </p:txBody>
        </p:sp>
        <p:sp>
          <p:nvSpPr>
            <p:cNvPr id="103" name="Свободна форма: фигура 13">
              <a:extLst>
                <a:ext uri="{FF2B5EF4-FFF2-40B4-BE49-F238E27FC236}">
                  <a16:creationId xmlns:a16="http://schemas.microsoft.com/office/drawing/2014/main" id="{6860A326-E300-02E8-C336-B0980B1388CB}"/>
                </a:ext>
              </a:extLst>
            </p:cNvPr>
            <p:cNvSpPr/>
            <p:nvPr/>
          </p:nvSpPr>
          <p:spPr>
            <a:xfrm>
              <a:off x="1425065" y="407303"/>
              <a:ext cx="914400" cy="927100"/>
            </a:xfrm>
            <a:custGeom>
              <a:avLst/>
              <a:gdLst>
                <a:gd name="connsiteX0" fmla="*/ 143512 w 914400"/>
                <a:gd name="connsiteY0" fmla="*/ 129780 h 927100"/>
                <a:gd name="connsiteX1" fmla="*/ 580011 w 914400"/>
                <a:gd name="connsiteY1" fmla="*/ 15988 h 927100"/>
                <a:gd name="connsiteX2" fmla="*/ 642368 w 914400"/>
                <a:gd name="connsiteY2" fmla="*/ 38721 h 927100"/>
                <a:gd name="connsiteX3" fmla="*/ 923800 w 914400"/>
                <a:gd name="connsiteY3" fmla="*/ 514208 h 927100"/>
                <a:gd name="connsiteX4" fmla="*/ 906782 w 914400"/>
                <a:gd name="connsiteY4" fmla="*/ 596251 h 927100"/>
                <a:gd name="connsiteX5" fmla="*/ 639828 w 914400"/>
                <a:gd name="connsiteY5" fmla="*/ 896860 h 927100"/>
                <a:gd name="connsiteX6" fmla="*/ 104015 w 914400"/>
                <a:gd name="connsiteY6" fmla="*/ 747762 h 927100"/>
                <a:gd name="connsiteX7" fmla="*/ 58295 w 914400"/>
                <a:gd name="connsiteY7" fmla="*/ 676642 h 927100"/>
                <a:gd name="connsiteX8" fmla="*/ 81409 w 914400"/>
                <a:gd name="connsiteY8" fmla="*/ 200519 h 927100"/>
                <a:gd name="connsiteX9" fmla="*/ 143512 w 914400"/>
                <a:gd name="connsiteY9" fmla="*/ 129780 h 927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4400" h="927100">
                  <a:moveTo>
                    <a:pt x="143512" y="129780"/>
                  </a:moveTo>
                  <a:cubicBezTo>
                    <a:pt x="258193" y="14337"/>
                    <a:pt x="430659" y="-25541"/>
                    <a:pt x="580011" y="15988"/>
                  </a:cubicBezTo>
                  <a:cubicBezTo>
                    <a:pt x="601347" y="21957"/>
                    <a:pt x="622175" y="29450"/>
                    <a:pt x="642368" y="38721"/>
                  </a:cubicBezTo>
                  <a:cubicBezTo>
                    <a:pt x="835281" y="113016"/>
                    <a:pt x="944501" y="320153"/>
                    <a:pt x="923800" y="514208"/>
                  </a:cubicBezTo>
                  <a:cubicBezTo>
                    <a:pt x="920879" y="541895"/>
                    <a:pt x="915164" y="569454"/>
                    <a:pt x="906782" y="596251"/>
                  </a:cubicBezTo>
                  <a:cubicBezTo>
                    <a:pt x="855728" y="721473"/>
                    <a:pt x="774956" y="841234"/>
                    <a:pt x="639828" y="896860"/>
                  </a:cubicBezTo>
                  <a:cubicBezTo>
                    <a:pt x="451741" y="971282"/>
                    <a:pt x="231650" y="910068"/>
                    <a:pt x="104015" y="747762"/>
                  </a:cubicBezTo>
                  <a:cubicBezTo>
                    <a:pt x="86870" y="725410"/>
                    <a:pt x="71503" y="701534"/>
                    <a:pt x="58295" y="676642"/>
                  </a:cubicBezTo>
                  <a:cubicBezTo>
                    <a:pt x="-20826" y="527163"/>
                    <a:pt x="-25271" y="338568"/>
                    <a:pt x="81409" y="200519"/>
                  </a:cubicBezTo>
                  <a:cubicBezTo>
                    <a:pt x="99062" y="175500"/>
                    <a:pt x="119890" y="151623"/>
                    <a:pt x="143512" y="129780"/>
                  </a:cubicBezTo>
                </a:path>
              </a:pathLst>
            </a:custGeom>
            <a:solidFill>
              <a:srgbClr val="83CC1B"/>
            </a:solidFill>
            <a:ln w="12689" cap="flat">
              <a:noFill/>
              <a:prstDash val="solid"/>
              <a:miter/>
            </a:ln>
          </p:spPr>
          <p:txBody>
            <a:bodyPr rtlCol="0" anchor="ctr"/>
            <a:lstStyle/>
            <a:p>
              <a:endParaRPr lang="bg-BG"/>
            </a:p>
          </p:txBody>
        </p:sp>
        <p:sp>
          <p:nvSpPr>
            <p:cNvPr id="104" name="Свободна форма: фигура 14">
              <a:extLst>
                <a:ext uri="{FF2B5EF4-FFF2-40B4-BE49-F238E27FC236}">
                  <a16:creationId xmlns:a16="http://schemas.microsoft.com/office/drawing/2014/main" id="{A370B719-E309-F261-2684-CFF61C9C6592}"/>
                </a:ext>
              </a:extLst>
            </p:cNvPr>
            <p:cNvSpPr/>
            <p:nvPr/>
          </p:nvSpPr>
          <p:spPr>
            <a:xfrm>
              <a:off x="1591056" y="557657"/>
              <a:ext cx="749300" cy="774700"/>
            </a:xfrm>
            <a:custGeom>
              <a:avLst/>
              <a:gdLst>
                <a:gd name="connsiteX0" fmla="*/ 629920 w 749300"/>
                <a:gd name="connsiteY0" fmla="*/ 21209 h 774700"/>
                <a:gd name="connsiteX1" fmla="*/ 593852 w 749300"/>
                <a:gd name="connsiteY1" fmla="*/ 266573 h 774700"/>
                <a:gd name="connsiteX2" fmla="*/ 271399 w 749300"/>
                <a:gd name="connsiteY2" fmla="*/ 577850 h 774700"/>
                <a:gd name="connsiteX3" fmla="*/ 0 w 749300"/>
                <a:gd name="connsiteY3" fmla="*/ 661924 h 774700"/>
                <a:gd name="connsiteX4" fmla="*/ 473837 w 749300"/>
                <a:gd name="connsiteY4" fmla="*/ 746506 h 774700"/>
                <a:gd name="connsiteX5" fmla="*/ 740791 w 749300"/>
                <a:gd name="connsiteY5" fmla="*/ 445770 h 774700"/>
                <a:gd name="connsiteX6" fmla="*/ 757809 w 749300"/>
                <a:gd name="connsiteY6" fmla="*/ 363728 h 774700"/>
                <a:gd name="connsiteX7" fmla="*/ 638175 w 749300"/>
                <a:gd name="connsiteY7" fmla="*/ 0 h 774700"/>
                <a:gd name="connsiteX8" fmla="*/ 629920 w 749300"/>
                <a:gd name="connsiteY8" fmla="*/ 21209 h 774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9300" h="774700">
                  <a:moveTo>
                    <a:pt x="629920" y="21209"/>
                  </a:moveTo>
                  <a:cubicBezTo>
                    <a:pt x="606171" y="100711"/>
                    <a:pt x="622300" y="185928"/>
                    <a:pt x="593852" y="266573"/>
                  </a:cubicBezTo>
                  <a:cubicBezTo>
                    <a:pt x="538861" y="422148"/>
                    <a:pt x="416306" y="511683"/>
                    <a:pt x="271399" y="577850"/>
                  </a:cubicBezTo>
                  <a:cubicBezTo>
                    <a:pt x="185039" y="617220"/>
                    <a:pt x="92710" y="647192"/>
                    <a:pt x="0" y="661924"/>
                  </a:cubicBezTo>
                  <a:cubicBezTo>
                    <a:pt x="129794" y="774446"/>
                    <a:pt x="313309" y="809879"/>
                    <a:pt x="473837" y="746506"/>
                  </a:cubicBezTo>
                  <a:cubicBezTo>
                    <a:pt x="608965" y="690880"/>
                    <a:pt x="689737" y="570992"/>
                    <a:pt x="740791" y="445770"/>
                  </a:cubicBezTo>
                  <a:cubicBezTo>
                    <a:pt x="749173" y="418973"/>
                    <a:pt x="754761" y="391541"/>
                    <a:pt x="757809" y="363728"/>
                  </a:cubicBezTo>
                  <a:cubicBezTo>
                    <a:pt x="771652" y="233680"/>
                    <a:pt x="727075" y="97917"/>
                    <a:pt x="638175" y="0"/>
                  </a:cubicBezTo>
                  <a:cubicBezTo>
                    <a:pt x="634873" y="6731"/>
                    <a:pt x="632079" y="13716"/>
                    <a:pt x="629920" y="21209"/>
                  </a:cubicBezTo>
                </a:path>
              </a:pathLst>
            </a:custGeom>
            <a:solidFill>
              <a:srgbClr val="5DB723"/>
            </a:solidFill>
            <a:ln w="12689" cap="flat">
              <a:noFill/>
              <a:prstDash val="solid"/>
              <a:miter/>
            </a:ln>
          </p:spPr>
          <p:txBody>
            <a:bodyPr rtlCol="0" anchor="ctr"/>
            <a:lstStyle/>
            <a:p>
              <a:endParaRPr lang="bg-BG"/>
            </a:p>
          </p:txBody>
        </p:sp>
        <p:sp>
          <p:nvSpPr>
            <p:cNvPr id="105" name="Свободна форма: фигура 15">
              <a:extLst>
                <a:ext uri="{FF2B5EF4-FFF2-40B4-BE49-F238E27FC236}">
                  <a16:creationId xmlns:a16="http://schemas.microsoft.com/office/drawing/2014/main" id="{739ECA3D-416D-06C5-5348-BC12010E2271}"/>
                </a:ext>
              </a:extLst>
            </p:cNvPr>
            <p:cNvSpPr/>
            <p:nvPr/>
          </p:nvSpPr>
          <p:spPr>
            <a:xfrm>
              <a:off x="689991" y="1457452"/>
              <a:ext cx="2400300" cy="1549400"/>
            </a:xfrm>
            <a:custGeom>
              <a:avLst/>
              <a:gdLst>
                <a:gd name="connsiteX0" fmla="*/ 2398395 w 2400300"/>
                <a:gd name="connsiteY0" fmla="*/ 137922 h 1549400"/>
                <a:gd name="connsiteX1" fmla="*/ 2373122 w 2400300"/>
                <a:gd name="connsiteY1" fmla="*/ 0 h 1549400"/>
                <a:gd name="connsiteX2" fmla="*/ 2211197 w 2400300"/>
                <a:gd name="connsiteY2" fmla="*/ 837184 h 1549400"/>
                <a:gd name="connsiteX3" fmla="*/ 1736852 w 2400300"/>
                <a:gd name="connsiteY3" fmla="*/ 1171702 h 1549400"/>
                <a:gd name="connsiteX4" fmla="*/ 1234313 w 2400300"/>
                <a:gd name="connsiteY4" fmla="*/ 1282827 h 1549400"/>
                <a:gd name="connsiteX5" fmla="*/ 955421 w 2400300"/>
                <a:gd name="connsiteY5" fmla="*/ 1222375 h 1549400"/>
                <a:gd name="connsiteX6" fmla="*/ 736727 w 2400300"/>
                <a:gd name="connsiteY6" fmla="*/ 1105154 h 1549400"/>
                <a:gd name="connsiteX7" fmla="*/ 305308 w 2400300"/>
                <a:gd name="connsiteY7" fmla="*/ 875792 h 1549400"/>
                <a:gd name="connsiteX8" fmla="*/ 0 w 2400300"/>
                <a:gd name="connsiteY8" fmla="*/ 455930 h 1549400"/>
                <a:gd name="connsiteX9" fmla="*/ 120269 w 2400300"/>
                <a:gd name="connsiteY9" fmla="*/ 894334 h 1549400"/>
                <a:gd name="connsiteX10" fmla="*/ 237617 w 2400300"/>
                <a:gd name="connsiteY10" fmla="*/ 1080008 h 1549400"/>
                <a:gd name="connsiteX11" fmla="*/ 1634744 w 2400300"/>
                <a:gd name="connsiteY11" fmla="*/ 1464945 h 1549400"/>
                <a:gd name="connsiteX12" fmla="*/ 1793875 w 2400300"/>
                <a:gd name="connsiteY12" fmla="*/ 1394460 h 1549400"/>
                <a:gd name="connsiteX13" fmla="*/ 2410333 w 2400300"/>
                <a:gd name="connsiteY13" fmla="*/ 384683 h 1549400"/>
                <a:gd name="connsiteX14" fmla="*/ 2398395 w 2400300"/>
                <a:gd name="connsiteY14" fmla="*/ 137922 h 154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00300" h="1549400">
                  <a:moveTo>
                    <a:pt x="2398395" y="137922"/>
                  </a:moveTo>
                  <a:cubicBezTo>
                    <a:pt x="2393188" y="90805"/>
                    <a:pt x="2384552" y="44831"/>
                    <a:pt x="2373122" y="0"/>
                  </a:cubicBezTo>
                  <a:cubicBezTo>
                    <a:pt x="2423668" y="292608"/>
                    <a:pt x="2409190" y="593598"/>
                    <a:pt x="2211197" y="837184"/>
                  </a:cubicBezTo>
                  <a:cubicBezTo>
                    <a:pt x="2086483" y="990473"/>
                    <a:pt x="1911731" y="1086358"/>
                    <a:pt x="1736852" y="1171702"/>
                  </a:cubicBezTo>
                  <a:cubicBezTo>
                    <a:pt x="1576832" y="1249807"/>
                    <a:pt x="1413891" y="1294384"/>
                    <a:pt x="1234313" y="1282827"/>
                  </a:cubicBezTo>
                  <a:cubicBezTo>
                    <a:pt x="1138936" y="1276731"/>
                    <a:pt x="1044448" y="1257300"/>
                    <a:pt x="955421" y="1222375"/>
                  </a:cubicBezTo>
                  <a:cubicBezTo>
                    <a:pt x="877570" y="1191641"/>
                    <a:pt x="809752" y="1145032"/>
                    <a:pt x="736727" y="1105154"/>
                  </a:cubicBezTo>
                  <a:cubicBezTo>
                    <a:pt x="594106" y="1027176"/>
                    <a:pt x="438277" y="970788"/>
                    <a:pt x="305308" y="875792"/>
                  </a:cubicBezTo>
                  <a:cubicBezTo>
                    <a:pt x="148717" y="764032"/>
                    <a:pt x="51308" y="618363"/>
                    <a:pt x="0" y="455930"/>
                  </a:cubicBezTo>
                  <a:cubicBezTo>
                    <a:pt x="20447" y="606552"/>
                    <a:pt x="64389" y="754380"/>
                    <a:pt x="120269" y="894334"/>
                  </a:cubicBezTo>
                  <a:cubicBezTo>
                    <a:pt x="153162" y="960120"/>
                    <a:pt x="192659" y="1022223"/>
                    <a:pt x="237617" y="1080008"/>
                  </a:cubicBezTo>
                  <a:cubicBezTo>
                    <a:pt x="552069" y="1484249"/>
                    <a:pt x="1135380" y="1676273"/>
                    <a:pt x="1634744" y="1464945"/>
                  </a:cubicBezTo>
                  <a:cubicBezTo>
                    <a:pt x="1689608" y="1445768"/>
                    <a:pt x="1742821" y="1422019"/>
                    <a:pt x="1793875" y="1394460"/>
                  </a:cubicBezTo>
                  <a:cubicBezTo>
                    <a:pt x="2151126" y="1200912"/>
                    <a:pt x="2403856" y="811403"/>
                    <a:pt x="2410333" y="384683"/>
                  </a:cubicBezTo>
                  <a:cubicBezTo>
                    <a:pt x="2414778" y="300101"/>
                    <a:pt x="2410587" y="217297"/>
                    <a:pt x="2398395" y="137922"/>
                  </a:cubicBezTo>
                </a:path>
              </a:pathLst>
            </a:custGeom>
            <a:solidFill>
              <a:srgbClr val="F1F0D7"/>
            </a:solidFill>
            <a:ln w="12689" cap="flat">
              <a:noFill/>
              <a:prstDash val="solid"/>
              <a:miter/>
            </a:ln>
          </p:spPr>
          <p:txBody>
            <a:bodyPr rtlCol="0" anchor="ctr"/>
            <a:lstStyle/>
            <a:p>
              <a:endParaRPr lang="bg-BG"/>
            </a:p>
          </p:txBody>
        </p:sp>
        <p:sp>
          <p:nvSpPr>
            <p:cNvPr id="106" name="Свободна форма: фигура 16">
              <a:extLst>
                <a:ext uri="{FF2B5EF4-FFF2-40B4-BE49-F238E27FC236}">
                  <a16:creationId xmlns:a16="http://schemas.microsoft.com/office/drawing/2014/main" id="{1C5BAA28-F361-1253-08FC-D884EF5C7AB2}"/>
                </a:ext>
              </a:extLst>
            </p:cNvPr>
            <p:cNvSpPr/>
            <p:nvPr/>
          </p:nvSpPr>
          <p:spPr>
            <a:xfrm>
              <a:off x="583687" y="1455489"/>
              <a:ext cx="1308100" cy="1676400"/>
            </a:xfrm>
            <a:custGeom>
              <a:avLst/>
              <a:gdLst>
                <a:gd name="connsiteX0" fmla="*/ 46360 w 1308100"/>
                <a:gd name="connsiteY0" fmla="*/ 1455 h 1676400"/>
                <a:gd name="connsiteX1" fmla="*/ 31374 w 1308100"/>
                <a:gd name="connsiteY1" fmla="*/ 704400 h 1676400"/>
                <a:gd name="connsiteX2" fmla="*/ 281437 w 1308100"/>
                <a:gd name="connsiteY2" fmla="*/ 1276408 h 1676400"/>
                <a:gd name="connsiteX3" fmla="*/ 741939 w 1308100"/>
                <a:gd name="connsiteY3" fmla="*/ 1597972 h 1676400"/>
                <a:gd name="connsiteX4" fmla="*/ 1299215 w 1308100"/>
                <a:gd name="connsiteY4" fmla="*/ 1668838 h 1676400"/>
                <a:gd name="connsiteX5" fmla="*/ 1293119 w 1308100"/>
                <a:gd name="connsiteY5" fmla="*/ 1624007 h 1676400"/>
                <a:gd name="connsiteX6" fmla="*/ 784738 w 1308100"/>
                <a:gd name="connsiteY6" fmla="*/ 1536377 h 1676400"/>
                <a:gd name="connsiteX7" fmla="*/ 334904 w 1308100"/>
                <a:gd name="connsiteY7" fmla="*/ 1238943 h 1676400"/>
                <a:gd name="connsiteX8" fmla="*/ 81031 w 1308100"/>
                <a:gd name="connsiteY8" fmla="*/ 705797 h 1676400"/>
                <a:gd name="connsiteX9" fmla="*/ 50297 w 1308100"/>
                <a:gd name="connsiteY9" fmla="*/ 2725 h 1676400"/>
                <a:gd name="connsiteX10" fmla="*/ 46360 w 1308100"/>
                <a:gd name="connsiteY10" fmla="*/ 1455 h 167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08100" h="1676400">
                  <a:moveTo>
                    <a:pt x="46360" y="1455"/>
                  </a:moveTo>
                  <a:cubicBezTo>
                    <a:pt x="-2027" y="237548"/>
                    <a:pt x="-21077" y="467037"/>
                    <a:pt x="31374" y="704400"/>
                  </a:cubicBezTo>
                  <a:cubicBezTo>
                    <a:pt x="75062" y="901885"/>
                    <a:pt x="151516" y="1118420"/>
                    <a:pt x="281437" y="1276408"/>
                  </a:cubicBezTo>
                  <a:cubicBezTo>
                    <a:pt x="401579" y="1422331"/>
                    <a:pt x="567441" y="1528884"/>
                    <a:pt x="741939" y="1597972"/>
                  </a:cubicBezTo>
                  <a:cubicBezTo>
                    <a:pt x="909325" y="1664139"/>
                    <a:pt x="1120399" y="1718749"/>
                    <a:pt x="1299215" y="1668838"/>
                  </a:cubicBezTo>
                  <a:cubicBezTo>
                    <a:pt x="1324869" y="1661599"/>
                    <a:pt x="1318265" y="1625785"/>
                    <a:pt x="1293119" y="1624007"/>
                  </a:cubicBezTo>
                  <a:cubicBezTo>
                    <a:pt x="1117605" y="1611307"/>
                    <a:pt x="951616" y="1599369"/>
                    <a:pt x="784738" y="1536377"/>
                  </a:cubicBezTo>
                  <a:cubicBezTo>
                    <a:pt x="616463" y="1473004"/>
                    <a:pt x="453776" y="1375595"/>
                    <a:pt x="334904" y="1238943"/>
                  </a:cubicBezTo>
                  <a:cubicBezTo>
                    <a:pt x="207269" y="1092385"/>
                    <a:pt x="129672" y="891471"/>
                    <a:pt x="81031" y="705797"/>
                  </a:cubicBezTo>
                  <a:cubicBezTo>
                    <a:pt x="21722" y="479356"/>
                    <a:pt x="5720" y="232976"/>
                    <a:pt x="50297" y="2725"/>
                  </a:cubicBezTo>
                  <a:cubicBezTo>
                    <a:pt x="50805" y="-69"/>
                    <a:pt x="46868" y="-1085"/>
                    <a:pt x="46360" y="1455"/>
                  </a:cubicBezTo>
                </a:path>
              </a:pathLst>
            </a:custGeom>
            <a:solidFill>
              <a:srgbClr val="B5D385"/>
            </a:solidFill>
            <a:ln w="12689" cap="flat">
              <a:noFill/>
              <a:prstDash val="solid"/>
              <a:miter/>
            </a:ln>
          </p:spPr>
          <p:txBody>
            <a:bodyPr rtlCol="0" anchor="ctr"/>
            <a:lstStyle/>
            <a:p>
              <a:endParaRPr lang="bg-BG"/>
            </a:p>
          </p:txBody>
        </p:sp>
        <p:sp>
          <p:nvSpPr>
            <p:cNvPr id="107" name="Свободна форма: фигура 17">
              <a:extLst>
                <a:ext uri="{FF2B5EF4-FFF2-40B4-BE49-F238E27FC236}">
                  <a16:creationId xmlns:a16="http://schemas.microsoft.com/office/drawing/2014/main" id="{AA8870A4-608B-4763-A354-95A20D4643B4}"/>
                </a:ext>
              </a:extLst>
            </p:cNvPr>
            <p:cNvSpPr/>
            <p:nvPr/>
          </p:nvSpPr>
          <p:spPr>
            <a:xfrm>
              <a:off x="2489350" y="671867"/>
              <a:ext cx="685800" cy="749300"/>
            </a:xfrm>
            <a:custGeom>
              <a:avLst/>
              <a:gdLst>
                <a:gd name="connsiteX0" fmla="*/ 6454 w 685800"/>
                <a:gd name="connsiteY0" fmla="*/ 24855 h 749300"/>
                <a:gd name="connsiteX1" fmla="*/ 673839 w 685800"/>
                <a:gd name="connsiteY1" fmla="*/ 745453 h 749300"/>
                <a:gd name="connsiteX2" fmla="*/ 692508 w 685800"/>
                <a:gd name="connsiteY2" fmla="*/ 737579 h 749300"/>
                <a:gd name="connsiteX3" fmla="*/ 16614 w 685800"/>
                <a:gd name="connsiteY3" fmla="*/ 852 h 749300"/>
                <a:gd name="connsiteX4" fmla="*/ 6454 w 685800"/>
                <a:gd name="connsiteY4" fmla="*/ 24855 h 749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 h="749300">
                  <a:moveTo>
                    <a:pt x="6454" y="24855"/>
                  </a:moveTo>
                  <a:cubicBezTo>
                    <a:pt x="324208" y="165571"/>
                    <a:pt x="536806" y="434176"/>
                    <a:pt x="673839" y="745453"/>
                  </a:cubicBezTo>
                  <a:cubicBezTo>
                    <a:pt x="678665" y="756375"/>
                    <a:pt x="694921" y="748374"/>
                    <a:pt x="692508" y="737579"/>
                  </a:cubicBezTo>
                  <a:cubicBezTo>
                    <a:pt x="615673" y="406871"/>
                    <a:pt x="321668" y="123788"/>
                    <a:pt x="16614" y="852"/>
                  </a:cubicBezTo>
                  <a:cubicBezTo>
                    <a:pt x="2898" y="-4736"/>
                    <a:pt x="-7135" y="18759"/>
                    <a:pt x="6454" y="24855"/>
                  </a:cubicBezTo>
                </a:path>
              </a:pathLst>
            </a:custGeom>
            <a:solidFill>
              <a:srgbClr val="B5D385"/>
            </a:solidFill>
            <a:ln w="12689" cap="flat">
              <a:noFill/>
              <a:prstDash val="solid"/>
              <a:miter/>
            </a:ln>
          </p:spPr>
          <p:txBody>
            <a:bodyPr rtlCol="0" anchor="ctr"/>
            <a:lstStyle/>
            <a:p>
              <a:endParaRPr lang="bg-BG"/>
            </a:p>
          </p:txBody>
        </p:sp>
        <p:sp>
          <p:nvSpPr>
            <p:cNvPr id="108" name="Свободна форма: фигура 19">
              <a:extLst>
                <a:ext uri="{FF2B5EF4-FFF2-40B4-BE49-F238E27FC236}">
                  <a16:creationId xmlns:a16="http://schemas.microsoft.com/office/drawing/2014/main" id="{94BAA8CB-637C-98FD-C8AA-050FC95F9A6E}"/>
                </a:ext>
              </a:extLst>
            </p:cNvPr>
            <p:cNvSpPr/>
            <p:nvPr/>
          </p:nvSpPr>
          <p:spPr>
            <a:xfrm>
              <a:off x="641301" y="982061"/>
              <a:ext cx="254000" cy="368300"/>
            </a:xfrm>
            <a:custGeom>
              <a:avLst/>
              <a:gdLst>
                <a:gd name="connsiteX0" fmla="*/ 21004 w 254000"/>
                <a:gd name="connsiteY0" fmla="*/ 366298 h 368300"/>
                <a:gd name="connsiteX1" fmla="*/ 260399 w 254000"/>
                <a:gd name="connsiteY1" fmla="*/ 11587 h 368300"/>
                <a:gd name="connsiteX2" fmla="*/ 252271 w 254000"/>
                <a:gd name="connsiteY2" fmla="*/ 1046 h 368300"/>
                <a:gd name="connsiteX3" fmla="*/ 430 w 254000"/>
                <a:gd name="connsiteY3" fmla="*/ 360583 h 368300"/>
                <a:gd name="connsiteX4" fmla="*/ 21004 w 254000"/>
                <a:gd name="connsiteY4" fmla="*/ 366298 h 36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000" h="368300">
                  <a:moveTo>
                    <a:pt x="21004" y="366298"/>
                  </a:moveTo>
                  <a:cubicBezTo>
                    <a:pt x="71677" y="226852"/>
                    <a:pt x="155497" y="114584"/>
                    <a:pt x="260399" y="11587"/>
                  </a:cubicBezTo>
                  <a:cubicBezTo>
                    <a:pt x="265733" y="6253"/>
                    <a:pt x="258748" y="-3145"/>
                    <a:pt x="252271" y="1046"/>
                  </a:cubicBezTo>
                  <a:cubicBezTo>
                    <a:pt x="123874" y="82199"/>
                    <a:pt x="38530" y="215676"/>
                    <a:pt x="430" y="360583"/>
                  </a:cubicBezTo>
                  <a:cubicBezTo>
                    <a:pt x="-3126" y="374045"/>
                    <a:pt x="16432" y="379125"/>
                    <a:pt x="21004" y="366298"/>
                  </a:cubicBezTo>
                </a:path>
              </a:pathLst>
            </a:custGeom>
            <a:solidFill>
              <a:srgbClr val="B5D385"/>
            </a:solidFill>
            <a:ln w="12689" cap="flat">
              <a:noFill/>
              <a:prstDash val="solid"/>
              <a:miter/>
            </a:ln>
          </p:spPr>
          <p:txBody>
            <a:bodyPr rtlCol="0" anchor="ctr"/>
            <a:lstStyle/>
            <a:p>
              <a:endParaRPr lang="bg-BG"/>
            </a:p>
          </p:txBody>
        </p:sp>
        <p:sp>
          <p:nvSpPr>
            <p:cNvPr id="109" name="Свободна форма: фигура 20">
              <a:extLst>
                <a:ext uri="{FF2B5EF4-FFF2-40B4-BE49-F238E27FC236}">
                  <a16:creationId xmlns:a16="http://schemas.microsoft.com/office/drawing/2014/main" id="{64314E24-5F50-0453-162A-65E4A4346C28}"/>
                </a:ext>
              </a:extLst>
            </p:cNvPr>
            <p:cNvSpPr/>
            <p:nvPr/>
          </p:nvSpPr>
          <p:spPr>
            <a:xfrm>
              <a:off x="2257997" y="2005855"/>
              <a:ext cx="977900" cy="1066800"/>
            </a:xfrm>
            <a:custGeom>
              <a:avLst/>
              <a:gdLst>
                <a:gd name="connsiteX0" fmla="*/ 965898 w 977900"/>
                <a:gd name="connsiteY0" fmla="*/ 4555 h 1066800"/>
                <a:gd name="connsiteX1" fmla="*/ 603059 w 977900"/>
                <a:gd name="connsiteY1" fmla="*/ 633967 h 1066800"/>
                <a:gd name="connsiteX2" fmla="*/ 9461 w 977900"/>
                <a:gd name="connsiteY2" fmla="*/ 1052686 h 1066800"/>
                <a:gd name="connsiteX3" fmla="*/ 13017 w 977900"/>
                <a:gd name="connsiteY3" fmla="*/ 1078848 h 1066800"/>
                <a:gd name="connsiteX4" fmla="*/ 344233 w 977900"/>
                <a:gd name="connsiteY4" fmla="*/ 921241 h 1066800"/>
                <a:gd name="connsiteX5" fmla="*/ 626427 w 977900"/>
                <a:gd name="connsiteY5" fmla="*/ 676512 h 1066800"/>
                <a:gd name="connsiteX6" fmla="*/ 846772 w 977900"/>
                <a:gd name="connsiteY6" fmla="*/ 372474 h 1066800"/>
                <a:gd name="connsiteX7" fmla="*/ 978725 w 977900"/>
                <a:gd name="connsiteY7" fmla="*/ 7984 h 1066800"/>
                <a:gd name="connsiteX8" fmla="*/ 965898 w 977900"/>
                <a:gd name="connsiteY8" fmla="*/ 4555 h 106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7900" h="1066800">
                  <a:moveTo>
                    <a:pt x="965898" y="4555"/>
                  </a:moveTo>
                  <a:cubicBezTo>
                    <a:pt x="876871" y="229980"/>
                    <a:pt x="756602" y="445753"/>
                    <a:pt x="603059" y="633967"/>
                  </a:cubicBezTo>
                  <a:cubicBezTo>
                    <a:pt x="454469" y="816085"/>
                    <a:pt x="244665" y="1004045"/>
                    <a:pt x="9461" y="1052686"/>
                  </a:cubicBezTo>
                  <a:cubicBezTo>
                    <a:pt x="-5144" y="1055734"/>
                    <a:pt x="-1969" y="1079737"/>
                    <a:pt x="13017" y="1078848"/>
                  </a:cubicBezTo>
                  <a:cubicBezTo>
                    <a:pt x="135699" y="1071482"/>
                    <a:pt x="247332" y="990329"/>
                    <a:pt x="344233" y="921241"/>
                  </a:cubicBezTo>
                  <a:cubicBezTo>
                    <a:pt x="447230" y="847708"/>
                    <a:pt x="540067" y="769984"/>
                    <a:pt x="626427" y="676512"/>
                  </a:cubicBezTo>
                  <a:cubicBezTo>
                    <a:pt x="715835" y="579611"/>
                    <a:pt x="787590" y="491600"/>
                    <a:pt x="846772" y="372474"/>
                  </a:cubicBezTo>
                  <a:cubicBezTo>
                    <a:pt x="904430" y="256269"/>
                    <a:pt x="952690" y="135365"/>
                    <a:pt x="978725" y="7984"/>
                  </a:cubicBezTo>
                  <a:cubicBezTo>
                    <a:pt x="980249" y="-398"/>
                    <a:pt x="968946" y="-3192"/>
                    <a:pt x="965898" y="4555"/>
                  </a:cubicBezTo>
                </a:path>
              </a:pathLst>
            </a:custGeom>
            <a:solidFill>
              <a:srgbClr val="B5D385"/>
            </a:solidFill>
            <a:ln w="12689" cap="flat">
              <a:noFill/>
              <a:prstDash val="solid"/>
              <a:miter/>
            </a:ln>
          </p:spPr>
          <p:txBody>
            <a:bodyPr rtlCol="0" anchor="ctr"/>
            <a:lstStyle/>
            <a:p>
              <a:endParaRPr lang="bg-BG"/>
            </a:p>
          </p:txBody>
        </p:sp>
        <p:sp>
          <p:nvSpPr>
            <p:cNvPr id="110" name="Свободна форма: фигура 21">
              <a:extLst>
                <a:ext uri="{FF2B5EF4-FFF2-40B4-BE49-F238E27FC236}">
                  <a16:creationId xmlns:a16="http://schemas.microsoft.com/office/drawing/2014/main" id="{C5378BF5-AED8-6686-6836-7BA008471EE9}"/>
                </a:ext>
              </a:extLst>
            </p:cNvPr>
            <p:cNvSpPr/>
            <p:nvPr/>
          </p:nvSpPr>
          <p:spPr>
            <a:xfrm>
              <a:off x="1103626" y="657128"/>
              <a:ext cx="215900" cy="139700"/>
            </a:xfrm>
            <a:custGeom>
              <a:avLst/>
              <a:gdLst>
                <a:gd name="connsiteX0" fmla="*/ 28706 w 215900"/>
                <a:gd name="connsiteY0" fmla="*/ 144369 h 139700"/>
                <a:gd name="connsiteX1" fmla="*/ 125988 w 215900"/>
                <a:gd name="connsiteY1" fmla="*/ 69439 h 139700"/>
                <a:gd name="connsiteX2" fmla="*/ 218063 w 215900"/>
                <a:gd name="connsiteY2" fmla="*/ 20671 h 139700"/>
                <a:gd name="connsiteX3" fmla="*/ 212475 w 215900"/>
                <a:gd name="connsiteY3" fmla="*/ 97 h 139700"/>
                <a:gd name="connsiteX4" fmla="*/ 5211 w 215900"/>
                <a:gd name="connsiteY4" fmla="*/ 121001 h 139700"/>
                <a:gd name="connsiteX5" fmla="*/ 28706 w 215900"/>
                <a:gd name="connsiteY5" fmla="*/ 144369 h 13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5900" h="139700">
                  <a:moveTo>
                    <a:pt x="28706" y="144369"/>
                  </a:moveTo>
                  <a:cubicBezTo>
                    <a:pt x="59059" y="116556"/>
                    <a:pt x="90809" y="90775"/>
                    <a:pt x="125988" y="69439"/>
                  </a:cubicBezTo>
                  <a:cubicBezTo>
                    <a:pt x="155706" y="51532"/>
                    <a:pt x="188599" y="38832"/>
                    <a:pt x="218063" y="20671"/>
                  </a:cubicBezTo>
                  <a:cubicBezTo>
                    <a:pt x="226572" y="15464"/>
                    <a:pt x="224032" y="-1427"/>
                    <a:pt x="212475" y="97"/>
                  </a:cubicBezTo>
                  <a:cubicBezTo>
                    <a:pt x="133100" y="10257"/>
                    <a:pt x="62107" y="68677"/>
                    <a:pt x="5211" y="121001"/>
                  </a:cubicBezTo>
                  <a:cubicBezTo>
                    <a:pt x="-10537" y="135352"/>
                    <a:pt x="12958" y="158847"/>
                    <a:pt x="28706" y="144369"/>
                  </a:cubicBezTo>
                </a:path>
              </a:pathLst>
            </a:custGeom>
            <a:solidFill>
              <a:srgbClr val="B5D385"/>
            </a:solidFill>
            <a:ln w="12689" cap="flat">
              <a:noFill/>
              <a:prstDash val="solid"/>
              <a:miter/>
            </a:ln>
          </p:spPr>
          <p:txBody>
            <a:bodyPr rtlCol="0" anchor="ctr"/>
            <a:lstStyle/>
            <a:p>
              <a:endParaRPr lang="bg-BG"/>
            </a:p>
          </p:txBody>
        </p:sp>
        <p:sp>
          <p:nvSpPr>
            <p:cNvPr id="111" name="Свободна форма: фигура 23">
              <a:extLst>
                <a:ext uri="{FF2B5EF4-FFF2-40B4-BE49-F238E27FC236}">
                  <a16:creationId xmlns:a16="http://schemas.microsoft.com/office/drawing/2014/main" id="{1085D145-3D96-BBD7-E525-93595D1D018F}"/>
                </a:ext>
              </a:extLst>
            </p:cNvPr>
            <p:cNvSpPr/>
            <p:nvPr/>
          </p:nvSpPr>
          <p:spPr>
            <a:xfrm>
              <a:off x="1362964" y="907161"/>
              <a:ext cx="25400" cy="25400"/>
            </a:xfrm>
            <a:custGeom>
              <a:avLst/>
              <a:gdLst>
                <a:gd name="connsiteX0" fmla="*/ 33655 w 25400"/>
                <a:gd name="connsiteY0" fmla="*/ 15748 h 25400"/>
                <a:gd name="connsiteX1" fmla="*/ 0 w 25400"/>
                <a:gd name="connsiteY1" fmla="*/ 20447 h 25400"/>
                <a:gd name="connsiteX2" fmla="*/ 17907 w 25400"/>
                <a:gd name="connsiteY2" fmla="*/ 0 h 25400"/>
                <a:gd name="connsiteX3" fmla="*/ 33655 w 25400"/>
                <a:gd name="connsiteY3" fmla="*/ 15748 h 25400"/>
              </a:gdLst>
              <a:ahLst/>
              <a:cxnLst>
                <a:cxn ang="0">
                  <a:pos x="connsiteX0" y="connsiteY0"/>
                </a:cxn>
                <a:cxn ang="0">
                  <a:pos x="connsiteX1" y="connsiteY1"/>
                </a:cxn>
                <a:cxn ang="0">
                  <a:pos x="connsiteX2" y="connsiteY2"/>
                </a:cxn>
                <a:cxn ang="0">
                  <a:pos x="connsiteX3" y="connsiteY3"/>
                </a:cxn>
              </a:cxnLst>
              <a:rect l="l" t="t" r="r" b="b"/>
              <a:pathLst>
                <a:path w="25400" h="25400">
                  <a:moveTo>
                    <a:pt x="33655" y="15748"/>
                  </a:moveTo>
                  <a:cubicBezTo>
                    <a:pt x="22352" y="42799"/>
                    <a:pt x="11176" y="31623"/>
                    <a:pt x="0" y="20447"/>
                  </a:cubicBezTo>
                  <a:cubicBezTo>
                    <a:pt x="11176" y="9271"/>
                    <a:pt x="11176" y="9271"/>
                    <a:pt x="17907" y="0"/>
                  </a:cubicBezTo>
                  <a:cubicBezTo>
                    <a:pt x="26543" y="0"/>
                    <a:pt x="33655" y="7112"/>
                    <a:pt x="33655" y="15748"/>
                  </a:cubicBezTo>
                </a:path>
              </a:pathLst>
            </a:custGeom>
            <a:solidFill>
              <a:srgbClr val="5DB723"/>
            </a:solidFill>
            <a:ln w="12689" cap="flat">
              <a:noFill/>
              <a:prstDash val="solid"/>
              <a:miter/>
            </a:ln>
          </p:spPr>
          <p:txBody>
            <a:bodyPr rtlCol="0" anchor="ctr"/>
            <a:lstStyle/>
            <a:p>
              <a:endParaRPr lang="bg-BG"/>
            </a:p>
          </p:txBody>
        </p:sp>
        <p:sp>
          <p:nvSpPr>
            <p:cNvPr id="112" name="Свободна форма: фигура 24">
              <a:extLst>
                <a:ext uri="{FF2B5EF4-FFF2-40B4-BE49-F238E27FC236}">
                  <a16:creationId xmlns:a16="http://schemas.microsoft.com/office/drawing/2014/main" id="{F5A032D0-B1F6-1E54-8800-B913839B10F9}"/>
                </a:ext>
              </a:extLst>
            </p:cNvPr>
            <p:cNvSpPr/>
            <p:nvPr/>
          </p:nvSpPr>
          <p:spPr>
            <a:xfrm>
              <a:off x="1396492" y="1063687"/>
              <a:ext cx="25400" cy="25400"/>
            </a:xfrm>
            <a:custGeom>
              <a:avLst/>
              <a:gdLst>
                <a:gd name="connsiteX0" fmla="*/ 32385 w 25400"/>
                <a:gd name="connsiteY0" fmla="*/ 21782 h 25400"/>
                <a:gd name="connsiteX1" fmla="*/ 0 w 25400"/>
                <a:gd name="connsiteY1" fmla="*/ 9590 h 25400"/>
                <a:gd name="connsiteX2" fmla="*/ 26416 w 25400"/>
                <a:gd name="connsiteY2" fmla="*/ 192 h 25400"/>
                <a:gd name="connsiteX3" fmla="*/ 32385 w 25400"/>
                <a:gd name="connsiteY3" fmla="*/ 21782 h 25400"/>
              </a:gdLst>
              <a:ahLst/>
              <a:cxnLst>
                <a:cxn ang="0">
                  <a:pos x="connsiteX0" y="connsiteY0"/>
                </a:cxn>
                <a:cxn ang="0">
                  <a:pos x="connsiteX1" y="connsiteY1"/>
                </a:cxn>
                <a:cxn ang="0">
                  <a:pos x="connsiteX2" y="connsiteY2"/>
                </a:cxn>
                <a:cxn ang="0">
                  <a:pos x="connsiteX3" y="connsiteY3"/>
                </a:cxn>
              </a:cxnLst>
              <a:rect l="l" t="t" r="r" b="b"/>
              <a:pathLst>
                <a:path w="25400" h="25400">
                  <a:moveTo>
                    <a:pt x="32385" y="21782"/>
                  </a:moveTo>
                  <a:cubicBezTo>
                    <a:pt x="11176" y="43118"/>
                    <a:pt x="0" y="31942"/>
                    <a:pt x="0" y="9590"/>
                  </a:cubicBezTo>
                  <a:cubicBezTo>
                    <a:pt x="0" y="9590"/>
                    <a:pt x="11176" y="-1586"/>
                    <a:pt x="26416" y="192"/>
                  </a:cubicBezTo>
                  <a:cubicBezTo>
                    <a:pt x="34036" y="4383"/>
                    <a:pt x="36703" y="14162"/>
                    <a:pt x="32385" y="21782"/>
                  </a:cubicBezTo>
                </a:path>
              </a:pathLst>
            </a:custGeom>
            <a:solidFill>
              <a:srgbClr val="5DB723"/>
            </a:solidFill>
            <a:ln w="12689" cap="flat">
              <a:noFill/>
              <a:prstDash val="solid"/>
              <a:miter/>
            </a:ln>
          </p:spPr>
          <p:txBody>
            <a:bodyPr rtlCol="0" anchor="ctr"/>
            <a:lstStyle/>
            <a:p>
              <a:endParaRPr lang="bg-BG"/>
            </a:p>
          </p:txBody>
        </p:sp>
        <p:sp>
          <p:nvSpPr>
            <p:cNvPr id="113" name="Свободна форма: фигура 25">
              <a:extLst>
                <a:ext uri="{FF2B5EF4-FFF2-40B4-BE49-F238E27FC236}">
                  <a16:creationId xmlns:a16="http://schemas.microsoft.com/office/drawing/2014/main" id="{7386178D-32EF-CB81-E7DB-02809C00F294}"/>
                </a:ext>
              </a:extLst>
            </p:cNvPr>
            <p:cNvSpPr/>
            <p:nvPr/>
          </p:nvSpPr>
          <p:spPr>
            <a:xfrm>
              <a:off x="1497330" y="1203960"/>
              <a:ext cx="25400" cy="25400"/>
            </a:xfrm>
            <a:custGeom>
              <a:avLst/>
              <a:gdLst>
                <a:gd name="connsiteX0" fmla="*/ 31496 w 25400"/>
                <a:gd name="connsiteY0" fmla="*/ 21717 h 25400"/>
                <a:gd name="connsiteX1" fmla="*/ 0 w 25400"/>
                <a:gd name="connsiteY1" fmla="*/ 3556 h 25400"/>
                <a:gd name="connsiteX2" fmla="*/ 25527 w 25400"/>
                <a:gd name="connsiteY2" fmla="*/ 0 h 25400"/>
                <a:gd name="connsiteX3" fmla="*/ 31496 w 25400"/>
                <a:gd name="connsiteY3" fmla="*/ 21717 h 25400"/>
              </a:gdLst>
              <a:ahLst/>
              <a:cxnLst>
                <a:cxn ang="0">
                  <a:pos x="connsiteX0" y="connsiteY0"/>
                </a:cxn>
                <a:cxn ang="0">
                  <a:pos x="connsiteX1" y="connsiteY1"/>
                </a:cxn>
                <a:cxn ang="0">
                  <a:pos x="connsiteX2" y="connsiteY2"/>
                </a:cxn>
                <a:cxn ang="0">
                  <a:pos x="connsiteX3" y="connsiteY3"/>
                </a:cxn>
              </a:cxnLst>
              <a:rect l="l" t="t" r="r" b="b"/>
              <a:pathLst>
                <a:path w="25400" h="25400">
                  <a:moveTo>
                    <a:pt x="31496" y="21717"/>
                  </a:moveTo>
                  <a:cubicBezTo>
                    <a:pt x="11176" y="37084"/>
                    <a:pt x="0" y="25908"/>
                    <a:pt x="0" y="3556"/>
                  </a:cubicBezTo>
                  <a:cubicBezTo>
                    <a:pt x="11176" y="3556"/>
                    <a:pt x="11176" y="3556"/>
                    <a:pt x="25527" y="0"/>
                  </a:cubicBezTo>
                  <a:cubicBezTo>
                    <a:pt x="33147" y="4445"/>
                    <a:pt x="35814" y="14224"/>
                    <a:pt x="31496" y="21717"/>
                  </a:cubicBezTo>
                </a:path>
              </a:pathLst>
            </a:custGeom>
            <a:solidFill>
              <a:srgbClr val="5DB723"/>
            </a:solidFill>
            <a:ln w="12689" cap="flat">
              <a:noFill/>
              <a:prstDash val="solid"/>
              <a:miter/>
            </a:ln>
          </p:spPr>
          <p:txBody>
            <a:bodyPr rtlCol="0" anchor="ctr"/>
            <a:lstStyle/>
            <a:p>
              <a:endParaRPr lang="bg-BG"/>
            </a:p>
          </p:txBody>
        </p:sp>
        <p:sp>
          <p:nvSpPr>
            <p:cNvPr id="114" name="Свободна форма: фигура 26">
              <a:extLst>
                <a:ext uri="{FF2B5EF4-FFF2-40B4-BE49-F238E27FC236}">
                  <a16:creationId xmlns:a16="http://schemas.microsoft.com/office/drawing/2014/main" id="{8062C822-8576-B5F0-E4C0-541F96114F27}"/>
                </a:ext>
              </a:extLst>
            </p:cNvPr>
            <p:cNvSpPr/>
            <p:nvPr/>
          </p:nvSpPr>
          <p:spPr>
            <a:xfrm>
              <a:off x="2136140" y="1159590"/>
              <a:ext cx="215900" cy="165100"/>
            </a:xfrm>
            <a:custGeom>
              <a:avLst/>
              <a:gdLst>
                <a:gd name="connsiteX0" fmla="*/ 0 w 215900"/>
                <a:gd name="connsiteY0" fmla="*/ 173402 h 165100"/>
                <a:gd name="connsiteX1" fmla="*/ 209550 w 215900"/>
                <a:gd name="connsiteY1" fmla="*/ 41957 h 165100"/>
                <a:gd name="connsiteX2" fmla="*/ 129794 w 215900"/>
                <a:gd name="connsiteY2" fmla="*/ 77263 h 165100"/>
                <a:gd name="connsiteX3" fmla="*/ 0 w 215900"/>
                <a:gd name="connsiteY3" fmla="*/ 173402 h 165100"/>
              </a:gdLst>
              <a:ahLst/>
              <a:cxnLst>
                <a:cxn ang="0">
                  <a:pos x="connsiteX0" y="connsiteY0"/>
                </a:cxn>
                <a:cxn ang="0">
                  <a:pos x="connsiteX1" y="connsiteY1"/>
                </a:cxn>
                <a:cxn ang="0">
                  <a:pos x="connsiteX2" y="connsiteY2"/>
                </a:cxn>
                <a:cxn ang="0">
                  <a:pos x="connsiteX3" y="connsiteY3"/>
                </a:cxn>
              </a:cxnLst>
              <a:rect l="l" t="t" r="r" b="b"/>
              <a:pathLst>
                <a:path w="215900" h="165100">
                  <a:moveTo>
                    <a:pt x="0" y="173402"/>
                  </a:moveTo>
                  <a:cubicBezTo>
                    <a:pt x="0" y="173402"/>
                    <a:pt x="182372" y="133778"/>
                    <a:pt x="209550" y="41957"/>
                  </a:cubicBezTo>
                  <a:cubicBezTo>
                    <a:pt x="236855" y="-49864"/>
                    <a:pt x="172593" y="30908"/>
                    <a:pt x="129794" y="77263"/>
                  </a:cubicBezTo>
                  <a:cubicBezTo>
                    <a:pt x="87122" y="123618"/>
                    <a:pt x="0" y="173402"/>
                    <a:pt x="0" y="173402"/>
                  </a:cubicBezTo>
                </a:path>
              </a:pathLst>
            </a:custGeom>
            <a:solidFill>
              <a:srgbClr val="5DB723"/>
            </a:solidFill>
            <a:ln w="12689" cap="flat">
              <a:noFill/>
              <a:prstDash val="solid"/>
              <a:miter/>
            </a:ln>
          </p:spPr>
          <p:txBody>
            <a:bodyPr rtlCol="0" anchor="ctr"/>
            <a:lstStyle/>
            <a:p>
              <a:endParaRPr lang="bg-BG"/>
            </a:p>
          </p:txBody>
        </p:sp>
        <p:sp>
          <p:nvSpPr>
            <p:cNvPr id="115" name="Свободна форма: фигура 27">
              <a:extLst>
                <a:ext uri="{FF2B5EF4-FFF2-40B4-BE49-F238E27FC236}">
                  <a16:creationId xmlns:a16="http://schemas.microsoft.com/office/drawing/2014/main" id="{BC3716B4-AB8E-6C80-4367-1FD0B3E60163}"/>
                </a:ext>
              </a:extLst>
            </p:cNvPr>
            <p:cNvSpPr/>
            <p:nvPr/>
          </p:nvSpPr>
          <p:spPr>
            <a:xfrm>
              <a:off x="1442985" y="476377"/>
              <a:ext cx="114300" cy="88900"/>
            </a:xfrm>
            <a:custGeom>
              <a:avLst/>
              <a:gdLst>
                <a:gd name="connsiteX0" fmla="*/ 114670 w 114300"/>
                <a:gd name="connsiteY0" fmla="*/ 0 h 88900"/>
                <a:gd name="connsiteX1" fmla="*/ 6466 w 114300"/>
                <a:gd name="connsiteY1" fmla="*/ 55626 h 88900"/>
                <a:gd name="connsiteX2" fmla="*/ 62473 w 114300"/>
                <a:gd name="connsiteY2" fmla="*/ 58293 h 88900"/>
                <a:gd name="connsiteX3" fmla="*/ 114670 w 114300"/>
                <a:gd name="connsiteY3" fmla="*/ 0 h 88900"/>
              </a:gdLst>
              <a:ahLst/>
              <a:cxnLst>
                <a:cxn ang="0">
                  <a:pos x="connsiteX0" y="connsiteY0"/>
                </a:cxn>
                <a:cxn ang="0">
                  <a:pos x="connsiteX1" y="connsiteY1"/>
                </a:cxn>
                <a:cxn ang="0">
                  <a:pos x="connsiteX2" y="connsiteY2"/>
                </a:cxn>
                <a:cxn ang="0">
                  <a:pos x="connsiteX3" y="connsiteY3"/>
                </a:cxn>
              </a:cxnLst>
              <a:rect l="l" t="t" r="r" b="b"/>
              <a:pathLst>
                <a:path w="114300" h="88900">
                  <a:moveTo>
                    <a:pt x="114670" y="0"/>
                  </a:moveTo>
                  <a:cubicBezTo>
                    <a:pt x="114670" y="0"/>
                    <a:pt x="28564" y="12065"/>
                    <a:pt x="6466" y="55626"/>
                  </a:cubicBezTo>
                  <a:cubicBezTo>
                    <a:pt x="-15632" y="99187"/>
                    <a:pt x="22849" y="104775"/>
                    <a:pt x="62473" y="58293"/>
                  </a:cubicBezTo>
                  <a:cubicBezTo>
                    <a:pt x="101970" y="11557"/>
                    <a:pt x="114670" y="0"/>
                    <a:pt x="114670" y="0"/>
                  </a:cubicBezTo>
                </a:path>
              </a:pathLst>
            </a:custGeom>
            <a:solidFill>
              <a:srgbClr val="83CC1B"/>
            </a:solidFill>
            <a:ln w="12689" cap="flat">
              <a:noFill/>
              <a:prstDash val="solid"/>
              <a:miter/>
            </a:ln>
          </p:spPr>
          <p:txBody>
            <a:bodyPr rtlCol="0" anchor="ctr"/>
            <a:lstStyle/>
            <a:p>
              <a:endParaRPr lang="bg-BG"/>
            </a:p>
          </p:txBody>
        </p:sp>
      </p:grpSp>
      <p:sp>
        <p:nvSpPr>
          <p:cNvPr id="116" name="object 3">
            <a:extLst>
              <a:ext uri="{FF2B5EF4-FFF2-40B4-BE49-F238E27FC236}">
                <a16:creationId xmlns:a16="http://schemas.microsoft.com/office/drawing/2014/main" id="{E15AA5AE-984D-D879-F3C5-3885FE4918E5}"/>
              </a:ext>
            </a:extLst>
          </p:cNvPr>
          <p:cNvSpPr txBox="1"/>
          <p:nvPr/>
        </p:nvSpPr>
        <p:spPr>
          <a:xfrm>
            <a:off x="9470389" y="2372230"/>
            <a:ext cx="1599021" cy="286745"/>
          </a:xfrm>
          <a:prstGeom prst="rect">
            <a:avLst/>
          </a:prstGeom>
        </p:spPr>
        <p:txBody>
          <a:bodyPr vert="horz" wrap="square" lIns="0" tIns="12700" rIns="0" bIns="0" rtlCol="0">
            <a:spAutoFit/>
          </a:bodyPr>
          <a:lstStyle/>
          <a:p>
            <a:pPr marL="167005" marR="160655" algn="ctr">
              <a:lnSpc>
                <a:spcPct val="118600"/>
              </a:lnSpc>
              <a:spcBef>
                <a:spcPts val="100"/>
              </a:spcBef>
            </a:pPr>
            <a:r>
              <a:rPr lang="en-US" sz="1600" b="1" dirty="0">
                <a:latin typeface="+mj-lt"/>
                <a:cs typeface="Arial"/>
              </a:rPr>
              <a:t>Disaggregation</a:t>
            </a:r>
            <a:endParaRPr sz="1600" b="1" dirty="0">
              <a:latin typeface="+mj-lt"/>
              <a:cs typeface="Arial"/>
            </a:endParaRPr>
          </a:p>
        </p:txBody>
      </p:sp>
      <p:sp>
        <p:nvSpPr>
          <p:cNvPr id="11" name="object 3">
            <a:extLst>
              <a:ext uri="{FF2B5EF4-FFF2-40B4-BE49-F238E27FC236}">
                <a16:creationId xmlns:a16="http://schemas.microsoft.com/office/drawing/2014/main" id="{CE6E0FFA-5B4A-069D-CB84-6158266F4201}"/>
              </a:ext>
            </a:extLst>
          </p:cNvPr>
          <p:cNvSpPr txBox="1"/>
          <p:nvPr/>
        </p:nvSpPr>
        <p:spPr>
          <a:xfrm>
            <a:off x="5026283" y="3675027"/>
            <a:ext cx="2490576" cy="1303562"/>
          </a:xfrm>
          <a:prstGeom prst="rect">
            <a:avLst/>
          </a:prstGeom>
        </p:spPr>
        <p:txBody>
          <a:bodyPr vert="horz" wrap="square" lIns="0" tIns="12700" rIns="0" bIns="0" rtlCol="0">
            <a:spAutoFit/>
          </a:bodyPr>
          <a:lstStyle/>
          <a:p>
            <a:pPr marL="452755" marR="160655" indent="-285750">
              <a:lnSpc>
                <a:spcPct val="118600"/>
              </a:lnSpc>
              <a:spcBef>
                <a:spcPts val="100"/>
              </a:spcBef>
              <a:buFont typeface="Arial" panose="020B0604020202020204" pitchFamily="34" charset="0"/>
              <a:buChar char="•"/>
            </a:pPr>
            <a:r>
              <a:rPr lang="en-US" sz="1400" dirty="0">
                <a:latin typeface="+mj-lt"/>
                <a:cs typeface="Arial"/>
              </a:rPr>
              <a:t>PMTCT_HEI_POS_ART </a:t>
            </a:r>
            <a:r>
              <a:rPr lang="en-US" sz="1400" b="0" dirty="0"/>
              <a:t>≤ PMTCT_HEI_POS</a:t>
            </a:r>
          </a:p>
          <a:p>
            <a:pPr marL="167005" marR="160655">
              <a:lnSpc>
                <a:spcPct val="118600"/>
              </a:lnSpc>
              <a:spcBef>
                <a:spcPts val="100"/>
              </a:spcBef>
            </a:pPr>
            <a:endParaRPr lang="en-US" sz="1400" dirty="0"/>
          </a:p>
          <a:p>
            <a:pPr marL="452755" marR="160655" indent="-285750">
              <a:lnSpc>
                <a:spcPct val="118600"/>
              </a:lnSpc>
              <a:spcBef>
                <a:spcPts val="100"/>
              </a:spcBef>
              <a:buFont typeface="Arial" panose="020B0604020202020204" pitchFamily="34" charset="0"/>
              <a:buChar char="•"/>
            </a:pPr>
            <a:r>
              <a:rPr lang="en-US" sz="1400" b="0" dirty="0"/>
              <a:t> PMTCT_HEI_POS ≥ TX_NEW &lt;1</a:t>
            </a:r>
          </a:p>
        </p:txBody>
      </p:sp>
      <p:sp>
        <p:nvSpPr>
          <p:cNvPr id="118" name="object 3">
            <a:extLst>
              <a:ext uri="{FF2B5EF4-FFF2-40B4-BE49-F238E27FC236}">
                <a16:creationId xmlns:a16="http://schemas.microsoft.com/office/drawing/2014/main" id="{A4D33D79-1807-20C2-D5A5-3022E4EA8C46}"/>
              </a:ext>
            </a:extLst>
          </p:cNvPr>
          <p:cNvSpPr txBox="1"/>
          <p:nvPr/>
        </p:nvSpPr>
        <p:spPr>
          <a:xfrm>
            <a:off x="9263795" y="3635971"/>
            <a:ext cx="2214950" cy="1303562"/>
          </a:xfrm>
          <a:prstGeom prst="rect">
            <a:avLst/>
          </a:prstGeom>
        </p:spPr>
        <p:txBody>
          <a:bodyPr vert="horz" wrap="square" lIns="0" tIns="12700" rIns="0" bIns="0" rtlCol="0">
            <a:spAutoFit/>
          </a:bodyPr>
          <a:lstStyle/>
          <a:p>
            <a:pPr marL="167005" marR="160655" algn="ctr">
              <a:lnSpc>
                <a:spcPct val="118600"/>
              </a:lnSpc>
              <a:spcBef>
                <a:spcPts val="100"/>
              </a:spcBef>
            </a:pPr>
            <a:r>
              <a:rPr lang="en-US" sz="1400" dirty="0"/>
              <a:t>Infant age at virologic sample collection, for positive infants</a:t>
            </a:r>
            <a:r>
              <a:rPr lang="en-US" sz="1400" dirty="0">
                <a:latin typeface="+mj-lt"/>
                <a:cs typeface="Arial"/>
              </a:rPr>
              <a:t>:</a:t>
            </a:r>
          </a:p>
          <a:p>
            <a:pPr marL="452755" marR="160655" indent="-285750">
              <a:lnSpc>
                <a:spcPct val="118600"/>
              </a:lnSpc>
              <a:spcBef>
                <a:spcPts val="100"/>
              </a:spcBef>
              <a:buFont typeface="Arial" panose="020B0604020202020204" pitchFamily="34" charset="0"/>
              <a:buChar char="•"/>
            </a:pPr>
            <a:r>
              <a:rPr lang="en-US" sz="1400" dirty="0">
                <a:latin typeface="+mj-lt"/>
                <a:cs typeface="Arial"/>
              </a:rPr>
              <a:t>&lt; 2 months</a:t>
            </a:r>
          </a:p>
          <a:p>
            <a:pPr marL="452755" marR="160655" indent="-285750">
              <a:lnSpc>
                <a:spcPct val="118600"/>
              </a:lnSpc>
              <a:spcBef>
                <a:spcPts val="100"/>
              </a:spcBef>
              <a:buFont typeface="Arial" panose="020B0604020202020204" pitchFamily="34" charset="0"/>
              <a:buChar char="•"/>
            </a:pPr>
            <a:r>
              <a:rPr lang="en-US" sz="1400" dirty="0">
                <a:latin typeface="+mj-lt"/>
                <a:cs typeface="Arial"/>
              </a:rPr>
              <a:t>2-12 months</a:t>
            </a:r>
          </a:p>
        </p:txBody>
      </p:sp>
    </p:spTree>
    <p:extLst>
      <p:ext uri="{BB962C8B-B14F-4D97-AF65-F5344CB8AC3E}">
        <p14:creationId xmlns:p14="http://schemas.microsoft.com/office/powerpoint/2010/main" val="115261481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AC5FD8C-1AF9-4BEB-A638-5263D7C2792C}"/>
              </a:ext>
            </a:extLst>
          </p:cNvPr>
          <p:cNvSpPr/>
          <p:nvPr/>
        </p:nvSpPr>
        <p:spPr>
          <a:xfrm>
            <a:off x="0" y="3494627"/>
            <a:ext cx="12172949" cy="1242634"/>
          </a:xfrm>
          <a:prstGeom prst="rect">
            <a:avLst/>
          </a:prstGeom>
          <a:solidFill>
            <a:srgbClr val="E7E6E6"/>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2" name="Title 1">
            <a:extLst>
              <a:ext uri="{FF2B5EF4-FFF2-40B4-BE49-F238E27FC236}">
                <a16:creationId xmlns:a16="http://schemas.microsoft.com/office/drawing/2014/main" id="{1BD024B5-574F-472D-AF3D-A31FBBD0B863}"/>
              </a:ext>
            </a:extLst>
          </p:cNvPr>
          <p:cNvSpPr>
            <a:spLocks noGrp="1"/>
          </p:cNvSpPr>
          <p:nvPr>
            <p:ph type="title"/>
          </p:nvPr>
        </p:nvSpPr>
        <p:spPr>
          <a:xfrm>
            <a:off x="0" y="0"/>
            <a:ext cx="10972800" cy="1143000"/>
          </a:xfrm>
        </p:spPr>
        <p:txBody>
          <a:bodyPr>
            <a:normAutofit/>
          </a:bodyPr>
          <a:lstStyle/>
          <a:p>
            <a:r>
              <a:rPr lang="en-US" sz="3600" dirty="0">
                <a:solidFill>
                  <a:schemeClr val="tx2">
                    <a:lumMod val="75000"/>
                  </a:schemeClr>
                </a:solidFill>
              </a:rPr>
              <a:t>PMTCT_FO</a:t>
            </a:r>
            <a:endParaRPr lang="en-NG" sz="3600" dirty="0">
              <a:solidFill>
                <a:schemeClr val="tx2">
                  <a:lumMod val="75000"/>
                </a:schemeClr>
              </a:solidFill>
            </a:endParaRPr>
          </a:p>
        </p:txBody>
      </p:sp>
      <p:grpSp>
        <p:nvGrpSpPr>
          <p:cNvPr id="5" name="Group 4">
            <a:extLst>
              <a:ext uri="{FF2B5EF4-FFF2-40B4-BE49-F238E27FC236}">
                <a16:creationId xmlns:a16="http://schemas.microsoft.com/office/drawing/2014/main" id="{1133AD3F-77E3-CA29-D7B7-F85B4786A583}"/>
              </a:ext>
            </a:extLst>
          </p:cNvPr>
          <p:cNvGrpSpPr/>
          <p:nvPr/>
        </p:nvGrpSpPr>
        <p:grpSpPr>
          <a:xfrm>
            <a:off x="785655" y="1925936"/>
            <a:ext cx="2529744" cy="4226674"/>
            <a:chOff x="843884" y="2079348"/>
            <a:chExt cx="2529744" cy="1871686"/>
          </a:xfrm>
        </p:grpSpPr>
        <p:pic>
          <p:nvPicPr>
            <p:cNvPr id="6" name="Картина 75">
              <a:extLst>
                <a:ext uri="{FF2B5EF4-FFF2-40B4-BE49-F238E27FC236}">
                  <a16:creationId xmlns:a16="http://schemas.microsoft.com/office/drawing/2014/main" id="{6C58ADA0-4E71-7A4B-C233-F5406EA79A3B}"/>
                </a:ext>
              </a:extLst>
            </p:cNvPr>
            <p:cNvPicPr>
              <a:picLocks noChangeAspect="1"/>
            </p:cNvPicPr>
            <p:nvPr/>
          </p:nvPicPr>
          <p:blipFill>
            <a:blip r:embed="rId3"/>
            <a:stretch>
              <a:fillRect/>
            </a:stretch>
          </p:blipFill>
          <p:spPr>
            <a:xfrm>
              <a:off x="871728" y="2249234"/>
              <a:ext cx="2501900" cy="1701800"/>
            </a:xfrm>
            <a:custGeom>
              <a:avLst/>
              <a:gdLst>
                <a:gd name="connsiteX0" fmla="*/ 0 w 2501900"/>
                <a:gd name="connsiteY0" fmla="*/ 0 h 1701800"/>
                <a:gd name="connsiteX1" fmla="*/ 2508504 w 2501900"/>
                <a:gd name="connsiteY1" fmla="*/ 0 h 1701800"/>
                <a:gd name="connsiteX2" fmla="*/ 2508504 w 2501900"/>
                <a:gd name="connsiteY2" fmla="*/ 1706880 h 1701800"/>
                <a:gd name="connsiteX3" fmla="*/ 0 w 2501900"/>
                <a:gd name="connsiteY3" fmla="*/ 1706880 h 1701800"/>
              </a:gdLst>
              <a:ahLst/>
              <a:cxnLst>
                <a:cxn ang="0">
                  <a:pos x="connsiteX0" y="connsiteY0"/>
                </a:cxn>
                <a:cxn ang="0">
                  <a:pos x="connsiteX1" y="connsiteY1"/>
                </a:cxn>
                <a:cxn ang="0">
                  <a:pos x="connsiteX2" y="connsiteY2"/>
                </a:cxn>
                <a:cxn ang="0">
                  <a:pos x="connsiteX3" y="connsiteY3"/>
                </a:cxn>
              </a:cxnLst>
              <a:rect l="l" t="t" r="r" b="b"/>
              <a:pathLst>
                <a:path w="2501900" h="1701800">
                  <a:moveTo>
                    <a:pt x="0" y="0"/>
                  </a:moveTo>
                  <a:lnTo>
                    <a:pt x="2508504" y="0"/>
                  </a:lnTo>
                  <a:lnTo>
                    <a:pt x="2508504" y="1706880"/>
                  </a:lnTo>
                  <a:lnTo>
                    <a:pt x="0" y="1706880"/>
                  </a:lnTo>
                  <a:close/>
                </a:path>
              </a:pathLst>
            </a:custGeom>
            <a:ln/>
          </p:spPr>
        </p:pic>
        <p:sp>
          <p:nvSpPr>
            <p:cNvPr id="7" name="Свободна форма: фигура 76">
              <a:extLst>
                <a:ext uri="{FF2B5EF4-FFF2-40B4-BE49-F238E27FC236}">
                  <a16:creationId xmlns:a16="http://schemas.microsoft.com/office/drawing/2014/main" id="{41BABE07-E017-2B32-6332-47B1ACDB5325}"/>
                </a:ext>
              </a:extLst>
            </p:cNvPr>
            <p:cNvSpPr/>
            <p:nvPr/>
          </p:nvSpPr>
          <p:spPr>
            <a:xfrm>
              <a:off x="973455" y="2350643"/>
              <a:ext cx="2197100" cy="1397000"/>
            </a:xfrm>
            <a:custGeom>
              <a:avLst/>
              <a:gdLst>
                <a:gd name="connsiteX0" fmla="*/ 2138807 w 2197100"/>
                <a:gd name="connsiteY0" fmla="*/ 1398270 h 1397000"/>
                <a:gd name="connsiteX1" fmla="*/ 64897 w 2197100"/>
                <a:gd name="connsiteY1" fmla="*/ 1398270 h 1397000"/>
                <a:gd name="connsiteX2" fmla="*/ 0 w 2197100"/>
                <a:gd name="connsiteY2" fmla="*/ 1333373 h 1397000"/>
                <a:gd name="connsiteX3" fmla="*/ 0 w 2197100"/>
                <a:gd name="connsiteY3" fmla="*/ 64897 h 1397000"/>
                <a:gd name="connsiteX4" fmla="*/ 64897 w 2197100"/>
                <a:gd name="connsiteY4" fmla="*/ 0 h 1397000"/>
                <a:gd name="connsiteX5" fmla="*/ 2138807 w 2197100"/>
                <a:gd name="connsiteY5" fmla="*/ 0 h 1397000"/>
                <a:gd name="connsiteX6" fmla="*/ 2203704 w 2197100"/>
                <a:gd name="connsiteY6" fmla="*/ 64897 h 1397000"/>
                <a:gd name="connsiteX7" fmla="*/ 2203704 w 2197100"/>
                <a:gd name="connsiteY7" fmla="*/ 1333373 h 1397000"/>
                <a:gd name="connsiteX8" fmla="*/ 2138807 w 2197100"/>
                <a:gd name="connsiteY8" fmla="*/ 1398270 h 139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7100" h="1397000">
                  <a:moveTo>
                    <a:pt x="2138807" y="1398270"/>
                  </a:moveTo>
                  <a:lnTo>
                    <a:pt x="64897" y="1398270"/>
                  </a:lnTo>
                  <a:cubicBezTo>
                    <a:pt x="29083" y="1398270"/>
                    <a:pt x="0" y="1369187"/>
                    <a:pt x="0" y="1333373"/>
                  </a:cubicBezTo>
                  <a:lnTo>
                    <a:pt x="0" y="64897"/>
                  </a:lnTo>
                  <a:cubicBezTo>
                    <a:pt x="0" y="29083"/>
                    <a:pt x="29083" y="0"/>
                    <a:pt x="64897" y="0"/>
                  </a:cubicBezTo>
                  <a:lnTo>
                    <a:pt x="2138807" y="0"/>
                  </a:lnTo>
                  <a:cubicBezTo>
                    <a:pt x="2174621" y="0"/>
                    <a:pt x="2203704" y="29083"/>
                    <a:pt x="2203704" y="64897"/>
                  </a:cubicBezTo>
                  <a:lnTo>
                    <a:pt x="2203704" y="1333373"/>
                  </a:lnTo>
                  <a:cubicBezTo>
                    <a:pt x="2203704" y="1369187"/>
                    <a:pt x="2174621" y="1398270"/>
                    <a:pt x="2138807" y="1398270"/>
                  </a:cubicBezTo>
                </a:path>
              </a:pathLst>
            </a:custGeom>
            <a:solidFill>
              <a:srgbClr val="F4F4F4"/>
            </a:solidFill>
            <a:ln w="12689" cap="flat">
              <a:noFill/>
              <a:prstDash val="solid"/>
              <a:miter/>
            </a:ln>
          </p:spPr>
          <p:txBody>
            <a:bodyPr rtlCol="0" anchor="ctr"/>
            <a:lstStyle/>
            <a:p>
              <a:pPr algn="ctr"/>
              <a:r>
                <a:rPr lang="en-US" sz="1400" dirty="0">
                  <a:effectLst/>
                  <a:latin typeface="Calibri" panose="020F0502020204030204" pitchFamily="34" charset="0"/>
                  <a:ea typeface="Calibri" panose="020F0502020204030204" pitchFamily="34" charset="0"/>
                  <a:cs typeface="Times New Roman" panose="02020603050405020304" pitchFamily="18" charset="0"/>
                </a:rPr>
                <a:t>Percentage of final outcomes among HIV exposed infants registered in a birth cohort.</a:t>
              </a:r>
              <a:endParaRPr lang="bg-BG" sz="1400" dirty="0"/>
            </a:p>
          </p:txBody>
        </p:sp>
        <p:pic>
          <p:nvPicPr>
            <p:cNvPr id="8" name="Картина 77">
              <a:extLst>
                <a:ext uri="{FF2B5EF4-FFF2-40B4-BE49-F238E27FC236}">
                  <a16:creationId xmlns:a16="http://schemas.microsoft.com/office/drawing/2014/main" id="{FAA37948-0743-F862-1314-FDC07A57BA95}"/>
                </a:ext>
              </a:extLst>
            </p:cNvPr>
            <p:cNvPicPr>
              <a:picLocks noChangeAspect="1"/>
            </p:cNvPicPr>
            <p:nvPr/>
          </p:nvPicPr>
          <p:blipFill>
            <a:blip r:embed="rId4"/>
            <a:stretch>
              <a:fillRect/>
            </a:stretch>
          </p:blipFill>
          <p:spPr>
            <a:xfrm>
              <a:off x="843884" y="2193214"/>
              <a:ext cx="2501900" cy="673100"/>
            </a:xfrm>
            <a:custGeom>
              <a:avLst/>
              <a:gdLst>
                <a:gd name="connsiteX0" fmla="*/ 0 w 2501900"/>
                <a:gd name="connsiteY0" fmla="*/ 0 h 673100"/>
                <a:gd name="connsiteX1" fmla="*/ 2508504 w 2501900"/>
                <a:gd name="connsiteY1" fmla="*/ 0 h 673100"/>
                <a:gd name="connsiteX2" fmla="*/ 2508504 w 2501900"/>
                <a:gd name="connsiteY2" fmla="*/ 676656 h 673100"/>
                <a:gd name="connsiteX3" fmla="*/ 0 w 2501900"/>
                <a:gd name="connsiteY3" fmla="*/ 676656 h 673100"/>
              </a:gdLst>
              <a:ahLst/>
              <a:cxnLst>
                <a:cxn ang="0">
                  <a:pos x="connsiteX0" y="connsiteY0"/>
                </a:cxn>
                <a:cxn ang="0">
                  <a:pos x="connsiteX1" y="connsiteY1"/>
                </a:cxn>
                <a:cxn ang="0">
                  <a:pos x="connsiteX2" y="connsiteY2"/>
                </a:cxn>
                <a:cxn ang="0">
                  <a:pos x="connsiteX3" y="connsiteY3"/>
                </a:cxn>
              </a:cxnLst>
              <a:rect l="l" t="t" r="r" b="b"/>
              <a:pathLst>
                <a:path w="2501900" h="673100">
                  <a:moveTo>
                    <a:pt x="0" y="0"/>
                  </a:moveTo>
                  <a:lnTo>
                    <a:pt x="2508504" y="0"/>
                  </a:lnTo>
                  <a:lnTo>
                    <a:pt x="2508504" y="676656"/>
                  </a:lnTo>
                  <a:lnTo>
                    <a:pt x="0" y="676656"/>
                  </a:lnTo>
                  <a:close/>
                </a:path>
              </a:pathLst>
            </a:custGeom>
            <a:ln/>
          </p:spPr>
        </p:pic>
        <p:sp>
          <p:nvSpPr>
            <p:cNvPr id="9" name="Свободна форма: фигура 79">
              <a:extLst>
                <a:ext uri="{FF2B5EF4-FFF2-40B4-BE49-F238E27FC236}">
                  <a16:creationId xmlns:a16="http://schemas.microsoft.com/office/drawing/2014/main" id="{84AAB4F2-64AB-2903-AEEC-41602F9CD501}"/>
                </a:ext>
              </a:extLst>
            </p:cNvPr>
            <p:cNvSpPr/>
            <p:nvPr/>
          </p:nvSpPr>
          <p:spPr>
            <a:xfrm>
              <a:off x="871728" y="2079348"/>
              <a:ext cx="2413000" cy="573638"/>
            </a:xfrm>
            <a:custGeom>
              <a:avLst/>
              <a:gdLst>
                <a:gd name="connsiteX0" fmla="*/ 2357120 w 2413000"/>
                <a:gd name="connsiteY0" fmla="*/ 613664 h 609600"/>
                <a:gd name="connsiteX1" fmla="*/ 64897 w 2413000"/>
                <a:gd name="connsiteY1" fmla="*/ 613664 h 609600"/>
                <a:gd name="connsiteX2" fmla="*/ 0 w 2413000"/>
                <a:gd name="connsiteY2" fmla="*/ 548767 h 609600"/>
                <a:gd name="connsiteX3" fmla="*/ 0 w 2413000"/>
                <a:gd name="connsiteY3" fmla="*/ 64897 h 609600"/>
                <a:gd name="connsiteX4" fmla="*/ 64897 w 2413000"/>
                <a:gd name="connsiteY4" fmla="*/ 0 h 609600"/>
                <a:gd name="connsiteX5" fmla="*/ 2357120 w 2413000"/>
                <a:gd name="connsiteY5" fmla="*/ 0 h 609600"/>
                <a:gd name="connsiteX6" fmla="*/ 2422017 w 2413000"/>
                <a:gd name="connsiteY6" fmla="*/ 64897 h 609600"/>
                <a:gd name="connsiteX7" fmla="*/ 2422017 w 2413000"/>
                <a:gd name="connsiteY7" fmla="*/ 548767 h 609600"/>
                <a:gd name="connsiteX8" fmla="*/ 2357120 w 2413000"/>
                <a:gd name="connsiteY8" fmla="*/ 613664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13000" h="609600">
                  <a:moveTo>
                    <a:pt x="2357120" y="613664"/>
                  </a:moveTo>
                  <a:lnTo>
                    <a:pt x="64897" y="613664"/>
                  </a:lnTo>
                  <a:cubicBezTo>
                    <a:pt x="29083" y="613664"/>
                    <a:pt x="0" y="584581"/>
                    <a:pt x="0" y="548767"/>
                  </a:cubicBezTo>
                  <a:lnTo>
                    <a:pt x="0" y="64897"/>
                  </a:lnTo>
                  <a:cubicBezTo>
                    <a:pt x="0" y="29083"/>
                    <a:pt x="29083" y="0"/>
                    <a:pt x="64897" y="0"/>
                  </a:cubicBezTo>
                  <a:lnTo>
                    <a:pt x="2357120" y="0"/>
                  </a:lnTo>
                  <a:cubicBezTo>
                    <a:pt x="2392934" y="0"/>
                    <a:pt x="2422017" y="29083"/>
                    <a:pt x="2422017" y="64897"/>
                  </a:cubicBezTo>
                  <a:lnTo>
                    <a:pt x="2422017" y="548767"/>
                  </a:lnTo>
                  <a:cubicBezTo>
                    <a:pt x="2422017" y="584708"/>
                    <a:pt x="2392934" y="613664"/>
                    <a:pt x="2357120" y="613664"/>
                  </a:cubicBezTo>
                </a:path>
              </a:pathLst>
            </a:custGeom>
            <a:solidFill>
              <a:schemeClr val="accent1"/>
            </a:solidFill>
            <a:ln w="12689" cap="flat">
              <a:noFill/>
              <a:prstDash val="solid"/>
              <a:miter/>
            </a:ln>
          </p:spPr>
          <p:txBody>
            <a:bodyPr rtlCol="0" anchor="ctr"/>
            <a:lstStyle/>
            <a:p>
              <a:r>
                <a:rPr lang="en-US" dirty="0"/>
                <a:t>          Description</a:t>
              </a:r>
              <a:endParaRPr lang="bg-BG" dirty="0"/>
            </a:p>
          </p:txBody>
        </p:sp>
      </p:grpSp>
      <p:grpSp>
        <p:nvGrpSpPr>
          <p:cNvPr id="19" name="Group 18">
            <a:extLst>
              <a:ext uri="{FF2B5EF4-FFF2-40B4-BE49-F238E27FC236}">
                <a16:creationId xmlns:a16="http://schemas.microsoft.com/office/drawing/2014/main" id="{2EA1526F-0DBB-53B8-AC8E-775264D398E6}"/>
              </a:ext>
            </a:extLst>
          </p:cNvPr>
          <p:cNvGrpSpPr/>
          <p:nvPr/>
        </p:nvGrpSpPr>
        <p:grpSpPr>
          <a:xfrm>
            <a:off x="5005230" y="1925936"/>
            <a:ext cx="2529744" cy="4226674"/>
            <a:chOff x="843884" y="2079348"/>
            <a:chExt cx="2529744" cy="1871686"/>
          </a:xfrm>
        </p:grpSpPr>
        <p:pic>
          <p:nvPicPr>
            <p:cNvPr id="20" name="Картина 75">
              <a:extLst>
                <a:ext uri="{FF2B5EF4-FFF2-40B4-BE49-F238E27FC236}">
                  <a16:creationId xmlns:a16="http://schemas.microsoft.com/office/drawing/2014/main" id="{E62E6D58-7EAB-5CC5-963C-32457C95ECDD}"/>
                </a:ext>
              </a:extLst>
            </p:cNvPr>
            <p:cNvPicPr>
              <a:picLocks noChangeAspect="1"/>
            </p:cNvPicPr>
            <p:nvPr/>
          </p:nvPicPr>
          <p:blipFill>
            <a:blip r:embed="rId3"/>
            <a:stretch>
              <a:fillRect/>
            </a:stretch>
          </p:blipFill>
          <p:spPr>
            <a:xfrm>
              <a:off x="871728" y="2249234"/>
              <a:ext cx="2501900" cy="1701800"/>
            </a:xfrm>
            <a:custGeom>
              <a:avLst/>
              <a:gdLst>
                <a:gd name="connsiteX0" fmla="*/ 0 w 2501900"/>
                <a:gd name="connsiteY0" fmla="*/ 0 h 1701800"/>
                <a:gd name="connsiteX1" fmla="*/ 2508504 w 2501900"/>
                <a:gd name="connsiteY1" fmla="*/ 0 h 1701800"/>
                <a:gd name="connsiteX2" fmla="*/ 2508504 w 2501900"/>
                <a:gd name="connsiteY2" fmla="*/ 1706880 h 1701800"/>
                <a:gd name="connsiteX3" fmla="*/ 0 w 2501900"/>
                <a:gd name="connsiteY3" fmla="*/ 1706880 h 1701800"/>
              </a:gdLst>
              <a:ahLst/>
              <a:cxnLst>
                <a:cxn ang="0">
                  <a:pos x="connsiteX0" y="connsiteY0"/>
                </a:cxn>
                <a:cxn ang="0">
                  <a:pos x="connsiteX1" y="connsiteY1"/>
                </a:cxn>
                <a:cxn ang="0">
                  <a:pos x="connsiteX2" y="connsiteY2"/>
                </a:cxn>
                <a:cxn ang="0">
                  <a:pos x="connsiteX3" y="connsiteY3"/>
                </a:cxn>
              </a:cxnLst>
              <a:rect l="l" t="t" r="r" b="b"/>
              <a:pathLst>
                <a:path w="2501900" h="1701800">
                  <a:moveTo>
                    <a:pt x="0" y="0"/>
                  </a:moveTo>
                  <a:lnTo>
                    <a:pt x="2508504" y="0"/>
                  </a:lnTo>
                  <a:lnTo>
                    <a:pt x="2508504" y="1706880"/>
                  </a:lnTo>
                  <a:lnTo>
                    <a:pt x="0" y="1706880"/>
                  </a:lnTo>
                  <a:close/>
                </a:path>
              </a:pathLst>
            </a:custGeom>
            <a:ln/>
          </p:spPr>
        </p:pic>
        <p:sp>
          <p:nvSpPr>
            <p:cNvPr id="21" name="Свободна форма: фигура 76">
              <a:extLst>
                <a:ext uri="{FF2B5EF4-FFF2-40B4-BE49-F238E27FC236}">
                  <a16:creationId xmlns:a16="http://schemas.microsoft.com/office/drawing/2014/main" id="{A8F78D0F-2B6C-B6ED-DF33-6E03410B9A6F}"/>
                </a:ext>
              </a:extLst>
            </p:cNvPr>
            <p:cNvSpPr/>
            <p:nvPr/>
          </p:nvSpPr>
          <p:spPr>
            <a:xfrm>
              <a:off x="979678" y="2415057"/>
              <a:ext cx="2197100" cy="1397000"/>
            </a:xfrm>
            <a:custGeom>
              <a:avLst/>
              <a:gdLst>
                <a:gd name="connsiteX0" fmla="*/ 2138807 w 2197100"/>
                <a:gd name="connsiteY0" fmla="*/ 1398270 h 1397000"/>
                <a:gd name="connsiteX1" fmla="*/ 64897 w 2197100"/>
                <a:gd name="connsiteY1" fmla="*/ 1398270 h 1397000"/>
                <a:gd name="connsiteX2" fmla="*/ 0 w 2197100"/>
                <a:gd name="connsiteY2" fmla="*/ 1333373 h 1397000"/>
                <a:gd name="connsiteX3" fmla="*/ 0 w 2197100"/>
                <a:gd name="connsiteY3" fmla="*/ 64897 h 1397000"/>
                <a:gd name="connsiteX4" fmla="*/ 64897 w 2197100"/>
                <a:gd name="connsiteY4" fmla="*/ 0 h 1397000"/>
                <a:gd name="connsiteX5" fmla="*/ 2138807 w 2197100"/>
                <a:gd name="connsiteY5" fmla="*/ 0 h 1397000"/>
                <a:gd name="connsiteX6" fmla="*/ 2203704 w 2197100"/>
                <a:gd name="connsiteY6" fmla="*/ 64897 h 1397000"/>
                <a:gd name="connsiteX7" fmla="*/ 2203704 w 2197100"/>
                <a:gd name="connsiteY7" fmla="*/ 1333373 h 1397000"/>
                <a:gd name="connsiteX8" fmla="*/ 2138807 w 2197100"/>
                <a:gd name="connsiteY8" fmla="*/ 1398270 h 139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7100" h="1397000">
                  <a:moveTo>
                    <a:pt x="2138807" y="1398270"/>
                  </a:moveTo>
                  <a:lnTo>
                    <a:pt x="64897" y="1398270"/>
                  </a:lnTo>
                  <a:cubicBezTo>
                    <a:pt x="29083" y="1398270"/>
                    <a:pt x="0" y="1369187"/>
                    <a:pt x="0" y="1333373"/>
                  </a:cubicBezTo>
                  <a:lnTo>
                    <a:pt x="0" y="64897"/>
                  </a:lnTo>
                  <a:cubicBezTo>
                    <a:pt x="0" y="29083"/>
                    <a:pt x="29083" y="0"/>
                    <a:pt x="64897" y="0"/>
                  </a:cubicBezTo>
                  <a:lnTo>
                    <a:pt x="2138807" y="0"/>
                  </a:lnTo>
                  <a:cubicBezTo>
                    <a:pt x="2174621" y="0"/>
                    <a:pt x="2203704" y="29083"/>
                    <a:pt x="2203704" y="64897"/>
                  </a:cubicBezTo>
                  <a:lnTo>
                    <a:pt x="2203704" y="1333373"/>
                  </a:lnTo>
                  <a:cubicBezTo>
                    <a:pt x="2203704" y="1369187"/>
                    <a:pt x="2174621" y="1398270"/>
                    <a:pt x="2138807" y="1398270"/>
                  </a:cubicBezTo>
                </a:path>
              </a:pathLst>
            </a:custGeom>
            <a:solidFill>
              <a:srgbClr val="F4F4F4"/>
            </a:solidFill>
            <a:ln w="12689" cap="flat">
              <a:noFill/>
              <a:prstDash val="solid"/>
              <a:miter/>
            </a:ln>
          </p:spPr>
          <p:txBody>
            <a:bodyPr rtlCol="0" anchor="ctr"/>
            <a:lstStyle/>
            <a:p>
              <a:pPr algn="ct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p>
              <a:pPr algn="ctr"/>
              <a:r>
                <a:rPr lang="en-US" sz="1400" dirty="0">
                  <a:effectLst/>
                  <a:latin typeface="Calibri" panose="020F0502020204030204" pitchFamily="34" charset="0"/>
                  <a:ea typeface="Calibri" panose="020F0502020204030204" pitchFamily="34" charset="0"/>
                  <a:cs typeface="Times New Roman" panose="02020603050405020304" pitchFamily="18" charset="0"/>
                </a:rPr>
                <a:t>Number of HIV-exposed infants who were born 24 months prior to the reporting period and registered in the birth cohort.</a:t>
              </a:r>
              <a:endParaRPr lang="en-NG" sz="1400" dirty="0">
                <a:effectLst/>
                <a:latin typeface="Calibri" panose="020F0502020204030204" pitchFamily="34" charset="0"/>
                <a:ea typeface="Calibri" panose="020F0502020204030204" pitchFamily="34" charset="0"/>
                <a:cs typeface="Times New Roman" panose="02020603050405020304" pitchFamily="18" charset="0"/>
              </a:endParaRPr>
            </a:p>
            <a:p>
              <a:pPr algn="ctr"/>
              <a:endParaRPr lang="bg-BG" sz="1400" dirty="0"/>
            </a:p>
          </p:txBody>
        </p:sp>
        <p:pic>
          <p:nvPicPr>
            <p:cNvPr id="22" name="Картина 77">
              <a:extLst>
                <a:ext uri="{FF2B5EF4-FFF2-40B4-BE49-F238E27FC236}">
                  <a16:creationId xmlns:a16="http://schemas.microsoft.com/office/drawing/2014/main" id="{6A2E83C2-AF99-C499-43C2-324F693D95FE}"/>
                </a:ext>
              </a:extLst>
            </p:cNvPr>
            <p:cNvPicPr>
              <a:picLocks noChangeAspect="1"/>
            </p:cNvPicPr>
            <p:nvPr/>
          </p:nvPicPr>
          <p:blipFill>
            <a:blip r:embed="rId4"/>
            <a:stretch>
              <a:fillRect/>
            </a:stretch>
          </p:blipFill>
          <p:spPr>
            <a:xfrm>
              <a:off x="843884" y="2193214"/>
              <a:ext cx="2501900" cy="673100"/>
            </a:xfrm>
            <a:custGeom>
              <a:avLst/>
              <a:gdLst>
                <a:gd name="connsiteX0" fmla="*/ 0 w 2501900"/>
                <a:gd name="connsiteY0" fmla="*/ 0 h 673100"/>
                <a:gd name="connsiteX1" fmla="*/ 2508504 w 2501900"/>
                <a:gd name="connsiteY1" fmla="*/ 0 h 673100"/>
                <a:gd name="connsiteX2" fmla="*/ 2508504 w 2501900"/>
                <a:gd name="connsiteY2" fmla="*/ 676656 h 673100"/>
                <a:gd name="connsiteX3" fmla="*/ 0 w 2501900"/>
                <a:gd name="connsiteY3" fmla="*/ 676656 h 673100"/>
              </a:gdLst>
              <a:ahLst/>
              <a:cxnLst>
                <a:cxn ang="0">
                  <a:pos x="connsiteX0" y="connsiteY0"/>
                </a:cxn>
                <a:cxn ang="0">
                  <a:pos x="connsiteX1" y="connsiteY1"/>
                </a:cxn>
                <a:cxn ang="0">
                  <a:pos x="connsiteX2" y="connsiteY2"/>
                </a:cxn>
                <a:cxn ang="0">
                  <a:pos x="connsiteX3" y="connsiteY3"/>
                </a:cxn>
              </a:cxnLst>
              <a:rect l="l" t="t" r="r" b="b"/>
              <a:pathLst>
                <a:path w="2501900" h="673100">
                  <a:moveTo>
                    <a:pt x="0" y="0"/>
                  </a:moveTo>
                  <a:lnTo>
                    <a:pt x="2508504" y="0"/>
                  </a:lnTo>
                  <a:lnTo>
                    <a:pt x="2508504" y="676656"/>
                  </a:lnTo>
                  <a:lnTo>
                    <a:pt x="0" y="676656"/>
                  </a:lnTo>
                  <a:close/>
                </a:path>
              </a:pathLst>
            </a:custGeom>
            <a:ln/>
          </p:spPr>
        </p:pic>
        <p:sp>
          <p:nvSpPr>
            <p:cNvPr id="23" name="Свободна форма: фигура 79">
              <a:extLst>
                <a:ext uri="{FF2B5EF4-FFF2-40B4-BE49-F238E27FC236}">
                  <a16:creationId xmlns:a16="http://schemas.microsoft.com/office/drawing/2014/main" id="{94732E2C-5C7B-75AE-572C-977C1DE1FF5B}"/>
                </a:ext>
              </a:extLst>
            </p:cNvPr>
            <p:cNvSpPr/>
            <p:nvPr/>
          </p:nvSpPr>
          <p:spPr>
            <a:xfrm>
              <a:off x="871728" y="2079348"/>
              <a:ext cx="2413000" cy="573638"/>
            </a:xfrm>
            <a:custGeom>
              <a:avLst/>
              <a:gdLst>
                <a:gd name="connsiteX0" fmla="*/ 2357120 w 2413000"/>
                <a:gd name="connsiteY0" fmla="*/ 613664 h 609600"/>
                <a:gd name="connsiteX1" fmla="*/ 64897 w 2413000"/>
                <a:gd name="connsiteY1" fmla="*/ 613664 h 609600"/>
                <a:gd name="connsiteX2" fmla="*/ 0 w 2413000"/>
                <a:gd name="connsiteY2" fmla="*/ 548767 h 609600"/>
                <a:gd name="connsiteX3" fmla="*/ 0 w 2413000"/>
                <a:gd name="connsiteY3" fmla="*/ 64897 h 609600"/>
                <a:gd name="connsiteX4" fmla="*/ 64897 w 2413000"/>
                <a:gd name="connsiteY4" fmla="*/ 0 h 609600"/>
                <a:gd name="connsiteX5" fmla="*/ 2357120 w 2413000"/>
                <a:gd name="connsiteY5" fmla="*/ 0 h 609600"/>
                <a:gd name="connsiteX6" fmla="*/ 2422017 w 2413000"/>
                <a:gd name="connsiteY6" fmla="*/ 64897 h 609600"/>
                <a:gd name="connsiteX7" fmla="*/ 2422017 w 2413000"/>
                <a:gd name="connsiteY7" fmla="*/ 548767 h 609600"/>
                <a:gd name="connsiteX8" fmla="*/ 2357120 w 2413000"/>
                <a:gd name="connsiteY8" fmla="*/ 613664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13000" h="609600">
                  <a:moveTo>
                    <a:pt x="2357120" y="613664"/>
                  </a:moveTo>
                  <a:lnTo>
                    <a:pt x="64897" y="613664"/>
                  </a:lnTo>
                  <a:cubicBezTo>
                    <a:pt x="29083" y="613664"/>
                    <a:pt x="0" y="584581"/>
                    <a:pt x="0" y="548767"/>
                  </a:cubicBezTo>
                  <a:lnTo>
                    <a:pt x="0" y="64897"/>
                  </a:lnTo>
                  <a:cubicBezTo>
                    <a:pt x="0" y="29083"/>
                    <a:pt x="29083" y="0"/>
                    <a:pt x="64897" y="0"/>
                  </a:cubicBezTo>
                  <a:lnTo>
                    <a:pt x="2357120" y="0"/>
                  </a:lnTo>
                  <a:cubicBezTo>
                    <a:pt x="2392934" y="0"/>
                    <a:pt x="2422017" y="29083"/>
                    <a:pt x="2422017" y="64897"/>
                  </a:cubicBezTo>
                  <a:lnTo>
                    <a:pt x="2422017" y="548767"/>
                  </a:lnTo>
                  <a:cubicBezTo>
                    <a:pt x="2422017" y="584708"/>
                    <a:pt x="2392934" y="613664"/>
                    <a:pt x="2357120" y="613664"/>
                  </a:cubicBezTo>
                </a:path>
              </a:pathLst>
            </a:custGeom>
            <a:solidFill>
              <a:srgbClr val="92D050"/>
            </a:solidFill>
            <a:ln w="12689" cap="flat">
              <a:noFill/>
              <a:prstDash val="solid"/>
              <a:miter/>
            </a:ln>
          </p:spPr>
          <p:txBody>
            <a:bodyPr rtlCol="0" anchor="ctr"/>
            <a:lstStyle/>
            <a:p>
              <a:r>
                <a:rPr lang="en-US" dirty="0"/>
                <a:t>          Denominator</a:t>
              </a:r>
              <a:endParaRPr lang="bg-BG" dirty="0"/>
            </a:p>
          </p:txBody>
        </p:sp>
      </p:grpSp>
      <p:grpSp>
        <p:nvGrpSpPr>
          <p:cNvPr id="24" name="Group 23">
            <a:extLst>
              <a:ext uri="{FF2B5EF4-FFF2-40B4-BE49-F238E27FC236}">
                <a16:creationId xmlns:a16="http://schemas.microsoft.com/office/drawing/2014/main" id="{E6BC21EF-40CB-A3F6-C5F0-942D33E84DE3}"/>
              </a:ext>
            </a:extLst>
          </p:cNvPr>
          <p:cNvGrpSpPr/>
          <p:nvPr/>
        </p:nvGrpSpPr>
        <p:grpSpPr>
          <a:xfrm>
            <a:off x="9224805" y="1925936"/>
            <a:ext cx="2529744" cy="4226674"/>
            <a:chOff x="843884" y="2079348"/>
            <a:chExt cx="2529744" cy="1871686"/>
          </a:xfrm>
        </p:grpSpPr>
        <p:pic>
          <p:nvPicPr>
            <p:cNvPr id="25" name="Картина 75">
              <a:extLst>
                <a:ext uri="{FF2B5EF4-FFF2-40B4-BE49-F238E27FC236}">
                  <a16:creationId xmlns:a16="http://schemas.microsoft.com/office/drawing/2014/main" id="{2185EB07-98BE-F162-3F7B-E9C3C69373E3}"/>
                </a:ext>
              </a:extLst>
            </p:cNvPr>
            <p:cNvPicPr>
              <a:picLocks noChangeAspect="1"/>
            </p:cNvPicPr>
            <p:nvPr/>
          </p:nvPicPr>
          <p:blipFill>
            <a:blip r:embed="rId3"/>
            <a:stretch>
              <a:fillRect/>
            </a:stretch>
          </p:blipFill>
          <p:spPr>
            <a:xfrm>
              <a:off x="871728" y="2249234"/>
              <a:ext cx="2501900" cy="1701800"/>
            </a:xfrm>
            <a:custGeom>
              <a:avLst/>
              <a:gdLst>
                <a:gd name="connsiteX0" fmla="*/ 0 w 2501900"/>
                <a:gd name="connsiteY0" fmla="*/ 0 h 1701800"/>
                <a:gd name="connsiteX1" fmla="*/ 2508504 w 2501900"/>
                <a:gd name="connsiteY1" fmla="*/ 0 h 1701800"/>
                <a:gd name="connsiteX2" fmla="*/ 2508504 w 2501900"/>
                <a:gd name="connsiteY2" fmla="*/ 1706880 h 1701800"/>
                <a:gd name="connsiteX3" fmla="*/ 0 w 2501900"/>
                <a:gd name="connsiteY3" fmla="*/ 1706880 h 1701800"/>
              </a:gdLst>
              <a:ahLst/>
              <a:cxnLst>
                <a:cxn ang="0">
                  <a:pos x="connsiteX0" y="connsiteY0"/>
                </a:cxn>
                <a:cxn ang="0">
                  <a:pos x="connsiteX1" y="connsiteY1"/>
                </a:cxn>
                <a:cxn ang="0">
                  <a:pos x="connsiteX2" y="connsiteY2"/>
                </a:cxn>
                <a:cxn ang="0">
                  <a:pos x="connsiteX3" y="connsiteY3"/>
                </a:cxn>
              </a:cxnLst>
              <a:rect l="l" t="t" r="r" b="b"/>
              <a:pathLst>
                <a:path w="2501900" h="1701800">
                  <a:moveTo>
                    <a:pt x="0" y="0"/>
                  </a:moveTo>
                  <a:lnTo>
                    <a:pt x="2508504" y="0"/>
                  </a:lnTo>
                  <a:lnTo>
                    <a:pt x="2508504" y="1706880"/>
                  </a:lnTo>
                  <a:lnTo>
                    <a:pt x="0" y="1706880"/>
                  </a:lnTo>
                  <a:close/>
                </a:path>
              </a:pathLst>
            </a:custGeom>
            <a:ln/>
          </p:spPr>
        </p:pic>
        <p:sp>
          <p:nvSpPr>
            <p:cNvPr id="26" name="Свободна форма: фигура 76">
              <a:extLst>
                <a:ext uri="{FF2B5EF4-FFF2-40B4-BE49-F238E27FC236}">
                  <a16:creationId xmlns:a16="http://schemas.microsoft.com/office/drawing/2014/main" id="{320F1E17-FB82-A94E-033C-039418367EB4}"/>
                </a:ext>
              </a:extLst>
            </p:cNvPr>
            <p:cNvSpPr/>
            <p:nvPr/>
          </p:nvSpPr>
          <p:spPr>
            <a:xfrm>
              <a:off x="996284" y="2396797"/>
              <a:ext cx="2197100" cy="1397000"/>
            </a:xfrm>
            <a:custGeom>
              <a:avLst/>
              <a:gdLst>
                <a:gd name="connsiteX0" fmla="*/ 2138807 w 2197100"/>
                <a:gd name="connsiteY0" fmla="*/ 1398270 h 1397000"/>
                <a:gd name="connsiteX1" fmla="*/ 64897 w 2197100"/>
                <a:gd name="connsiteY1" fmla="*/ 1398270 h 1397000"/>
                <a:gd name="connsiteX2" fmla="*/ 0 w 2197100"/>
                <a:gd name="connsiteY2" fmla="*/ 1333373 h 1397000"/>
                <a:gd name="connsiteX3" fmla="*/ 0 w 2197100"/>
                <a:gd name="connsiteY3" fmla="*/ 64897 h 1397000"/>
                <a:gd name="connsiteX4" fmla="*/ 64897 w 2197100"/>
                <a:gd name="connsiteY4" fmla="*/ 0 h 1397000"/>
                <a:gd name="connsiteX5" fmla="*/ 2138807 w 2197100"/>
                <a:gd name="connsiteY5" fmla="*/ 0 h 1397000"/>
                <a:gd name="connsiteX6" fmla="*/ 2203704 w 2197100"/>
                <a:gd name="connsiteY6" fmla="*/ 64897 h 1397000"/>
                <a:gd name="connsiteX7" fmla="*/ 2203704 w 2197100"/>
                <a:gd name="connsiteY7" fmla="*/ 1333373 h 1397000"/>
                <a:gd name="connsiteX8" fmla="*/ 2138807 w 2197100"/>
                <a:gd name="connsiteY8" fmla="*/ 1398270 h 139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7100" h="1397000">
                  <a:moveTo>
                    <a:pt x="2138807" y="1398270"/>
                  </a:moveTo>
                  <a:lnTo>
                    <a:pt x="64897" y="1398270"/>
                  </a:lnTo>
                  <a:cubicBezTo>
                    <a:pt x="29083" y="1398270"/>
                    <a:pt x="0" y="1369187"/>
                    <a:pt x="0" y="1333373"/>
                  </a:cubicBezTo>
                  <a:lnTo>
                    <a:pt x="0" y="64897"/>
                  </a:lnTo>
                  <a:cubicBezTo>
                    <a:pt x="0" y="29083"/>
                    <a:pt x="29083" y="0"/>
                    <a:pt x="64897" y="0"/>
                  </a:cubicBezTo>
                  <a:lnTo>
                    <a:pt x="2138807" y="0"/>
                  </a:lnTo>
                  <a:cubicBezTo>
                    <a:pt x="2174621" y="0"/>
                    <a:pt x="2203704" y="29083"/>
                    <a:pt x="2203704" y="64897"/>
                  </a:cubicBezTo>
                  <a:lnTo>
                    <a:pt x="2203704" y="1333373"/>
                  </a:lnTo>
                  <a:cubicBezTo>
                    <a:pt x="2203704" y="1369187"/>
                    <a:pt x="2174621" y="1398270"/>
                    <a:pt x="2138807" y="1398270"/>
                  </a:cubicBezTo>
                </a:path>
              </a:pathLst>
            </a:custGeom>
            <a:solidFill>
              <a:srgbClr val="F4F4F4"/>
            </a:solidFill>
            <a:ln w="12689" cap="flat">
              <a:noFill/>
              <a:prstDash val="solid"/>
              <a:miter/>
            </a:ln>
          </p:spPr>
          <p:txBody>
            <a:bodyPr rtlCol="0" anchor="ctr"/>
            <a:lstStyle/>
            <a:p>
              <a:pPr algn="ctr"/>
              <a:r>
                <a:rPr lang="en-US" sz="1400" dirty="0">
                  <a:effectLst/>
                  <a:latin typeface="Calibri" panose="020F0502020204030204" pitchFamily="34" charset="0"/>
                  <a:ea typeface="Calibri" panose="020F0502020204030204" pitchFamily="34" charset="0"/>
                  <a:cs typeface="Times New Roman" panose="02020603050405020304" pitchFamily="18" charset="0"/>
                </a:rPr>
                <a:t>Number of HIV-exposed infants with a documented outcome by 18 months of age disaggregated by outcome type.</a:t>
              </a:r>
              <a:endParaRPr lang="bg-BG" sz="1400" dirty="0"/>
            </a:p>
          </p:txBody>
        </p:sp>
        <p:pic>
          <p:nvPicPr>
            <p:cNvPr id="27" name="Картина 77">
              <a:extLst>
                <a:ext uri="{FF2B5EF4-FFF2-40B4-BE49-F238E27FC236}">
                  <a16:creationId xmlns:a16="http://schemas.microsoft.com/office/drawing/2014/main" id="{24678BD9-B6E0-922A-BF13-B658BE6D7E79}"/>
                </a:ext>
              </a:extLst>
            </p:cNvPr>
            <p:cNvPicPr>
              <a:picLocks noChangeAspect="1"/>
            </p:cNvPicPr>
            <p:nvPr/>
          </p:nvPicPr>
          <p:blipFill>
            <a:blip r:embed="rId4"/>
            <a:stretch>
              <a:fillRect/>
            </a:stretch>
          </p:blipFill>
          <p:spPr>
            <a:xfrm>
              <a:off x="843884" y="2193214"/>
              <a:ext cx="2501900" cy="673100"/>
            </a:xfrm>
            <a:custGeom>
              <a:avLst/>
              <a:gdLst>
                <a:gd name="connsiteX0" fmla="*/ 0 w 2501900"/>
                <a:gd name="connsiteY0" fmla="*/ 0 h 673100"/>
                <a:gd name="connsiteX1" fmla="*/ 2508504 w 2501900"/>
                <a:gd name="connsiteY1" fmla="*/ 0 h 673100"/>
                <a:gd name="connsiteX2" fmla="*/ 2508504 w 2501900"/>
                <a:gd name="connsiteY2" fmla="*/ 676656 h 673100"/>
                <a:gd name="connsiteX3" fmla="*/ 0 w 2501900"/>
                <a:gd name="connsiteY3" fmla="*/ 676656 h 673100"/>
              </a:gdLst>
              <a:ahLst/>
              <a:cxnLst>
                <a:cxn ang="0">
                  <a:pos x="connsiteX0" y="connsiteY0"/>
                </a:cxn>
                <a:cxn ang="0">
                  <a:pos x="connsiteX1" y="connsiteY1"/>
                </a:cxn>
                <a:cxn ang="0">
                  <a:pos x="connsiteX2" y="connsiteY2"/>
                </a:cxn>
                <a:cxn ang="0">
                  <a:pos x="connsiteX3" y="connsiteY3"/>
                </a:cxn>
              </a:cxnLst>
              <a:rect l="l" t="t" r="r" b="b"/>
              <a:pathLst>
                <a:path w="2501900" h="673100">
                  <a:moveTo>
                    <a:pt x="0" y="0"/>
                  </a:moveTo>
                  <a:lnTo>
                    <a:pt x="2508504" y="0"/>
                  </a:lnTo>
                  <a:lnTo>
                    <a:pt x="2508504" y="676656"/>
                  </a:lnTo>
                  <a:lnTo>
                    <a:pt x="0" y="676656"/>
                  </a:lnTo>
                  <a:close/>
                </a:path>
              </a:pathLst>
            </a:custGeom>
            <a:ln/>
          </p:spPr>
        </p:pic>
        <p:sp>
          <p:nvSpPr>
            <p:cNvPr id="28" name="Свободна форма: фигура 79">
              <a:extLst>
                <a:ext uri="{FF2B5EF4-FFF2-40B4-BE49-F238E27FC236}">
                  <a16:creationId xmlns:a16="http://schemas.microsoft.com/office/drawing/2014/main" id="{11C40151-090B-88ED-5F43-FB823F510F1C}"/>
                </a:ext>
              </a:extLst>
            </p:cNvPr>
            <p:cNvSpPr/>
            <p:nvPr/>
          </p:nvSpPr>
          <p:spPr>
            <a:xfrm>
              <a:off x="871728" y="2079348"/>
              <a:ext cx="2413000" cy="573638"/>
            </a:xfrm>
            <a:custGeom>
              <a:avLst/>
              <a:gdLst>
                <a:gd name="connsiteX0" fmla="*/ 2357120 w 2413000"/>
                <a:gd name="connsiteY0" fmla="*/ 613664 h 609600"/>
                <a:gd name="connsiteX1" fmla="*/ 64897 w 2413000"/>
                <a:gd name="connsiteY1" fmla="*/ 613664 h 609600"/>
                <a:gd name="connsiteX2" fmla="*/ 0 w 2413000"/>
                <a:gd name="connsiteY2" fmla="*/ 548767 h 609600"/>
                <a:gd name="connsiteX3" fmla="*/ 0 w 2413000"/>
                <a:gd name="connsiteY3" fmla="*/ 64897 h 609600"/>
                <a:gd name="connsiteX4" fmla="*/ 64897 w 2413000"/>
                <a:gd name="connsiteY4" fmla="*/ 0 h 609600"/>
                <a:gd name="connsiteX5" fmla="*/ 2357120 w 2413000"/>
                <a:gd name="connsiteY5" fmla="*/ 0 h 609600"/>
                <a:gd name="connsiteX6" fmla="*/ 2422017 w 2413000"/>
                <a:gd name="connsiteY6" fmla="*/ 64897 h 609600"/>
                <a:gd name="connsiteX7" fmla="*/ 2422017 w 2413000"/>
                <a:gd name="connsiteY7" fmla="*/ 548767 h 609600"/>
                <a:gd name="connsiteX8" fmla="*/ 2357120 w 2413000"/>
                <a:gd name="connsiteY8" fmla="*/ 613664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13000" h="609600">
                  <a:moveTo>
                    <a:pt x="2357120" y="613664"/>
                  </a:moveTo>
                  <a:lnTo>
                    <a:pt x="64897" y="613664"/>
                  </a:lnTo>
                  <a:cubicBezTo>
                    <a:pt x="29083" y="613664"/>
                    <a:pt x="0" y="584581"/>
                    <a:pt x="0" y="548767"/>
                  </a:cubicBezTo>
                  <a:lnTo>
                    <a:pt x="0" y="64897"/>
                  </a:lnTo>
                  <a:cubicBezTo>
                    <a:pt x="0" y="29083"/>
                    <a:pt x="29083" y="0"/>
                    <a:pt x="64897" y="0"/>
                  </a:cubicBezTo>
                  <a:lnTo>
                    <a:pt x="2357120" y="0"/>
                  </a:lnTo>
                  <a:cubicBezTo>
                    <a:pt x="2392934" y="0"/>
                    <a:pt x="2422017" y="29083"/>
                    <a:pt x="2422017" y="64897"/>
                  </a:cubicBezTo>
                  <a:lnTo>
                    <a:pt x="2422017" y="548767"/>
                  </a:lnTo>
                  <a:cubicBezTo>
                    <a:pt x="2422017" y="584708"/>
                    <a:pt x="2392934" y="613664"/>
                    <a:pt x="2357120" y="613664"/>
                  </a:cubicBezTo>
                </a:path>
              </a:pathLst>
            </a:custGeom>
            <a:solidFill>
              <a:schemeClr val="accent1"/>
            </a:solidFill>
            <a:ln w="12689" cap="flat">
              <a:noFill/>
              <a:prstDash val="solid"/>
              <a:miter/>
            </a:ln>
          </p:spPr>
          <p:txBody>
            <a:bodyPr rtlCol="0" anchor="ctr"/>
            <a:lstStyle/>
            <a:p>
              <a:r>
                <a:rPr lang="en-US" dirty="0"/>
                <a:t>          Numerator</a:t>
              </a:r>
              <a:endParaRPr lang="bg-BG" dirty="0"/>
            </a:p>
          </p:txBody>
        </p:sp>
      </p:grpSp>
      <p:sp>
        <p:nvSpPr>
          <p:cNvPr id="31" name="Freeform 251">
            <a:extLst>
              <a:ext uri="{FF2B5EF4-FFF2-40B4-BE49-F238E27FC236}">
                <a16:creationId xmlns:a16="http://schemas.microsoft.com/office/drawing/2014/main" id="{B861DED8-6089-EE9E-240A-891C94194D37}"/>
              </a:ext>
            </a:extLst>
          </p:cNvPr>
          <p:cNvSpPr>
            <a:spLocks/>
          </p:cNvSpPr>
          <p:nvPr/>
        </p:nvSpPr>
        <p:spPr bwMode="auto">
          <a:xfrm>
            <a:off x="3838661" y="3867388"/>
            <a:ext cx="248233" cy="363705"/>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solidFill>
            <a:srgbClr val="4454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Light"/>
            </a:endParaRPr>
          </a:p>
        </p:txBody>
      </p:sp>
      <p:sp>
        <p:nvSpPr>
          <p:cNvPr id="32" name="Freeform 251">
            <a:extLst>
              <a:ext uri="{FF2B5EF4-FFF2-40B4-BE49-F238E27FC236}">
                <a16:creationId xmlns:a16="http://schemas.microsoft.com/office/drawing/2014/main" id="{5035F5E8-ECC6-315B-60FE-1EA49C004617}"/>
              </a:ext>
            </a:extLst>
          </p:cNvPr>
          <p:cNvSpPr>
            <a:spLocks/>
          </p:cNvSpPr>
          <p:nvPr/>
        </p:nvSpPr>
        <p:spPr bwMode="auto">
          <a:xfrm>
            <a:off x="4040771" y="3867388"/>
            <a:ext cx="248233" cy="363705"/>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solidFill>
            <a:srgbClr val="4454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Light"/>
            </a:endParaRPr>
          </a:p>
        </p:txBody>
      </p:sp>
      <p:sp>
        <p:nvSpPr>
          <p:cNvPr id="34" name="Freeform 251">
            <a:extLst>
              <a:ext uri="{FF2B5EF4-FFF2-40B4-BE49-F238E27FC236}">
                <a16:creationId xmlns:a16="http://schemas.microsoft.com/office/drawing/2014/main" id="{2E4C47E6-6135-35D6-CF7C-2F438F39CBFF}"/>
              </a:ext>
            </a:extLst>
          </p:cNvPr>
          <p:cNvSpPr>
            <a:spLocks/>
          </p:cNvSpPr>
          <p:nvPr/>
        </p:nvSpPr>
        <p:spPr bwMode="auto">
          <a:xfrm>
            <a:off x="7876199" y="3867387"/>
            <a:ext cx="248233" cy="363705"/>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solidFill>
            <a:srgbClr val="4454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Light"/>
            </a:endParaRPr>
          </a:p>
        </p:txBody>
      </p:sp>
      <p:sp>
        <p:nvSpPr>
          <p:cNvPr id="35" name="Freeform 251">
            <a:extLst>
              <a:ext uri="{FF2B5EF4-FFF2-40B4-BE49-F238E27FC236}">
                <a16:creationId xmlns:a16="http://schemas.microsoft.com/office/drawing/2014/main" id="{9AB6035F-8A04-78C3-BBC4-6DB411572D6F}"/>
              </a:ext>
            </a:extLst>
          </p:cNvPr>
          <p:cNvSpPr>
            <a:spLocks/>
          </p:cNvSpPr>
          <p:nvPr/>
        </p:nvSpPr>
        <p:spPr bwMode="auto">
          <a:xfrm>
            <a:off x="8084942" y="3867386"/>
            <a:ext cx="248233" cy="363705"/>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solidFill>
            <a:srgbClr val="4454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Light"/>
            </a:endParaRPr>
          </a:p>
        </p:txBody>
      </p:sp>
    </p:spTree>
    <p:extLst>
      <p:ext uri="{BB962C8B-B14F-4D97-AF65-F5344CB8AC3E}">
        <p14:creationId xmlns:p14="http://schemas.microsoft.com/office/powerpoint/2010/main" val="334914263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AC5FD8C-1AF9-4BEB-A638-5263D7C2792C}"/>
              </a:ext>
            </a:extLst>
          </p:cNvPr>
          <p:cNvSpPr/>
          <p:nvPr/>
        </p:nvSpPr>
        <p:spPr>
          <a:xfrm>
            <a:off x="0" y="3494627"/>
            <a:ext cx="12172949" cy="1242634"/>
          </a:xfrm>
          <a:prstGeom prst="rect">
            <a:avLst/>
          </a:prstGeom>
          <a:solidFill>
            <a:srgbClr val="E7E6E6"/>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2" name="Title 1">
            <a:extLst>
              <a:ext uri="{FF2B5EF4-FFF2-40B4-BE49-F238E27FC236}">
                <a16:creationId xmlns:a16="http://schemas.microsoft.com/office/drawing/2014/main" id="{1BD024B5-574F-472D-AF3D-A31FBBD0B863}"/>
              </a:ext>
            </a:extLst>
          </p:cNvPr>
          <p:cNvSpPr>
            <a:spLocks noGrp="1"/>
          </p:cNvSpPr>
          <p:nvPr>
            <p:ph type="title"/>
          </p:nvPr>
        </p:nvSpPr>
        <p:spPr>
          <a:xfrm>
            <a:off x="0" y="0"/>
            <a:ext cx="10972800" cy="1143000"/>
          </a:xfrm>
        </p:spPr>
        <p:txBody>
          <a:bodyPr>
            <a:normAutofit/>
          </a:bodyPr>
          <a:lstStyle/>
          <a:p>
            <a:r>
              <a:rPr lang="en-US" sz="3600" dirty="0">
                <a:solidFill>
                  <a:schemeClr val="tx2">
                    <a:lumMod val="75000"/>
                  </a:schemeClr>
                </a:solidFill>
              </a:rPr>
              <a:t>PMTCT_FO</a:t>
            </a:r>
            <a:endParaRPr lang="en-NG" sz="3600" dirty="0">
              <a:solidFill>
                <a:schemeClr val="tx2">
                  <a:lumMod val="75000"/>
                </a:schemeClr>
              </a:solidFill>
            </a:endParaRPr>
          </a:p>
        </p:txBody>
      </p:sp>
      <p:sp>
        <p:nvSpPr>
          <p:cNvPr id="31" name="Freeform 251">
            <a:extLst>
              <a:ext uri="{FF2B5EF4-FFF2-40B4-BE49-F238E27FC236}">
                <a16:creationId xmlns:a16="http://schemas.microsoft.com/office/drawing/2014/main" id="{B861DED8-6089-EE9E-240A-891C94194D37}"/>
              </a:ext>
            </a:extLst>
          </p:cNvPr>
          <p:cNvSpPr>
            <a:spLocks/>
          </p:cNvSpPr>
          <p:nvPr/>
        </p:nvSpPr>
        <p:spPr bwMode="auto">
          <a:xfrm>
            <a:off x="3838661" y="3867388"/>
            <a:ext cx="248233" cy="363705"/>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solidFill>
            <a:srgbClr val="4454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Light"/>
            </a:endParaRPr>
          </a:p>
        </p:txBody>
      </p:sp>
      <p:sp>
        <p:nvSpPr>
          <p:cNvPr id="32" name="Freeform 251">
            <a:extLst>
              <a:ext uri="{FF2B5EF4-FFF2-40B4-BE49-F238E27FC236}">
                <a16:creationId xmlns:a16="http://schemas.microsoft.com/office/drawing/2014/main" id="{5035F5E8-ECC6-315B-60FE-1EA49C004617}"/>
              </a:ext>
            </a:extLst>
          </p:cNvPr>
          <p:cNvSpPr>
            <a:spLocks/>
          </p:cNvSpPr>
          <p:nvPr/>
        </p:nvSpPr>
        <p:spPr bwMode="auto">
          <a:xfrm>
            <a:off x="4040771" y="3867388"/>
            <a:ext cx="248233" cy="363705"/>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solidFill>
            <a:srgbClr val="4454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Light"/>
            </a:endParaRPr>
          </a:p>
        </p:txBody>
      </p:sp>
      <p:sp>
        <p:nvSpPr>
          <p:cNvPr id="34" name="Freeform 251">
            <a:extLst>
              <a:ext uri="{FF2B5EF4-FFF2-40B4-BE49-F238E27FC236}">
                <a16:creationId xmlns:a16="http://schemas.microsoft.com/office/drawing/2014/main" id="{2E4C47E6-6135-35D6-CF7C-2F438F39CBFF}"/>
              </a:ext>
            </a:extLst>
          </p:cNvPr>
          <p:cNvSpPr>
            <a:spLocks/>
          </p:cNvSpPr>
          <p:nvPr/>
        </p:nvSpPr>
        <p:spPr bwMode="auto">
          <a:xfrm>
            <a:off x="7876199" y="3867387"/>
            <a:ext cx="248233" cy="363705"/>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solidFill>
            <a:srgbClr val="4454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Light"/>
            </a:endParaRPr>
          </a:p>
        </p:txBody>
      </p:sp>
      <p:sp>
        <p:nvSpPr>
          <p:cNvPr id="35" name="Freeform 251">
            <a:extLst>
              <a:ext uri="{FF2B5EF4-FFF2-40B4-BE49-F238E27FC236}">
                <a16:creationId xmlns:a16="http://schemas.microsoft.com/office/drawing/2014/main" id="{9AB6035F-8A04-78C3-BBC4-6DB411572D6F}"/>
              </a:ext>
            </a:extLst>
          </p:cNvPr>
          <p:cNvSpPr>
            <a:spLocks/>
          </p:cNvSpPr>
          <p:nvPr/>
        </p:nvSpPr>
        <p:spPr bwMode="auto">
          <a:xfrm>
            <a:off x="8084942" y="3867386"/>
            <a:ext cx="248233" cy="363705"/>
          </a:xfrm>
          <a:custGeom>
            <a:avLst/>
            <a:gdLst>
              <a:gd name="T0" fmla="*/ 346 w 348"/>
              <a:gd name="T1" fmla="*/ 260 h 535"/>
              <a:gd name="T2" fmla="*/ 87 w 348"/>
              <a:gd name="T3" fmla="*/ 2 h 535"/>
              <a:gd name="T4" fmla="*/ 84 w 348"/>
              <a:gd name="T5" fmla="*/ 0 h 535"/>
              <a:gd name="T6" fmla="*/ 80 w 348"/>
              <a:gd name="T7" fmla="*/ 0 h 535"/>
              <a:gd name="T8" fmla="*/ 77 w 348"/>
              <a:gd name="T9" fmla="*/ 0 h 535"/>
              <a:gd name="T10" fmla="*/ 73 w 348"/>
              <a:gd name="T11" fmla="*/ 2 h 535"/>
              <a:gd name="T12" fmla="*/ 4 w 348"/>
              <a:gd name="T13" fmla="*/ 72 h 535"/>
              <a:gd name="T14" fmla="*/ 2 w 348"/>
              <a:gd name="T15" fmla="*/ 75 h 535"/>
              <a:gd name="T16" fmla="*/ 0 w 348"/>
              <a:gd name="T17" fmla="*/ 79 h 535"/>
              <a:gd name="T18" fmla="*/ 2 w 348"/>
              <a:gd name="T19" fmla="*/ 83 h 535"/>
              <a:gd name="T20" fmla="*/ 4 w 348"/>
              <a:gd name="T21" fmla="*/ 86 h 535"/>
              <a:gd name="T22" fmla="*/ 185 w 348"/>
              <a:gd name="T23" fmla="*/ 268 h 535"/>
              <a:gd name="T24" fmla="*/ 4 w 348"/>
              <a:gd name="T25" fmla="*/ 449 h 535"/>
              <a:gd name="T26" fmla="*/ 2 w 348"/>
              <a:gd name="T27" fmla="*/ 452 h 535"/>
              <a:gd name="T28" fmla="*/ 0 w 348"/>
              <a:gd name="T29" fmla="*/ 457 h 535"/>
              <a:gd name="T30" fmla="*/ 2 w 348"/>
              <a:gd name="T31" fmla="*/ 460 h 535"/>
              <a:gd name="T32" fmla="*/ 4 w 348"/>
              <a:gd name="T33" fmla="*/ 463 h 535"/>
              <a:gd name="T34" fmla="*/ 74 w 348"/>
              <a:gd name="T35" fmla="*/ 532 h 535"/>
              <a:gd name="T36" fmla="*/ 77 w 348"/>
              <a:gd name="T37" fmla="*/ 534 h 535"/>
              <a:gd name="T38" fmla="*/ 80 w 348"/>
              <a:gd name="T39" fmla="*/ 535 h 535"/>
              <a:gd name="T40" fmla="*/ 84 w 348"/>
              <a:gd name="T41" fmla="*/ 534 h 535"/>
              <a:gd name="T42" fmla="*/ 87 w 348"/>
              <a:gd name="T43" fmla="*/ 533 h 535"/>
              <a:gd name="T44" fmla="*/ 346 w 348"/>
              <a:gd name="T45" fmla="*/ 274 h 535"/>
              <a:gd name="T46" fmla="*/ 348 w 348"/>
              <a:gd name="T47" fmla="*/ 271 h 535"/>
              <a:gd name="T48" fmla="*/ 348 w 348"/>
              <a:gd name="T49" fmla="*/ 268 h 535"/>
              <a:gd name="T50" fmla="*/ 348 w 348"/>
              <a:gd name="T51" fmla="*/ 263 h 535"/>
              <a:gd name="T52" fmla="*/ 346 w 348"/>
              <a:gd name="T53" fmla="*/ 26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535">
                <a:moveTo>
                  <a:pt x="346" y="260"/>
                </a:moveTo>
                <a:lnTo>
                  <a:pt x="87" y="2"/>
                </a:lnTo>
                <a:lnTo>
                  <a:pt x="84" y="0"/>
                </a:lnTo>
                <a:lnTo>
                  <a:pt x="80" y="0"/>
                </a:lnTo>
                <a:lnTo>
                  <a:pt x="77" y="0"/>
                </a:lnTo>
                <a:lnTo>
                  <a:pt x="73" y="2"/>
                </a:lnTo>
                <a:lnTo>
                  <a:pt x="4" y="72"/>
                </a:lnTo>
                <a:lnTo>
                  <a:pt x="2" y="75"/>
                </a:lnTo>
                <a:lnTo>
                  <a:pt x="0" y="79"/>
                </a:lnTo>
                <a:lnTo>
                  <a:pt x="2" y="83"/>
                </a:lnTo>
                <a:lnTo>
                  <a:pt x="4" y="86"/>
                </a:lnTo>
                <a:lnTo>
                  <a:pt x="185" y="268"/>
                </a:lnTo>
                <a:lnTo>
                  <a:pt x="4" y="449"/>
                </a:lnTo>
                <a:lnTo>
                  <a:pt x="2" y="452"/>
                </a:lnTo>
                <a:lnTo>
                  <a:pt x="0" y="457"/>
                </a:lnTo>
                <a:lnTo>
                  <a:pt x="2" y="460"/>
                </a:lnTo>
                <a:lnTo>
                  <a:pt x="4" y="463"/>
                </a:lnTo>
                <a:lnTo>
                  <a:pt x="74" y="532"/>
                </a:lnTo>
                <a:lnTo>
                  <a:pt x="77" y="534"/>
                </a:lnTo>
                <a:lnTo>
                  <a:pt x="80" y="535"/>
                </a:lnTo>
                <a:lnTo>
                  <a:pt x="84" y="534"/>
                </a:lnTo>
                <a:lnTo>
                  <a:pt x="87" y="533"/>
                </a:lnTo>
                <a:lnTo>
                  <a:pt x="346" y="274"/>
                </a:lnTo>
                <a:lnTo>
                  <a:pt x="348" y="271"/>
                </a:lnTo>
                <a:lnTo>
                  <a:pt x="348" y="268"/>
                </a:lnTo>
                <a:lnTo>
                  <a:pt x="348" y="263"/>
                </a:lnTo>
                <a:lnTo>
                  <a:pt x="346" y="260"/>
                </a:lnTo>
                <a:close/>
              </a:path>
            </a:pathLst>
          </a:custGeom>
          <a:solidFill>
            <a:srgbClr val="4454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Light"/>
            </a:endParaRPr>
          </a:p>
        </p:txBody>
      </p:sp>
      <p:grpSp>
        <p:nvGrpSpPr>
          <p:cNvPr id="29" name="Group 28">
            <a:extLst>
              <a:ext uri="{FF2B5EF4-FFF2-40B4-BE49-F238E27FC236}">
                <a16:creationId xmlns:a16="http://schemas.microsoft.com/office/drawing/2014/main" id="{384E601B-B96F-4224-D79B-C7C5017A001A}"/>
              </a:ext>
            </a:extLst>
          </p:cNvPr>
          <p:cNvGrpSpPr/>
          <p:nvPr/>
        </p:nvGrpSpPr>
        <p:grpSpPr>
          <a:xfrm>
            <a:off x="203716" y="1820078"/>
            <a:ext cx="3688976" cy="4383048"/>
            <a:chOff x="583687" y="407303"/>
            <a:chExt cx="2652210" cy="2724586"/>
          </a:xfrm>
        </p:grpSpPr>
        <p:sp>
          <p:nvSpPr>
            <p:cNvPr id="30" name="Свободна форма: фигура 11">
              <a:extLst>
                <a:ext uri="{FF2B5EF4-FFF2-40B4-BE49-F238E27FC236}">
                  <a16:creationId xmlns:a16="http://schemas.microsoft.com/office/drawing/2014/main" id="{911F6F5A-6F05-A873-F036-D58091B0E75C}"/>
                </a:ext>
              </a:extLst>
            </p:cNvPr>
            <p:cNvSpPr/>
            <p:nvPr/>
          </p:nvSpPr>
          <p:spPr>
            <a:xfrm>
              <a:off x="677366" y="592080"/>
              <a:ext cx="2413000" cy="2413000"/>
            </a:xfrm>
            <a:custGeom>
              <a:avLst/>
              <a:gdLst>
                <a:gd name="connsiteX0" fmla="*/ 2422704 w 2413000"/>
                <a:gd name="connsiteY0" fmla="*/ 1249928 h 2413000"/>
                <a:gd name="connsiteX1" fmla="*/ 1806246 w 2413000"/>
                <a:gd name="connsiteY1" fmla="*/ 2259705 h 2413000"/>
                <a:gd name="connsiteX2" fmla="*/ 1647242 w 2413000"/>
                <a:gd name="connsiteY2" fmla="*/ 2330190 h 2413000"/>
                <a:gd name="connsiteX3" fmla="*/ 250115 w 2413000"/>
                <a:gd name="connsiteY3" fmla="*/ 1945126 h 2413000"/>
                <a:gd name="connsiteX4" fmla="*/ 132767 w 2413000"/>
                <a:gd name="connsiteY4" fmla="*/ 1759452 h 2413000"/>
                <a:gd name="connsiteX5" fmla="*/ 88825 w 2413000"/>
                <a:gd name="connsiteY5" fmla="*/ 705987 h 2413000"/>
                <a:gd name="connsiteX6" fmla="*/ 1371779 w 2413000"/>
                <a:gd name="connsiteY6" fmla="*/ 11551 h 2413000"/>
                <a:gd name="connsiteX7" fmla="*/ 1587425 w 2413000"/>
                <a:gd name="connsiteY7" fmla="*/ 62605 h 2413000"/>
                <a:gd name="connsiteX8" fmla="*/ 2410893 w 2413000"/>
                <a:gd name="connsiteY8" fmla="*/ 1003294 h 2413000"/>
                <a:gd name="connsiteX9" fmla="*/ 2422704 w 2413000"/>
                <a:gd name="connsiteY9" fmla="*/ 1249928 h 241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3000" h="2413000">
                  <a:moveTo>
                    <a:pt x="2422704" y="1249928"/>
                  </a:moveTo>
                  <a:cubicBezTo>
                    <a:pt x="2416354" y="1676648"/>
                    <a:pt x="2163497" y="2066030"/>
                    <a:pt x="1806246" y="2259705"/>
                  </a:cubicBezTo>
                  <a:cubicBezTo>
                    <a:pt x="1755192" y="2287391"/>
                    <a:pt x="1702106" y="2311013"/>
                    <a:pt x="1647242" y="2330190"/>
                  </a:cubicBezTo>
                  <a:cubicBezTo>
                    <a:pt x="1147878" y="2541391"/>
                    <a:pt x="564567" y="2349367"/>
                    <a:pt x="250115" y="1945126"/>
                  </a:cubicBezTo>
                  <a:cubicBezTo>
                    <a:pt x="205157" y="1887341"/>
                    <a:pt x="165787" y="1825365"/>
                    <a:pt x="132767" y="1759452"/>
                  </a:cubicBezTo>
                  <a:cubicBezTo>
                    <a:pt x="1068" y="1430268"/>
                    <a:pt x="-64718" y="1057142"/>
                    <a:pt x="88825" y="705987"/>
                  </a:cubicBezTo>
                  <a:cubicBezTo>
                    <a:pt x="308281" y="223133"/>
                    <a:pt x="835077" y="-62236"/>
                    <a:pt x="1371779" y="11551"/>
                  </a:cubicBezTo>
                  <a:cubicBezTo>
                    <a:pt x="1444931" y="22473"/>
                    <a:pt x="1517194" y="39618"/>
                    <a:pt x="1587425" y="62605"/>
                  </a:cubicBezTo>
                  <a:cubicBezTo>
                    <a:pt x="2008938" y="200527"/>
                    <a:pt x="2360855" y="548380"/>
                    <a:pt x="2410893" y="1003294"/>
                  </a:cubicBezTo>
                  <a:cubicBezTo>
                    <a:pt x="2423212" y="1082669"/>
                    <a:pt x="2427403" y="1165473"/>
                    <a:pt x="2422704" y="1249928"/>
                  </a:cubicBezTo>
                </a:path>
              </a:pathLst>
            </a:custGeom>
            <a:solidFill>
              <a:srgbClr val="FFFFFF"/>
            </a:solidFill>
            <a:ln w="12689" cap="flat">
              <a:noFill/>
              <a:prstDash val="solid"/>
              <a:miter/>
            </a:ln>
          </p:spPr>
          <p:txBody>
            <a:bodyPr rtlCol="0" anchor="ctr"/>
            <a:lstStyle/>
            <a:p>
              <a:endParaRPr lang="bg-BG"/>
            </a:p>
          </p:txBody>
        </p:sp>
        <p:sp>
          <p:nvSpPr>
            <p:cNvPr id="33" name="Свободна форма: фигура 12">
              <a:extLst>
                <a:ext uri="{FF2B5EF4-FFF2-40B4-BE49-F238E27FC236}">
                  <a16:creationId xmlns:a16="http://schemas.microsoft.com/office/drawing/2014/main" id="{D290E99A-E62F-B88E-9E0D-6ED6B9F2FEAE}"/>
                </a:ext>
              </a:extLst>
            </p:cNvPr>
            <p:cNvSpPr/>
            <p:nvPr/>
          </p:nvSpPr>
          <p:spPr>
            <a:xfrm>
              <a:off x="1406829" y="592140"/>
              <a:ext cx="1054100" cy="850900"/>
            </a:xfrm>
            <a:custGeom>
              <a:avLst/>
              <a:gdLst>
                <a:gd name="connsiteX0" fmla="*/ 642316 w 1054100"/>
                <a:gd name="connsiteY0" fmla="*/ 11491 h 850900"/>
                <a:gd name="connsiteX1" fmla="*/ 61672 w 1054100"/>
                <a:gd name="connsiteY1" fmla="*/ 70419 h 850900"/>
                <a:gd name="connsiteX2" fmla="*/ 66244 w 1054100"/>
                <a:gd name="connsiteY2" fmla="*/ 566227 h 850900"/>
                <a:gd name="connsiteX3" fmla="*/ 118187 w 1054100"/>
                <a:gd name="connsiteY3" fmla="*/ 647253 h 850900"/>
                <a:gd name="connsiteX4" fmla="*/ 728422 w 1054100"/>
                <a:gd name="connsiteY4" fmla="*/ 817052 h 850900"/>
                <a:gd name="connsiteX5" fmla="*/ 1032333 w 1054100"/>
                <a:gd name="connsiteY5" fmla="*/ 474660 h 850900"/>
                <a:gd name="connsiteX6" fmla="*/ 1051637 w 1054100"/>
                <a:gd name="connsiteY6" fmla="*/ 381315 h 850900"/>
                <a:gd name="connsiteX7" fmla="*/ 1014172 w 1054100"/>
                <a:gd name="connsiteY7" fmla="*/ 124775 h 850900"/>
                <a:gd name="connsiteX8" fmla="*/ 857962 w 1054100"/>
                <a:gd name="connsiteY8" fmla="*/ 62545 h 850900"/>
                <a:gd name="connsiteX9" fmla="*/ 642316 w 1054100"/>
                <a:gd name="connsiteY9" fmla="*/ 11491 h 850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54100" h="850900">
                  <a:moveTo>
                    <a:pt x="642316" y="11491"/>
                  </a:moveTo>
                  <a:cubicBezTo>
                    <a:pt x="442291" y="-15941"/>
                    <a:pt x="243536" y="6538"/>
                    <a:pt x="61672" y="70419"/>
                  </a:cubicBezTo>
                  <a:cubicBezTo>
                    <a:pt x="-26847" y="221803"/>
                    <a:pt x="-15417" y="412176"/>
                    <a:pt x="66244" y="566227"/>
                  </a:cubicBezTo>
                  <a:cubicBezTo>
                    <a:pt x="81230" y="594548"/>
                    <a:pt x="98629" y="621726"/>
                    <a:pt x="118187" y="647253"/>
                  </a:cubicBezTo>
                  <a:cubicBezTo>
                    <a:pt x="263602" y="832038"/>
                    <a:pt x="514173" y="901761"/>
                    <a:pt x="728422" y="817052"/>
                  </a:cubicBezTo>
                  <a:cubicBezTo>
                    <a:pt x="882346" y="753679"/>
                    <a:pt x="974167" y="617281"/>
                    <a:pt x="1032333" y="474660"/>
                  </a:cubicBezTo>
                  <a:cubicBezTo>
                    <a:pt x="1041858" y="444180"/>
                    <a:pt x="1048335" y="412811"/>
                    <a:pt x="1051637" y="381315"/>
                  </a:cubicBezTo>
                  <a:cubicBezTo>
                    <a:pt x="1060908" y="294701"/>
                    <a:pt x="1047192" y="205928"/>
                    <a:pt x="1014172" y="124775"/>
                  </a:cubicBezTo>
                  <a:cubicBezTo>
                    <a:pt x="963499" y="100772"/>
                    <a:pt x="911302" y="80071"/>
                    <a:pt x="857962" y="62545"/>
                  </a:cubicBezTo>
                  <a:cubicBezTo>
                    <a:pt x="787731" y="39558"/>
                    <a:pt x="715595" y="22413"/>
                    <a:pt x="642316" y="11491"/>
                  </a:cubicBezTo>
                </a:path>
              </a:pathLst>
            </a:custGeom>
            <a:solidFill>
              <a:srgbClr val="F1F0D7"/>
            </a:solidFill>
            <a:ln w="12689" cap="flat">
              <a:noFill/>
              <a:prstDash val="solid"/>
              <a:miter/>
            </a:ln>
          </p:spPr>
          <p:txBody>
            <a:bodyPr rtlCol="0" anchor="ctr"/>
            <a:lstStyle/>
            <a:p>
              <a:endParaRPr lang="bg-BG"/>
            </a:p>
          </p:txBody>
        </p:sp>
        <p:sp>
          <p:nvSpPr>
            <p:cNvPr id="36" name="Свободна форма: фигура 13">
              <a:extLst>
                <a:ext uri="{FF2B5EF4-FFF2-40B4-BE49-F238E27FC236}">
                  <a16:creationId xmlns:a16="http://schemas.microsoft.com/office/drawing/2014/main" id="{DABFA090-7E97-D4D9-C7A8-5454663A2952}"/>
                </a:ext>
              </a:extLst>
            </p:cNvPr>
            <p:cNvSpPr/>
            <p:nvPr/>
          </p:nvSpPr>
          <p:spPr>
            <a:xfrm>
              <a:off x="1425065" y="407303"/>
              <a:ext cx="914400" cy="927100"/>
            </a:xfrm>
            <a:custGeom>
              <a:avLst/>
              <a:gdLst>
                <a:gd name="connsiteX0" fmla="*/ 143512 w 914400"/>
                <a:gd name="connsiteY0" fmla="*/ 129780 h 927100"/>
                <a:gd name="connsiteX1" fmla="*/ 580011 w 914400"/>
                <a:gd name="connsiteY1" fmla="*/ 15988 h 927100"/>
                <a:gd name="connsiteX2" fmla="*/ 642368 w 914400"/>
                <a:gd name="connsiteY2" fmla="*/ 38721 h 927100"/>
                <a:gd name="connsiteX3" fmla="*/ 923800 w 914400"/>
                <a:gd name="connsiteY3" fmla="*/ 514208 h 927100"/>
                <a:gd name="connsiteX4" fmla="*/ 906782 w 914400"/>
                <a:gd name="connsiteY4" fmla="*/ 596251 h 927100"/>
                <a:gd name="connsiteX5" fmla="*/ 639828 w 914400"/>
                <a:gd name="connsiteY5" fmla="*/ 896860 h 927100"/>
                <a:gd name="connsiteX6" fmla="*/ 104015 w 914400"/>
                <a:gd name="connsiteY6" fmla="*/ 747762 h 927100"/>
                <a:gd name="connsiteX7" fmla="*/ 58295 w 914400"/>
                <a:gd name="connsiteY7" fmla="*/ 676642 h 927100"/>
                <a:gd name="connsiteX8" fmla="*/ 81409 w 914400"/>
                <a:gd name="connsiteY8" fmla="*/ 200519 h 927100"/>
                <a:gd name="connsiteX9" fmla="*/ 143512 w 914400"/>
                <a:gd name="connsiteY9" fmla="*/ 129780 h 927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4400" h="927100">
                  <a:moveTo>
                    <a:pt x="143512" y="129780"/>
                  </a:moveTo>
                  <a:cubicBezTo>
                    <a:pt x="258193" y="14337"/>
                    <a:pt x="430659" y="-25541"/>
                    <a:pt x="580011" y="15988"/>
                  </a:cubicBezTo>
                  <a:cubicBezTo>
                    <a:pt x="601347" y="21957"/>
                    <a:pt x="622175" y="29450"/>
                    <a:pt x="642368" y="38721"/>
                  </a:cubicBezTo>
                  <a:cubicBezTo>
                    <a:pt x="835281" y="113016"/>
                    <a:pt x="944501" y="320153"/>
                    <a:pt x="923800" y="514208"/>
                  </a:cubicBezTo>
                  <a:cubicBezTo>
                    <a:pt x="920879" y="541895"/>
                    <a:pt x="915164" y="569454"/>
                    <a:pt x="906782" y="596251"/>
                  </a:cubicBezTo>
                  <a:cubicBezTo>
                    <a:pt x="855728" y="721473"/>
                    <a:pt x="774956" y="841234"/>
                    <a:pt x="639828" y="896860"/>
                  </a:cubicBezTo>
                  <a:cubicBezTo>
                    <a:pt x="451741" y="971282"/>
                    <a:pt x="231650" y="910068"/>
                    <a:pt x="104015" y="747762"/>
                  </a:cubicBezTo>
                  <a:cubicBezTo>
                    <a:pt x="86870" y="725410"/>
                    <a:pt x="71503" y="701534"/>
                    <a:pt x="58295" y="676642"/>
                  </a:cubicBezTo>
                  <a:cubicBezTo>
                    <a:pt x="-20826" y="527163"/>
                    <a:pt x="-25271" y="338568"/>
                    <a:pt x="81409" y="200519"/>
                  </a:cubicBezTo>
                  <a:cubicBezTo>
                    <a:pt x="99062" y="175500"/>
                    <a:pt x="119890" y="151623"/>
                    <a:pt x="143512" y="129780"/>
                  </a:cubicBezTo>
                </a:path>
              </a:pathLst>
            </a:custGeom>
            <a:solidFill>
              <a:srgbClr val="83CC1B"/>
            </a:solidFill>
            <a:ln w="12689" cap="flat">
              <a:noFill/>
              <a:prstDash val="solid"/>
              <a:miter/>
            </a:ln>
          </p:spPr>
          <p:txBody>
            <a:bodyPr rtlCol="0" anchor="ctr"/>
            <a:lstStyle/>
            <a:p>
              <a:endParaRPr lang="bg-BG"/>
            </a:p>
          </p:txBody>
        </p:sp>
        <p:sp>
          <p:nvSpPr>
            <p:cNvPr id="37" name="Свободна форма: фигура 14">
              <a:extLst>
                <a:ext uri="{FF2B5EF4-FFF2-40B4-BE49-F238E27FC236}">
                  <a16:creationId xmlns:a16="http://schemas.microsoft.com/office/drawing/2014/main" id="{9C71F291-6856-E849-2045-23D7264219FA}"/>
                </a:ext>
              </a:extLst>
            </p:cNvPr>
            <p:cNvSpPr/>
            <p:nvPr/>
          </p:nvSpPr>
          <p:spPr>
            <a:xfrm>
              <a:off x="1591056" y="557657"/>
              <a:ext cx="749300" cy="774700"/>
            </a:xfrm>
            <a:custGeom>
              <a:avLst/>
              <a:gdLst>
                <a:gd name="connsiteX0" fmla="*/ 629920 w 749300"/>
                <a:gd name="connsiteY0" fmla="*/ 21209 h 774700"/>
                <a:gd name="connsiteX1" fmla="*/ 593852 w 749300"/>
                <a:gd name="connsiteY1" fmla="*/ 266573 h 774700"/>
                <a:gd name="connsiteX2" fmla="*/ 271399 w 749300"/>
                <a:gd name="connsiteY2" fmla="*/ 577850 h 774700"/>
                <a:gd name="connsiteX3" fmla="*/ 0 w 749300"/>
                <a:gd name="connsiteY3" fmla="*/ 661924 h 774700"/>
                <a:gd name="connsiteX4" fmla="*/ 473837 w 749300"/>
                <a:gd name="connsiteY4" fmla="*/ 746506 h 774700"/>
                <a:gd name="connsiteX5" fmla="*/ 740791 w 749300"/>
                <a:gd name="connsiteY5" fmla="*/ 445770 h 774700"/>
                <a:gd name="connsiteX6" fmla="*/ 757809 w 749300"/>
                <a:gd name="connsiteY6" fmla="*/ 363728 h 774700"/>
                <a:gd name="connsiteX7" fmla="*/ 638175 w 749300"/>
                <a:gd name="connsiteY7" fmla="*/ 0 h 774700"/>
                <a:gd name="connsiteX8" fmla="*/ 629920 w 749300"/>
                <a:gd name="connsiteY8" fmla="*/ 21209 h 774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9300" h="774700">
                  <a:moveTo>
                    <a:pt x="629920" y="21209"/>
                  </a:moveTo>
                  <a:cubicBezTo>
                    <a:pt x="606171" y="100711"/>
                    <a:pt x="622300" y="185928"/>
                    <a:pt x="593852" y="266573"/>
                  </a:cubicBezTo>
                  <a:cubicBezTo>
                    <a:pt x="538861" y="422148"/>
                    <a:pt x="416306" y="511683"/>
                    <a:pt x="271399" y="577850"/>
                  </a:cubicBezTo>
                  <a:cubicBezTo>
                    <a:pt x="185039" y="617220"/>
                    <a:pt x="92710" y="647192"/>
                    <a:pt x="0" y="661924"/>
                  </a:cubicBezTo>
                  <a:cubicBezTo>
                    <a:pt x="129794" y="774446"/>
                    <a:pt x="313309" y="809879"/>
                    <a:pt x="473837" y="746506"/>
                  </a:cubicBezTo>
                  <a:cubicBezTo>
                    <a:pt x="608965" y="690880"/>
                    <a:pt x="689737" y="570992"/>
                    <a:pt x="740791" y="445770"/>
                  </a:cubicBezTo>
                  <a:cubicBezTo>
                    <a:pt x="749173" y="418973"/>
                    <a:pt x="754761" y="391541"/>
                    <a:pt x="757809" y="363728"/>
                  </a:cubicBezTo>
                  <a:cubicBezTo>
                    <a:pt x="771652" y="233680"/>
                    <a:pt x="727075" y="97917"/>
                    <a:pt x="638175" y="0"/>
                  </a:cubicBezTo>
                  <a:cubicBezTo>
                    <a:pt x="634873" y="6731"/>
                    <a:pt x="632079" y="13716"/>
                    <a:pt x="629920" y="21209"/>
                  </a:cubicBezTo>
                </a:path>
              </a:pathLst>
            </a:custGeom>
            <a:solidFill>
              <a:srgbClr val="5DB723"/>
            </a:solidFill>
            <a:ln w="12689" cap="flat">
              <a:noFill/>
              <a:prstDash val="solid"/>
              <a:miter/>
            </a:ln>
          </p:spPr>
          <p:txBody>
            <a:bodyPr rtlCol="0" anchor="ctr"/>
            <a:lstStyle/>
            <a:p>
              <a:endParaRPr lang="bg-BG"/>
            </a:p>
          </p:txBody>
        </p:sp>
        <p:sp>
          <p:nvSpPr>
            <p:cNvPr id="38" name="Свободна форма: фигура 15">
              <a:extLst>
                <a:ext uri="{FF2B5EF4-FFF2-40B4-BE49-F238E27FC236}">
                  <a16:creationId xmlns:a16="http://schemas.microsoft.com/office/drawing/2014/main" id="{DBC6C10A-97E4-C6A4-3A0D-F73B29F8ADF9}"/>
                </a:ext>
              </a:extLst>
            </p:cNvPr>
            <p:cNvSpPr/>
            <p:nvPr/>
          </p:nvSpPr>
          <p:spPr>
            <a:xfrm>
              <a:off x="689991" y="1457452"/>
              <a:ext cx="2400300" cy="1549400"/>
            </a:xfrm>
            <a:custGeom>
              <a:avLst/>
              <a:gdLst>
                <a:gd name="connsiteX0" fmla="*/ 2398395 w 2400300"/>
                <a:gd name="connsiteY0" fmla="*/ 137922 h 1549400"/>
                <a:gd name="connsiteX1" fmla="*/ 2373122 w 2400300"/>
                <a:gd name="connsiteY1" fmla="*/ 0 h 1549400"/>
                <a:gd name="connsiteX2" fmla="*/ 2211197 w 2400300"/>
                <a:gd name="connsiteY2" fmla="*/ 837184 h 1549400"/>
                <a:gd name="connsiteX3" fmla="*/ 1736852 w 2400300"/>
                <a:gd name="connsiteY3" fmla="*/ 1171702 h 1549400"/>
                <a:gd name="connsiteX4" fmla="*/ 1234313 w 2400300"/>
                <a:gd name="connsiteY4" fmla="*/ 1282827 h 1549400"/>
                <a:gd name="connsiteX5" fmla="*/ 955421 w 2400300"/>
                <a:gd name="connsiteY5" fmla="*/ 1222375 h 1549400"/>
                <a:gd name="connsiteX6" fmla="*/ 736727 w 2400300"/>
                <a:gd name="connsiteY6" fmla="*/ 1105154 h 1549400"/>
                <a:gd name="connsiteX7" fmla="*/ 305308 w 2400300"/>
                <a:gd name="connsiteY7" fmla="*/ 875792 h 1549400"/>
                <a:gd name="connsiteX8" fmla="*/ 0 w 2400300"/>
                <a:gd name="connsiteY8" fmla="*/ 455930 h 1549400"/>
                <a:gd name="connsiteX9" fmla="*/ 120269 w 2400300"/>
                <a:gd name="connsiteY9" fmla="*/ 894334 h 1549400"/>
                <a:gd name="connsiteX10" fmla="*/ 237617 w 2400300"/>
                <a:gd name="connsiteY10" fmla="*/ 1080008 h 1549400"/>
                <a:gd name="connsiteX11" fmla="*/ 1634744 w 2400300"/>
                <a:gd name="connsiteY11" fmla="*/ 1464945 h 1549400"/>
                <a:gd name="connsiteX12" fmla="*/ 1793875 w 2400300"/>
                <a:gd name="connsiteY12" fmla="*/ 1394460 h 1549400"/>
                <a:gd name="connsiteX13" fmla="*/ 2410333 w 2400300"/>
                <a:gd name="connsiteY13" fmla="*/ 384683 h 1549400"/>
                <a:gd name="connsiteX14" fmla="*/ 2398395 w 2400300"/>
                <a:gd name="connsiteY14" fmla="*/ 137922 h 154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00300" h="1549400">
                  <a:moveTo>
                    <a:pt x="2398395" y="137922"/>
                  </a:moveTo>
                  <a:cubicBezTo>
                    <a:pt x="2393188" y="90805"/>
                    <a:pt x="2384552" y="44831"/>
                    <a:pt x="2373122" y="0"/>
                  </a:cubicBezTo>
                  <a:cubicBezTo>
                    <a:pt x="2423668" y="292608"/>
                    <a:pt x="2409190" y="593598"/>
                    <a:pt x="2211197" y="837184"/>
                  </a:cubicBezTo>
                  <a:cubicBezTo>
                    <a:pt x="2086483" y="990473"/>
                    <a:pt x="1911731" y="1086358"/>
                    <a:pt x="1736852" y="1171702"/>
                  </a:cubicBezTo>
                  <a:cubicBezTo>
                    <a:pt x="1576832" y="1249807"/>
                    <a:pt x="1413891" y="1294384"/>
                    <a:pt x="1234313" y="1282827"/>
                  </a:cubicBezTo>
                  <a:cubicBezTo>
                    <a:pt x="1138936" y="1276731"/>
                    <a:pt x="1044448" y="1257300"/>
                    <a:pt x="955421" y="1222375"/>
                  </a:cubicBezTo>
                  <a:cubicBezTo>
                    <a:pt x="877570" y="1191641"/>
                    <a:pt x="809752" y="1145032"/>
                    <a:pt x="736727" y="1105154"/>
                  </a:cubicBezTo>
                  <a:cubicBezTo>
                    <a:pt x="594106" y="1027176"/>
                    <a:pt x="438277" y="970788"/>
                    <a:pt x="305308" y="875792"/>
                  </a:cubicBezTo>
                  <a:cubicBezTo>
                    <a:pt x="148717" y="764032"/>
                    <a:pt x="51308" y="618363"/>
                    <a:pt x="0" y="455930"/>
                  </a:cubicBezTo>
                  <a:cubicBezTo>
                    <a:pt x="20447" y="606552"/>
                    <a:pt x="64389" y="754380"/>
                    <a:pt x="120269" y="894334"/>
                  </a:cubicBezTo>
                  <a:cubicBezTo>
                    <a:pt x="153162" y="960120"/>
                    <a:pt x="192659" y="1022223"/>
                    <a:pt x="237617" y="1080008"/>
                  </a:cubicBezTo>
                  <a:cubicBezTo>
                    <a:pt x="552069" y="1484249"/>
                    <a:pt x="1135380" y="1676273"/>
                    <a:pt x="1634744" y="1464945"/>
                  </a:cubicBezTo>
                  <a:cubicBezTo>
                    <a:pt x="1689608" y="1445768"/>
                    <a:pt x="1742821" y="1422019"/>
                    <a:pt x="1793875" y="1394460"/>
                  </a:cubicBezTo>
                  <a:cubicBezTo>
                    <a:pt x="2151126" y="1200912"/>
                    <a:pt x="2403856" y="811403"/>
                    <a:pt x="2410333" y="384683"/>
                  </a:cubicBezTo>
                  <a:cubicBezTo>
                    <a:pt x="2414778" y="300101"/>
                    <a:pt x="2410587" y="217297"/>
                    <a:pt x="2398395" y="137922"/>
                  </a:cubicBezTo>
                </a:path>
              </a:pathLst>
            </a:custGeom>
            <a:solidFill>
              <a:srgbClr val="F1F0D7"/>
            </a:solidFill>
            <a:ln w="12689" cap="flat">
              <a:noFill/>
              <a:prstDash val="solid"/>
              <a:miter/>
            </a:ln>
          </p:spPr>
          <p:txBody>
            <a:bodyPr rtlCol="0" anchor="ctr"/>
            <a:lstStyle/>
            <a:p>
              <a:endParaRPr lang="bg-BG"/>
            </a:p>
          </p:txBody>
        </p:sp>
        <p:sp>
          <p:nvSpPr>
            <p:cNvPr id="39" name="Свободна форма: фигура 16">
              <a:extLst>
                <a:ext uri="{FF2B5EF4-FFF2-40B4-BE49-F238E27FC236}">
                  <a16:creationId xmlns:a16="http://schemas.microsoft.com/office/drawing/2014/main" id="{4B2707B0-8623-967D-A968-02FDDB586EF5}"/>
                </a:ext>
              </a:extLst>
            </p:cNvPr>
            <p:cNvSpPr/>
            <p:nvPr/>
          </p:nvSpPr>
          <p:spPr>
            <a:xfrm>
              <a:off x="583687" y="1455489"/>
              <a:ext cx="1308100" cy="1676400"/>
            </a:xfrm>
            <a:custGeom>
              <a:avLst/>
              <a:gdLst>
                <a:gd name="connsiteX0" fmla="*/ 46360 w 1308100"/>
                <a:gd name="connsiteY0" fmla="*/ 1455 h 1676400"/>
                <a:gd name="connsiteX1" fmla="*/ 31374 w 1308100"/>
                <a:gd name="connsiteY1" fmla="*/ 704400 h 1676400"/>
                <a:gd name="connsiteX2" fmla="*/ 281437 w 1308100"/>
                <a:gd name="connsiteY2" fmla="*/ 1276408 h 1676400"/>
                <a:gd name="connsiteX3" fmla="*/ 741939 w 1308100"/>
                <a:gd name="connsiteY3" fmla="*/ 1597972 h 1676400"/>
                <a:gd name="connsiteX4" fmla="*/ 1299215 w 1308100"/>
                <a:gd name="connsiteY4" fmla="*/ 1668838 h 1676400"/>
                <a:gd name="connsiteX5" fmla="*/ 1293119 w 1308100"/>
                <a:gd name="connsiteY5" fmla="*/ 1624007 h 1676400"/>
                <a:gd name="connsiteX6" fmla="*/ 784738 w 1308100"/>
                <a:gd name="connsiteY6" fmla="*/ 1536377 h 1676400"/>
                <a:gd name="connsiteX7" fmla="*/ 334904 w 1308100"/>
                <a:gd name="connsiteY7" fmla="*/ 1238943 h 1676400"/>
                <a:gd name="connsiteX8" fmla="*/ 81031 w 1308100"/>
                <a:gd name="connsiteY8" fmla="*/ 705797 h 1676400"/>
                <a:gd name="connsiteX9" fmla="*/ 50297 w 1308100"/>
                <a:gd name="connsiteY9" fmla="*/ 2725 h 1676400"/>
                <a:gd name="connsiteX10" fmla="*/ 46360 w 1308100"/>
                <a:gd name="connsiteY10" fmla="*/ 1455 h 167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08100" h="1676400">
                  <a:moveTo>
                    <a:pt x="46360" y="1455"/>
                  </a:moveTo>
                  <a:cubicBezTo>
                    <a:pt x="-2027" y="237548"/>
                    <a:pt x="-21077" y="467037"/>
                    <a:pt x="31374" y="704400"/>
                  </a:cubicBezTo>
                  <a:cubicBezTo>
                    <a:pt x="75062" y="901885"/>
                    <a:pt x="151516" y="1118420"/>
                    <a:pt x="281437" y="1276408"/>
                  </a:cubicBezTo>
                  <a:cubicBezTo>
                    <a:pt x="401579" y="1422331"/>
                    <a:pt x="567441" y="1528884"/>
                    <a:pt x="741939" y="1597972"/>
                  </a:cubicBezTo>
                  <a:cubicBezTo>
                    <a:pt x="909325" y="1664139"/>
                    <a:pt x="1120399" y="1718749"/>
                    <a:pt x="1299215" y="1668838"/>
                  </a:cubicBezTo>
                  <a:cubicBezTo>
                    <a:pt x="1324869" y="1661599"/>
                    <a:pt x="1318265" y="1625785"/>
                    <a:pt x="1293119" y="1624007"/>
                  </a:cubicBezTo>
                  <a:cubicBezTo>
                    <a:pt x="1117605" y="1611307"/>
                    <a:pt x="951616" y="1599369"/>
                    <a:pt x="784738" y="1536377"/>
                  </a:cubicBezTo>
                  <a:cubicBezTo>
                    <a:pt x="616463" y="1473004"/>
                    <a:pt x="453776" y="1375595"/>
                    <a:pt x="334904" y="1238943"/>
                  </a:cubicBezTo>
                  <a:cubicBezTo>
                    <a:pt x="207269" y="1092385"/>
                    <a:pt x="129672" y="891471"/>
                    <a:pt x="81031" y="705797"/>
                  </a:cubicBezTo>
                  <a:cubicBezTo>
                    <a:pt x="21722" y="479356"/>
                    <a:pt x="5720" y="232976"/>
                    <a:pt x="50297" y="2725"/>
                  </a:cubicBezTo>
                  <a:cubicBezTo>
                    <a:pt x="50805" y="-69"/>
                    <a:pt x="46868" y="-1085"/>
                    <a:pt x="46360" y="1455"/>
                  </a:cubicBezTo>
                </a:path>
              </a:pathLst>
            </a:custGeom>
            <a:solidFill>
              <a:srgbClr val="B5D385"/>
            </a:solidFill>
            <a:ln w="12689" cap="flat">
              <a:noFill/>
              <a:prstDash val="solid"/>
              <a:miter/>
            </a:ln>
          </p:spPr>
          <p:txBody>
            <a:bodyPr rtlCol="0" anchor="ctr"/>
            <a:lstStyle/>
            <a:p>
              <a:endParaRPr lang="bg-BG"/>
            </a:p>
          </p:txBody>
        </p:sp>
        <p:sp>
          <p:nvSpPr>
            <p:cNvPr id="40" name="Свободна форма: фигура 17">
              <a:extLst>
                <a:ext uri="{FF2B5EF4-FFF2-40B4-BE49-F238E27FC236}">
                  <a16:creationId xmlns:a16="http://schemas.microsoft.com/office/drawing/2014/main" id="{9F6F68F7-4F0B-5983-EA2A-72727855002A}"/>
                </a:ext>
              </a:extLst>
            </p:cNvPr>
            <p:cNvSpPr/>
            <p:nvPr/>
          </p:nvSpPr>
          <p:spPr>
            <a:xfrm>
              <a:off x="2489350" y="671867"/>
              <a:ext cx="685800" cy="749300"/>
            </a:xfrm>
            <a:custGeom>
              <a:avLst/>
              <a:gdLst>
                <a:gd name="connsiteX0" fmla="*/ 6454 w 685800"/>
                <a:gd name="connsiteY0" fmla="*/ 24855 h 749300"/>
                <a:gd name="connsiteX1" fmla="*/ 673839 w 685800"/>
                <a:gd name="connsiteY1" fmla="*/ 745453 h 749300"/>
                <a:gd name="connsiteX2" fmla="*/ 692508 w 685800"/>
                <a:gd name="connsiteY2" fmla="*/ 737579 h 749300"/>
                <a:gd name="connsiteX3" fmla="*/ 16614 w 685800"/>
                <a:gd name="connsiteY3" fmla="*/ 852 h 749300"/>
                <a:gd name="connsiteX4" fmla="*/ 6454 w 685800"/>
                <a:gd name="connsiteY4" fmla="*/ 24855 h 749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 h="749300">
                  <a:moveTo>
                    <a:pt x="6454" y="24855"/>
                  </a:moveTo>
                  <a:cubicBezTo>
                    <a:pt x="324208" y="165571"/>
                    <a:pt x="536806" y="434176"/>
                    <a:pt x="673839" y="745453"/>
                  </a:cubicBezTo>
                  <a:cubicBezTo>
                    <a:pt x="678665" y="756375"/>
                    <a:pt x="694921" y="748374"/>
                    <a:pt x="692508" y="737579"/>
                  </a:cubicBezTo>
                  <a:cubicBezTo>
                    <a:pt x="615673" y="406871"/>
                    <a:pt x="321668" y="123788"/>
                    <a:pt x="16614" y="852"/>
                  </a:cubicBezTo>
                  <a:cubicBezTo>
                    <a:pt x="2898" y="-4736"/>
                    <a:pt x="-7135" y="18759"/>
                    <a:pt x="6454" y="24855"/>
                  </a:cubicBezTo>
                </a:path>
              </a:pathLst>
            </a:custGeom>
            <a:solidFill>
              <a:srgbClr val="B5D385"/>
            </a:solidFill>
            <a:ln w="12689" cap="flat">
              <a:noFill/>
              <a:prstDash val="solid"/>
              <a:miter/>
            </a:ln>
          </p:spPr>
          <p:txBody>
            <a:bodyPr rtlCol="0" anchor="ctr"/>
            <a:lstStyle/>
            <a:p>
              <a:endParaRPr lang="bg-BG"/>
            </a:p>
          </p:txBody>
        </p:sp>
        <p:sp>
          <p:nvSpPr>
            <p:cNvPr id="41" name="Свободна форма: фигура 19">
              <a:extLst>
                <a:ext uri="{FF2B5EF4-FFF2-40B4-BE49-F238E27FC236}">
                  <a16:creationId xmlns:a16="http://schemas.microsoft.com/office/drawing/2014/main" id="{9F72082B-63BE-2C5D-627E-6AE40CE91270}"/>
                </a:ext>
              </a:extLst>
            </p:cNvPr>
            <p:cNvSpPr/>
            <p:nvPr/>
          </p:nvSpPr>
          <p:spPr>
            <a:xfrm>
              <a:off x="641301" y="982061"/>
              <a:ext cx="254000" cy="368300"/>
            </a:xfrm>
            <a:custGeom>
              <a:avLst/>
              <a:gdLst>
                <a:gd name="connsiteX0" fmla="*/ 21004 w 254000"/>
                <a:gd name="connsiteY0" fmla="*/ 366298 h 368300"/>
                <a:gd name="connsiteX1" fmla="*/ 260399 w 254000"/>
                <a:gd name="connsiteY1" fmla="*/ 11587 h 368300"/>
                <a:gd name="connsiteX2" fmla="*/ 252271 w 254000"/>
                <a:gd name="connsiteY2" fmla="*/ 1046 h 368300"/>
                <a:gd name="connsiteX3" fmla="*/ 430 w 254000"/>
                <a:gd name="connsiteY3" fmla="*/ 360583 h 368300"/>
                <a:gd name="connsiteX4" fmla="*/ 21004 w 254000"/>
                <a:gd name="connsiteY4" fmla="*/ 366298 h 36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000" h="368300">
                  <a:moveTo>
                    <a:pt x="21004" y="366298"/>
                  </a:moveTo>
                  <a:cubicBezTo>
                    <a:pt x="71677" y="226852"/>
                    <a:pt x="155497" y="114584"/>
                    <a:pt x="260399" y="11587"/>
                  </a:cubicBezTo>
                  <a:cubicBezTo>
                    <a:pt x="265733" y="6253"/>
                    <a:pt x="258748" y="-3145"/>
                    <a:pt x="252271" y="1046"/>
                  </a:cubicBezTo>
                  <a:cubicBezTo>
                    <a:pt x="123874" y="82199"/>
                    <a:pt x="38530" y="215676"/>
                    <a:pt x="430" y="360583"/>
                  </a:cubicBezTo>
                  <a:cubicBezTo>
                    <a:pt x="-3126" y="374045"/>
                    <a:pt x="16432" y="379125"/>
                    <a:pt x="21004" y="366298"/>
                  </a:cubicBezTo>
                </a:path>
              </a:pathLst>
            </a:custGeom>
            <a:solidFill>
              <a:srgbClr val="B5D385"/>
            </a:solidFill>
            <a:ln w="12689" cap="flat">
              <a:noFill/>
              <a:prstDash val="solid"/>
              <a:miter/>
            </a:ln>
          </p:spPr>
          <p:txBody>
            <a:bodyPr rtlCol="0" anchor="ctr"/>
            <a:lstStyle/>
            <a:p>
              <a:endParaRPr lang="bg-BG"/>
            </a:p>
          </p:txBody>
        </p:sp>
        <p:sp>
          <p:nvSpPr>
            <p:cNvPr id="42" name="Свободна форма: фигура 20">
              <a:extLst>
                <a:ext uri="{FF2B5EF4-FFF2-40B4-BE49-F238E27FC236}">
                  <a16:creationId xmlns:a16="http://schemas.microsoft.com/office/drawing/2014/main" id="{DEBAAFAC-C565-46AE-7382-6E219F62C9D9}"/>
                </a:ext>
              </a:extLst>
            </p:cNvPr>
            <p:cNvSpPr/>
            <p:nvPr/>
          </p:nvSpPr>
          <p:spPr>
            <a:xfrm>
              <a:off x="2257997" y="2005855"/>
              <a:ext cx="977900" cy="1066800"/>
            </a:xfrm>
            <a:custGeom>
              <a:avLst/>
              <a:gdLst>
                <a:gd name="connsiteX0" fmla="*/ 965898 w 977900"/>
                <a:gd name="connsiteY0" fmla="*/ 4555 h 1066800"/>
                <a:gd name="connsiteX1" fmla="*/ 603059 w 977900"/>
                <a:gd name="connsiteY1" fmla="*/ 633967 h 1066800"/>
                <a:gd name="connsiteX2" fmla="*/ 9461 w 977900"/>
                <a:gd name="connsiteY2" fmla="*/ 1052686 h 1066800"/>
                <a:gd name="connsiteX3" fmla="*/ 13017 w 977900"/>
                <a:gd name="connsiteY3" fmla="*/ 1078848 h 1066800"/>
                <a:gd name="connsiteX4" fmla="*/ 344233 w 977900"/>
                <a:gd name="connsiteY4" fmla="*/ 921241 h 1066800"/>
                <a:gd name="connsiteX5" fmla="*/ 626427 w 977900"/>
                <a:gd name="connsiteY5" fmla="*/ 676512 h 1066800"/>
                <a:gd name="connsiteX6" fmla="*/ 846772 w 977900"/>
                <a:gd name="connsiteY6" fmla="*/ 372474 h 1066800"/>
                <a:gd name="connsiteX7" fmla="*/ 978725 w 977900"/>
                <a:gd name="connsiteY7" fmla="*/ 7984 h 1066800"/>
                <a:gd name="connsiteX8" fmla="*/ 965898 w 977900"/>
                <a:gd name="connsiteY8" fmla="*/ 4555 h 106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7900" h="1066800">
                  <a:moveTo>
                    <a:pt x="965898" y="4555"/>
                  </a:moveTo>
                  <a:cubicBezTo>
                    <a:pt x="876871" y="229980"/>
                    <a:pt x="756602" y="445753"/>
                    <a:pt x="603059" y="633967"/>
                  </a:cubicBezTo>
                  <a:cubicBezTo>
                    <a:pt x="454469" y="816085"/>
                    <a:pt x="244665" y="1004045"/>
                    <a:pt x="9461" y="1052686"/>
                  </a:cubicBezTo>
                  <a:cubicBezTo>
                    <a:pt x="-5144" y="1055734"/>
                    <a:pt x="-1969" y="1079737"/>
                    <a:pt x="13017" y="1078848"/>
                  </a:cubicBezTo>
                  <a:cubicBezTo>
                    <a:pt x="135699" y="1071482"/>
                    <a:pt x="247332" y="990329"/>
                    <a:pt x="344233" y="921241"/>
                  </a:cubicBezTo>
                  <a:cubicBezTo>
                    <a:pt x="447230" y="847708"/>
                    <a:pt x="540067" y="769984"/>
                    <a:pt x="626427" y="676512"/>
                  </a:cubicBezTo>
                  <a:cubicBezTo>
                    <a:pt x="715835" y="579611"/>
                    <a:pt x="787590" y="491600"/>
                    <a:pt x="846772" y="372474"/>
                  </a:cubicBezTo>
                  <a:cubicBezTo>
                    <a:pt x="904430" y="256269"/>
                    <a:pt x="952690" y="135365"/>
                    <a:pt x="978725" y="7984"/>
                  </a:cubicBezTo>
                  <a:cubicBezTo>
                    <a:pt x="980249" y="-398"/>
                    <a:pt x="968946" y="-3192"/>
                    <a:pt x="965898" y="4555"/>
                  </a:cubicBezTo>
                </a:path>
              </a:pathLst>
            </a:custGeom>
            <a:solidFill>
              <a:srgbClr val="B5D385"/>
            </a:solidFill>
            <a:ln w="12689" cap="flat">
              <a:noFill/>
              <a:prstDash val="solid"/>
              <a:miter/>
            </a:ln>
          </p:spPr>
          <p:txBody>
            <a:bodyPr rtlCol="0" anchor="ctr"/>
            <a:lstStyle/>
            <a:p>
              <a:endParaRPr lang="bg-BG"/>
            </a:p>
          </p:txBody>
        </p:sp>
        <p:sp>
          <p:nvSpPr>
            <p:cNvPr id="43" name="Свободна форма: фигура 21">
              <a:extLst>
                <a:ext uri="{FF2B5EF4-FFF2-40B4-BE49-F238E27FC236}">
                  <a16:creationId xmlns:a16="http://schemas.microsoft.com/office/drawing/2014/main" id="{C3F7BE0D-12A4-B6A1-C2D4-00F83F207F80}"/>
                </a:ext>
              </a:extLst>
            </p:cNvPr>
            <p:cNvSpPr/>
            <p:nvPr/>
          </p:nvSpPr>
          <p:spPr>
            <a:xfrm>
              <a:off x="1103626" y="657128"/>
              <a:ext cx="215900" cy="139700"/>
            </a:xfrm>
            <a:custGeom>
              <a:avLst/>
              <a:gdLst>
                <a:gd name="connsiteX0" fmla="*/ 28706 w 215900"/>
                <a:gd name="connsiteY0" fmla="*/ 144369 h 139700"/>
                <a:gd name="connsiteX1" fmla="*/ 125988 w 215900"/>
                <a:gd name="connsiteY1" fmla="*/ 69439 h 139700"/>
                <a:gd name="connsiteX2" fmla="*/ 218063 w 215900"/>
                <a:gd name="connsiteY2" fmla="*/ 20671 h 139700"/>
                <a:gd name="connsiteX3" fmla="*/ 212475 w 215900"/>
                <a:gd name="connsiteY3" fmla="*/ 97 h 139700"/>
                <a:gd name="connsiteX4" fmla="*/ 5211 w 215900"/>
                <a:gd name="connsiteY4" fmla="*/ 121001 h 139700"/>
                <a:gd name="connsiteX5" fmla="*/ 28706 w 215900"/>
                <a:gd name="connsiteY5" fmla="*/ 144369 h 13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5900" h="139700">
                  <a:moveTo>
                    <a:pt x="28706" y="144369"/>
                  </a:moveTo>
                  <a:cubicBezTo>
                    <a:pt x="59059" y="116556"/>
                    <a:pt x="90809" y="90775"/>
                    <a:pt x="125988" y="69439"/>
                  </a:cubicBezTo>
                  <a:cubicBezTo>
                    <a:pt x="155706" y="51532"/>
                    <a:pt x="188599" y="38832"/>
                    <a:pt x="218063" y="20671"/>
                  </a:cubicBezTo>
                  <a:cubicBezTo>
                    <a:pt x="226572" y="15464"/>
                    <a:pt x="224032" y="-1427"/>
                    <a:pt x="212475" y="97"/>
                  </a:cubicBezTo>
                  <a:cubicBezTo>
                    <a:pt x="133100" y="10257"/>
                    <a:pt x="62107" y="68677"/>
                    <a:pt x="5211" y="121001"/>
                  </a:cubicBezTo>
                  <a:cubicBezTo>
                    <a:pt x="-10537" y="135352"/>
                    <a:pt x="12958" y="158847"/>
                    <a:pt x="28706" y="144369"/>
                  </a:cubicBezTo>
                </a:path>
              </a:pathLst>
            </a:custGeom>
            <a:solidFill>
              <a:srgbClr val="B5D385"/>
            </a:solidFill>
            <a:ln w="12689" cap="flat">
              <a:noFill/>
              <a:prstDash val="solid"/>
              <a:miter/>
            </a:ln>
          </p:spPr>
          <p:txBody>
            <a:bodyPr rtlCol="0" anchor="ctr"/>
            <a:lstStyle/>
            <a:p>
              <a:endParaRPr lang="bg-BG"/>
            </a:p>
          </p:txBody>
        </p:sp>
        <p:sp>
          <p:nvSpPr>
            <p:cNvPr id="44" name="Свободна форма: фигура 23">
              <a:extLst>
                <a:ext uri="{FF2B5EF4-FFF2-40B4-BE49-F238E27FC236}">
                  <a16:creationId xmlns:a16="http://schemas.microsoft.com/office/drawing/2014/main" id="{4DD3DC03-7316-EA02-E257-5E65D887AAEB}"/>
                </a:ext>
              </a:extLst>
            </p:cNvPr>
            <p:cNvSpPr/>
            <p:nvPr/>
          </p:nvSpPr>
          <p:spPr>
            <a:xfrm>
              <a:off x="1362964" y="907161"/>
              <a:ext cx="25400" cy="25400"/>
            </a:xfrm>
            <a:custGeom>
              <a:avLst/>
              <a:gdLst>
                <a:gd name="connsiteX0" fmla="*/ 33655 w 25400"/>
                <a:gd name="connsiteY0" fmla="*/ 15748 h 25400"/>
                <a:gd name="connsiteX1" fmla="*/ 0 w 25400"/>
                <a:gd name="connsiteY1" fmla="*/ 20447 h 25400"/>
                <a:gd name="connsiteX2" fmla="*/ 17907 w 25400"/>
                <a:gd name="connsiteY2" fmla="*/ 0 h 25400"/>
                <a:gd name="connsiteX3" fmla="*/ 33655 w 25400"/>
                <a:gd name="connsiteY3" fmla="*/ 15748 h 25400"/>
              </a:gdLst>
              <a:ahLst/>
              <a:cxnLst>
                <a:cxn ang="0">
                  <a:pos x="connsiteX0" y="connsiteY0"/>
                </a:cxn>
                <a:cxn ang="0">
                  <a:pos x="connsiteX1" y="connsiteY1"/>
                </a:cxn>
                <a:cxn ang="0">
                  <a:pos x="connsiteX2" y="connsiteY2"/>
                </a:cxn>
                <a:cxn ang="0">
                  <a:pos x="connsiteX3" y="connsiteY3"/>
                </a:cxn>
              </a:cxnLst>
              <a:rect l="l" t="t" r="r" b="b"/>
              <a:pathLst>
                <a:path w="25400" h="25400">
                  <a:moveTo>
                    <a:pt x="33655" y="15748"/>
                  </a:moveTo>
                  <a:cubicBezTo>
                    <a:pt x="22352" y="42799"/>
                    <a:pt x="11176" y="31623"/>
                    <a:pt x="0" y="20447"/>
                  </a:cubicBezTo>
                  <a:cubicBezTo>
                    <a:pt x="11176" y="9271"/>
                    <a:pt x="11176" y="9271"/>
                    <a:pt x="17907" y="0"/>
                  </a:cubicBezTo>
                  <a:cubicBezTo>
                    <a:pt x="26543" y="0"/>
                    <a:pt x="33655" y="7112"/>
                    <a:pt x="33655" y="15748"/>
                  </a:cubicBezTo>
                </a:path>
              </a:pathLst>
            </a:custGeom>
            <a:solidFill>
              <a:srgbClr val="5DB723"/>
            </a:solidFill>
            <a:ln w="12689" cap="flat">
              <a:noFill/>
              <a:prstDash val="solid"/>
              <a:miter/>
            </a:ln>
          </p:spPr>
          <p:txBody>
            <a:bodyPr rtlCol="0" anchor="ctr"/>
            <a:lstStyle/>
            <a:p>
              <a:endParaRPr lang="bg-BG"/>
            </a:p>
          </p:txBody>
        </p:sp>
        <p:sp>
          <p:nvSpPr>
            <p:cNvPr id="45" name="Свободна форма: фигура 24">
              <a:extLst>
                <a:ext uri="{FF2B5EF4-FFF2-40B4-BE49-F238E27FC236}">
                  <a16:creationId xmlns:a16="http://schemas.microsoft.com/office/drawing/2014/main" id="{81D44499-6569-F412-7347-8635BBF12605}"/>
                </a:ext>
              </a:extLst>
            </p:cNvPr>
            <p:cNvSpPr/>
            <p:nvPr/>
          </p:nvSpPr>
          <p:spPr>
            <a:xfrm>
              <a:off x="1396492" y="1063687"/>
              <a:ext cx="25400" cy="25400"/>
            </a:xfrm>
            <a:custGeom>
              <a:avLst/>
              <a:gdLst>
                <a:gd name="connsiteX0" fmla="*/ 32385 w 25400"/>
                <a:gd name="connsiteY0" fmla="*/ 21782 h 25400"/>
                <a:gd name="connsiteX1" fmla="*/ 0 w 25400"/>
                <a:gd name="connsiteY1" fmla="*/ 9590 h 25400"/>
                <a:gd name="connsiteX2" fmla="*/ 26416 w 25400"/>
                <a:gd name="connsiteY2" fmla="*/ 192 h 25400"/>
                <a:gd name="connsiteX3" fmla="*/ 32385 w 25400"/>
                <a:gd name="connsiteY3" fmla="*/ 21782 h 25400"/>
              </a:gdLst>
              <a:ahLst/>
              <a:cxnLst>
                <a:cxn ang="0">
                  <a:pos x="connsiteX0" y="connsiteY0"/>
                </a:cxn>
                <a:cxn ang="0">
                  <a:pos x="connsiteX1" y="connsiteY1"/>
                </a:cxn>
                <a:cxn ang="0">
                  <a:pos x="connsiteX2" y="connsiteY2"/>
                </a:cxn>
                <a:cxn ang="0">
                  <a:pos x="connsiteX3" y="connsiteY3"/>
                </a:cxn>
              </a:cxnLst>
              <a:rect l="l" t="t" r="r" b="b"/>
              <a:pathLst>
                <a:path w="25400" h="25400">
                  <a:moveTo>
                    <a:pt x="32385" y="21782"/>
                  </a:moveTo>
                  <a:cubicBezTo>
                    <a:pt x="11176" y="43118"/>
                    <a:pt x="0" y="31942"/>
                    <a:pt x="0" y="9590"/>
                  </a:cubicBezTo>
                  <a:cubicBezTo>
                    <a:pt x="0" y="9590"/>
                    <a:pt x="11176" y="-1586"/>
                    <a:pt x="26416" y="192"/>
                  </a:cubicBezTo>
                  <a:cubicBezTo>
                    <a:pt x="34036" y="4383"/>
                    <a:pt x="36703" y="14162"/>
                    <a:pt x="32385" y="21782"/>
                  </a:cubicBezTo>
                </a:path>
              </a:pathLst>
            </a:custGeom>
            <a:solidFill>
              <a:srgbClr val="5DB723"/>
            </a:solidFill>
            <a:ln w="12689" cap="flat">
              <a:noFill/>
              <a:prstDash val="solid"/>
              <a:miter/>
            </a:ln>
          </p:spPr>
          <p:txBody>
            <a:bodyPr rtlCol="0" anchor="ctr"/>
            <a:lstStyle/>
            <a:p>
              <a:endParaRPr lang="bg-BG"/>
            </a:p>
          </p:txBody>
        </p:sp>
        <p:sp>
          <p:nvSpPr>
            <p:cNvPr id="46" name="Свободна форма: фигура 25">
              <a:extLst>
                <a:ext uri="{FF2B5EF4-FFF2-40B4-BE49-F238E27FC236}">
                  <a16:creationId xmlns:a16="http://schemas.microsoft.com/office/drawing/2014/main" id="{2B142C3F-1649-A313-1FDD-A510D2109931}"/>
                </a:ext>
              </a:extLst>
            </p:cNvPr>
            <p:cNvSpPr/>
            <p:nvPr/>
          </p:nvSpPr>
          <p:spPr>
            <a:xfrm>
              <a:off x="1497330" y="1203960"/>
              <a:ext cx="25400" cy="25400"/>
            </a:xfrm>
            <a:custGeom>
              <a:avLst/>
              <a:gdLst>
                <a:gd name="connsiteX0" fmla="*/ 31496 w 25400"/>
                <a:gd name="connsiteY0" fmla="*/ 21717 h 25400"/>
                <a:gd name="connsiteX1" fmla="*/ 0 w 25400"/>
                <a:gd name="connsiteY1" fmla="*/ 3556 h 25400"/>
                <a:gd name="connsiteX2" fmla="*/ 25527 w 25400"/>
                <a:gd name="connsiteY2" fmla="*/ 0 h 25400"/>
                <a:gd name="connsiteX3" fmla="*/ 31496 w 25400"/>
                <a:gd name="connsiteY3" fmla="*/ 21717 h 25400"/>
              </a:gdLst>
              <a:ahLst/>
              <a:cxnLst>
                <a:cxn ang="0">
                  <a:pos x="connsiteX0" y="connsiteY0"/>
                </a:cxn>
                <a:cxn ang="0">
                  <a:pos x="connsiteX1" y="connsiteY1"/>
                </a:cxn>
                <a:cxn ang="0">
                  <a:pos x="connsiteX2" y="connsiteY2"/>
                </a:cxn>
                <a:cxn ang="0">
                  <a:pos x="connsiteX3" y="connsiteY3"/>
                </a:cxn>
              </a:cxnLst>
              <a:rect l="l" t="t" r="r" b="b"/>
              <a:pathLst>
                <a:path w="25400" h="25400">
                  <a:moveTo>
                    <a:pt x="31496" y="21717"/>
                  </a:moveTo>
                  <a:cubicBezTo>
                    <a:pt x="11176" y="37084"/>
                    <a:pt x="0" y="25908"/>
                    <a:pt x="0" y="3556"/>
                  </a:cubicBezTo>
                  <a:cubicBezTo>
                    <a:pt x="11176" y="3556"/>
                    <a:pt x="11176" y="3556"/>
                    <a:pt x="25527" y="0"/>
                  </a:cubicBezTo>
                  <a:cubicBezTo>
                    <a:pt x="33147" y="4445"/>
                    <a:pt x="35814" y="14224"/>
                    <a:pt x="31496" y="21717"/>
                  </a:cubicBezTo>
                </a:path>
              </a:pathLst>
            </a:custGeom>
            <a:solidFill>
              <a:srgbClr val="5DB723"/>
            </a:solidFill>
            <a:ln w="12689" cap="flat">
              <a:noFill/>
              <a:prstDash val="solid"/>
              <a:miter/>
            </a:ln>
          </p:spPr>
          <p:txBody>
            <a:bodyPr rtlCol="0" anchor="ctr"/>
            <a:lstStyle/>
            <a:p>
              <a:endParaRPr lang="bg-BG"/>
            </a:p>
          </p:txBody>
        </p:sp>
        <p:sp>
          <p:nvSpPr>
            <p:cNvPr id="47" name="Свободна форма: фигура 26">
              <a:extLst>
                <a:ext uri="{FF2B5EF4-FFF2-40B4-BE49-F238E27FC236}">
                  <a16:creationId xmlns:a16="http://schemas.microsoft.com/office/drawing/2014/main" id="{BB335A08-3B53-7D21-99A5-B68056764635}"/>
                </a:ext>
              </a:extLst>
            </p:cNvPr>
            <p:cNvSpPr/>
            <p:nvPr/>
          </p:nvSpPr>
          <p:spPr>
            <a:xfrm>
              <a:off x="2136140" y="1159590"/>
              <a:ext cx="215900" cy="165100"/>
            </a:xfrm>
            <a:custGeom>
              <a:avLst/>
              <a:gdLst>
                <a:gd name="connsiteX0" fmla="*/ 0 w 215900"/>
                <a:gd name="connsiteY0" fmla="*/ 173402 h 165100"/>
                <a:gd name="connsiteX1" fmla="*/ 209550 w 215900"/>
                <a:gd name="connsiteY1" fmla="*/ 41957 h 165100"/>
                <a:gd name="connsiteX2" fmla="*/ 129794 w 215900"/>
                <a:gd name="connsiteY2" fmla="*/ 77263 h 165100"/>
                <a:gd name="connsiteX3" fmla="*/ 0 w 215900"/>
                <a:gd name="connsiteY3" fmla="*/ 173402 h 165100"/>
              </a:gdLst>
              <a:ahLst/>
              <a:cxnLst>
                <a:cxn ang="0">
                  <a:pos x="connsiteX0" y="connsiteY0"/>
                </a:cxn>
                <a:cxn ang="0">
                  <a:pos x="connsiteX1" y="connsiteY1"/>
                </a:cxn>
                <a:cxn ang="0">
                  <a:pos x="connsiteX2" y="connsiteY2"/>
                </a:cxn>
                <a:cxn ang="0">
                  <a:pos x="connsiteX3" y="connsiteY3"/>
                </a:cxn>
              </a:cxnLst>
              <a:rect l="l" t="t" r="r" b="b"/>
              <a:pathLst>
                <a:path w="215900" h="165100">
                  <a:moveTo>
                    <a:pt x="0" y="173402"/>
                  </a:moveTo>
                  <a:cubicBezTo>
                    <a:pt x="0" y="173402"/>
                    <a:pt x="182372" y="133778"/>
                    <a:pt x="209550" y="41957"/>
                  </a:cubicBezTo>
                  <a:cubicBezTo>
                    <a:pt x="236855" y="-49864"/>
                    <a:pt x="172593" y="30908"/>
                    <a:pt x="129794" y="77263"/>
                  </a:cubicBezTo>
                  <a:cubicBezTo>
                    <a:pt x="87122" y="123618"/>
                    <a:pt x="0" y="173402"/>
                    <a:pt x="0" y="173402"/>
                  </a:cubicBezTo>
                </a:path>
              </a:pathLst>
            </a:custGeom>
            <a:solidFill>
              <a:srgbClr val="5DB723"/>
            </a:solidFill>
            <a:ln w="12689" cap="flat">
              <a:noFill/>
              <a:prstDash val="solid"/>
              <a:miter/>
            </a:ln>
          </p:spPr>
          <p:txBody>
            <a:bodyPr rtlCol="0" anchor="ctr"/>
            <a:lstStyle/>
            <a:p>
              <a:endParaRPr lang="bg-BG"/>
            </a:p>
          </p:txBody>
        </p:sp>
        <p:sp>
          <p:nvSpPr>
            <p:cNvPr id="48" name="Свободна форма: фигура 27">
              <a:extLst>
                <a:ext uri="{FF2B5EF4-FFF2-40B4-BE49-F238E27FC236}">
                  <a16:creationId xmlns:a16="http://schemas.microsoft.com/office/drawing/2014/main" id="{11A1A586-660E-62CE-47C0-70FBBD17564E}"/>
                </a:ext>
              </a:extLst>
            </p:cNvPr>
            <p:cNvSpPr/>
            <p:nvPr/>
          </p:nvSpPr>
          <p:spPr>
            <a:xfrm>
              <a:off x="1442985" y="476377"/>
              <a:ext cx="114300" cy="88900"/>
            </a:xfrm>
            <a:custGeom>
              <a:avLst/>
              <a:gdLst>
                <a:gd name="connsiteX0" fmla="*/ 114670 w 114300"/>
                <a:gd name="connsiteY0" fmla="*/ 0 h 88900"/>
                <a:gd name="connsiteX1" fmla="*/ 6466 w 114300"/>
                <a:gd name="connsiteY1" fmla="*/ 55626 h 88900"/>
                <a:gd name="connsiteX2" fmla="*/ 62473 w 114300"/>
                <a:gd name="connsiteY2" fmla="*/ 58293 h 88900"/>
                <a:gd name="connsiteX3" fmla="*/ 114670 w 114300"/>
                <a:gd name="connsiteY3" fmla="*/ 0 h 88900"/>
              </a:gdLst>
              <a:ahLst/>
              <a:cxnLst>
                <a:cxn ang="0">
                  <a:pos x="connsiteX0" y="connsiteY0"/>
                </a:cxn>
                <a:cxn ang="0">
                  <a:pos x="connsiteX1" y="connsiteY1"/>
                </a:cxn>
                <a:cxn ang="0">
                  <a:pos x="connsiteX2" y="connsiteY2"/>
                </a:cxn>
                <a:cxn ang="0">
                  <a:pos x="connsiteX3" y="connsiteY3"/>
                </a:cxn>
              </a:cxnLst>
              <a:rect l="l" t="t" r="r" b="b"/>
              <a:pathLst>
                <a:path w="114300" h="88900">
                  <a:moveTo>
                    <a:pt x="114670" y="0"/>
                  </a:moveTo>
                  <a:cubicBezTo>
                    <a:pt x="114670" y="0"/>
                    <a:pt x="28564" y="12065"/>
                    <a:pt x="6466" y="55626"/>
                  </a:cubicBezTo>
                  <a:cubicBezTo>
                    <a:pt x="-15632" y="99187"/>
                    <a:pt x="22849" y="104775"/>
                    <a:pt x="62473" y="58293"/>
                  </a:cubicBezTo>
                  <a:cubicBezTo>
                    <a:pt x="101970" y="11557"/>
                    <a:pt x="114670" y="0"/>
                    <a:pt x="114670" y="0"/>
                  </a:cubicBezTo>
                </a:path>
              </a:pathLst>
            </a:custGeom>
            <a:solidFill>
              <a:srgbClr val="83CC1B"/>
            </a:solidFill>
            <a:ln w="12689" cap="flat">
              <a:noFill/>
              <a:prstDash val="solid"/>
              <a:miter/>
            </a:ln>
          </p:spPr>
          <p:txBody>
            <a:bodyPr rtlCol="0" anchor="ctr"/>
            <a:lstStyle/>
            <a:p>
              <a:endParaRPr lang="bg-BG"/>
            </a:p>
          </p:txBody>
        </p:sp>
      </p:grpSp>
      <p:sp>
        <p:nvSpPr>
          <p:cNvPr id="4" name="object 3">
            <a:extLst>
              <a:ext uri="{FF2B5EF4-FFF2-40B4-BE49-F238E27FC236}">
                <a16:creationId xmlns:a16="http://schemas.microsoft.com/office/drawing/2014/main" id="{447E4D88-761A-CF30-99B8-4699A11B9155}"/>
              </a:ext>
            </a:extLst>
          </p:cNvPr>
          <p:cNvSpPr txBox="1"/>
          <p:nvPr/>
        </p:nvSpPr>
        <p:spPr>
          <a:xfrm>
            <a:off x="902441" y="3811602"/>
            <a:ext cx="2214950" cy="1047210"/>
          </a:xfrm>
          <a:prstGeom prst="rect">
            <a:avLst/>
          </a:prstGeom>
        </p:spPr>
        <p:txBody>
          <a:bodyPr vert="horz" wrap="square" lIns="0" tIns="12700" rIns="0" bIns="0" rtlCol="0">
            <a:spAutoFit/>
          </a:bodyPr>
          <a:lstStyle/>
          <a:p>
            <a:pPr marL="452755" marR="160655" indent="-285750">
              <a:lnSpc>
                <a:spcPct val="118600"/>
              </a:lnSpc>
              <a:spcBef>
                <a:spcPts val="100"/>
              </a:spcBef>
              <a:buFont typeface="Arial" panose="020B0604020202020204" pitchFamily="34" charset="0"/>
              <a:buChar char="•"/>
            </a:pPr>
            <a:r>
              <a:rPr lang="en-US" sz="1400" dirty="0">
                <a:latin typeface="+mj-lt"/>
                <a:cs typeface="Arial"/>
              </a:rPr>
              <a:t>Child Follow-up Register.</a:t>
            </a:r>
          </a:p>
          <a:p>
            <a:pPr marL="452755" marR="160655" indent="-285750">
              <a:lnSpc>
                <a:spcPct val="118600"/>
              </a:lnSpc>
              <a:spcBef>
                <a:spcPts val="100"/>
              </a:spcBef>
              <a:buFont typeface="Arial" panose="020B0604020202020204" pitchFamily="34" charset="0"/>
              <a:buChar char="•"/>
            </a:pPr>
            <a:r>
              <a:rPr lang="en-US" sz="1400" dirty="0">
                <a:latin typeface="+mj-lt"/>
                <a:cs typeface="Arial"/>
              </a:rPr>
              <a:t>Reported Annually</a:t>
            </a:r>
          </a:p>
          <a:p>
            <a:pPr marL="167005" marR="160655" algn="ctr">
              <a:lnSpc>
                <a:spcPct val="118600"/>
              </a:lnSpc>
              <a:spcBef>
                <a:spcPts val="100"/>
              </a:spcBef>
            </a:pPr>
            <a:endParaRPr sz="1400" dirty="0">
              <a:latin typeface="+mj-lt"/>
              <a:cs typeface="Arial"/>
            </a:endParaRPr>
          </a:p>
        </p:txBody>
      </p:sp>
      <p:sp>
        <p:nvSpPr>
          <p:cNvPr id="66" name="object 3">
            <a:extLst>
              <a:ext uri="{FF2B5EF4-FFF2-40B4-BE49-F238E27FC236}">
                <a16:creationId xmlns:a16="http://schemas.microsoft.com/office/drawing/2014/main" id="{6AD237E3-4261-FDB5-251F-3E41385BE1E1}"/>
              </a:ext>
            </a:extLst>
          </p:cNvPr>
          <p:cNvSpPr txBox="1"/>
          <p:nvPr/>
        </p:nvSpPr>
        <p:spPr>
          <a:xfrm>
            <a:off x="1274883" y="2185576"/>
            <a:ext cx="1494241" cy="579774"/>
          </a:xfrm>
          <a:prstGeom prst="rect">
            <a:avLst/>
          </a:prstGeom>
        </p:spPr>
        <p:txBody>
          <a:bodyPr vert="horz" wrap="square" lIns="0" tIns="12700" rIns="0" bIns="0" rtlCol="0">
            <a:spAutoFit/>
          </a:bodyPr>
          <a:lstStyle/>
          <a:p>
            <a:pPr marL="167005" marR="160655" algn="ctr">
              <a:lnSpc>
                <a:spcPct val="118600"/>
              </a:lnSpc>
              <a:spcBef>
                <a:spcPts val="100"/>
              </a:spcBef>
            </a:pPr>
            <a:r>
              <a:rPr lang="en-US" sz="1600" b="1" dirty="0">
                <a:latin typeface="+mj-lt"/>
                <a:cs typeface="Arial"/>
              </a:rPr>
              <a:t>Data Source / Reporting</a:t>
            </a:r>
            <a:endParaRPr sz="1600" b="1" dirty="0">
              <a:latin typeface="+mj-lt"/>
              <a:cs typeface="Arial"/>
            </a:endParaRPr>
          </a:p>
        </p:txBody>
      </p:sp>
      <p:grpSp>
        <p:nvGrpSpPr>
          <p:cNvPr id="67" name="Group 66">
            <a:extLst>
              <a:ext uri="{FF2B5EF4-FFF2-40B4-BE49-F238E27FC236}">
                <a16:creationId xmlns:a16="http://schemas.microsoft.com/office/drawing/2014/main" id="{8B709D4C-472F-BB09-74F5-02836FBFA798}"/>
              </a:ext>
            </a:extLst>
          </p:cNvPr>
          <p:cNvGrpSpPr/>
          <p:nvPr/>
        </p:nvGrpSpPr>
        <p:grpSpPr>
          <a:xfrm>
            <a:off x="4325551" y="1781978"/>
            <a:ext cx="3688976" cy="4383048"/>
            <a:chOff x="583687" y="407303"/>
            <a:chExt cx="2652210" cy="2724586"/>
          </a:xfrm>
        </p:grpSpPr>
        <p:sp>
          <p:nvSpPr>
            <p:cNvPr id="68" name="Свободна форма: фигура 11">
              <a:extLst>
                <a:ext uri="{FF2B5EF4-FFF2-40B4-BE49-F238E27FC236}">
                  <a16:creationId xmlns:a16="http://schemas.microsoft.com/office/drawing/2014/main" id="{D294A893-52A7-B840-50A7-8CCD77E64043}"/>
                </a:ext>
              </a:extLst>
            </p:cNvPr>
            <p:cNvSpPr/>
            <p:nvPr/>
          </p:nvSpPr>
          <p:spPr>
            <a:xfrm>
              <a:off x="677366" y="592080"/>
              <a:ext cx="2413000" cy="2413000"/>
            </a:xfrm>
            <a:custGeom>
              <a:avLst/>
              <a:gdLst>
                <a:gd name="connsiteX0" fmla="*/ 2422704 w 2413000"/>
                <a:gd name="connsiteY0" fmla="*/ 1249928 h 2413000"/>
                <a:gd name="connsiteX1" fmla="*/ 1806246 w 2413000"/>
                <a:gd name="connsiteY1" fmla="*/ 2259705 h 2413000"/>
                <a:gd name="connsiteX2" fmla="*/ 1647242 w 2413000"/>
                <a:gd name="connsiteY2" fmla="*/ 2330190 h 2413000"/>
                <a:gd name="connsiteX3" fmla="*/ 250115 w 2413000"/>
                <a:gd name="connsiteY3" fmla="*/ 1945126 h 2413000"/>
                <a:gd name="connsiteX4" fmla="*/ 132767 w 2413000"/>
                <a:gd name="connsiteY4" fmla="*/ 1759452 h 2413000"/>
                <a:gd name="connsiteX5" fmla="*/ 88825 w 2413000"/>
                <a:gd name="connsiteY5" fmla="*/ 705987 h 2413000"/>
                <a:gd name="connsiteX6" fmla="*/ 1371779 w 2413000"/>
                <a:gd name="connsiteY6" fmla="*/ 11551 h 2413000"/>
                <a:gd name="connsiteX7" fmla="*/ 1587425 w 2413000"/>
                <a:gd name="connsiteY7" fmla="*/ 62605 h 2413000"/>
                <a:gd name="connsiteX8" fmla="*/ 2410893 w 2413000"/>
                <a:gd name="connsiteY8" fmla="*/ 1003294 h 2413000"/>
                <a:gd name="connsiteX9" fmla="*/ 2422704 w 2413000"/>
                <a:gd name="connsiteY9" fmla="*/ 1249928 h 241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3000" h="2413000">
                  <a:moveTo>
                    <a:pt x="2422704" y="1249928"/>
                  </a:moveTo>
                  <a:cubicBezTo>
                    <a:pt x="2416354" y="1676648"/>
                    <a:pt x="2163497" y="2066030"/>
                    <a:pt x="1806246" y="2259705"/>
                  </a:cubicBezTo>
                  <a:cubicBezTo>
                    <a:pt x="1755192" y="2287391"/>
                    <a:pt x="1702106" y="2311013"/>
                    <a:pt x="1647242" y="2330190"/>
                  </a:cubicBezTo>
                  <a:cubicBezTo>
                    <a:pt x="1147878" y="2541391"/>
                    <a:pt x="564567" y="2349367"/>
                    <a:pt x="250115" y="1945126"/>
                  </a:cubicBezTo>
                  <a:cubicBezTo>
                    <a:pt x="205157" y="1887341"/>
                    <a:pt x="165787" y="1825365"/>
                    <a:pt x="132767" y="1759452"/>
                  </a:cubicBezTo>
                  <a:cubicBezTo>
                    <a:pt x="1068" y="1430268"/>
                    <a:pt x="-64718" y="1057142"/>
                    <a:pt x="88825" y="705987"/>
                  </a:cubicBezTo>
                  <a:cubicBezTo>
                    <a:pt x="308281" y="223133"/>
                    <a:pt x="835077" y="-62236"/>
                    <a:pt x="1371779" y="11551"/>
                  </a:cubicBezTo>
                  <a:cubicBezTo>
                    <a:pt x="1444931" y="22473"/>
                    <a:pt x="1517194" y="39618"/>
                    <a:pt x="1587425" y="62605"/>
                  </a:cubicBezTo>
                  <a:cubicBezTo>
                    <a:pt x="2008938" y="200527"/>
                    <a:pt x="2360855" y="548380"/>
                    <a:pt x="2410893" y="1003294"/>
                  </a:cubicBezTo>
                  <a:cubicBezTo>
                    <a:pt x="2423212" y="1082669"/>
                    <a:pt x="2427403" y="1165473"/>
                    <a:pt x="2422704" y="1249928"/>
                  </a:cubicBezTo>
                </a:path>
              </a:pathLst>
            </a:custGeom>
            <a:solidFill>
              <a:srgbClr val="FFFFFF"/>
            </a:solidFill>
            <a:ln w="12689" cap="flat">
              <a:noFill/>
              <a:prstDash val="solid"/>
              <a:miter/>
            </a:ln>
          </p:spPr>
          <p:txBody>
            <a:bodyPr rtlCol="0" anchor="ctr"/>
            <a:lstStyle/>
            <a:p>
              <a:endParaRPr lang="bg-BG" dirty="0"/>
            </a:p>
          </p:txBody>
        </p:sp>
        <p:sp>
          <p:nvSpPr>
            <p:cNvPr id="69" name="Свободна форма: фигура 12">
              <a:extLst>
                <a:ext uri="{FF2B5EF4-FFF2-40B4-BE49-F238E27FC236}">
                  <a16:creationId xmlns:a16="http://schemas.microsoft.com/office/drawing/2014/main" id="{00AC17DA-3827-9558-24F9-D233691207DA}"/>
                </a:ext>
              </a:extLst>
            </p:cNvPr>
            <p:cNvSpPr/>
            <p:nvPr/>
          </p:nvSpPr>
          <p:spPr>
            <a:xfrm>
              <a:off x="1406829" y="592140"/>
              <a:ext cx="1054100" cy="850900"/>
            </a:xfrm>
            <a:custGeom>
              <a:avLst/>
              <a:gdLst>
                <a:gd name="connsiteX0" fmla="*/ 642316 w 1054100"/>
                <a:gd name="connsiteY0" fmla="*/ 11491 h 850900"/>
                <a:gd name="connsiteX1" fmla="*/ 61672 w 1054100"/>
                <a:gd name="connsiteY1" fmla="*/ 70419 h 850900"/>
                <a:gd name="connsiteX2" fmla="*/ 66244 w 1054100"/>
                <a:gd name="connsiteY2" fmla="*/ 566227 h 850900"/>
                <a:gd name="connsiteX3" fmla="*/ 118187 w 1054100"/>
                <a:gd name="connsiteY3" fmla="*/ 647253 h 850900"/>
                <a:gd name="connsiteX4" fmla="*/ 728422 w 1054100"/>
                <a:gd name="connsiteY4" fmla="*/ 817052 h 850900"/>
                <a:gd name="connsiteX5" fmla="*/ 1032333 w 1054100"/>
                <a:gd name="connsiteY5" fmla="*/ 474660 h 850900"/>
                <a:gd name="connsiteX6" fmla="*/ 1051637 w 1054100"/>
                <a:gd name="connsiteY6" fmla="*/ 381315 h 850900"/>
                <a:gd name="connsiteX7" fmla="*/ 1014172 w 1054100"/>
                <a:gd name="connsiteY7" fmla="*/ 124775 h 850900"/>
                <a:gd name="connsiteX8" fmla="*/ 857962 w 1054100"/>
                <a:gd name="connsiteY8" fmla="*/ 62545 h 850900"/>
                <a:gd name="connsiteX9" fmla="*/ 642316 w 1054100"/>
                <a:gd name="connsiteY9" fmla="*/ 11491 h 850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54100" h="850900">
                  <a:moveTo>
                    <a:pt x="642316" y="11491"/>
                  </a:moveTo>
                  <a:cubicBezTo>
                    <a:pt x="442291" y="-15941"/>
                    <a:pt x="243536" y="6538"/>
                    <a:pt x="61672" y="70419"/>
                  </a:cubicBezTo>
                  <a:cubicBezTo>
                    <a:pt x="-26847" y="221803"/>
                    <a:pt x="-15417" y="412176"/>
                    <a:pt x="66244" y="566227"/>
                  </a:cubicBezTo>
                  <a:cubicBezTo>
                    <a:pt x="81230" y="594548"/>
                    <a:pt x="98629" y="621726"/>
                    <a:pt x="118187" y="647253"/>
                  </a:cubicBezTo>
                  <a:cubicBezTo>
                    <a:pt x="263602" y="832038"/>
                    <a:pt x="514173" y="901761"/>
                    <a:pt x="728422" y="817052"/>
                  </a:cubicBezTo>
                  <a:cubicBezTo>
                    <a:pt x="882346" y="753679"/>
                    <a:pt x="974167" y="617281"/>
                    <a:pt x="1032333" y="474660"/>
                  </a:cubicBezTo>
                  <a:cubicBezTo>
                    <a:pt x="1041858" y="444180"/>
                    <a:pt x="1048335" y="412811"/>
                    <a:pt x="1051637" y="381315"/>
                  </a:cubicBezTo>
                  <a:cubicBezTo>
                    <a:pt x="1060908" y="294701"/>
                    <a:pt x="1047192" y="205928"/>
                    <a:pt x="1014172" y="124775"/>
                  </a:cubicBezTo>
                  <a:cubicBezTo>
                    <a:pt x="963499" y="100772"/>
                    <a:pt x="911302" y="80071"/>
                    <a:pt x="857962" y="62545"/>
                  </a:cubicBezTo>
                  <a:cubicBezTo>
                    <a:pt x="787731" y="39558"/>
                    <a:pt x="715595" y="22413"/>
                    <a:pt x="642316" y="11491"/>
                  </a:cubicBezTo>
                </a:path>
              </a:pathLst>
            </a:custGeom>
            <a:solidFill>
              <a:srgbClr val="F1F0D7"/>
            </a:solidFill>
            <a:ln w="12689" cap="flat">
              <a:noFill/>
              <a:prstDash val="solid"/>
              <a:miter/>
            </a:ln>
          </p:spPr>
          <p:txBody>
            <a:bodyPr rtlCol="0" anchor="ctr"/>
            <a:lstStyle/>
            <a:p>
              <a:endParaRPr lang="bg-BG"/>
            </a:p>
          </p:txBody>
        </p:sp>
        <p:sp>
          <p:nvSpPr>
            <p:cNvPr id="70" name="Свободна форма: фигура 13">
              <a:extLst>
                <a:ext uri="{FF2B5EF4-FFF2-40B4-BE49-F238E27FC236}">
                  <a16:creationId xmlns:a16="http://schemas.microsoft.com/office/drawing/2014/main" id="{B56C289E-B2C6-98FA-3341-FA11B7172AE4}"/>
                </a:ext>
              </a:extLst>
            </p:cNvPr>
            <p:cNvSpPr/>
            <p:nvPr/>
          </p:nvSpPr>
          <p:spPr>
            <a:xfrm>
              <a:off x="1425065" y="407303"/>
              <a:ext cx="914400" cy="927100"/>
            </a:xfrm>
            <a:custGeom>
              <a:avLst/>
              <a:gdLst>
                <a:gd name="connsiteX0" fmla="*/ 143512 w 914400"/>
                <a:gd name="connsiteY0" fmla="*/ 129780 h 927100"/>
                <a:gd name="connsiteX1" fmla="*/ 580011 w 914400"/>
                <a:gd name="connsiteY1" fmla="*/ 15988 h 927100"/>
                <a:gd name="connsiteX2" fmla="*/ 642368 w 914400"/>
                <a:gd name="connsiteY2" fmla="*/ 38721 h 927100"/>
                <a:gd name="connsiteX3" fmla="*/ 923800 w 914400"/>
                <a:gd name="connsiteY3" fmla="*/ 514208 h 927100"/>
                <a:gd name="connsiteX4" fmla="*/ 906782 w 914400"/>
                <a:gd name="connsiteY4" fmla="*/ 596251 h 927100"/>
                <a:gd name="connsiteX5" fmla="*/ 639828 w 914400"/>
                <a:gd name="connsiteY5" fmla="*/ 896860 h 927100"/>
                <a:gd name="connsiteX6" fmla="*/ 104015 w 914400"/>
                <a:gd name="connsiteY6" fmla="*/ 747762 h 927100"/>
                <a:gd name="connsiteX7" fmla="*/ 58295 w 914400"/>
                <a:gd name="connsiteY7" fmla="*/ 676642 h 927100"/>
                <a:gd name="connsiteX8" fmla="*/ 81409 w 914400"/>
                <a:gd name="connsiteY8" fmla="*/ 200519 h 927100"/>
                <a:gd name="connsiteX9" fmla="*/ 143512 w 914400"/>
                <a:gd name="connsiteY9" fmla="*/ 129780 h 927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4400" h="927100">
                  <a:moveTo>
                    <a:pt x="143512" y="129780"/>
                  </a:moveTo>
                  <a:cubicBezTo>
                    <a:pt x="258193" y="14337"/>
                    <a:pt x="430659" y="-25541"/>
                    <a:pt x="580011" y="15988"/>
                  </a:cubicBezTo>
                  <a:cubicBezTo>
                    <a:pt x="601347" y="21957"/>
                    <a:pt x="622175" y="29450"/>
                    <a:pt x="642368" y="38721"/>
                  </a:cubicBezTo>
                  <a:cubicBezTo>
                    <a:pt x="835281" y="113016"/>
                    <a:pt x="944501" y="320153"/>
                    <a:pt x="923800" y="514208"/>
                  </a:cubicBezTo>
                  <a:cubicBezTo>
                    <a:pt x="920879" y="541895"/>
                    <a:pt x="915164" y="569454"/>
                    <a:pt x="906782" y="596251"/>
                  </a:cubicBezTo>
                  <a:cubicBezTo>
                    <a:pt x="855728" y="721473"/>
                    <a:pt x="774956" y="841234"/>
                    <a:pt x="639828" y="896860"/>
                  </a:cubicBezTo>
                  <a:cubicBezTo>
                    <a:pt x="451741" y="971282"/>
                    <a:pt x="231650" y="910068"/>
                    <a:pt x="104015" y="747762"/>
                  </a:cubicBezTo>
                  <a:cubicBezTo>
                    <a:pt x="86870" y="725410"/>
                    <a:pt x="71503" y="701534"/>
                    <a:pt x="58295" y="676642"/>
                  </a:cubicBezTo>
                  <a:cubicBezTo>
                    <a:pt x="-20826" y="527163"/>
                    <a:pt x="-25271" y="338568"/>
                    <a:pt x="81409" y="200519"/>
                  </a:cubicBezTo>
                  <a:cubicBezTo>
                    <a:pt x="99062" y="175500"/>
                    <a:pt x="119890" y="151623"/>
                    <a:pt x="143512" y="129780"/>
                  </a:cubicBezTo>
                </a:path>
              </a:pathLst>
            </a:custGeom>
            <a:solidFill>
              <a:schemeClr val="tx2"/>
            </a:solidFill>
            <a:ln w="12689" cap="flat">
              <a:noFill/>
              <a:prstDash val="solid"/>
              <a:miter/>
            </a:ln>
          </p:spPr>
          <p:txBody>
            <a:bodyPr rtlCol="0" anchor="ctr"/>
            <a:lstStyle/>
            <a:p>
              <a:endParaRPr lang="bg-BG" dirty="0"/>
            </a:p>
          </p:txBody>
        </p:sp>
        <p:sp>
          <p:nvSpPr>
            <p:cNvPr id="71" name="Свободна форма: фигура 14">
              <a:extLst>
                <a:ext uri="{FF2B5EF4-FFF2-40B4-BE49-F238E27FC236}">
                  <a16:creationId xmlns:a16="http://schemas.microsoft.com/office/drawing/2014/main" id="{82E26C4C-8908-E803-2192-D89A8A99F42C}"/>
                </a:ext>
              </a:extLst>
            </p:cNvPr>
            <p:cNvSpPr/>
            <p:nvPr/>
          </p:nvSpPr>
          <p:spPr>
            <a:xfrm>
              <a:off x="1591056" y="557657"/>
              <a:ext cx="749300" cy="774700"/>
            </a:xfrm>
            <a:custGeom>
              <a:avLst/>
              <a:gdLst>
                <a:gd name="connsiteX0" fmla="*/ 629920 w 749300"/>
                <a:gd name="connsiteY0" fmla="*/ 21209 h 774700"/>
                <a:gd name="connsiteX1" fmla="*/ 593852 w 749300"/>
                <a:gd name="connsiteY1" fmla="*/ 266573 h 774700"/>
                <a:gd name="connsiteX2" fmla="*/ 271399 w 749300"/>
                <a:gd name="connsiteY2" fmla="*/ 577850 h 774700"/>
                <a:gd name="connsiteX3" fmla="*/ 0 w 749300"/>
                <a:gd name="connsiteY3" fmla="*/ 661924 h 774700"/>
                <a:gd name="connsiteX4" fmla="*/ 473837 w 749300"/>
                <a:gd name="connsiteY4" fmla="*/ 746506 h 774700"/>
                <a:gd name="connsiteX5" fmla="*/ 740791 w 749300"/>
                <a:gd name="connsiteY5" fmla="*/ 445770 h 774700"/>
                <a:gd name="connsiteX6" fmla="*/ 757809 w 749300"/>
                <a:gd name="connsiteY6" fmla="*/ 363728 h 774700"/>
                <a:gd name="connsiteX7" fmla="*/ 638175 w 749300"/>
                <a:gd name="connsiteY7" fmla="*/ 0 h 774700"/>
                <a:gd name="connsiteX8" fmla="*/ 629920 w 749300"/>
                <a:gd name="connsiteY8" fmla="*/ 21209 h 774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9300" h="774700">
                  <a:moveTo>
                    <a:pt x="629920" y="21209"/>
                  </a:moveTo>
                  <a:cubicBezTo>
                    <a:pt x="606171" y="100711"/>
                    <a:pt x="622300" y="185928"/>
                    <a:pt x="593852" y="266573"/>
                  </a:cubicBezTo>
                  <a:cubicBezTo>
                    <a:pt x="538861" y="422148"/>
                    <a:pt x="416306" y="511683"/>
                    <a:pt x="271399" y="577850"/>
                  </a:cubicBezTo>
                  <a:cubicBezTo>
                    <a:pt x="185039" y="617220"/>
                    <a:pt x="92710" y="647192"/>
                    <a:pt x="0" y="661924"/>
                  </a:cubicBezTo>
                  <a:cubicBezTo>
                    <a:pt x="129794" y="774446"/>
                    <a:pt x="313309" y="809879"/>
                    <a:pt x="473837" y="746506"/>
                  </a:cubicBezTo>
                  <a:cubicBezTo>
                    <a:pt x="608965" y="690880"/>
                    <a:pt x="689737" y="570992"/>
                    <a:pt x="740791" y="445770"/>
                  </a:cubicBezTo>
                  <a:cubicBezTo>
                    <a:pt x="749173" y="418973"/>
                    <a:pt x="754761" y="391541"/>
                    <a:pt x="757809" y="363728"/>
                  </a:cubicBezTo>
                  <a:cubicBezTo>
                    <a:pt x="771652" y="233680"/>
                    <a:pt x="727075" y="97917"/>
                    <a:pt x="638175" y="0"/>
                  </a:cubicBezTo>
                  <a:cubicBezTo>
                    <a:pt x="634873" y="6731"/>
                    <a:pt x="632079" y="13716"/>
                    <a:pt x="629920" y="21209"/>
                  </a:cubicBezTo>
                </a:path>
              </a:pathLst>
            </a:custGeom>
            <a:solidFill>
              <a:schemeClr val="tx2"/>
            </a:solidFill>
            <a:ln w="12689" cap="flat">
              <a:noFill/>
              <a:prstDash val="solid"/>
              <a:miter/>
            </a:ln>
          </p:spPr>
          <p:txBody>
            <a:bodyPr rtlCol="0" anchor="ctr"/>
            <a:lstStyle/>
            <a:p>
              <a:endParaRPr lang="bg-BG"/>
            </a:p>
          </p:txBody>
        </p:sp>
        <p:sp>
          <p:nvSpPr>
            <p:cNvPr id="72" name="Свободна форма: фигура 15">
              <a:extLst>
                <a:ext uri="{FF2B5EF4-FFF2-40B4-BE49-F238E27FC236}">
                  <a16:creationId xmlns:a16="http://schemas.microsoft.com/office/drawing/2014/main" id="{E4DE420D-EC81-37C8-8C7E-A5F4A87B592B}"/>
                </a:ext>
              </a:extLst>
            </p:cNvPr>
            <p:cNvSpPr/>
            <p:nvPr/>
          </p:nvSpPr>
          <p:spPr>
            <a:xfrm>
              <a:off x="689991" y="1457452"/>
              <a:ext cx="2400300" cy="1549400"/>
            </a:xfrm>
            <a:custGeom>
              <a:avLst/>
              <a:gdLst>
                <a:gd name="connsiteX0" fmla="*/ 2398395 w 2400300"/>
                <a:gd name="connsiteY0" fmla="*/ 137922 h 1549400"/>
                <a:gd name="connsiteX1" fmla="*/ 2373122 w 2400300"/>
                <a:gd name="connsiteY1" fmla="*/ 0 h 1549400"/>
                <a:gd name="connsiteX2" fmla="*/ 2211197 w 2400300"/>
                <a:gd name="connsiteY2" fmla="*/ 837184 h 1549400"/>
                <a:gd name="connsiteX3" fmla="*/ 1736852 w 2400300"/>
                <a:gd name="connsiteY3" fmla="*/ 1171702 h 1549400"/>
                <a:gd name="connsiteX4" fmla="*/ 1234313 w 2400300"/>
                <a:gd name="connsiteY4" fmla="*/ 1282827 h 1549400"/>
                <a:gd name="connsiteX5" fmla="*/ 955421 w 2400300"/>
                <a:gd name="connsiteY5" fmla="*/ 1222375 h 1549400"/>
                <a:gd name="connsiteX6" fmla="*/ 736727 w 2400300"/>
                <a:gd name="connsiteY6" fmla="*/ 1105154 h 1549400"/>
                <a:gd name="connsiteX7" fmla="*/ 305308 w 2400300"/>
                <a:gd name="connsiteY7" fmla="*/ 875792 h 1549400"/>
                <a:gd name="connsiteX8" fmla="*/ 0 w 2400300"/>
                <a:gd name="connsiteY8" fmla="*/ 455930 h 1549400"/>
                <a:gd name="connsiteX9" fmla="*/ 120269 w 2400300"/>
                <a:gd name="connsiteY9" fmla="*/ 894334 h 1549400"/>
                <a:gd name="connsiteX10" fmla="*/ 237617 w 2400300"/>
                <a:gd name="connsiteY10" fmla="*/ 1080008 h 1549400"/>
                <a:gd name="connsiteX11" fmla="*/ 1634744 w 2400300"/>
                <a:gd name="connsiteY11" fmla="*/ 1464945 h 1549400"/>
                <a:gd name="connsiteX12" fmla="*/ 1793875 w 2400300"/>
                <a:gd name="connsiteY12" fmla="*/ 1394460 h 1549400"/>
                <a:gd name="connsiteX13" fmla="*/ 2410333 w 2400300"/>
                <a:gd name="connsiteY13" fmla="*/ 384683 h 1549400"/>
                <a:gd name="connsiteX14" fmla="*/ 2398395 w 2400300"/>
                <a:gd name="connsiteY14" fmla="*/ 137922 h 154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00300" h="1549400">
                  <a:moveTo>
                    <a:pt x="2398395" y="137922"/>
                  </a:moveTo>
                  <a:cubicBezTo>
                    <a:pt x="2393188" y="90805"/>
                    <a:pt x="2384552" y="44831"/>
                    <a:pt x="2373122" y="0"/>
                  </a:cubicBezTo>
                  <a:cubicBezTo>
                    <a:pt x="2423668" y="292608"/>
                    <a:pt x="2409190" y="593598"/>
                    <a:pt x="2211197" y="837184"/>
                  </a:cubicBezTo>
                  <a:cubicBezTo>
                    <a:pt x="2086483" y="990473"/>
                    <a:pt x="1911731" y="1086358"/>
                    <a:pt x="1736852" y="1171702"/>
                  </a:cubicBezTo>
                  <a:cubicBezTo>
                    <a:pt x="1576832" y="1249807"/>
                    <a:pt x="1413891" y="1294384"/>
                    <a:pt x="1234313" y="1282827"/>
                  </a:cubicBezTo>
                  <a:cubicBezTo>
                    <a:pt x="1138936" y="1276731"/>
                    <a:pt x="1044448" y="1257300"/>
                    <a:pt x="955421" y="1222375"/>
                  </a:cubicBezTo>
                  <a:cubicBezTo>
                    <a:pt x="877570" y="1191641"/>
                    <a:pt x="809752" y="1145032"/>
                    <a:pt x="736727" y="1105154"/>
                  </a:cubicBezTo>
                  <a:cubicBezTo>
                    <a:pt x="594106" y="1027176"/>
                    <a:pt x="438277" y="970788"/>
                    <a:pt x="305308" y="875792"/>
                  </a:cubicBezTo>
                  <a:cubicBezTo>
                    <a:pt x="148717" y="764032"/>
                    <a:pt x="51308" y="618363"/>
                    <a:pt x="0" y="455930"/>
                  </a:cubicBezTo>
                  <a:cubicBezTo>
                    <a:pt x="20447" y="606552"/>
                    <a:pt x="64389" y="754380"/>
                    <a:pt x="120269" y="894334"/>
                  </a:cubicBezTo>
                  <a:cubicBezTo>
                    <a:pt x="153162" y="960120"/>
                    <a:pt x="192659" y="1022223"/>
                    <a:pt x="237617" y="1080008"/>
                  </a:cubicBezTo>
                  <a:cubicBezTo>
                    <a:pt x="552069" y="1484249"/>
                    <a:pt x="1135380" y="1676273"/>
                    <a:pt x="1634744" y="1464945"/>
                  </a:cubicBezTo>
                  <a:cubicBezTo>
                    <a:pt x="1689608" y="1445768"/>
                    <a:pt x="1742821" y="1422019"/>
                    <a:pt x="1793875" y="1394460"/>
                  </a:cubicBezTo>
                  <a:cubicBezTo>
                    <a:pt x="2151126" y="1200912"/>
                    <a:pt x="2403856" y="811403"/>
                    <a:pt x="2410333" y="384683"/>
                  </a:cubicBezTo>
                  <a:cubicBezTo>
                    <a:pt x="2414778" y="300101"/>
                    <a:pt x="2410587" y="217297"/>
                    <a:pt x="2398395" y="137922"/>
                  </a:cubicBezTo>
                </a:path>
              </a:pathLst>
            </a:custGeom>
            <a:solidFill>
              <a:srgbClr val="F1F0D7"/>
            </a:solidFill>
            <a:ln w="12689" cap="flat">
              <a:noFill/>
              <a:prstDash val="solid"/>
              <a:miter/>
            </a:ln>
          </p:spPr>
          <p:txBody>
            <a:bodyPr rtlCol="0" anchor="ctr"/>
            <a:lstStyle/>
            <a:p>
              <a:endParaRPr lang="bg-BG"/>
            </a:p>
          </p:txBody>
        </p:sp>
        <p:sp>
          <p:nvSpPr>
            <p:cNvPr id="73" name="Свободна форма: фигура 16">
              <a:extLst>
                <a:ext uri="{FF2B5EF4-FFF2-40B4-BE49-F238E27FC236}">
                  <a16:creationId xmlns:a16="http://schemas.microsoft.com/office/drawing/2014/main" id="{3FA8DFB9-F8DD-9AB2-6EDC-365ED6661251}"/>
                </a:ext>
              </a:extLst>
            </p:cNvPr>
            <p:cNvSpPr/>
            <p:nvPr/>
          </p:nvSpPr>
          <p:spPr>
            <a:xfrm>
              <a:off x="583687" y="1455489"/>
              <a:ext cx="1308100" cy="1676400"/>
            </a:xfrm>
            <a:custGeom>
              <a:avLst/>
              <a:gdLst>
                <a:gd name="connsiteX0" fmla="*/ 46360 w 1308100"/>
                <a:gd name="connsiteY0" fmla="*/ 1455 h 1676400"/>
                <a:gd name="connsiteX1" fmla="*/ 31374 w 1308100"/>
                <a:gd name="connsiteY1" fmla="*/ 704400 h 1676400"/>
                <a:gd name="connsiteX2" fmla="*/ 281437 w 1308100"/>
                <a:gd name="connsiteY2" fmla="*/ 1276408 h 1676400"/>
                <a:gd name="connsiteX3" fmla="*/ 741939 w 1308100"/>
                <a:gd name="connsiteY3" fmla="*/ 1597972 h 1676400"/>
                <a:gd name="connsiteX4" fmla="*/ 1299215 w 1308100"/>
                <a:gd name="connsiteY4" fmla="*/ 1668838 h 1676400"/>
                <a:gd name="connsiteX5" fmla="*/ 1293119 w 1308100"/>
                <a:gd name="connsiteY5" fmla="*/ 1624007 h 1676400"/>
                <a:gd name="connsiteX6" fmla="*/ 784738 w 1308100"/>
                <a:gd name="connsiteY6" fmla="*/ 1536377 h 1676400"/>
                <a:gd name="connsiteX7" fmla="*/ 334904 w 1308100"/>
                <a:gd name="connsiteY7" fmla="*/ 1238943 h 1676400"/>
                <a:gd name="connsiteX8" fmla="*/ 81031 w 1308100"/>
                <a:gd name="connsiteY8" fmla="*/ 705797 h 1676400"/>
                <a:gd name="connsiteX9" fmla="*/ 50297 w 1308100"/>
                <a:gd name="connsiteY9" fmla="*/ 2725 h 1676400"/>
                <a:gd name="connsiteX10" fmla="*/ 46360 w 1308100"/>
                <a:gd name="connsiteY10" fmla="*/ 1455 h 167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08100" h="1676400">
                  <a:moveTo>
                    <a:pt x="46360" y="1455"/>
                  </a:moveTo>
                  <a:cubicBezTo>
                    <a:pt x="-2027" y="237548"/>
                    <a:pt x="-21077" y="467037"/>
                    <a:pt x="31374" y="704400"/>
                  </a:cubicBezTo>
                  <a:cubicBezTo>
                    <a:pt x="75062" y="901885"/>
                    <a:pt x="151516" y="1118420"/>
                    <a:pt x="281437" y="1276408"/>
                  </a:cubicBezTo>
                  <a:cubicBezTo>
                    <a:pt x="401579" y="1422331"/>
                    <a:pt x="567441" y="1528884"/>
                    <a:pt x="741939" y="1597972"/>
                  </a:cubicBezTo>
                  <a:cubicBezTo>
                    <a:pt x="909325" y="1664139"/>
                    <a:pt x="1120399" y="1718749"/>
                    <a:pt x="1299215" y="1668838"/>
                  </a:cubicBezTo>
                  <a:cubicBezTo>
                    <a:pt x="1324869" y="1661599"/>
                    <a:pt x="1318265" y="1625785"/>
                    <a:pt x="1293119" y="1624007"/>
                  </a:cubicBezTo>
                  <a:cubicBezTo>
                    <a:pt x="1117605" y="1611307"/>
                    <a:pt x="951616" y="1599369"/>
                    <a:pt x="784738" y="1536377"/>
                  </a:cubicBezTo>
                  <a:cubicBezTo>
                    <a:pt x="616463" y="1473004"/>
                    <a:pt x="453776" y="1375595"/>
                    <a:pt x="334904" y="1238943"/>
                  </a:cubicBezTo>
                  <a:cubicBezTo>
                    <a:pt x="207269" y="1092385"/>
                    <a:pt x="129672" y="891471"/>
                    <a:pt x="81031" y="705797"/>
                  </a:cubicBezTo>
                  <a:cubicBezTo>
                    <a:pt x="21722" y="479356"/>
                    <a:pt x="5720" y="232976"/>
                    <a:pt x="50297" y="2725"/>
                  </a:cubicBezTo>
                  <a:cubicBezTo>
                    <a:pt x="50805" y="-69"/>
                    <a:pt x="46868" y="-1085"/>
                    <a:pt x="46360" y="1455"/>
                  </a:cubicBezTo>
                </a:path>
              </a:pathLst>
            </a:custGeom>
            <a:solidFill>
              <a:schemeClr val="tx2"/>
            </a:solidFill>
            <a:ln w="12689" cap="flat">
              <a:noFill/>
              <a:prstDash val="solid"/>
              <a:miter/>
            </a:ln>
          </p:spPr>
          <p:txBody>
            <a:bodyPr rtlCol="0" anchor="ctr"/>
            <a:lstStyle/>
            <a:p>
              <a:endParaRPr lang="bg-BG"/>
            </a:p>
          </p:txBody>
        </p:sp>
        <p:sp>
          <p:nvSpPr>
            <p:cNvPr id="74" name="Свободна форма: фигура 17">
              <a:extLst>
                <a:ext uri="{FF2B5EF4-FFF2-40B4-BE49-F238E27FC236}">
                  <a16:creationId xmlns:a16="http://schemas.microsoft.com/office/drawing/2014/main" id="{4F8E777A-830C-4F91-9E31-537F0C7788E8}"/>
                </a:ext>
              </a:extLst>
            </p:cNvPr>
            <p:cNvSpPr/>
            <p:nvPr/>
          </p:nvSpPr>
          <p:spPr>
            <a:xfrm>
              <a:off x="2489350" y="671867"/>
              <a:ext cx="685800" cy="749300"/>
            </a:xfrm>
            <a:custGeom>
              <a:avLst/>
              <a:gdLst>
                <a:gd name="connsiteX0" fmla="*/ 6454 w 685800"/>
                <a:gd name="connsiteY0" fmla="*/ 24855 h 749300"/>
                <a:gd name="connsiteX1" fmla="*/ 673839 w 685800"/>
                <a:gd name="connsiteY1" fmla="*/ 745453 h 749300"/>
                <a:gd name="connsiteX2" fmla="*/ 692508 w 685800"/>
                <a:gd name="connsiteY2" fmla="*/ 737579 h 749300"/>
                <a:gd name="connsiteX3" fmla="*/ 16614 w 685800"/>
                <a:gd name="connsiteY3" fmla="*/ 852 h 749300"/>
                <a:gd name="connsiteX4" fmla="*/ 6454 w 685800"/>
                <a:gd name="connsiteY4" fmla="*/ 24855 h 749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 h="749300">
                  <a:moveTo>
                    <a:pt x="6454" y="24855"/>
                  </a:moveTo>
                  <a:cubicBezTo>
                    <a:pt x="324208" y="165571"/>
                    <a:pt x="536806" y="434176"/>
                    <a:pt x="673839" y="745453"/>
                  </a:cubicBezTo>
                  <a:cubicBezTo>
                    <a:pt x="678665" y="756375"/>
                    <a:pt x="694921" y="748374"/>
                    <a:pt x="692508" y="737579"/>
                  </a:cubicBezTo>
                  <a:cubicBezTo>
                    <a:pt x="615673" y="406871"/>
                    <a:pt x="321668" y="123788"/>
                    <a:pt x="16614" y="852"/>
                  </a:cubicBezTo>
                  <a:cubicBezTo>
                    <a:pt x="2898" y="-4736"/>
                    <a:pt x="-7135" y="18759"/>
                    <a:pt x="6454" y="24855"/>
                  </a:cubicBezTo>
                </a:path>
              </a:pathLst>
            </a:custGeom>
            <a:solidFill>
              <a:schemeClr val="tx2"/>
            </a:solidFill>
            <a:ln w="12689" cap="flat">
              <a:noFill/>
              <a:prstDash val="solid"/>
              <a:miter/>
            </a:ln>
          </p:spPr>
          <p:txBody>
            <a:bodyPr rtlCol="0" anchor="ctr"/>
            <a:lstStyle/>
            <a:p>
              <a:endParaRPr lang="bg-BG"/>
            </a:p>
          </p:txBody>
        </p:sp>
        <p:sp>
          <p:nvSpPr>
            <p:cNvPr id="75" name="Свободна форма: фигура 19">
              <a:extLst>
                <a:ext uri="{FF2B5EF4-FFF2-40B4-BE49-F238E27FC236}">
                  <a16:creationId xmlns:a16="http://schemas.microsoft.com/office/drawing/2014/main" id="{697314DB-3B80-C18E-725F-77B25904A0BE}"/>
                </a:ext>
              </a:extLst>
            </p:cNvPr>
            <p:cNvSpPr/>
            <p:nvPr/>
          </p:nvSpPr>
          <p:spPr>
            <a:xfrm>
              <a:off x="641301" y="982061"/>
              <a:ext cx="254000" cy="368300"/>
            </a:xfrm>
            <a:custGeom>
              <a:avLst/>
              <a:gdLst>
                <a:gd name="connsiteX0" fmla="*/ 21004 w 254000"/>
                <a:gd name="connsiteY0" fmla="*/ 366298 h 368300"/>
                <a:gd name="connsiteX1" fmla="*/ 260399 w 254000"/>
                <a:gd name="connsiteY1" fmla="*/ 11587 h 368300"/>
                <a:gd name="connsiteX2" fmla="*/ 252271 w 254000"/>
                <a:gd name="connsiteY2" fmla="*/ 1046 h 368300"/>
                <a:gd name="connsiteX3" fmla="*/ 430 w 254000"/>
                <a:gd name="connsiteY3" fmla="*/ 360583 h 368300"/>
                <a:gd name="connsiteX4" fmla="*/ 21004 w 254000"/>
                <a:gd name="connsiteY4" fmla="*/ 366298 h 36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000" h="368300">
                  <a:moveTo>
                    <a:pt x="21004" y="366298"/>
                  </a:moveTo>
                  <a:cubicBezTo>
                    <a:pt x="71677" y="226852"/>
                    <a:pt x="155497" y="114584"/>
                    <a:pt x="260399" y="11587"/>
                  </a:cubicBezTo>
                  <a:cubicBezTo>
                    <a:pt x="265733" y="6253"/>
                    <a:pt x="258748" y="-3145"/>
                    <a:pt x="252271" y="1046"/>
                  </a:cubicBezTo>
                  <a:cubicBezTo>
                    <a:pt x="123874" y="82199"/>
                    <a:pt x="38530" y="215676"/>
                    <a:pt x="430" y="360583"/>
                  </a:cubicBezTo>
                  <a:cubicBezTo>
                    <a:pt x="-3126" y="374045"/>
                    <a:pt x="16432" y="379125"/>
                    <a:pt x="21004" y="366298"/>
                  </a:cubicBezTo>
                </a:path>
              </a:pathLst>
            </a:custGeom>
            <a:solidFill>
              <a:schemeClr val="tx2"/>
            </a:solidFill>
            <a:ln w="12689" cap="flat">
              <a:noFill/>
              <a:prstDash val="solid"/>
              <a:miter/>
            </a:ln>
          </p:spPr>
          <p:txBody>
            <a:bodyPr rtlCol="0" anchor="ctr"/>
            <a:lstStyle/>
            <a:p>
              <a:endParaRPr lang="bg-BG"/>
            </a:p>
          </p:txBody>
        </p:sp>
        <p:sp>
          <p:nvSpPr>
            <p:cNvPr id="76" name="Свободна форма: фигура 20">
              <a:extLst>
                <a:ext uri="{FF2B5EF4-FFF2-40B4-BE49-F238E27FC236}">
                  <a16:creationId xmlns:a16="http://schemas.microsoft.com/office/drawing/2014/main" id="{59F0FC6B-6B05-A02D-2904-83985F9B32FC}"/>
                </a:ext>
              </a:extLst>
            </p:cNvPr>
            <p:cNvSpPr/>
            <p:nvPr/>
          </p:nvSpPr>
          <p:spPr>
            <a:xfrm>
              <a:off x="2257997" y="2005855"/>
              <a:ext cx="977900" cy="1066800"/>
            </a:xfrm>
            <a:custGeom>
              <a:avLst/>
              <a:gdLst>
                <a:gd name="connsiteX0" fmla="*/ 965898 w 977900"/>
                <a:gd name="connsiteY0" fmla="*/ 4555 h 1066800"/>
                <a:gd name="connsiteX1" fmla="*/ 603059 w 977900"/>
                <a:gd name="connsiteY1" fmla="*/ 633967 h 1066800"/>
                <a:gd name="connsiteX2" fmla="*/ 9461 w 977900"/>
                <a:gd name="connsiteY2" fmla="*/ 1052686 h 1066800"/>
                <a:gd name="connsiteX3" fmla="*/ 13017 w 977900"/>
                <a:gd name="connsiteY3" fmla="*/ 1078848 h 1066800"/>
                <a:gd name="connsiteX4" fmla="*/ 344233 w 977900"/>
                <a:gd name="connsiteY4" fmla="*/ 921241 h 1066800"/>
                <a:gd name="connsiteX5" fmla="*/ 626427 w 977900"/>
                <a:gd name="connsiteY5" fmla="*/ 676512 h 1066800"/>
                <a:gd name="connsiteX6" fmla="*/ 846772 w 977900"/>
                <a:gd name="connsiteY6" fmla="*/ 372474 h 1066800"/>
                <a:gd name="connsiteX7" fmla="*/ 978725 w 977900"/>
                <a:gd name="connsiteY7" fmla="*/ 7984 h 1066800"/>
                <a:gd name="connsiteX8" fmla="*/ 965898 w 977900"/>
                <a:gd name="connsiteY8" fmla="*/ 4555 h 106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7900" h="1066800">
                  <a:moveTo>
                    <a:pt x="965898" y="4555"/>
                  </a:moveTo>
                  <a:cubicBezTo>
                    <a:pt x="876871" y="229980"/>
                    <a:pt x="756602" y="445753"/>
                    <a:pt x="603059" y="633967"/>
                  </a:cubicBezTo>
                  <a:cubicBezTo>
                    <a:pt x="454469" y="816085"/>
                    <a:pt x="244665" y="1004045"/>
                    <a:pt x="9461" y="1052686"/>
                  </a:cubicBezTo>
                  <a:cubicBezTo>
                    <a:pt x="-5144" y="1055734"/>
                    <a:pt x="-1969" y="1079737"/>
                    <a:pt x="13017" y="1078848"/>
                  </a:cubicBezTo>
                  <a:cubicBezTo>
                    <a:pt x="135699" y="1071482"/>
                    <a:pt x="247332" y="990329"/>
                    <a:pt x="344233" y="921241"/>
                  </a:cubicBezTo>
                  <a:cubicBezTo>
                    <a:pt x="447230" y="847708"/>
                    <a:pt x="540067" y="769984"/>
                    <a:pt x="626427" y="676512"/>
                  </a:cubicBezTo>
                  <a:cubicBezTo>
                    <a:pt x="715835" y="579611"/>
                    <a:pt x="787590" y="491600"/>
                    <a:pt x="846772" y="372474"/>
                  </a:cubicBezTo>
                  <a:cubicBezTo>
                    <a:pt x="904430" y="256269"/>
                    <a:pt x="952690" y="135365"/>
                    <a:pt x="978725" y="7984"/>
                  </a:cubicBezTo>
                  <a:cubicBezTo>
                    <a:pt x="980249" y="-398"/>
                    <a:pt x="968946" y="-3192"/>
                    <a:pt x="965898" y="4555"/>
                  </a:cubicBezTo>
                </a:path>
              </a:pathLst>
            </a:custGeom>
            <a:solidFill>
              <a:schemeClr val="tx2"/>
            </a:solidFill>
            <a:ln w="12689" cap="flat">
              <a:noFill/>
              <a:prstDash val="solid"/>
              <a:miter/>
            </a:ln>
          </p:spPr>
          <p:txBody>
            <a:bodyPr rtlCol="0" anchor="ctr"/>
            <a:lstStyle/>
            <a:p>
              <a:endParaRPr lang="bg-BG" dirty="0"/>
            </a:p>
          </p:txBody>
        </p:sp>
        <p:sp>
          <p:nvSpPr>
            <p:cNvPr id="77" name="Свободна форма: фигура 21">
              <a:extLst>
                <a:ext uri="{FF2B5EF4-FFF2-40B4-BE49-F238E27FC236}">
                  <a16:creationId xmlns:a16="http://schemas.microsoft.com/office/drawing/2014/main" id="{CA73F2D3-7275-9BCB-E01D-522DD2A379BA}"/>
                </a:ext>
              </a:extLst>
            </p:cNvPr>
            <p:cNvSpPr/>
            <p:nvPr/>
          </p:nvSpPr>
          <p:spPr>
            <a:xfrm>
              <a:off x="1103626" y="657128"/>
              <a:ext cx="215900" cy="139700"/>
            </a:xfrm>
            <a:custGeom>
              <a:avLst/>
              <a:gdLst>
                <a:gd name="connsiteX0" fmla="*/ 28706 w 215900"/>
                <a:gd name="connsiteY0" fmla="*/ 144369 h 139700"/>
                <a:gd name="connsiteX1" fmla="*/ 125988 w 215900"/>
                <a:gd name="connsiteY1" fmla="*/ 69439 h 139700"/>
                <a:gd name="connsiteX2" fmla="*/ 218063 w 215900"/>
                <a:gd name="connsiteY2" fmla="*/ 20671 h 139700"/>
                <a:gd name="connsiteX3" fmla="*/ 212475 w 215900"/>
                <a:gd name="connsiteY3" fmla="*/ 97 h 139700"/>
                <a:gd name="connsiteX4" fmla="*/ 5211 w 215900"/>
                <a:gd name="connsiteY4" fmla="*/ 121001 h 139700"/>
                <a:gd name="connsiteX5" fmla="*/ 28706 w 215900"/>
                <a:gd name="connsiteY5" fmla="*/ 144369 h 13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5900" h="139700">
                  <a:moveTo>
                    <a:pt x="28706" y="144369"/>
                  </a:moveTo>
                  <a:cubicBezTo>
                    <a:pt x="59059" y="116556"/>
                    <a:pt x="90809" y="90775"/>
                    <a:pt x="125988" y="69439"/>
                  </a:cubicBezTo>
                  <a:cubicBezTo>
                    <a:pt x="155706" y="51532"/>
                    <a:pt x="188599" y="38832"/>
                    <a:pt x="218063" y="20671"/>
                  </a:cubicBezTo>
                  <a:cubicBezTo>
                    <a:pt x="226572" y="15464"/>
                    <a:pt x="224032" y="-1427"/>
                    <a:pt x="212475" y="97"/>
                  </a:cubicBezTo>
                  <a:cubicBezTo>
                    <a:pt x="133100" y="10257"/>
                    <a:pt x="62107" y="68677"/>
                    <a:pt x="5211" y="121001"/>
                  </a:cubicBezTo>
                  <a:cubicBezTo>
                    <a:pt x="-10537" y="135352"/>
                    <a:pt x="12958" y="158847"/>
                    <a:pt x="28706" y="144369"/>
                  </a:cubicBezTo>
                </a:path>
              </a:pathLst>
            </a:custGeom>
            <a:solidFill>
              <a:schemeClr val="tx2"/>
            </a:solidFill>
            <a:ln w="12689" cap="flat">
              <a:noFill/>
              <a:prstDash val="solid"/>
              <a:miter/>
            </a:ln>
          </p:spPr>
          <p:txBody>
            <a:bodyPr rtlCol="0" anchor="ctr"/>
            <a:lstStyle/>
            <a:p>
              <a:endParaRPr lang="bg-BG"/>
            </a:p>
          </p:txBody>
        </p:sp>
        <p:sp>
          <p:nvSpPr>
            <p:cNvPr id="78" name="Свободна форма: фигура 23">
              <a:extLst>
                <a:ext uri="{FF2B5EF4-FFF2-40B4-BE49-F238E27FC236}">
                  <a16:creationId xmlns:a16="http://schemas.microsoft.com/office/drawing/2014/main" id="{95A3E9BD-A04A-D201-D16A-7E182B014033}"/>
                </a:ext>
              </a:extLst>
            </p:cNvPr>
            <p:cNvSpPr/>
            <p:nvPr/>
          </p:nvSpPr>
          <p:spPr>
            <a:xfrm>
              <a:off x="1362964" y="907161"/>
              <a:ext cx="25400" cy="25400"/>
            </a:xfrm>
            <a:custGeom>
              <a:avLst/>
              <a:gdLst>
                <a:gd name="connsiteX0" fmla="*/ 33655 w 25400"/>
                <a:gd name="connsiteY0" fmla="*/ 15748 h 25400"/>
                <a:gd name="connsiteX1" fmla="*/ 0 w 25400"/>
                <a:gd name="connsiteY1" fmla="*/ 20447 h 25400"/>
                <a:gd name="connsiteX2" fmla="*/ 17907 w 25400"/>
                <a:gd name="connsiteY2" fmla="*/ 0 h 25400"/>
                <a:gd name="connsiteX3" fmla="*/ 33655 w 25400"/>
                <a:gd name="connsiteY3" fmla="*/ 15748 h 25400"/>
              </a:gdLst>
              <a:ahLst/>
              <a:cxnLst>
                <a:cxn ang="0">
                  <a:pos x="connsiteX0" y="connsiteY0"/>
                </a:cxn>
                <a:cxn ang="0">
                  <a:pos x="connsiteX1" y="connsiteY1"/>
                </a:cxn>
                <a:cxn ang="0">
                  <a:pos x="connsiteX2" y="connsiteY2"/>
                </a:cxn>
                <a:cxn ang="0">
                  <a:pos x="connsiteX3" y="connsiteY3"/>
                </a:cxn>
              </a:cxnLst>
              <a:rect l="l" t="t" r="r" b="b"/>
              <a:pathLst>
                <a:path w="25400" h="25400">
                  <a:moveTo>
                    <a:pt x="33655" y="15748"/>
                  </a:moveTo>
                  <a:cubicBezTo>
                    <a:pt x="22352" y="42799"/>
                    <a:pt x="11176" y="31623"/>
                    <a:pt x="0" y="20447"/>
                  </a:cubicBezTo>
                  <a:cubicBezTo>
                    <a:pt x="11176" y="9271"/>
                    <a:pt x="11176" y="9271"/>
                    <a:pt x="17907" y="0"/>
                  </a:cubicBezTo>
                  <a:cubicBezTo>
                    <a:pt x="26543" y="0"/>
                    <a:pt x="33655" y="7112"/>
                    <a:pt x="33655" y="15748"/>
                  </a:cubicBezTo>
                </a:path>
              </a:pathLst>
            </a:custGeom>
            <a:solidFill>
              <a:schemeClr val="tx2"/>
            </a:solidFill>
            <a:ln w="12689" cap="flat">
              <a:noFill/>
              <a:prstDash val="solid"/>
              <a:miter/>
            </a:ln>
          </p:spPr>
          <p:txBody>
            <a:bodyPr rtlCol="0" anchor="ctr"/>
            <a:lstStyle/>
            <a:p>
              <a:endParaRPr lang="bg-BG"/>
            </a:p>
          </p:txBody>
        </p:sp>
        <p:sp>
          <p:nvSpPr>
            <p:cNvPr id="79" name="Свободна форма: фигура 24">
              <a:extLst>
                <a:ext uri="{FF2B5EF4-FFF2-40B4-BE49-F238E27FC236}">
                  <a16:creationId xmlns:a16="http://schemas.microsoft.com/office/drawing/2014/main" id="{620BFEDB-2B1F-01D0-827E-2B4A249892AA}"/>
                </a:ext>
              </a:extLst>
            </p:cNvPr>
            <p:cNvSpPr/>
            <p:nvPr/>
          </p:nvSpPr>
          <p:spPr>
            <a:xfrm>
              <a:off x="1396492" y="1063687"/>
              <a:ext cx="25400" cy="25400"/>
            </a:xfrm>
            <a:custGeom>
              <a:avLst/>
              <a:gdLst>
                <a:gd name="connsiteX0" fmla="*/ 32385 w 25400"/>
                <a:gd name="connsiteY0" fmla="*/ 21782 h 25400"/>
                <a:gd name="connsiteX1" fmla="*/ 0 w 25400"/>
                <a:gd name="connsiteY1" fmla="*/ 9590 h 25400"/>
                <a:gd name="connsiteX2" fmla="*/ 26416 w 25400"/>
                <a:gd name="connsiteY2" fmla="*/ 192 h 25400"/>
                <a:gd name="connsiteX3" fmla="*/ 32385 w 25400"/>
                <a:gd name="connsiteY3" fmla="*/ 21782 h 25400"/>
              </a:gdLst>
              <a:ahLst/>
              <a:cxnLst>
                <a:cxn ang="0">
                  <a:pos x="connsiteX0" y="connsiteY0"/>
                </a:cxn>
                <a:cxn ang="0">
                  <a:pos x="connsiteX1" y="connsiteY1"/>
                </a:cxn>
                <a:cxn ang="0">
                  <a:pos x="connsiteX2" y="connsiteY2"/>
                </a:cxn>
                <a:cxn ang="0">
                  <a:pos x="connsiteX3" y="connsiteY3"/>
                </a:cxn>
              </a:cxnLst>
              <a:rect l="l" t="t" r="r" b="b"/>
              <a:pathLst>
                <a:path w="25400" h="25400">
                  <a:moveTo>
                    <a:pt x="32385" y="21782"/>
                  </a:moveTo>
                  <a:cubicBezTo>
                    <a:pt x="11176" y="43118"/>
                    <a:pt x="0" y="31942"/>
                    <a:pt x="0" y="9590"/>
                  </a:cubicBezTo>
                  <a:cubicBezTo>
                    <a:pt x="0" y="9590"/>
                    <a:pt x="11176" y="-1586"/>
                    <a:pt x="26416" y="192"/>
                  </a:cubicBezTo>
                  <a:cubicBezTo>
                    <a:pt x="34036" y="4383"/>
                    <a:pt x="36703" y="14162"/>
                    <a:pt x="32385" y="21782"/>
                  </a:cubicBezTo>
                </a:path>
              </a:pathLst>
            </a:custGeom>
            <a:solidFill>
              <a:schemeClr val="tx2"/>
            </a:solidFill>
            <a:ln w="12689" cap="flat">
              <a:noFill/>
              <a:prstDash val="solid"/>
              <a:miter/>
            </a:ln>
          </p:spPr>
          <p:txBody>
            <a:bodyPr rtlCol="0" anchor="ctr"/>
            <a:lstStyle/>
            <a:p>
              <a:endParaRPr lang="bg-BG"/>
            </a:p>
          </p:txBody>
        </p:sp>
        <p:sp>
          <p:nvSpPr>
            <p:cNvPr id="80" name="Свободна форма: фигура 25">
              <a:extLst>
                <a:ext uri="{FF2B5EF4-FFF2-40B4-BE49-F238E27FC236}">
                  <a16:creationId xmlns:a16="http://schemas.microsoft.com/office/drawing/2014/main" id="{B6C5A872-888D-1DDA-65B1-39C064904FB5}"/>
                </a:ext>
              </a:extLst>
            </p:cNvPr>
            <p:cNvSpPr/>
            <p:nvPr/>
          </p:nvSpPr>
          <p:spPr>
            <a:xfrm>
              <a:off x="1497330" y="1203960"/>
              <a:ext cx="25400" cy="25400"/>
            </a:xfrm>
            <a:custGeom>
              <a:avLst/>
              <a:gdLst>
                <a:gd name="connsiteX0" fmla="*/ 31496 w 25400"/>
                <a:gd name="connsiteY0" fmla="*/ 21717 h 25400"/>
                <a:gd name="connsiteX1" fmla="*/ 0 w 25400"/>
                <a:gd name="connsiteY1" fmla="*/ 3556 h 25400"/>
                <a:gd name="connsiteX2" fmla="*/ 25527 w 25400"/>
                <a:gd name="connsiteY2" fmla="*/ 0 h 25400"/>
                <a:gd name="connsiteX3" fmla="*/ 31496 w 25400"/>
                <a:gd name="connsiteY3" fmla="*/ 21717 h 25400"/>
              </a:gdLst>
              <a:ahLst/>
              <a:cxnLst>
                <a:cxn ang="0">
                  <a:pos x="connsiteX0" y="connsiteY0"/>
                </a:cxn>
                <a:cxn ang="0">
                  <a:pos x="connsiteX1" y="connsiteY1"/>
                </a:cxn>
                <a:cxn ang="0">
                  <a:pos x="connsiteX2" y="connsiteY2"/>
                </a:cxn>
                <a:cxn ang="0">
                  <a:pos x="connsiteX3" y="connsiteY3"/>
                </a:cxn>
              </a:cxnLst>
              <a:rect l="l" t="t" r="r" b="b"/>
              <a:pathLst>
                <a:path w="25400" h="25400">
                  <a:moveTo>
                    <a:pt x="31496" y="21717"/>
                  </a:moveTo>
                  <a:cubicBezTo>
                    <a:pt x="11176" y="37084"/>
                    <a:pt x="0" y="25908"/>
                    <a:pt x="0" y="3556"/>
                  </a:cubicBezTo>
                  <a:cubicBezTo>
                    <a:pt x="11176" y="3556"/>
                    <a:pt x="11176" y="3556"/>
                    <a:pt x="25527" y="0"/>
                  </a:cubicBezTo>
                  <a:cubicBezTo>
                    <a:pt x="33147" y="4445"/>
                    <a:pt x="35814" y="14224"/>
                    <a:pt x="31496" y="21717"/>
                  </a:cubicBezTo>
                </a:path>
              </a:pathLst>
            </a:custGeom>
            <a:solidFill>
              <a:schemeClr val="tx2"/>
            </a:solidFill>
            <a:ln w="12689" cap="flat">
              <a:noFill/>
              <a:prstDash val="solid"/>
              <a:miter/>
            </a:ln>
          </p:spPr>
          <p:txBody>
            <a:bodyPr rtlCol="0" anchor="ctr"/>
            <a:lstStyle/>
            <a:p>
              <a:endParaRPr lang="bg-BG"/>
            </a:p>
          </p:txBody>
        </p:sp>
        <p:sp>
          <p:nvSpPr>
            <p:cNvPr id="81" name="Свободна форма: фигура 26">
              <a:extLst>
                <a:ext uri="{FF2B5EF4-FFF2-40B4-BE49-F238E27FC236}">
                  <a16:creationId xmlns:a16="http://schemas.microsoft.com/office/drawing/2014/main" id="{99CB44B4-FD6F-A415-4910-C63B138009E9}"/>
                </a:ext>
              </a:extLst>
            </p:cNvPr>
            <p:cNvSpPr/>
            <p:nvPr/>
          </p:nvSpPr>
          <p:spPr>
            <a:xfrm>
              <a:off x="2136140" y="1159590"/>
              <a:ext cx="215900" cy="165100"/>
            </a:xfrm>
            <a:custGeom>
              <a:avLst/>
              <a:gdLst>
                <a:gd name="connsiteX0" fmla="*/ 0 w 215900"/>
                <a:gd name="connsiteY0" fmla="*/ 173402 h 165100"/>
                <a:gd name="connsiteX1" fmla="*/ 209550 w 215900"/>
                <a:gd name="connsiteY1" fmla="*/ 41957 h 165100"/>
                <a:gd name="connsiteX2" fmla="*/ 129794 w 215900"/>
                <a:gd name="connsiteY2" fmla="*/ 77263 h 165100"/>
                <a:gd name="connsiteX3" fmla="*/ 0 w 215900"/>
                <a:gd name="connsiteY3" fmla="*/ 173402 h 165100"/>
              </a:gdLst>
              <a:ahLst/>
              <a:cxnLst>
                <a:cxn ang="0">
                  <a:pos x="connsiteX0" y="connsiteY0"/>
                </a:cxn>
                <a:cxn ang="0">
                  <a:pos x="connsiteX1" y="connsiteY1"/>
                </a:cxn>
                <a:cxn ang="0">
                  <a:pos x="connsiteX2" y="connsiteY2"/>
                </a:cxn>
                <a:cxn ang="0">
                  <a:pos x="connsiteX3" y="connsiteY3"/>
                </a:cxn>
              </a:cxnLst>
              <a:rect l="l" t="t" r="r" b="b"/>
              <a:pathLst>
                <a:path w="215900" h="165100">
                  <a:moveTo>
                    <a:pt x="0" y="173402"/>
                  </a:moveTo>
                  <a:cubicBezTo>
                    <a:pt x="0" y="173402"/>
                    <a:pt x="182372" y="133778"/>
                    <a:pt x="209550" y="41957"/>
                  </a:cubicBezTo>
                  <a:cubicBezTo>
                    <a:pt x="236855" y="-49864"/>
                    <a:pt x="172593" y="30908"/>
                    <a:pt x="129794" y="77263"/>
                  </a:cubicBezTo>
                  <a:cubicBezTo>
                    <a:pt x="87122" y="123618"/>
                    <a:pt x="0" y="173402"/>
                    <a:pt x="0" y="173402"/>
                  </a:cubicBezTo>
                </a:path>
              </a:pathLst>
            </a:custGeom>
            <a:solidFill>
              <a:schemeClr val="tx2"/>
            </a:solidFill>
            <a:ln w="12689" cap="flat">
              <a:noFill/>
              <a:prstDash val="solid"/>
              <a:miter/>
            </a:ln>
          </p:spPr>
          <p:txBody>
            <a:bodyPr rtlCol="0" anchor="ctr"/>
            <a:lstStyle/>
            <a:p>
              <a:endParaRPr lang="bg-BG"/>
            </a:p>
          </p:txBody>
        </p:sp>
        <p:sp>
          <p:nvSpPr>
            <p:cNvPr id="82" name="Свободна форма: фигура 27">
              <a:extLst>
                <a:ext uri="{FF2B5EF4-FFF2-40B4-BE49-F238E27FC236}">
                  <a16:creationId xmlns:a16="http://schemas.microsoft.com/office/drawing/2014/main" id="{BF415BB7-657A-2A6C-7027-2AE7006C8405}"/>
                </a:ext>
              </a:extLst>
            </p:cNvPr>
            <p:cNvSpPr/>
            <p:nvPr/>
          </p:nvSpPr>
          <p:spPr>
            <a:xfrm>
              <a:off x="1442985" y="476377"/>
              <a:ext cx="114300" cy="88900"/>
            </a:xfrm>
            <a:custGeom>
              <a:avLst/>
              <a:gdLst>
                <a:gd name="connsiteX0" fmla="*/ 114670 w 114300"/>
                <a:gd name="connsiteY0" fmla="*/ 0 h 88900"/>
                <a:gd name="connsiteX1" fmla="*/ 6466 w 114300"/>
                <a:gd name="connsiteY1" fmla="*/ 55626 h 88900"/>
                <a:gd name="connsiteX2" fmla="*/ 62473 w 114300"/>
                <a:gd name="connsiteY2" fmla="*/ 58293 h 88900"/>
                <a:gd name="connsiteX3" fmla="*/ 114670 w 114300"/>
                <a:gd name="connsiteY3" fmla="*/ 0 h 88900"/>
              </a:gdLst>
              <a:ahLst/>
              <a:cxnLst>
                <a:cxn ang="0">
                  <a:pos x="connsiteX0" y="connsiteY0"/>
                </a:cxn>
                <a:cxn ang="0">
                  <a:pos x="connsiteX1" y="connsiteY1"/>
                </a:cxn>
                <a:cxn ang="0">
                  <a:pos x="connsiteX2" y="connsiteY2"/>
                </a:cxn>
                <a:cxn ang="0">
                  <a:pos x="connsiteX3" y="connsiteY3"/>
                </a:cxn>
              </a:cxnLst>
              <a:rect l="l" t="t" r="r" b="b"/>
              <a:pathLst>
                <a:path w="114300" h="88900">
                  <a:moveTo>
                    <a:pt x="114670" y="0"/>
                  </a:moveTo>
                  <a:cubicBezTo>
                    <a:pt x="114670" y="0"/>
                    <a:pt x="28564" y="12065"/>
                    <a:pt x="6466" y="55626"/>
                  </a:cubicBezTo>
                  <a:cubicBezTo>
                    <a:pt x="-15632" y="99187"/>
                    <a:pt x="22849" y="104775"/>
                    <a:pt x="62473" y="58293"/>
                  </a:cubicBezTo>
                  <a:cubicBezTo>
                    <a:pt x="101970" y="11557"/>
                    <a:pt x="114670" y="0"/>
                    <a:pt x="114670" y="0"/>
                  </a:cubicBezTo>
                </a:path>
              </a:pathLst>
            </a:custGeom>
            <a:solidFill>
              <a:schemeClr val="tx2"/>
            </a:solidFill>
            <a:ln w="12689" cap="flat">
              <a:noFill/>
              <a:prstDash val="solid"/>
              <a:miter/>
            </a:ln>
          </p:spPr>
          <p:txBody>
            <a:bodyPr rtlCol="0" anchor="ctr"/>
            <a:lstStyle/>
            <a:p>
              <a:endParaRPr lang="bg-BG"/>
            </a:p>
          </p:txBody>
        </p:sp>
      </p:grpSp>
      <p:sp>
        <p:nvSpPr>
          <p:cNvPr id="10" name="object 3">
            <a:extLst>
              <a:ext uri="{FF2B5EF4-FFF2-40B4-BE49-F238E27FC236}">
                <a16:creationId xmlns:a16="http://schemas.microsoft.com/office/drawing/2014/main" id="{C8346B9B-8C78-555C-9786-14FDED6B0F52}"/>
              </a:ext>
            </a:extLst>
          </p:cNvPr>
          <p:cNvSpPr txBox="1"/>
          <p:nvPr/>
        </p:nvSpPr>
        <p:spPr>
          <a:xfrm>
            <a:off x="5383543" y="2340342"/>
            <a:ext cx="1547862" cy="286745"/>
          </a:xfrm>
          <a:prstGeom prst="rect">
            <a:avLst/>
          </a:prstGeom>
        </p:spPr>
        <p:txBody>
          <a:bodyPr vert="horz" wrap="square" lIns="0" tIns="12700" rIns="0" bIns="0" rtlCol="0">
            <a:spAutoFit/>
          </a:bodyPr>
          <a:lstStyle/>
          <a:p>
            <a:pPr marL="167005" marR="160655" algn="ctr">
              <a:lnSpc>
                <a:spcPct val="118600"/>
              </a:lnSpc>
              <a:spcBef>
                <a:spcPts val="100"/>
              </a:spcBef>
            </a:pPr>
            <a:r>
              <a:rPr lang="en-US" sz="1600" b="1" dirty="0">
                <a:solidFill>
                  <a:schemeClr val="bg1"/>
                </a:solidFill>
                <a:latin typeface="+mj-lt"/>
                <a:cs typeface="Arial"/>
              </a:rPr>
              <a:t>Data Quality</a:t>
            </a:r>
            <a:endParaRPr sz="1600" b="1" dirty="0">
              <a:solidFill>
                <a:schemeClr val="bg1"/>
              </a:solidFill>
              <a:latin typeface="+mj-lt"/>
              <a:cs typeface="Arial"/>
            </a:endParaRPr>
          </a:p>
        </p:txBody>
      </p:sp>
      <p:grpSp>
        <p:nvGrpSpPr>
          <p:cNvPr id="100" name="Group 99">
            <a:extLst>
              <a:ext uri="{FF2B5EF4-FFF2-40B4-BE49-F238E27FC236}">
                <a16:creationId xmlns:a16="http://schemas.microsoft.com/office/drawing/2014/main" id="{0C140023-832E-D31A-3200-E478C742FD5C}"/>
              </a:ext>
            </a:extLst>
          </p:cNvPr>
          <p:cNvGrpSpPr/>
          <p:nvPr/>
        </p:nvGrpSpPr>
        <p:grpSpPr>
          <a:xfrm>
            <a:off x="8447386" y="1832417"/>
            <a:ext cx="3688976" cy="4383048"/>
            <a:chOff x="583687" y="407303"/>
            <a:chExt cx="2652210" cy="2724586"/>
          </a:xfrm>
        </p:grpSpPr>
        <p:sp>
          <p:nvSpPr>
            <p:cNvPr id="101" name="Свободна форма: фигура 11">
              <a:extLst>
                <a:ext uri="{FF2B5EF4-FFF2-40B4-BE49-F238E27FC236}">
                  <a16:creationId xmlns:a16="http://schemas.microsoft.com/office/drawing/2014/main" id="{0A890819-F2B9-A1BD-1D1A-DE9987E0E0D6}"/>
                </a:ext>
              </a:extLst>
            </p:cNvPr>
            <p:cNvSpPr/>
            <p:nvPr/>
          </p:nvSpPr>
          <p:spPr>
            <a:xfrm>
              <a:off x="677366" y="592080"/>
              <a:ext cx="2413000" cy="2413000"/>
            </a:xfrm>
            <a:custGeom>
              <a:avLst/>
              <a:gdLst>
                <a:gd name="connsiteX0" fmla="*/ 2422704 w 2413000"/>
                <a:gd name="connsiteY0" fmla="*/ 1249928 h 2413000"/>
                <a:gd name="connsiteX1" fmla="*/ 1806246 w 2413000"/>
                <a:gd name="connsiteY1" fmla="*/ 2259705 h 2413000"/>
                <a:gd name="connsiteX2" fmla="*/ 1647242 w 2413000"/>
                <a:gd name="connsiteY2" fmla="*/ 2330190 h 2413000"/>
                <a:gd name="connsiteX3" fmla="*/ 250115 w 2413000"/>
                <a:gd name="connsiteY3" fmla="*/ 1945126 h 2413000"/>
                <a:gd name="connsiteX4" fmla="*/ 132767 w 2413000"/>
                <a:gd name="connsiteY4" fmla="*/ 1759452 h 2413000"/>
                <a:gd name="connsiteX5" fmla="*/ 88825 w 2413000"/>
                <a:gd name="connsiteY5" fmla="*/ 705987 h 2413000"/>
                <a:gd name="connsiteX6" fmla="*/ 1371779 w 2413000"/>
                <a:gd name="connsiteY6" fmla="*/ 11551 h 2413000"/>
                <a:gd name="connsiteX7" fmla="*/ 1587425 w 2413000"/>
                <a:gd name="connsiteY7" fmla="*/ 62605 h 2413000"/>
                <a:gd name="connsiteX8" fmla="*/ 2410893 w 2413000"/>
                <a:gd name="connsiteY8" fmla="*/ 1003294 h 2413000"/>
                <a:gd name="connsiteX9" fmla="*/ 2422704 w 2413000"/>
                <a:gd name="connsiteY9" fmla="*/ 1249928 h 241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3000" h="2413000">
                  <a:moveTo>
                    <a:pt x="2422704" y="1249928"/>
                  </a:moveTo>
                  <a:cubicBezTo>
                    <a:pt x="2416354" y="1676648"/>
                    <a:pt x="2163497" y="2066030"/>
                    <a:pt x="1806246" y="2259705"/>
                  </a:cubicBezTo>
                  <a:cubicBezTo>
                    <a:pt x="1755192" y="2287391"/>
                    <a:pt x="1702106" y="2311013"/>
                    <a:pt x="1647242" y="2330190"/>
                  </a:cubicBezTo>
                  <a:cubicBezTo>
                    <a:pt x="1147878" y="2541391"/>
                    <a:pt x="564567" y="2349367"/>
                    <a:pt x="250115" y="1945126"/>
                  </a:cubicBezTo>
                  <a:cubicBezTo>
                    <a:pt x="205157" y="1887341"/>
                    <a:pt x="165787" y="1825365"/>
                    <a:pt x="132767" y="1759452"/>
                  </a:cubicBezTo>
                  <a:cubicBezTo>
                    <a:pt x="1068" y="1430268"/>
                    <a:pt x="-64718" y="1057142"/>
                    <a:pt x="88825" y="705987"/>
                  </a:cubicBezTo>
                  <a:cubicBezTo>
                    <a:pt x="308281" y="223133"/>
                    <a:pt x="835077" y="-62236"/>
                    <a:pt x="1371779" y="11551"/>
                  </a:cubicBezTo>
                  <a:cubicBezTo>
                    <a:pt x="1444931" y="22473"/>
                    <a:pt x="1517194" y="39618"/>
                    <a:pt x="1587425" y="62605"/>
                  </a:cubicBezTo>
                  <a:cubicBezTo>
                    <a:pt x="2008938" y="200527"/>
                    <a:pt x="2360855" y="548380"/>
                    <a:pt x="2410893" y="1003294"/>
                  </a:cubicBezTo>
                  <a:cubicBezTo>
                    <a:pt x="2423212" y="1082669"/>
                    <a:pt x="2427403" y="1165473"/>
                    <a:pt x="2422704" y="1249928"/>
                  </a:cubicBezTo>
                </a:path>
              </a:pathLst>
            </a:custGeom>
            <a:solidFill>
              <a:srgbClr val="FFFFFF"/>
            </a:solidFill>
            <a:ln w="12689" cap="flat">
              <a:noFill/>
              <a:prstDash val="solid"/>
              <a:miter/>
            </a:ln>
          </p:spPr>
          <p:txBody>
            <a:bodyPr rtlCol="0" anchor="ctr"/>
            <a:lstStyle/>
            <a:p>
              <a:endParaRPr lang="bg-BG"/>
            </a:p>
          </p:txBody>
        </p:sp>
        <p:sp>
          <p:nvSpPr>
            <p:cNvPr id="102" name="Свободна форма: фигура 12">
              <a:extLst>
                <a:ext uri="{FF2B5EF4-FFF2-40B4-BE49-F238E27FC236}">
                  <a16:creationId xmlns:a16="http://schemas.microsoft.com/office/drawing/2014/main" id="{2C8A9956-91B8-D029-163E-188B35CC51F4}"/>
                </a:ext>
              </a:extLst>
            </p:cNvPr>
            <p:cNvSpPr/>
            <p:nvPr/>
          </p:nvSpPr>
          <p:spPr>
            <a:xfrm>
              <a:off x="1406829" y="592140"/>
              <a:ext cx="1054100" cy="850900"/>
            </a:xfrm>
            <a:custGeom>
              <a:avLst/>
              <a:gdLst>
                <a:gd name="connsiteX0" fmla="*/ 642316 w 1054100"/>
                <a:gd name="connsiteY0" fmla="*/ 11491 h 850900"/>
                <a:gd name="connsiteX1" fmla="*/ 61672 w 1054100"/>
                <a:gd name="connsiteY1" fmla="*/ 70419 h 850900"/>
                <a:gd name="connsiteX2" fmla="*/ 66244 w 1054100"/>
                <a:gd name="connsiteY2" fmla="*/ 566227 h 850900"/>
                <a:gd name="connsiteX3" fmla="*/ 118187 w 1054100"/>
                <a:gd name="connsiteY3" fmla="*/ 647253 h 850900"/>
                <a:gd name="connsiteX4" fmla="*/ 728422 w 1054100"/>
                <a:gd name="connsiteY4" fmla="*/ 817052 h 850900"/>
                <a:gd name="connsiteX5" fmla="*/ 1032333 w 1054100"/>
                <a:gd name="connsiteY5" fmla="*/ 474660 h 850900"/>
                <a:gd name="connsiteX6" fmla="*/ 1051637 w 1054100"/>
                <a:gd name="connsiteY6" fmla="*/ 381315 h 850900"/>
                <a:gd name="connsiteX7" fmla="*/ 1014172 w 1054100"/>
                <a:gd name="connsiteY7" fmla="*/ 124775 h 850900"/>
                <a:gd name="connsiteX8" fmla="*/ 857962 w 1054100"/>
                <a:gd name="connsiteY8" fmla="*/ 62545 h 850900"/>
                <a:gd name="connsiteX9" fmla="*/ 642316 w 1054100"/>
                <a:gd name="connsiteY9" fmla="*/ 11491 h 850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54100" h="850900">
                  <a:moveTo>
                    <a:pt x="642316" y="11491"/>
                  </a:moveTo>
                  <a:cubicBezTo>
                    <a:pt x="442291" y="-15941"/>
                    <a:pt x="243536" y="6538"/>
                    <a:pt x="61672" y="70419"/>
                  </a:cubicBezTo>
                  <a:cubicBezTo>
                    <a:pt x="-26847" y="221803"/>
                    <a:pt x="-15417" y="412176"/>
                    <a:pt x="66244" y="566227"/>
                  </a:cubicBezTo>
                  <a:cubicBezTo>
                    <a:pt x="81230" y="594548"/>
                    <a:pt x="98629" y="621726"/>
                    <a:pt x="118187" y="647253"/>
                  </a:cubicBezTo>
                  <a:cubicBezTo>
                    <a:pt x="263602" y="832038"/>
                    <a:pt x="514173" y="901761"/>
                    <a:pt x="728422" y="817052"/>
                  </a:cubicBezTo>
                  <a:cubicBezTo>
                    <a:pt x="882346" y="753679"/>
                    <a:pt x="974167" y="617281"/>
                    <a:pt x="1032333" y="474660"/>
                  </a:cubicBezTo>
                  <a:cubicBezTo>
                    <a:pt x="1041858" y="444180"/>
                    <a:pt x="1048335" y="412811"/>
                    <a:pt x="1051637" y="381315"/>
                  </a:cubicBezTo>
                  <a:cubicBezTo>
                    <a:pt x="1060908" y="294701"/>
                    <a:pt x="1047192" y="205928"/>
                    <a:pt x="1014172" y="124775"/>
                  </a:cubicBezTo>
                  <a:cubicBezTo>
                    <a:pt x="963499" y="100772"/>
                    <a:pt x="911302" y="80071"/>
                    <a:pt x="857962" y="62545"/>
                  </a:cubicBezTo>
                  <a:cubicBezTo>
                    <a:pt x="787731" y="39558"/>
                    <a:pt x="715595" y="22413"/>
                    <a:pt x="642316" y="11491"/>
                  </a:cubicBezTo>
                </a:path>
              </a:pathLst>
            </a:custGeom>
            <a:solidFill>
              <a:srgbClr val="F1F0D7"/>
            </a:solidFill>
            <a:ln w="12689" cap="flat">
              <a:noFill/>
              <a:prstDash val="solid"/>
              <a:miter/>
            </a:ln>
          </p:spPr>
          <p:txBody>
            <a:bodyPr rtlCol="0" anchor="ctr"/>
            <a:lstStyle/>
            <a:p>
              <a:endParaRPr lang="bg-BG"/>
            </a:p>
          </p:txBody>
        </p:sp>
        <p:sp>
          <p:nvSpPr>
            <p:cNvPr id="103" name="Свободна форма: фигура 13">
              <a:extLst>
                <a:ext uri="{FF2B5EF4-FFF2-40B4-BE49-F238E27FC236}">
                  <a16:creationId xmlns:a16="http://schemas.microsoft.com/office/drawing/2014/main" id="{6860A326-E300-02E8-C336-B0980B1388CB}"/>
                </a:ext>
              </a:extLst>
            </p:cNvPr>
            <p:cNvSpPr/>
            <p:nvPr/>
          </p:nvSpPr>
          <p:spPr>
            <a:xfrm>
              <a:off x="1425065" y="407303"/>
              <a:ext cx="914400" cy="927100"/>
            </a:xfrm>
            <a:custGeom>
              <a:avLst/>
              <a:gdLst>
                <a:gd name="connsiteX0" fmla="*/ 143512 w 914400"/>
                <a:gd name="connsiteY0" fmla="*/ 129780 h 927100"/>
                <a:gd name="connsiteX1" fmla="*/ 580011 w 914400"/>
                <a:gd name="connsiteY1" fmla="*/ 15988 h 927100"/>
                <a:gd name="connsiteX2" fmla="*/ 642368 w 914400"/>
                <a:gd name="connsiteY2" fmla="*/ 38721 h 927100"/>
                <a:gd name="connsiteX3" fmla="*/ 923800 w 914400"/>
                <a:gd name="connsiteY3" fmla="*/ 514208 h 927100"/>
                <a:gd name="connsiteX4" fmla="*/ 906782 w 914400"/>
                <a:gd name="connsiteY4" fmla="*/ 596251 h 927100"/>
                <a:gd name="connsiteX5" fmla="*/ 639828 w 914400"/>
                <a:gd name="connsiteY5" fmla="*/ 896860 h 927100"/>
                <a:gd name="connsiteX6" fmla="*/ 104015 w 914400"/>
                <a:gd name="connsiteY6" fmla="*/ 747762 h 927100"/>
                <a:gd name="connsiteX7" fmla="*/ 58295 w 914400"/>
                <a:gd name="connsiteY7" fmla="*/ 676642 h 927100"/>
                <a:gd name="connsiteX8" fmla="*/ 81409 w 914400"/>
                <a:gd name="connsiteY8" fmla="*/ 200519 h 927100"/>
                <a:gd name="connsiteX9" fmla="*/ 143512 w 914400"/>
                <a:gd name="connsiteY9" fmla="*/ 129780 h 927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4400" h="927100">
                  <a:moveTo>
                    <a:pt x="143512" y="129780"/>
                  </a:moveTo>
                  <a:cubicBezTo>
                    <a:pt x="258193" y="14337"/>
                    <a:pt x="430659" y="-25541"/>
                    <a:pt x="580011" y="15988"/>
                  </a:cubicBezTo>
                  <a:cubicBezTo>
                    <a:pt x="601347" y="21957"/>
                    <a:pt x="622175" y="29450"/>
                    <a:pt x="642368" y="38721"/>
                  </a:cubicBezTo>
                  <a:cubicBezTo>
                    <a:pt x="835281" y="113016"/>
                    <a:pt x="944501" y="320153"/>
                    <a:pt x="923800" y="514208"/>
                  </a:cubicBezTo>
                  <a:cubicBezTo>
                    <a:pt x="920879" y="541895"/>
                    <a:pt x="915164" y="569454"/>
                    <a:pt x="906782" y="596251"/>
                  </a:cubicBezTo>
                  <a:cubicBezTo>
                    <a:pt x="855728" y="721473"/>
                    <a:pt x="774956" y="841234"/>
                    <a:pt x="639828" y="896860"/>
                  </a:cubicBezTo>
                  <a:cubicBezTo>
                    <a:pt x="451741" y="971282"/>
                    <a:pt x="231650" y="910068"/>
                    <a:pt x="104015" y="747762"/>
                  </a:cubicBezTo>
                  <a:cubicBezTo>
                    <a:pt x="86870" y="725410"/>
                    <a:pt x="71503" y="701534"/>
                    <a:pt x="58295" y="676642"/>
                  </a:cubicBezTo>
                  <a:cubicBezTo>
                    <a:pt x="-20826" y="527163"/>
                    <a:pt x="-25271" y="338568"/>
                    <a:pt x="81409" y="200519"/>
                  </a:cubicBezTo>
                  <a:cubicBezTo>
                    <a:pt x="99062" y="175500"/>
                    <a:pt x="119890" y="151623"/>
                    <a:pt x="143512" y="129780"/>
                  </a:cubicBezTo>
                </a:path>
              </a:pathLst>
            </a:custGeom>
            <a:solidFill>
              <a:srgbClr val="83CC1B"/>
            </a:solidFill>
            <a:ln w="12689" cap="flat">
              <a:noFill/>
              <a:prstDash val="solid"/>
              <a:miter/>
            </a:ln>
          </p:spPr>
          <p:txBody>
            <a:bodyPr rtlCol="0" anchor="ctr"/>
            <a:lstStyle/>
            <a:p>
              <a:endParaRPr lang="bg-BG"/>
            </a:p>
          </p:txBody>
        </p:sp>
        <p:sp>
          <p:nvSpPr>
            <p:cNvPr id="104" name="Свободна форма: фигура 14">
              <a:extLst>
                <a:ext uri="{FF2B5EF4-FFF2-40B4-BE49-F238E27FC236}">
                  <a16:creationId xmlns:a16="http://schemas.microsoft.com/office/drawing/2014/main" id="{A370B719-E309-F261-2684-CFF61C9C6592}"/>
                </a:ext>
              </a:extLst>
            </p:cNvPr>
            <p:cNvSpPr/>
            <p:nvPr/>
          </p:nvSpPr>
          <p:spPr>
            <a:xfrm>
              <a:off x="1591056" y="557657"/>
              <a:ext cx="749300" cy="774700"/>
            </a:xfrm>
            <a:custGeom>
              <a:avLst/>
              <a:gdLst>
                <a:gd name="connsiteX0" fmla="*/ 629920 w 749300"/>
                <a:gd name="connsiteY0" fmla="*/ 21209 h 774700"/>
                <a:gd name="connsiteX1" fmla="*/ 593852 w 749300"/>
                <a:gd name="connsiteY1" fmla="*/ 266573 h 774700"/>
                <a:gd name="connsiteX2" fmla="*/ 271399 w 749300"/>
                <a:gd name="connsiteY2" fmla="*/ 577850 h 774700"/>
                <a:gd name="connsiteX3" fmla="*/ 0 w 749300"/>
                <a:gd name="connsiteY3" fmla="*/ 661924 h 774700"/>
                <a:gd name="connsiteX4" fmla="*/ 473837 w 749300"/>
                <a:gd name="connsiteY4" fmla="*/ 746506 h 774700"/>
                <a:gd name="connsiteX5" fmla="*/ 740791 w 749300"/>
                <a:gd name="connsiteY5" fmla="*/ 445770 h 774700"/>
                <a:gd name="connsiteX6" fmla="*/ 757809 w 749300"/>
                <a:gd name="connsiteY6" fmla="*/ 363728 h 774700"/>
                <a:gd name="connsiteX7" fmla="*/ 638175 w 749300"/>
                <a:gd name="connsiteY7" fmla="*/ 0 h 774700"/>
                <a:gd name="connsiteX8" fmla="*/ 629920 w 749300"/>
                <a:gd name="connsiteY8" fmla="*/ 21209 h 774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9300" h="774700">
                  <a:moveTo>
                    <a:pt x="629920" y="21209"/>
                  </a:moveTo>
                  <a:cubicBezTo>
                    <a:pt x="606171" y="100711"/>
                    <a:pt x="622300" y="185928"/>
                    <a:pt x="593852" y="266573"/>
                  </a:cubicBezTo>
                  <a:cubicBezTo>
                    <a:pt x="538861" y="422148"/>
                    <a:pt x="416306" y="511683"/>
                    <a:pt x="271399" y="577850"/>
                  </a:cubicBezTo>
                  <a:cubicBezTo>
                    <a:pt x="185039" y="617220"/>
                    <a:pt x="92710" y="647192"/>
                    <a:pt x="0" y="661924"/>
                  </a:cubicBezTo>
                  <a:cubicBezTo>
                    <a:pt x="129794" y="774446"/>
                    <a:pt x="313309" y="809879"/>
                    <a:pt x="473837" y="746506"/>
                  </a:cubicBezTo>
                  <a:cubicBezTo>
                    <a:pt x="608965" y="690880"/>
                    <a:pt x="689737" y="570992"/>
                    <a:pt x="740791" y="445770"/>
                  </a:cubicBezTo>
                  <a:cubicBezTo>
                    <a:pt x="749173" y="418973"/>
                    <a:pt x="754761" y="391541"/>
                    <a:pt x="757809" y="363728"/>
                  </a:cubicBezTo>
                  <a:cubicBezTo>
                    <a:pt x="771652" y="233680"/>
                    <a:pt x="727075" y="97917"/>
                    <a:pt x="638175" y="0"/>
                  </a:cubicBezTo>
                  <a:cubicBezTo>
                    <a:pt x="634873" y="6731"/>
                    <a:pt x="632079" y="13716"/>
                    <a:pt x="629920" y="21209"/>
                  </a:cubicBezTo>
                </a:path>
              </a:pathLst>
            </a:custGeom>
            <a:solidFill>
              <a:srgbClr val="5DB723"/>
            </a:solidFill>
            <a:ln w="12689" cap="flat">
              <a:noFill/>
              <a:prstDash val="solid"/>
              <a:miter/>
            </a:ln>
          </p:spPr>
          <p:txBody>
            <a:bodyPr rtlCol="0" anchor="ctr"/>
            <a:lstStyle/>
            <a:p>
              <a:endParaRPr lang="bg-BG"/>
            </a:p>
          </p:txBody>
        </p:sp>
        <p:sp>
          <p:nvSpPr>
            <p:cNvPr id="105" name="Свободна форма: фигура 15">
              <a:extLst>
                <a:ext uri="{FF2B5EF4-FFF2-40B4-BE49-F238E27FC236}">
                  <a16:creationId xmlns:a16="http://schemas.microsoft.com/office/drawing/2014/main" id="{739ECA3D-416D-06C5-5348-BC12010E2271}"/>
                </a:ext>
              </a:extLst>
            </p:cNvPr>
            <p:cNvSpPr/>
            <p:nvPr/>
          </p:nvSpPr>
          <p:spPr>
            <a:xfrm>
              <a:off x="689991" y="1457452"/>
              <a:ext cx="2400300" cy="1549400"/>
            </a:xfrm>
            <a:custGeom>
              <a:avLst/>
              <a:gdLst>
                <a:gd name="connsiteX0" fmla="*/ 2398395 w 2400300"/>
                <a:gd name="connsiteY0" fmla="*/ 137922 h 1549400"/>
                <a:gd name="connsiteX1" fmla="*/ 2373122 w 2400300"/>
                <a:gd name="connsiteY1" fmla="*/ 0 h 1549400"/>
                <a:gd name="connsiteX2" fmla="*/ 2211197 w 2400300"/>
                <a:gd name="connsiteY2" fmla="*/ 837184 h 1549400"/>
                <a:gd name="connsiteX3" fmla="*/ 1736852 w 2400300"/>
                <a:gd name="connsiteY3" fmla="*/ 1171702 h 1549400"/>
                <a:gd name="connsiteX4" fmla="*/ 1234313 w 2400300"/>
                <a:gd name="connsiteY4" fmla="*/ 1282827 h 1549400"/>
                <a:gd name="connsiteX5" fmla="*/ 955421 w 2400300"/>
                <a:gd name="connsiteY5" fmla="*/ 1222375 h 1549400"/>
                <a:gd name="connsiteX6" fmla="*/ 736727 w 2400300"/>
                <a:gd name="connsiteY6" fmla="*/ 1105154 h 1549400"/>
                <a:gd name="connsiteX7" fmla="*/ 305308 w 2400300"/>
                <a:gd name="connsiteY7" fmla="*/ 875792 h 1549400"/>
                <a:gd name="connsiteX8" fmla="*/ 0 w 2400300"/>
                <a:gd name="connsiteY8" fmla="*/ 455930 h 1549400"/>
                <a:gd name="connsiteX9" fmla="*/ 120269 w 2400300"/>
                <a:gd name="connsiteY9" fmla="*/ 894334 h 1549400"/>
                <a:gd name="connsiteX10" fmla="*/ 237617 w 2400300"/>
                <a:gd name="connsiteY10" fmla="*/ 1080008 h 1549400"/>
                <a:gd name="connsiteX11" fmla="*/ 1634744 w 2400300"/>
                <a:gd name="connsiteY11" fmla="*/ 1464945 h 1549400"/>
                <a:gd name="connsiteX12" fmla="*/ 1793875 w 2400300"/>
                <a:gd name="connsiteY12" fmla="*/ 1394460 h 1549400"/>
                <a:gd name="connsiteX13" fmla="*/ 2410333 w 2400300"/>
                <a:gd name="connsiteY13" fmla="*/ 384683 h 1549400"/>
                <a:gd name="connsiteX14" fmla="*/ 2398395 w 2400300"/>
                <a:gd name="connsiteY14" fmla="*/ 137922 h 154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00300" h="1549400">
                  <a:moveTo>
                    <a:pt x="2398395" y="137922"/>
                  </a:moveTo>
                  <a:cubicBezTo>
                    <a:pt x="2393188" y="90805"/>
                    <a:pt x="2384552" y="44831"/>
                    <a:pt x="2373122" y="0"/>
                  </a:cubicBezTo>
                  <a:cubicBezTo>
                    <a:pt x="2423668" y="292608"/>
                    <a:pt x="2409190" y="593598"/>
                    <a:pt x="2211197" y="837184"/>
                  </a:cubicBezTo>
                  <a:cubicBezTo>
                    <a:pt x="2086483" y="990473"/>
                    <a:pt x="1911731" y="1086358"/>
                    <a:pt x="1736852" y="1171702"/>
                  </a:cubicBezTo>
                  <a:cubicBezTo>
                    <a:pt x="1576832" y="1249807"/>
                    <a:pt x="1413891" y="1294384"/>
                    <a:pt x="1234313" y="1282827"/>
                  </a:cubicBezTo>
                  <a:cubicBezTo>
                    <a:pt x="1138936" y="1276731"/>
                    <a:pt x="1044448" y="1257300"/>
                    <a:pt x="955421" y="1222375"/>
                  </a:cubicBezTo>
                  <a:cubicBezTo>
                    <a:pt x="877570" y="1191641"/>
                    <a:pt x="809752" y="1145032"/>
                    <a:pt x="736727" y="1105154"/>
                  </a:cubicBezTo>
                  <a:cubicBezTo>
                    <a:pt x="594106" y="1027176"/>
                    <a:pt x="438277" y="970788"/>
                    <a:pt x="305308" y="875792"/>
                  </a:cubicBezTo>
                  <a:cubicBezTo>
                    <a:pt x="148717" y="764032"/>
                    <a:pt x="51308" y="618363"/>
                    <a:pt x="0" y="455930"/>
                  </a:cubicBezTo>
                  <a:cubicBezTo>
                    <a:pt x="20447" y="606552"/>
                    <a:pt x="64389" y="754380"/>
                    <a:pt x="120269" y="894334"/>
                  </a:cubicBezTo>
                  <a:cubicBezTo>
                    <a:pt x="153162" y="960120"/>
                    <a:pt x="192659" y="1022223"/>
                    <a:pt x="237617" y="1080008"/>
                  </a:cubicBezTo>
                  <a:cubicBezTo>
                    <a:pt x="552069" y="1484249"/>
                    <a:pt x="1135380" y="1676273"/>
                    <a:pt x="1634744" y="1464945"/>
                  </a:cubicBezTo>
                  <a:cubicBezTo>
                    <a:pt x="1689608" y="1445768"/>
                    <a:pt x="1742821" y="1422019"/>
                    <a:pt x="1793875" y="1394460"/>
                  </a:cubicBezTo>
                  <a:cubicBezTo>
                    <a:pt x="2151126" y="1200912"/>
                    <a:pt x="2403856" y="811403"/>
                    <a:pt x="2410333" y="384683"/>
                  </a:cubicBezTo>
                  <a:cubicBezTo>
                    <a:pt x="2414778" y="300101"/>
                    <a:pt x="2410587" y="217297"/>
                    <a:pt x="2398395" y="137922"/>
                  </a:cubicBezTo>
                </a:path>
              </a:pathLst>
            </a:custGeom>
            <a:solidFill>
              <a:srgbClr val="F1F0D7"/>
            </a:solidFill>
            <a:ln w="12689" cap="flat">
              <a:noFill/>
              <a:prstDash val="solid"/>
              <a:miter/>
            </a:ln>
          </p:spPr>
          <p:txBody>
            <a:bodyPr rtlCol="0" anchor="ctr"/>
            <a:lstStyle/>
            <a:p>
              <a:endParaRPr lang="bg-BG"/>
            </a:p>
          </p:txBody>
        </p:sp>
        <p:sp>
          <p:nvSpPr>
            <p:cNvPr id="106" name="Свободна форма: фигура 16">
              <a:extLst>
                <a:ext uri="{FF2B5EF4-FFF2-40B4-BE49-F238E27FC236}">
                  <a16:creationId xmlns:a16="http://schemas.microsoft.com/office/drawing/2014/main" id="{1C5BAA28-F361-1253-08FC-D884EF5C7AB2}"/>
                </a:ext>
              </a:extLst>
            </p:cNvPr>
            <p:cNvSpPr/>
            <p:nvPr/>
          </p:nvSpPr>
          <p:spPr>
            <a:xfrm>
              <a:off x="583687" y="1455489"/>
              <a:ext cx="1308100" cy="1676400"/>
            </a:xfrm>
            <a:custGeom>
              <a:avLst/>
              <a:gdLst>
                <a:gd name="connsiteX0" fmla="*/ 46360 w 1308100"/>
                <a:gd name="connsiteY0" fmla="*/ 1455 h 1676400"/>
                <a:gd name="connsiteX1" fmla="*/ 31374 w 1308100"/>
                <a:gd name="connsiteY1" fmla="*/ 704400 h 1676400"/>
                <a:gd name="connsiteX2" fmla="*/ 281437 w 1308100"/>
                <a:gd name="connsiteY2" fmla="*/ 1276408 h 1676400"/>
                <a:gd name="connsiteX3" fmla="*/ 741939 w 1308100"/>
                <a:gd name="connsiteY3" fmla="*/ 1597972 h 1676400"/>
                <a:gd name="connsiteX4" fmla="*/ 1299215 w 1308100"/>
                <a:gd name="connsiteY4" fmla="*/ 1668838 h 1676400"/>
                <a:gd name="connsiteX5" fmla="*/ 1293119 w 1308100"/>
                <a:gd name="connsiteY5" fmla="*/ 1624007 h 1676400"/>
                <a:gd name="connsiteX6" fmla="*/ 784738 w 1308100"/>
                <a:gd name="connsiteY6" fmla="*/ 1536377 h 1676400"/>
                <a:gd name="connsiteX7" fmla="*/ 334904 w 1308100"/>
                <a:gd name="connsiteY7" fmla="*/ 1238943 h 1676400"/>
                <a:gd name="connsiteX8" fmla="*/ 81031 w 1308100"/>
                <a:gd name="connsiteY8" fmla="*/ 705797 h 1676400"/>
                <a:gd name="connsiteX9" fmla="*/ 50297 w 1308100"/>
                <a:gd name="connsiteY9" fmla="*/ 2725 h 1676400"/>
                <a:gd name="connsiteX10" fmla="*/ 46360 w 1308100"/>
                <a:gd name="connsiteY10" fmla="*/ 1455 h 167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08100" h="1676400">
                  <a:moveTo>
                    <a:pt x="46360" y="1455"/>
                  </a:moveTo>
                  <a:cubicBezTo>
                    <a:pt x="-2027" y="237548"/>
                    <a:pt x="-21077" y="467037"/>
                    <a:pt x="31374" y="704400"/>
                  </a:cubicBezTo>
                  <a:cubicBezTo>
                    <a:pt x="75062" y="901885"/>
                    <a:pt x="151516" y="1118420"/>
                    <a:pt x="281437" y="1276408"/>
                  </a:cubicBezTo>
                  <a:cubicBezTo>
                    <a:pt x="401579" y="1422331"/>
                    <a:pt x="567441" y="1528884"/>
                    <a:pt x="741939" y="1597972"/>
                  </a:cubicBezTo>
                  <a:cubicBezTo>
                    <a:pt x="909325" y="1664139"/>
                    <a:pt x="1120399" y="1718749"/>
                    <a:pt x="1299215" y="1668838"/>
                  </a:cubicBezTo>
                  <a:cubicBezTo>
                    <a:pt x="1324869" y="1661599"/>
                    <a:pt x="1318265" y="1625785"/>
                    <a:pt x="1293119" y="1624007"/>
                  </a:cubicBezTo>
                  <a:cubicBezTo>
                    <a:pt x="1117605" y="1611307"/>
                    <a:pt x="951616" y="1599369"/>
                    <a:pt x="784738" y="1536377"/>
                  </a:cubicBezTo>
                  <a:cubicBezTo>
                    <a:pt x="616463" y="1473004"/>
                    <a:pt x="453776" y="1375595"/>
                    <a:pt x="334904" y="1238943"/>
                  </a:cubicBezTo>
                  <a:cubicBezTo>
                    <a:pt x="207269" y="1092385"/>
                    <a:pt x="129672" y="891471"/>
                    <a:pt x="81031" y="705797"/>
                  </a:cubicBezTo>
                  <a:cubicBezTo>
                    <a:pt x="21722" y="479356"/>
                    <a:pt x="5720" y="232976"/>
                    <a:pt x="50297" y="2725"/>
                  </a:cubicBezTo>
                  <a:cubicBezTo>
                    <a:pt x="50805" y="-69"/>
                    <a:pt x="46868" y="-1085"/>
                    <a:pt x="46360" y="1455"/>
                  </a:cubicBezTo>
                </a:path>
              </a:pathLst>
            </a:custGeom>
            <a:solidFill>
              <a:srgbClr val="B5D385"/>
            </a:solidFill>
            <a:ln w="12689" cap="flat">
              <a:noFill/>
              <a:prstDash val="solid"/>
              <a:miter/>
            </a:ln>
          </p:spPr>
          <p:txBody>
            <a:bodyPr rtlCol="0" anchor="ctr"/>
            <a:lstStyle/>
            <a:p>
              <a:endParaRPr lang="bg-BG"/>
            </a:p>
          </p:txBody>
        </p:sp>
        <p:sp>
          <p:nvSpPr>
            <p:cNvPr id="107" name="Свободна форма: фигура 17">
              <a:extLst>
                <a:ext uri="{FF2B5EF4-FFF2-40B4-BE49-F238E27FC236}">
                  <a16:creationId xmlns:a16="http://schemas.microsoft.com/office/drawing/2014/main" id="{AA8870A4-608B-4763-A354-95A20D4643B4}"/>
                </a:ext>
              </a:extLst>
            </p:cNvPr>
            <p:cNvSpPr/>
            <p:nvPr/>
          </p:nvSpPr>
          <p:spPr>
            <a:xfrm>
              <a:off x="2489350" y="671867"/>
              <a:ext cx="685800" cy="749300"/>
            </a:xfrm>
            <a:custGeom>
              <a:avLst/>
              <a:gdLst>
                <a:gd name="connsiteX0" fmla="*/ 6454 w 685800"/>
                <a:gd name="connsiteY0" fmla="*/ 24855 h 749300"/>
                <a:gd name="connsiteX1" fmla="*/ 673839 w 685800"/>
                <a:gd name="connsiteY1" fmla="*/ 745453 h 749300"/>
                <a:gd name="connsiteX2" fmla="*/ 692508 w 685800"/>
                <a:gd name="connsiteY2" fmla="*/ 737579 h 749300"/>
                <a:gd name="connsiteX3" fmla="*/ 16614 w 685800"/>
                <a:gd name="connsiteY3" fmla="*/ 852 h 749300"/>
                <a:gd name="connsiteX4" fmla="*/ 6454 w 685800"/>
                <a:gd name="connsiteY4" fmla="*/ 24855 h 749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 h="749300">
                  <a:moveTo>
                    <a:pt x="6454" y="24855"/>
                  </a:moveTo>
                  <a:cubicBezTo>
                    <a:pt x="324208" y="165571"/>
                    <a:pt x="536806" y="434176"/>
                    <a:pt x="673839" y="745453"/>
                  </a:cubicBezTo>
                  <a:cubicBezTo>
                    <a:pt x="678665" y="756375"/>
                    <a:pt x="694921" y="748374"/>
                    <a:pt x="692508" y="737579"/>
                  </a:cubicBezTo>
                  <a:cubicBezTo>
                    <a:pt x="615673" y="406871"/>
                    <a:pt x="321668" y="123788"/>
                    <a:pt x="16614" y="852"/>
                  </a:cubicBezTo>
                  <a:cubicBezTo>
                    <a:pt x="2898" y="-4736"/>
                    <a:pt x="-7135" y="18759"/>
                    <a:pt x="6454" y="24855"/>
                  </a:cubicBezTo>
                </a:path>
              </a:pathLst>
            </a:custGeom>
            <a:solidFill>
              <a:srgbClr val="B5D385"/>
            </a:solidFill>
            <a:ln w="12689" cap="flat">
              <a:noFill/>
              <a:prstDash val="solid"/>
              <a:miter/>
            </a:ln>
          </p:spPr>
          <p:txBody>
            <a:bodyPr rtlCol="0" anchor="ctr"/>
            <a:lstStyle/>
            <a:p>
              <a:endParaRPr lang="bg-BG"/>
            </a:p>
          </p:txBody>
        </p:sp>
        <p:sp>
          <p:nvSpPr>
            <p:cNvPr id="108" name="Свободна форма: фигура 19">
              <a:extLst>
                <a:ext uri="{FF2B5EF4-FFF2-40B4-BE49-F238E27FC236}">
                  <a16:creationId xmlns:a16="http://schemas.microsoft.com/office/drawing/2014/main" id="{94BAA8CB-637C-98FD-C8AA-050FC95F9A6E}"/>
                </a:ext>
              </a:extLst>
            </p:cNvPr>
            <p:cNvSpPr/>
            <p:nvPr/>
          </p:nvSpPr>
          <p:spPr>
            <a:xfrm>
              <a:off x="641301" y="982061"/>
              <a:ext cx="254000" cy="368300"/>
            </a:xfrm>
            <a:custGeom>
              <a:avLst/>
              <a:gdLst>
                <a:gd name="connsiteX0" fmla="*/ 21004 w 254000"/>
                <a:gd name="connsiteY0" fmla="*/ 366298 h 368300"/>
                <a:gd name="connsiteX1" fmla="*/ 260399 w 254000"/>
                <a:gd name="connsiteY1" fmla="*/ 11587 h 368300"/>
                <a:gd name="connsiteX2" fmla="*/ 252271 w 254000"/>
                <a:gd name="connsiteY2" fmla="*/ 1046 h 368300"/>
                <a:gd name="connsiteX3" fmla="*/ 430 w 254000"/>
                <a:gd name="connsiteY3" fmla="*/ 360583 h 368300"/>
                <a:gd name="connsiteX4" fmla="*/ 21004 w 254000"/>
                <a:gd name="connsiteY4" fmla="*/ 366298 h 36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000" h="368300">
                  <a:moveTo>
                    <a:pt x="21004" y="366298"/>
                  </a:moveTo>
                  <a:cubicBezTo>
                    <a:pt x="71677" y="226852"/>
                    <a:pt x="155497" y="114584"/>
                    <a:pt x="260399" y="11587"/>
                  </a:cubicBezTo>
                  <a:cubicBezTo>
                    <a:pt x="265733" y="6253"/>
                    <a:pt x="258748" y="-3145"/>
                    <a:pt x="252271" y="1046"/>
                  </a:cubicBezTo>
                  <a:cubicBezTo>
                    <a:pt x="123874" y="82199"/>
                    <a:pt x="38530" y="215676"/>
                    <a:pt x="430" y="360583"/>
                  </a:cubicBezTo>
                  <a:cubicBezTo>
                    <a:pt x="-3126" y="374045"/>
                    <a:pt x="16432" y="379125"/>
                    <a:pt x="21004" y="366298"/>
                  </a:cubicBezTo>
                </a:path>
              </a:pathLst>
            </a:custGeom>
            <a:solidFill>
              <a:srgbClr val="B5D385"/>
            </a:solidFill>
            <a:ln w="12689" cap="flat">
              <a:noFill/>
              <a:prstDash val="solid"/>
              <a:miter/>
            </a:ln>
          </p:spPr>
          <p:txBody>
            <a:bodyPr rtlCol="0" anchor="ctr"/>
            <a:lstStyle/>
            <a:p>
              <a:endParaRPr lang="bg-BG"/>
            </a:p>
          </p:txBody>
        </p:sp>
        <p:sp>
          <p:nvSpPr>
            <p:cNvPr id="109" name="Свободна форма: фигура 20">
              <a:extLst>
                <a:ext uri="{FF2B5EF4-FFF2-40B4-BE49-F238E27FC236}">
                  <a16:creationId xmlns:a16="http://schemas.microsoft.com/office/drawing/2014/main" id="{64314E24-5F50-0453-162A-65E4A4346C28}"/>
                </a:ext>
              </a:extLst>
            </p:cNvPr>
            <p:cNvSpPr/>
            <p:nvPr/>
          </p:nvSpPr>
          <p:spPr>
            <a:xfrm>
              <a:off x="2257997" y="2005855"/>
              <a:ext cx="977900" cy="1066800"/>
            </a:xfrm>
            <a:custGeom>
              <a:avLst/>
              <a:gdLst>
                <a:gd name="connsiteX0" fmla="*/ 965898 w 977900"/>
                <a:gd name="connsiteY0" fmla="*/ 4555 h 1066800"/>
                <a:gd name="connsiteX1" fmla="*/ 603059 w 977900"/>
                <a:gd name="connsiteY1" fmla="*/ 633967 h 1066800"/>
                <a:gd name="connsiteX2" fmla="*/ 9461 w 977900"/>
                <a:gd name="connsiteY2" fmla="*/ 1052686 h 1066800"/>
                <a:gd name="connsiteX3" fmla="*/ 13017 w 977900"/>
                <a:gd name="connsiteY3" fmla="*/ 1078848 h 1066800"/>
                <a:gd name="connsiteX4" fmla="*/ 344233 w 977900"/>
                <a:gd name="connsiteY4" fmla="*/ 921241 h 1066800"/>
                <a:gd name="connsiteX5" fmla="*/ 626427 w 977900"/>
                <a:gd name="connsiteY5" fmla="*/ 676512 h 1066800"/>
                <a:gd name="connsiteX6" fmla="*/ 846772 w 977900"/>
                <a:gd name="connsiteY6" fmla="*/ 372474 h 1066800"/>
                <a:gd name="connsiteX7" fmla="*/ 978725 w 977900"/>
                <a:gd name="connsiteY7" fmla="*/ 7984 h 1066800"/>
                <a:gd name="connsiteX8" fmla="*/ 965898 w 977900"/>
                <a:gd name="connsiteY8" fmla="*/ 4555 h 106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7900" h="1066800">
                  <a:moveTo>
                    <a:pt x="965898" y="4555"/>
                  </a:moveTo>
                  <a:cubicBezTo>
                    <a:pt x="876871" y="229980"/>
                    <a:pt x="756602" y="445753"/>
                    <a:pt x="603059" y="633967"/>
                  </a:cubicBezTo>
                  <a:cubicBezTo>
                    <a:pt x="454469" y="816085"/>
                    <a:pt x="244665" y="1004045"/>
                    <a:pt x="9461" y="1052686"/>
                  </a:cubicBezTo>
                  <a:cubicBezTo>
                    <a:pt x="-5144" y="1055734"/>
                    <a:pt x="-1969" y="1079737"/>
                    <a:pt x="13017" y="1078848"/>
                  </a:cubicBezTo>
                  <a:cubicBezTo>
                    <a:pt x="135699" y="1071482"/>
                    <a:pt x="247332" y="990329"/>
                    <a:pt x="344233" y="921241"/>
                  </a:cubicBezTo>
                  <a:cubicBezTo>
                    <a:pt x="447230" y="847708"/>
                    <a:pt x="540067" y="769984"/>
                    <a:pt x="626427" y="676512"/>
                  </a:cubicBezTo>
                  <a:cubicBezTo>
                    <a:pt x="715835" y="579611"/>
                    <a:pt x="787590" y="491600"/>
                    <a:pt x="846772" y="372474"/>
                  </a:cubicBezTo>
                  <a:cubicBezTo>
                    <a:pt x="904430" y="256269"/>
                    <a:pt x="952690" y="135365"/>
                    <a:pt x="978725" y="7984"/>
                  </a:cubicBezTo>
                  <a:cubicBezTo>
                    <a:pt x="980249" y="-398"/>
                    <a:pt x="968946" y="-3192"/>
                    <a:pt x="965898" y="4555"/>
                  </a:cubicBezTo>
                </a:path>
              </a:pathLst>
            </a:custGeom>
            <a:solidFill>
              <a:srgbClr val="B5D385"/>
            </a:solidFill>
            <a:ln w="12689" cap="flat">
              <a:noFill/>
              <a:prstDash val="solid"/>
              <a:miter/>
            </a:ln>
          </p:spPr>
          <p:txBody>
            <a:bodyPr rtlCol="0" anchor="ctr"/>
            <a:lstStyle/>
            <a:p>
              <a:endParaRPr lang="bg-BG"/>
            </a:p>
          </p:txBody>
        </p:sp>
        <p:sp>
          <p:nvSpPr>
            <p:cNvPr id="110" name="Свободна форма: фигура 21">
              <a:extLst>
                <a:ext uri="{FF2B5EF4-FFF2-40B4-BE49-F238E27FC236}">
                  <a16:creationId xmlns:a16="http://schemas.microsoft.com/office/drawing/2014/main" id="{C5378BF5-AED8-6686-6836-7BA008471EE9}"/>
                </a:ext>
              </a:extLst>
            </p:cNvPr>
            <p:cNvSpPr/>
            <p:nvPr/>
          </p:nvSpPr>
          <p:spPr>
            <a:xfrm>
              <a:off x="1103626" y="657128"/>
              <a:ext cx="215900" cy="139700"/>
            </a:xfrm>
            <a:custGeom>
              <a:avLst/>
              <a:gdLst>
                <a:gd name="connsiteX0" fmla="*/ 28706 w 215900"/>
                <a:gd name="connsiteY0" fmla="*/ 144369 h 139700"/>
                <a:gd name="connsiteX1" fmla="*/ 125988 w 215900"/>
                <a:gd name="connsiteY1" fmla="*/ 69439 h 139700"/>
                <a:gd name="connsiteX2" fmla="*/ 218063 w 215900"/>
                <a:gd name="connsiteY2" fmla="*/ 20671 h 139700"/>
                <a:gd name="connsiteX3" fmla="*/ 212475 w 215900"/>
                <a:gd name="connsiteY3" fmla="*/ 97 h 139700"/>
                <a:gd name="connsiteX4" fmla="*/ 5211 w 215900"/>
                <a:gd name="connsiteY4" fmla="*/ 121001 h 139700"/>
                <a:gd name="connsiteX5" fmla="*/ 28706 w 215900"/>
                <a:gd name="connsiteY5" fmla="*/ 144369 h 13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5900" h="139700">
                  <a:moveTo>
                    <a:pt x="28706" y="144369"/>
                  </a:moveTo>
                  <a:cubicBezTo>
                    <a:pt x="59059" y="116556"/>
                    <a:pt x="90809" y="90775"/>
                    <a:pt x="125988" y="69439"/>
                  </a:cubicBezTo>
                  <a:cubicBezTo>
                    <a:pt x="155706" y="51532"/>
                    <a:pt x="188599" y="38832"/>
                    <a:pt x="218063" y="20671"/>
                  </a:cubicBezTo>
                  <a:cubicBezTo>
                    <a:pt x="226572" y="15464"/>
                    <a:pt x="224032" y="-1427"/>
                    <a:pt x="212475" y="97"/>
                  </a:cubicBezTo>
                  <a:cubicBezTo>
                    <a:pt x="133100" y="10257"/>
                    <a:pt x="62107" y="68677"/>
                    <a:pt x="5211" y="121001"/>
                  </a:cubicBezTo>
                  <a:cubicBezTo>
                    <a:pt x="-10537" y="135352"/>
                    <a:pt x="12958" y="158847"/>
                    <a:pt x="28706" y="144369"/>
                  </a:cubicBezTo>
                </a:path>
              </a:pathLst>
            </a:custGeom>
            <a:solidFill>
              <a:srgbClr val="B5D385"/>
            </a:solidFill>
            <a:ln w="12689" cap="flat">
              <a:noFill/>
              <a:prstDash val="solid"/>
              <a:miter/>
            </a:ln>
          </p:spPr>
          <p:txBody>
            <a:bodyPr rtlCol="0" anchor="ctr"/>
            <a:lstStyle/>
            <a:p>
              <a:endParaRPr lang="bg-BG"/>
            </a:p>
          </p:txBody>
        </p:sp>
        <p:sp>
          <p:nvSpPr>
            <p:cNvPr id="111" name="Свободна форма: фигура 23">
              <a:extLst>
                <a:ext uri="{FF2B5EF4-FFF2-40B4-BE49-F238E27FC236}">
                  <a16:creationId xmlns:a16="http://schemas.microsoft.com/office/drawing/2014/main" id="{1085D145-3D96-BBD7-E525-93595D1D018F}"/>
                </a:ext>
              </a:extLst>
            </p:cNvPr>
            <p:cNvSpPr/>
            <p:nvPr/>
          </p:nvSpPr>
          <p:spPr>
            <a:xfrm>
              <a:off x="1362964" y="907161"/>
              <a:ext cx="25400" cy="25400"/>
            </a:xfrm>
            <a:custGeom>
              <a:avLst/>
              <a:gdLst>
                <a:gd name="connsiteX0" fmla="*/ 33655 w 25400"/>
                <a:gd name="connsiteY0" fmla="*/ 15748 h 25400"/>
                <a:gd name="connsiteX1" fmla="*/ 0 w 25400"/>
                <a:gd name="connsiteY1" fmla="*/ 20447 h 25400"/>
                <a:gd name="connsiteX2" fmla="*/ 17907 w 25400"/>
                <a:gd name="connsiteY2" fmla="*/ 0 h 25400"/>
                <a:gd name="connsiteX3" fmla="*/ 33655 w 25400"/>
                <a:gd name="connsiteY3" fmla="*/ 15748 h 25400"/>
              </a:gdLst>
              <a:ahLst/>
              <a:cxnLst>
                <a:cxn ang="0">
                  <a:pos x="connsiteX0" y="connsiteY0"/>
                </a:cxn>
                <a:cxn ang="0">
                  <a:pos x="connsiteX1" y="connsiteY1"/>
                </a:cxn>
                <a:cxn ang="0">
                  <a:pos x="connsiteX2" y="connsiteY2"/>
                </a:cxn>
                <a:cxn ang="0">
                  <a:pos x="connsiteX3" y="connsiteY3"/>
                </a:cxn>
              </a:cxnLst>
              <a:rect l="l" t="t" r="r" b="b"/>
              <a:pathLst>
                <a:path w="25400" h="25400">
                  <a:moveTo>
                    <a:pt x="33655" y="15748"/>
                  </a:moveTo>
                  <a:cubicBezTo>
                    <a:pt x="22352" y="42799"/>
                    <a:pt x="11176" y="31623"/>
                    <a:pt x="0" y="20447"/>
                  </a:cubicBezTo>
                  <a:cubicBezTo>
                    <a:pt x="11176" y="9271"/>
                    <a:pt x="11176" y="9271"/>
                    <a:pt x="17907" y="0"/>
                  </a:cubicBezTo>
                  <a:cubicBezTo>
                    <a:pt x="26543" y="0"/>
                    <a:pt x="33655" y="7112"/>
                    <a:pt x="33655" y="15748"/>
                  </a:cubicBezTo>
                </a:path>
              </a:pathLst>
            </a:custGeom>
            <a:solidFill>
              <a:srgbClr val="5DB723"/>
            </a:solidFill>
            <a:ln w="12689" cap="flat">
              <a:noFill/>
              <a:prstDash val="solid"/>
              <a:miter/>
            </a:ln>
          </p:spPr>
          <p:txBody>
            <a:bodyPr rtlCol="0" anchor="ctr"/>
            <a:lstStyle/>
            <a:p>
              <a:endParaRPr lang="bg-BG"/>
            </a:p>
          </p:txBody>
        </p:sp>
        <p:sp>
          <p:nvSpPr>
            <p:cNvPr id="112" name="Свободна форма: фигура 24">
              <a:extLst>
                <a:ext uri="{FF2B5EF4-FFF2-40B4-BE49-F238E27FC236}">
                  <a16:creationId xmlns:a16="http://schemas.microsoft.com/office/drawing/2014/main" id="{F5A032D0-B1F6-1E54-8800-B913839B10F9}"/>
                </a:ext>
              </a:extLst>
            </p:cNvPr>
            <p:cNvSpPr/>
            <p:nvPr/>
          </p:nvSpPr>
          <p:spPr>
            <a:xfrm>
              <a:off x="1396492" y="1063687"/>
              <a:ext cx="25400" cy="25400"/>
            </a:xfrm>
            <a:custGeom>
              <a:avLst/>
              <a:gdLst>
                <a:gd name="connsiteX0" fmla="*/ 32385 w 25400"/>
                <a:gd name="connsiteY0" fmla="*/ 21782 h 25400"/>
                <a:gd name="connsiteX1" fmla="*/ 0 w 25400"/>
                <a:gd name="connsiteY1" fmla="*/ 9590 h 25400"/>
                <a:gd name="connsiteX2" fmla="*/ 26416 w 25400"/>
                <a:gd name="connsiteY2" fmla="*/ 192 h 25400"/>
                <a:gd name="connsiteX3" fmla="*/ 32385 w 25400"/>
                <a:gd name="connsiteY3" fmla="*/ 21782 h 25400"/>
              </a:gdLst>
              <a:ahLst/>
              <a:cxnLst>
                <a:cxn ang="0">
                  <a:pos x="connsiteX0" y="connsiteY0"/>
                </a:cxn>
                <a:cxn ang="0">
                  <a:pos x="connsiteX1" y="connsiteY1"/>
                </a:cxn>
                <a:cxn ang="0">
                  <a:pos x="connsiteX2" y="connsiteY2"/>
                </a:cxn>
                <a:cxn ang="0">
                  <a:pos x="connsiteX3" y="connsiteY3"/>
                </a:cxn>
              </a:cxnLst>
              <a:rect l="l" t="t" r="r" b="b"/>
              <a:pathLst>
                <a:path w="25400" h="25400">
                  <a:moveTo>
                    <a:pt x="32385" y="21782"/>
                  </a:moveTo>
                  <a:cubicBezTo>
                    <a:pt x="11176" y="43118"/>
                    <a:pt x="0" y="31942"/>
                    <a:pt x="0" y="9590"/>
                  </a:cubicBezTo>
                  <a:cubicBezTo>
                    <a:pt x="0" y="9590"/>
                    <a:pt x="11176" y="-1586"/>
                    <a:pt x="26416" y="192"/>
                  </a:cubicBezTo>
                  <a:cubicBezTo>
                    <a:pt x="34036" y="4383"/>
                    <a:pt x="36703" y="14162"/>
                    <a:pt x="32385" y="21782"/>
                  </a:cubicBezTo>
                </a:path>
              </a:pathLst>
            </a:custGeom>
            <a:solidFill>
              <a:srgbClr val="5DB723"/>
            </a:solidFill>
            <a:ln w="12689" cap="flat">
              <a:noFill/>
              <a:prstDash val="solid"/>
              <a:miter/>
            </a:ln>
          </p:spPr>
          <p:txBody>
            <a:bodyPr rtlCol="0" anchor="ctr"/>
            <a:lstStyle/>
            <a:p>
              <a:endParaRPr lang="bg-BG"/>
            </a:p>
          </p:txBody>
        </p:sp>
        <p:sp>
          <p:nvSpPr>
            <p:cNvPr id="113" name="Свободна форма: фигура 25">
              <a:extLst>
                <a:ext uri="{FF2B5EF4-FFF2-40B4-BE49-F238E27FC236}">
                  <a16:creationId xmlns:a16="http://schemas.microsoft.com/office/drawing/2014/main" id="{7386178D-32EF-CB81-E7DB-02809C00F294}"/>
                </a:ext>
              </a:extLst>
            </p:cNvPr>
            <p:cNvSpPr/>
            <p:nvPr/>
          </p:nvSpPr>
          <p:spPr>
            <a:xfrm>
              <a:off x="1497330" y="1203960"/>
              <a:ext cx="25400" cy="25400"/>
            </a:xfrm>
            <a:custGeom>
              <a:avLst/>
              <a:gdLst>
                <a:gd name="connsiteX0" fmla="*/ 31496 w 25400"/>
                <a:gd name="connsiteY0" fmla="*/ 21717 h 25400"/>
                <a:gd name="connsiteX1" fmla="*/ 0 w 25400"/>
                <a:gd name="connsiteY1" fmla="*/ 3556 h 25400"/>
                <a:gd name="connsiteX2" fmla="*/ 25527 w 25400"/>
                <a:gd name="connsiteY2" fmla="*/ 0 h 25400"/>
                <a:gd name="connsiteX3" fmla="*/ 31496 w 25400"/>
                <a:gd name="connsiteY3" fmla="*/ 21717 h 25400"/>
              </a:gdLst>
              <a:ahLst/>
              <a:cxnLst>
                <a:cxn ang="0">
                  <a:pos x="connsiteX0" y="connsiteY0"/>
                </a:cxn>
                <a:cxn ang="0">
                  <a:pos x="connsiteX1" y="connsiteY1"/>
                </a:cxn>
                <a:cxn ang="0">
                  <a:pos x="connsiteX2" y="connsiteY2"/>
                </a:cxn>
                <a:cxn ang="0">
                  <a:pos x="connsiteX3" y="connsiteY3"/>
                </a:cxn>
              </a:cxnLst>
              <a:rect l="l" t="t" r="r" b="b"/>
              <a:pathLst>
                <a:path w="25400" h="25400">
                  <a:moveTo>
                    <a:pt x="31496" y="21717"/>
                  </a:moveTo>
                  <a:cubicBezTo>
                    <a:pt x="11176" y="37084"/>
                    <a:pt x="0" y="25908"/>
                    <a:pt x="0" y="3556"/>
                  </a:cubicBezTo>
                  <a:cubicBezTo>
                    <a:pt x="11176" y="3556"/>
                    <a:pt x="11176" y="3556"/>
                    <a:pt x="25527" y="0"/>
                  </a:cubicBezTo>
                  <a:cubicBezTo>
                    <a:pt x="33147" y="4445"/>
                    <a:pt x="35814" y="14224"/>
                    <a:pt x="31496" y="21717"/>
                  </a:cubicBezTo>
                </a:path>
              </a:pathLst>
            </a:custGeom>
            <a:solidFill>
              <a:srgbClr val="5DB723"/>
            </a:solidFill>
            <a:ln w="12689" cap="flat">
              <a:noFill/>
              <a:prstDash val="solid"/>
              <a:miter/>
            </a:ln>
          </p:spPr>
          <p:txBody>
            <a:bodyPr rtlCol="0" anchor="ctr"/>
            <a:lstStyle/>
            <a:p>
              <a:endParaRPr lang="bg-BG"/>
            </a:p>
          </p:txBody>
        </p:sp>
        <p:sp>
          <p:nvSpPr>
            <p:cNvPr id="114" name="Свободна форма: фигура 26">
              <a:extLst>
                <a:ext uri="{FF2B5EF4-FFF2-40B4-BE49-F238E27FC236}">
                  <a16:creationId xmlns:a16="http://schemas.microsoft.com/office/drawing/2014/main" id="{8062C822-8576-B5F0-E4C0-541F96114F27}"/>
                </a:ext>
              </a:extLst>
            </p:cNvPr>
            <p:cNvSpPr/>
            <p:nvPr/>
          </p:nvSpPr>
          <p:spPr>
            <a:xfrm>
              <a:off x="2136140" y="1159590"/>
              <a:ext cx="215900" cy="165100"/>
            </a:xfrm>
            <a:custGeom>
              <a:avLst/>
              <a:gdLst>
                <a:gd name="connsiteX0" fmla="*/ 0 w 215900"/>
                <a:gd name="connsiteY0" fmla="*/ 173402 h 165100"/>
                <a:gd name="connsiteX1" fmla="*/ 209550 w 215900"/>
                <a:gd name="connsiteY1" fmla="*/ 41957 h 165100"/>
                <a:gd name="connsiteX2" fmla="*/ 129794 w 215900"/>
                <a:gd name="connsiteY2" fmla="*/ 77263 h 165100"/>
                <a:gd name="connsiteX3" fmla="*/ 0 w 215900"/>
                <a:gd name="connsiteY3" fmla="*/ 173402 h 165100"/>
              </a:gdLst>
              <a:ahLst/>
              <a:cxnLst>
                <a:cxn ang="0">
                  <a:pos x="connsiteX0" y="connsiteY0"/>
                </a:cxn>
                <a:cxn ang="0">
                  <a:pos x="connsiteX1" y="connsiteY1"/>
                </a:cxn>
                <a:cxn ang="0">
                  <a:pos x="connsiteX2" y="connsiteY2"/>
                </a:cxn>
                <a:cxn ang="0">
                  <a:pos x="connsiteX3" y="connsiteY3"/>
                </a:cxn>
              </a:cxnLst>
              <a:rect l="l" t="t" r="r" b="b"/>
              <a:pathLst>
                <a:path w="215900" h="165100">
                  <a:moveTo>
                    <a:pt x="0" y="173402"/>
                  </a:moveTo>
                  <a:cubicBezTo>
                    <a:pt x="0" y="173402"/>
                    <a:pt x="182372" y="133778"/>
                    <a:pt x="209550" y="41957"/>
                  </a:cubicBezTo>
                  <a:cubicBezTo>
                    <a:pt x="236855" y="-49864"/>
                    <a:pt x="172593" y="30908"/>
                    <a:pt x="129794" y="77263"/>
                  </a:cubicBezTo>
                  <a:cubicBezTo>
                    <a:pt x="87122" y="123618"/>
                    <a:pt x="0" y="173402"/>
                    <a:pt x="0" y="173402"/>
                  </a:cubicBezTo>
                </a:path>
              </a:pathLst>
            </a:custGeom>
            <a:solidFill>
              <a:srgbClr val="5DB723"/>
            </a:solidFill>
            <a:ln w="12689" cap="flat">
              <a:noFill/>
              <a:prstDash val="solid"/>
              <a:miter/>
            </a:ln>
          </p:spPr>
          <p:txBody>
            <a:bodyPr rtlCol="0" anchor="ctr"/>
            <a:lstStyle/>
            <a:p>
              <a:endParaRPr lang="bg-BG"/>
            </a:p>
          </p:txBody>
        </p:sp>
        <p:sp>
          <p:nvSpPr>
            <p:cNvPr id="115" name="Свободна форма: фигура 27">
              <a:extLst>
                <a:ext uri="{FF2B5EF4-FFF2-40B4-BE49-F238E27FC236}">
                  <a16:creationId xmlns:a16="http://schemas.microsoft.com/office/drawing/2014/main" id="{BC3716B4-AB8E-6C80-4367-1FD0B3E60163}"/>
                </a:ext>
              </a:extLst>
            </p:cNvPr>
            <p:cNvSpPr/>
            <p:nvPr/>
          </p:nvSpPr>
          <p:spPr>
            <a:xfrm>
              <a:off x="1442985" y="476377"/>
              <a:ext cx="114300" cy="88900"/>
            </a:xfrm>
            <a:custGeom>
              <a:avLst/>
              <a:gdLst>
                <a:gd name="connsiteX0" fmla="*/ 114670 w 114300"/>
                <a:gd name="connsiteY0" fmla="*/ 0 h 88900"/>
                <a:gd name="connsiteX1" fmla="*/ 6466 w 114300"/>
                <a:gd name="connsiteY1" fmla="*/ 55626 h 88900"/>
                <a:gd name="connsiteX2" fmla="*/ 62473 w 114300"/>
                <a:gd name="connsiteY2" fmla="*/ 58293 h 88900"/>
                <a:gd name="connsiteX3" fmla="*/ 114670 w 114300"/>
                <a:gd name="connsiteY3" fmla="*/ 0 h 88900"/>
              </a:gdLst>
              <a:ahLst/>
              <a:cxnLst>
                <a:cxn ang="0">
                  <a:pos x="connsiteX0" y="connsiteY0"/>
                </a:cxn>
                <a:cxn ang="0">
                  <a:pos x="connsiteX1" y="connsiteY1"/>
                </a:cxn>
                <a:cxn ang="0">
                  <a:pos x="connsiteX2" y="connsiteY2"/>
                </a:cxn>
                <a:cxn ang="0">
                  <a:pos x="connsiteX3" y="connsiteY3"/>
                </a:cxn>
              </a:cxnLst>
              <a:rect l="l" t="t" r="r" b="b"/>
              <a:pathLst>
                <a:path w="114300" h="88900">
                  <a:moveTo>
                    <a:pt x="114670" y="0"/>
                  </a:moveTo>
                  <a:cubicBezTo>
                    <a:pt x="114670" y="0"/>
                    <a:pt x="28564" y="12065"/>
                    <a:pt x="6466" y="55626"/>
                  </a:cubicBezTo>
                  <a:cubicBezTo>
                    <a:pt x="-15632" y="99187"/>
                    <a:pt x="22849" y="104775"/>
                    <a:pt x="62473" y="58293"/>
                  </a:cubicBezTo>
                  <a:cubicBezTo>
                    <a:pt x="101970" y="11557"/>
                    <a:pt x="114670" y="0"/>
                    <a:pt x="114670" y="0"/>
                  </a:cubicBezTo>
                </a:path>
              </a:pathLst>
            </a:custGeom>
            <a:solidFill>
              <a:srgbClr val="83CC1B"/>
            </a:solidFill>
            <a:ln w="12689" cap="flat">
              <a:noFill/>
              <a:prstDash val="solid"/>
              <a:miter/>
            </a:ln>
          </p:spPr>
          <p:txBody>
            <a:bodyPr rtlCol="0" anchor="ctr"/>
            <a:lstStyle/>
            <a:p>
              <a:endParaRPr lang="bg-BG"/>
            </a:p>
          </p:txBody>
        </p:sp>
      </p:grpSp>
      <p:sp>
        <p:nvSpPr>
          <p:cNvPr id="116" name="object 3">
            <a:extLst>
              <a:ext uri="{FF2B5EF4-FFF2-40B4-BE49-F238E27FC236}">
                <a16:creationId xmlns:a16="http://schemas.microsoft.com/office/drawing/2014/main" id="{E15AA5AE-984D-D879-F3C5-3885FE4918E5}"/>
              </a:ext>
            </a:extLst>
          </p:cNvPr>
          <p:cNvSpPr txBox="1"/>
          <p:nvPr/>
        </p:nvSpPr>
        <p:spPr>
          <a:xfrm>
            <a:off x="9470389" y="2372230"/>
            <a:ext cx="1599021" cy="286745"/>
          </a:xfrm>
          <a:prstGeom prst="rect">
            <a:avLst/>
          </a:prstGeom>
        </p:spPr>
        <p:txBody>
          <a:bodyPr vert="horz" wrap="square" lIns="0" tIns="12700" rIns="0" bIns="0" rtlCol="0">
            <a:spAutoFit/>
          </a:bodyPr>
          <a:lstStyle/>
          <a:p>
            <a:pPr marL="167005" marR="160655" algn="ctr">
              <a:lnSpc>
                <a:spcPct val="118600"/>
              </a:lnSpc>
              <a:spcBef>
                <a:spcPts val="100"/>
              </a:spcBef>
            </a:pPr>
            <a:r>
              <a:rPr lang="en-US" sz="1600" b="1" dirty="0">
                <a:latin typeface="+mj-lt"/>
                <a:cs typeface="Arial"/>
              </a:rPr>
              <a:t>Disaggregation</a:t>
            </a:r>
            <a:endParaRPr sz="1600" b="1" dirty="0">
              <a:latin typeface="+mj-lt"/>
              <a:cs typeface="Arial"/>
            </a:endParaRPr>
          </a:p>
        </p:txBody>
      </p:sp>
      <p:sp>
        <p:nvSpPr>
          <p:cNvPr id="118" name="object 3">
            <a:extLst>
              <a:ext uri="{FF2B5EF4-FFF2-40B4-BE49-F238E27FC236}">
                <a16:creationId xmlns:a16="http://schemas.microsoft.com/office/drawing/2014/main" id="{A4D33D79-1807-20C2-D5A5-3022E4EA8C46}"/>
              </a:ext>
            </a:extLst>
          </p:cNvPr>
          <p:cNvSpPr txBox="1"/>
          <p:nvPr/>
        </p:nvSpPr>
        <p:spPr>
          <a:xfrm>
            <a:off x="9319347" y="3541192"/>
            <a:ext cx="2214950" cy="1841914"/>
          </a:xfrm>
          <a:prstGeom prst="rect">
            <a:avLst/>
          </a:prstGeom>
        </p:spPr>
        <p:txBody>
          <a:bodyPr vert="horz" wrap="square" lIns="0" tIns="12700" rIns="0" bIns="0" rtlCol="0">
            <a:spAutoFit/>
          </a:bodyPr>
          <a:lstStyle/>
          <a:p>
            <a:pPr marL="167005" marR="160655" algn="ctr">
              <a:lnSpc>
                <a:spcPct val="118600"/>
              </a:lnSpc>
              <a:spcBef>
                <a:spcPts val="100"/>
              </a:spcBef>
            </a:pPr>
            <a:r>
              <a:rPr lang="en-US" sz="1400" dirty="0"/>
              <a:t>Outcome Type</a:t>
            </a:r>
            <a:r>
              <a:rPr lang="en-US" sz="1400" dirty="0">
                <a:latin typeface="+mj-lt"/>
                <a:cs typeface="Arial"/>
              </a:rPr>
              <a:t>:</a:t>
            </a:r>
          </a:p>
          <a:p>
            <a:pPr marL="452755" marR="160655" indent="-285750">
              <a:lnSpc>
                <a:spcPct val="118600"/>
              </a:lnSpc>
              <a:spcBef>
                <a:spcPts val="100"/>
              </a:spcBef>
              <a:buFont typeface="Arial" panose="020B0604020202020204" pitchFamily="34" charset="0"/>
              <a:buChar char="•"/>
            </a:pPr>
            <a:r>
              <a:rPr lang="en-US" sz="1400" dirty="0">
                <a:latin typeface="+mj-lt"/>
                <a:cs typeface="Arial"/>
              </a:rPr>
              <a:t>HIV-infected</a:t>
            </a:r>
          </a:p>
          <a:p>
            <a:pPr marL="452755" marR="160655" indent="-285750">
              <a:lnSpc>
                <a:spcPct val="118600"/>
              </a:lnSpc>
              <a:spcBef>
                <a:spcPts val="100"/>
              </a:spcBef>
              <a:buFont typeface="Arial" panose="020B0604020202020204" pitchFamily="34" charset="0"/>
              <a:buChar char="•"/>
            </a:pPr>
            <a:r>
              <a:rPr lang="en-US" sz="1400" dirty="0">
                <a:latin typeface="+mj-lt"/>
                <a:cs typeface="Arial"/>
              </a:rPr>
              <a:t>HIV-uninfected</a:t>
            </a:r>
          </a:p>
          <a:p>
            <a:pPr marL="452755" marR="160655" indent="-285750">
              <a:lnSpc>
                <a:spcPct val="118600"/>
              </a:lnSpc>
              <a:spcBef>
                <a:spcPts val="100"/>
              </a:spcBef>
              <a:buFont typeface="Arial" panose="020B0604020202020204" pitchFamily="34" charset="0"/>
              <a:buChar char="•"/>
            </a:pPr>
            <a:r>
              <a:rPr lang="en-US" sz="1400" dirty="0">
                <a:latin typeface="+mj-lt"/>
                <a:cs typeface="Arial"/>
              </a:rPr>
              <a:t>HIV-final status unknown</a:t>
            </a:r>
          </a:p>
          <a:p>
            <a:pPr marL="452755" marR="160655" indent="-285750">
              <a:lnSpc>
                <a:spcPct val="118600"/>
              </a:lnSpc>
              <a:spcBef>
                <a:spcPts val="100"/>
              </a:spcBef>
              <a:buFont typeface="Arial" panose="020B0604020202020204" pitchFamily="34" charset="0"/>
              <a:buChar char="•"/>
            </a:pPr>
            <a:r>
              <a:rPr lang="en-US" sz="1400" dirty="0">
                <a:latin typeface="+mj-lt"/>
                <a:cs typeface="Arial"/>
              </a:rPr>
              <a:t>Died without status known.</a:t>
            </a:r>
          </a:p>
        </p:txBody>
      </p:sp>
      <p:sp>
        <p:nvSpPr>
          <p:cNvPr id="5" name="object 3">
            <a:extLst>
              <a:ext uri="{FF2B5EF4-FFF2-40B4-BE49-F238E27FC236}">
                <a16:creationId xmlns:a16="http://schemas.microsoft.com/office/drawing/2014/main" id="{02F30A35-0DC2-8565-B7AE-A87A43D4C07B}"/>
              </a:ext>
            </a:extLst>
          </p:cNvPr>
          <p:cNvSpPr txBox="1"/>
          <p:nvPr/>
        </p:nvSpPr>
        <p:spPr>
          <a:xfrm>
            <a:off x="5019212" y="3719210"/>
            <a:ext cx="2490576" cy="1284198"/>
          </a:xfrm>
          <a:prstGeom prst="rect">
            <a:avLst/>
          </a:prstGeom>
        </p:spPr>
        <p:txBody>
          <a:bodyPr vert="horz" wrap="square" lIns="0" tIns="12700" rIns="0" bIns="0" rtlCol="0">
            <a:spAutoFit/>
          </a:bodyPr>
          <a:lstStyle/>
          <a:p>
            <a:pPr marL="167005" marR="160655" algn="ctr">
              <a:lnSpc>
                <a:spcPct val="118600"/>
              </a:lnSpc>
              <a:spcBef>
                <a:spcPts val="100"/>
              </a:spcBef>
            </a:pPr>
            <a:r>
              <a:rPr lang="en-US" sz="1400" dirty="0">
                <a:latin typeface="+mj-lt"/>
                <a:cs typeface="Arial"/>
              </a:rPr>
              <a:t>Numerator</a:t>
            </a:r>
            <a:r>
              <a:rPr lang="en-US" sz="1400" dirty="0">
                <a:latin typeface="Arial"/>
                <a:cs typeface="Arial"/>
              </a:rPr>
              <a:t> =</a:t>
            </a:r>
            <a:r>
              <a:rPr lang="en-US" sz="1400" b="0" dirty="0"/>
              <a:t> Denominator. If all outcomes are known regardless of the outcome type</a:t>
            </a:r>
            <a:endParaRPr lang="en-US" sz="1400" dirty="0">
              <a:latin typeface="Arial"/>
              <a:cs typeface="Arial"/>
            </a:endParaRPr>
          </a:p>
          <a:p>
            <a:pPr marL="167005" marR="160655" algn="ctr">
              <a:lnSpc>
                <a:spcPct val="118600"/>
              </a:lnSpc>
              <a:spcBef>
                <a:spcPts val="100"/>
              </a:spcBef>
            </a:pPr>
            <a:endParaRPr sz="1400" dirty="0">
              <a:latin typeface="Arial"/>
              <a:cs typeface="Arial"/>
            </a:endParaRPr>
          </a:p>
        </p:txBody>
      </p:sp>
    </p:spTree>
    <p:extLst>
      <p:ext uri="{BB962C8B-B14F-4D97-AF65-F5344CB8AC3E}">
        <p14:creationId xmlns:p14="http://schemas.microsoft.com/office/powerpoint/2010/main" val="423826419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EA5A020-9289-BC3F-6AE9-4B69C67492FE}"/>
              </a:ext>
            </a:extLst>
          </p:cNvPr>
          <p:cNvSpPr txBox="1"/>
          <p:nvPr/>
        </p:nvSpPr>
        <p:spPr>
          <a:xfrm>
            <a:off x="1654892" y="3273831"/>
            <a:ext cx="9406398" cy="707886"/>
          </a:xfrm>
          <a:prstGeom prst="rect">
            <a:avLst/>
          </a:prstGeom>
          <a:noFill/>
        </p:spPr>
        <p:txBody>
          <a:bodyPr wrap="square">
            <a:spAutoFit/>
          </a:bodyPr>
          <a:lstStyle/>
          <a:p>
            <a:r>
              <a:rPr lang="en-US" sz="4000" b="1" dirty="0">
                <a:solidFill>
                  <a:srgbClr val="002060"/>
                </a:solidFill>
                <a:latin typeface="Poppins" panose="00000500000000000000" pitchFamily="2" charset="0"/>
                <a:cs typeface="Poppins" panose="00000500000000000000" pitchFamily="2" charset="0"/>
              </a:rPr>
              <a:t>Career Progression Plan</a:t>
            </a:r>
          </a:p>
        </p:txBody>
      </p:sp>
    </p:spTree>
    <p:extLst>
      <p:ext uri="{BB962C8B-B14F-4D97-AF65-F5344CB8AC3E}">
        <p14:creationId xmlns:p14="http://schemas.microsoft.com/office/powerpoint/2010/main" val="375332732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2"/>
          <a:srcRect/>
          <a:stretch>
            <a:fillRect/>
          </a:stretch>
        </p:blipFill>
        <p:spPr>
          <a:xfrm>
            <a:off x="8641078" y="0"/>
            <a:ext cx="3550922" cy="1016077"/>
          </a:xfrm>
          <a:prstGeom prst="rect">
            <a:avLst/>
          </a:prstGeom>
        </p:spPr>
      </p:pic>
      <p:pic>
        <p:nvPicPr>
          <p:cNvPr id="3" name="Picture 3"/>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p:blipFill>
        <p:spPr>
          <a:xfrm>
            <a:off x="-1063201" y="508039"/>
            <a:ext cx="6172200" cy="6172200"/>
          </a:xfrm>
          <a:prstGeom prst="rect">
            <a:avLst/>
          </a:prstGeom>
        </p:spPr>
      </p:pic>
      <p:grpSp>
        <p:nvGrpSpPr>
          <p:cNvPr id="4" name="Group 4"/>
          <p:cNvGrpSpPr>
            <a:grpSpLocks noChangeAspect="1"/>
          </p:cNvGrpSpPr>
          <p:nvPr/>
        </p:nvGrpSpPr>
        <p:grpSpPr>
          <a:xfrm>
            <a:off x="-506129" y="1065122"/>
            <a:ext cx="5058053" cy="5058033"/>
            <a:chOff x="0" y="0"/>
            <a:chExt cx="6350000" cy="6349975"/>
          </a:xfrm>
        </p:grpSpPr>
        <p:sp>
          <p:nvSpPr>
            <p:cNvPr id="5" name="Freeform 5"/>
            <p:cNvSpPr/>
            <p:nvPr/>
          </p:nvSpPr>
          <p:spPr>
            <a:xfrm>
              <a:off x="0" y="0"/>
              <a:ext cx="6350000" cy="6349974"/>
            </a:xfrm>
            <a:custGeom>
              <a:avLst/>
              <a:gdLst/>
              <a:ahLst/>
              <a:cxnLst/>
              <a:rect l="l" t="t" r="r" b="b"/>
              <a:pathLst>
                <a:path w="6350000" h="6349974">
                  <a:moveTo>
                    <a:pt x="6350000" y="3175025"/>
                  </a:moveTo>
                  <a:cubicBezTo>
                    <a:pt x="6350000" y="4928451"/>
                    <a:pt x="4928476" y="6349974"/>
                    <a:pt x="3175000" y="6349974"/>
                  </a:cubicBezTo>
                  <a:cubicBezTo>
                    <a:pt x="1421498" y="6349974"/>
                    <a:pt x="0" y="4928451"/>
                    <a:pt x="0" y="3175025"/>
                  </a:cubicBezTo>
                  <a:cubicBezTo>
                    <a:pt x="0" y="1421511"/>
                    <a:pt x="1421498" y="0"/>
                    <a:pt x="3175000" y="0"/>
                  </a:cubicBezTo>
                  <a:cubicBezTo>
                    <a:pt x="4928501" y="0"/>
                    <a:pt x="6350000" y="1421511"/>
                    <a:pt x="6350000" y="3175025"/>
                  </a:cubicBezTo>
                  <a:close/>
                </a:path>
              </a:pathLst>
            </a:custGeom>
            <a:blipFill>
              <a:blip r:embed="rId5"/>
              <a:stretch>
                <a:fillRect l="-38888" r="-38888"/>
              </a:stretch>
            </a:blipFill>
          </p:spPr>
          <p:txBody>
            <a:bodyPr/>
            <a:lstStyle/>
            <a:p>
              <a:endParaRPr lang="en-US" sz="1200"/>
            </a:p>
          </p:txBody>
        </p:sp>
      </p:grpSp>
      <p:sp>
        <p:nvSpPr>
          <p:cNvPr id="6" name="TextBox 6"/>
          <p:cNvSpPr txBox="1"/>
          <p:nvPr/>
        </p:nvSpPr>
        <p:spPr>
          <a:xfrm>
            <a:off x="5892800" y="2358294"/>
            <a:ext cx="4733169" cy="2148922"/>
          </a:xfrm>
          <a:prstGeom prst="rect">
            <a:avLst/>
          </a:prstGeom>
        </p:spPr>
        <p:txBody>
          <a:bodyPr lIns="0" tIns="0" rIns="0" bIns="0" rtlCol="0" anchor="t">
            <a:spAutoFit/>
          </a:bodyPr>
          <a:lstStyle/>
          <a:p>
            <a:pPr>
              <a:lnSpc>
                <a:spcPts val="3420"/>
              </a:lnSpc>
            </a:pPr>
            <a:r>
              <a:rPr lang="en-US" sz="2667">
                <a:solidFill>
                  <a:srgbClr val="19375C"/>
                </a:solidFill>
                <a:latin typeface="Canva Sans Bold"/>
              </a:rPr>
              <a:t>Data Assistant</a:t>
            </a:r>
          </a:p>
          <a:p>
            <a:pPr marL="527344" lvl="1" indent="-263672">
              <a:lnSpc>
                <a:spcPts val="3420"/>
              </a:lnSpc>
              <a:buFont typeface="Arial"/>
              <a:buChar char="•"/>
            </a:pPr>
            <a:r>
              <a:rPr lang="en-US" sz="2667">
                <a:solidFill>
                  <a:srgbClr val="AFCF52"/>
                </a:solidFill>
                <a:latin typeface="Canva Sans"/>
              </a:rPr>
              <a:t>Strategic Information department</a:t>
            </a:r>
          </a:p>
          <a:p>
            <a:pPr marL="527344" lvl="1" indent="-263672">
              <a:lnSpc>
                <a:spcPts val="3420"/>
              </a:lnSpc>
              <a:buFont typeface="Arial"/>
              <a:buChar char="•"/>
            </a:pPr>
            <a:r>
              <a:rPr lang="en-US" sz="2667">
                <a:solidFill>
                  <a:srgbClr val="AFCF52"/>
                </a:solidFill>
                <a:latin typeface="Canva Sans"/>
              </a:rPr>
              <a:t>Tech skill</a:t>
            </a:r>
          </a:p>
          <a:p>
            <a:pPr marL="527344" lvl="1" indent="-263672">
              <a:lnSpc>
                <a:spcPts val="3420"/>
              </a:lnSpc>
              <a:buFont typeface="Arial"/>
              <a:buChar char="•"/>
            </a:pPr>
            <a:r>
              <a:rPr lang="en-US" sz="2667">
                <a:solidFill>
                  <a:srgbClr val="AFCF52"/>
                </a:solidFill>
                <a:latin typeface="Canva Sans"/>
              </a:rPr>
              <a:t>Non-tech skill</a:t>
            </a:r>
          </a:p>
        </p:txBody>
      </p:sp>
      <p:pic>
        <p:nvPicPr>
          <p:cNvPr id="7" name="Picture 7"/>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a:fillRect/>
          </a:stretch>
        </p:blipFill>
        <p:spPr>
          <a:xfrm rot="5400000">
            <a:off x="8421485" y="6971251"/>
            <a:ext cx="4876800" cy="886691"/>
          </a:xfrm>
          <a:prstGeom prst="rect">
            <a:avLst/>
          </a:prstGeom>
        </p:spPr>
      </p:pic>
    </p:spTree>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2"/>
          <a:srcRect/>
          <a:stretch>
            <a:fillRect/>
          </a:stretch>
        </p:blipFill>
        <p:spPr>
          <a:xfrm>
            <a:off x="8641078" y="0"/>
            <a:ext cx="3550922" cy="1016077"/>
          </a:xfrm>
          <a:prstGeom prst="rect">
            <a:avLst/>
          </a:prstGeom>
        </p:spPr>
      </p:pic>
      <p:pic>
        <p:nvPicPr>
          <p:cNvPr id="3" name="Picture 3"/>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p:blipFill>
        <p:spPr>
          <a:xfrm>
            <a:off x="1943150" y="2191577"/>
            <a:ext cx="3504513" cy="3032997"/>
          </a:xfrm>
          <a:prstGeom prst="rect">
            <a:avLst/>
          </a:prstGeom>
        </p:spPr>
      </p:pic>
      <p:pic>
        <p:nvPicPr>
          <p:cNvPr id="4" name="Picture 4"/>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p:blipFill>
        <p:spPr>
          <a:xfrm>
            <a:off x="4605983" y="3760565"/>
            <a:ext cx="3383212" cy="2928016"/>
          </a:xfrm>
          <a:prstGeom prst="rect">
            <a:avLst/>
          </a:prstGeom>
        </p:spPr>
      </p:pic>
      <p:pic>
        <p:nvPicPr>
          <p:cNvPr id="5" name="Picture 5"/>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p:blipFill>
        <p:spPr>
          <a:xfrm>
            <a:off x="4605983" y="685800"/>
            <a:ext cx="3479735" cy="3011553"/>
          </a:xfrm>
          <a:prstGeom prst="rect">
            <a:avLst/>
          </a:prstGeom>
        </p:spPr>
      </p:pic>
      <p:sp>
        <p:nvSpPr>
          <p:cNvPr id="6" name="TextBox 6"/>
          <p:cNvSpPr txBox="1"/>
          <p:nvPr/>
        </p:nvSpPr>
        <p:spPr>
          <a:xfrm>
            <a:off x="5377425" y="4431035"/>
            <a:ext cx="2015475" cy="1491242"/>
          </a:xfrm>
          <a:prstGeom prst="rect">
            <a:avLst/>
          </a:prstGeom>
        </p:spPr>
        <p:txBody>
          <a:bodyPr lIns="0" tIns="0" rIns="0" bIns="0" rtlCol="0" anchor="t">
            <a:spAutoFit/>
          </a:bodyPr>
          <a:lstStyle/>
          <a:p>
            <a:pPr>
              <a:lnSpc>
                <a:spcPts val="2333"/>
              </a:lnSpc>
            </a:pPr>
            <a:r>
              <a:rPr lang="en-US" sz="1666">
                <a:solidFill>
                  <a:srgbClr val="19375C"/>
                </a:solidFill>
                <a:latin typeface="Canva Sans Bold"/>
              </a:rPr>
              <a:t>ICT World</a:t>
            </a:r>
          </a:p>
          <a:p>
            <a:pPr marL="287882" lvl="1" indent="-143941">
              <a:lnSpc>
                <a:spcPts val="1867"/>
              </a:lnSpc>
              <a:buFont typeface="Arial"/>
              <a:buChar char="•"/>
            </a:pPr>
            <a:r>
              <a:rPr lang="en-US" sz="1333">
                <a:solidFill>
                  <a:srgbClr val="000000"/>
                </a:solidFill>
                <a:latin typeface="Canva Sans"/>
              </a:rPr>
              <a:t>Data Professions</a:t>
            </a:r>
          </a:p>
          <a:p>
            <a:pPr marL="287882" lvl="1" indent="-143941">
              <a:lnSpc>
                <a:spcPts val="1867"/>
              </a:lnSpc>
              <a:buFont typeface="Arial"/>
              <a:buChar char="•"/>
            </a:pPr>
            <a:r>
              <a:rPr lang="en-US" sz="1333">
                <a:solidFill>
                  <a:srgbClr val="000000"/>
                </a:solidFill>
                <a:latin typeface="Canva Sans"/>
              </a:rPr>
              <a:t>Software Engineering and Development</a:t>
            </a:r>
          </a:p>
          <a:p>
            <a:pPr marL="287882" lvl="1" indent="-143941">
              <a:lnSpc>
                <a:spcPts val="1867"/>
              </a:lnSpc>
              <a:buFont typeface="Arial"/>
              <a:buChar char="•"/>
            </a:pPr>
            <a:r>
              <a:rPr lang="en-US" sz="1333">
                <a:solidFill>
                  <a:srgbClr val="000000"/>
                </a:solidFill>
                <a:latin typeface="Canva Sans"/>
              </a:rPr>
              <a:t>Networking and Infrastructure</a:t>
            </a:r>
          </a:p>
        </p:txBody>
      </p:sp>
      <p:sp>
        <p:nvSpPr>
          <p:cNvPr id="7" name="TextBox 7"/>
          <p:cNvSpPr txBox="1"/>
          <p:nvPr/>
        </p:nvSpPr>
        <p:spPr>
          <a:xfrm>
            <a:off x="5358376" y="1398039"/>
            <a:ext cx="2072581" cy="1734899"/>
          </a:xfrm>
          <a:prstGeom prst="rect">
            <a:avLst/>
          </a:prstGeom>
        </p:spPr>
        <p:txBody>
          <a:bodyPr lIns="0" tIns="0" rIns="0" bIns="0" rtlCol="0" anchor="t">
            <a:spAutoFit/>
          </a:bodyPr>
          <a:lstStyle/>
          <a:p>
            <a:pPr>
              <a:lnSpc>
                <a:spcPts val="2333"/>
              </a:lnSpc>
            </a:pPr>
            <a:r>
              <a:rPr lang="en-US" sz="1666">
                <a:solidFill>
                  <a:srgbClr val="19375C"/>
                </a:solidFill>
                <a:latin typeface="Canva Sans Bold"/>
              </a:rPr>
              <a:t>Public Health World</a:t>
            </a:r>
          </a:p>
          <a:p>
            <a:pPr marL="287882" lvl="1" indent="-143941">
              <a:lnSpc>
                <a:spcPts val="1867"/>
              </a:lnSpc>
              <a:buFont typeface="Arial"/>
              <a:buChar char="•"/>
            </a:pPr>
            <a:r>
              <a:rPr lang="en-US" sz="1333">
                <a:solidFill>
                  <a:srgbClr val="000000"/>
                </a:solidFill>
                <a:latin typeface="Canva Sans"/>
              </a:rPr>
              <a:t>Epidemiology</a:t>
            </a:r>
          </a:p>
          <a:p>
            <a:pPr marL="287882" lvl="1" indent="-143941">
              <a:lnSpc>
                <a:spcPts val="1867"/>
              </a:lnSpc>
              <a:buFont typeface="Arial"/>
              <a:buChar char="•"/>
            </a:pPr>
            <a:r>
              <a:rPr lang="en-US" sz="1333">
                <a:solidFill>
                  <a:srgbClr val="000000"/>
                </a:solidFill>
                <a:latin typeface="Canva Sans"/>
              </a:rPr>
              <a:t>Biostatistics</a:t>
            </a:r>
          </a:p>
          <a:p>
            <a:pPr marL="287882" lvl="1" indent="-143941">
              <a:lnSpc>
                <a:spcPts val="1867"/>
              </a:lnSpc>
              <a:buFont typeface="Arial"/>
              <a:buChar char="•"/>
            </a:pPr>
            <a:r>
              <a:rPr lang="en-US" sz="1333">
                <a:solidFill>
                  <a:srgbClr val="000000"/>
                </a:solidFill>
                <a:latin typeface="Canva Sans"/>
              </a:rPr>
              <a:t>Environmental Health</a:t>
            </a:r>
          </a:p>
          <a:p>
            <a:pPr marL="287882" lvl="1" indent="-143941">
              <a:lnSpc>
                <a:spcPts val="1867"/>
              </a:lnSpc>
              <a:buFont typeface="Arial"/>
              <a:buChar char="•"/>
            </a:pPr>
            <a:r>
              <a:rPr lang="en-US" sz="1333">
                <a:solidFill>
                  <a:srgbClr val="000000"/>
                </a:solidFill>
                <a:latin typeface="Canva Sans"/>
              </a:rPr>
              <a:t>Health Policy</a:t>
            </a:r>
          </a:p>
          <a:p>
            <a:pPr marL="287882" lvl="1" indent="-143941">
              <a:lnSpc>
                <a:spcPts val="1867"/>
              </a:lnSpc>
              <a:buFont typeface="Arial"/>
              <a:buChar char="•"/>
            </a:pPr>
            <a:r>
              <a:rPr lang="en-US" sz="1333">
                <a:solidFill>
                  <a:srgbClr val="000000"/>
                </a:solidFill>
                <a:latin typeface="Canva Sans"/>
              </a:rPr>
              <a:t>M&amp;E etc</a:t>
            </a:r>
          </a:p>
          <a:p>
            <a:pPr>
              <a:lnSpc>
                <a:spcPts val="1867"/>
              </a:lnSpc>
            </a:pPr>
            <a:endParaRPr lang="en-US" sz="1333">
              <a:solidFill>
                <a:srgbClr val="000000"/>
              </a:solidFill>
              <a:latin typeface="Canva Sans"/>
            </a:endParaRPr>
          </a:p>
        </p:txBody>
      </p:sp>
      <p:pic>
        <p:nvPicPr>
          <p:cNvPr id="8" name="Picture 8"/>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9067800" y="3317219"/>
            <a:ext cx="4876800" cy="886691"/>
          </a:xfrm>
          <a:prstGeom prst="rect">
            <a:avLst/>
          </a:prstGeom>
        </p:spPr>
      </p:pic>
      <p:pic>
        <p:nvPicPr>
          <p:cNvPr id="9" name="Picture 9"/>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752600" y="64693"/>
            <a:ext cx="4876800" cy="886691"/>
          </a:xfrm>
          <a:prstGeom prst="rect">
            <a:avLst/>
          </a:prstGeom>
        </p:spPr>
      </p:pic>
      <p:pic>
        <p:nvPicPr>
          <p:cNvPr id="10" name="Picture 10"/>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752600" y="5971309"/>
            <a:ext cx="4876800" cy="886691"/>
          </a:xfrm>
          <a:prstGeom prst="rect">
            <a:avLst/>
          </a:prstGeom>
        </p:spPr>
      </p:pic>
      <p:sp>
        <p:nvSpPr>
          <p:cNvPr id="11" name="TextBox 11"/>
          <p:cNvSpPr txBox="1"/>
          <p:nvPr/>
        </p:nvSpPr>
        <p:spPr>
          <a:xfrm>
            <a:off x="2455172" y="3037628"/>
            <a:ext cx="2480469" cy="1152110"/>
          </a:xfrm>
          <a:prstGeom prst="rect">
            <a:avLst/>
          </a:prstGeom>
        </p:spPr>
        <p:txBody>
          <a:bodyPr lIns="0" tIns="0" rIns="0" bIns="0" rtlCol="0" anchor="t">
            <a:spAutoFit/>
          </a:bodyPr>
          <a:lstStyle/>
          <a:p>
            <a:pPr>
              <a:lnSpc>
                <a:spcPts val="4667"/>
              </a:lnSpc>
            </a:pPr>
            <a:r>
              <a:rPr lang="en-US" sz="3334">
                <a:solidFill>
                  <a:srgbClr val="19375C"/>
                </a:solidFill>
                <a:latin typeface="Canva Sans Bold"/>
              </a:rPr>
              <a:t>Strategic </a:t>
            </a:r>
          </a:p>
          <a:p>
            <a:pPr>
              <a:lnSpc>
                <a:spcPts val="4667"/>
              </a:lnSpc>
            </a:pPr>
            <a:r>
              <a:rPr lang="en-US" sz="3334">
                <a:solidFill>
                  <a:srgbClr val="19375C"/>
                </a:solidFill>
                <a:latin typeface="Canva Sans Bold"/>
              </a:rPr>
              <a:t>Information</a:t>
            </a:r>
          </a:p>
        </p:txBody>
      </p:sp>
    </p:spTree>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2"/>
          <a:srcRect/>
          <a:stretch>
            <a:fillRect/>
          </a:stretch>
        </p:blipFill>
        <p:spPr>
          <a:xfrm>
            <a:off x="8641078" y="0"/>
            <a:ext cx="3550922" cy="1016077"/>
          </a:xfrm>
          <a:prstGeom prst="rect">
            <a:avLst/>
          </a:prstGeom>
        </p:spPr>
      </p:pic>
      <p:pic>
        <p:nvPicPr>
          <p:cNvPr id="3" name="Picture 3"/>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p:blipFill>
        <p:spPr>
          <a:xfrm>
            <a:off x="-824961" y="5754788"/>
            <a:ext cx="2743200" cy="2743200"/>
          </a:xfrm>
          <a:prstGeom prst="rect">
            <a:avLst/>
          </a:prstGeom>
        </p:spPr>
      </p:pic>
      <p:pic>
        <p:nvPicPr>
          <p:cNvPr id="4" name="Picture 4"/>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p:blipFill>
        <p:spPr>
          <a:xfrm>
            <a:off x="-685800" y="-2235161"/>
            <a:ext cx="2743200" cy="2743200"/>
          </a:xfrm>
          <a:prstGeom prst="rect">
            <a:avLst/>
          </a:prstGeom>
        </p:spPr>
      </p:pic>
      <p:pic>
        <p:nvPicPr>
          <p:cNvPr id="5" name="Picture 5"/>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a:off x="11184889" y="2812780"/>
            <a:ext cx="2743200" cy="2743200"/>
          </a:xfrm>
          <a:prstGeom prst="rect">
            <a:avLst/>
          </a:prstGeom>
        </p:spPr>
      </p:pic>
      <p:pic>
        <p:nvPicPr>
          <p:cNvPr id="6" name="Picture 6"/>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p:blipFill>
        <p:spPr>
          <a:xfrm>
            <a:off x="11722452" y="2812780"/>
            <a:ext cx="2743200" cy="2743200"/>
          </a:xfrm>
          <a:prstGeom prst="rect">
            <a:avLst/>
          </a:prstGeom>
        </p:spPr>
      </p:pic>
      <p:pic>
        <p:nvPicPr>
          <p:cNvPr id="7" name="Picture 7"/>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a:stretch>
        </p:blipFill>
        <p:spPr>
          <a:xfrm>
            <a:off x="1138442" y="1135704"/>
            <a:ext cx="2024744" cy="989594"/>
          </a:xfrm>
          <a:prstGeom prst="rect">
            <a:avLst/>
          </a:prstGeom>
        </p:spPr>
      </p:pic>
      <p:sp>
        <p:nvSpPr>
          <p:cNvPr id="8" name="TextBox 8"/>
          <p:cNvSpPr txBox="1"/>
          <p:nvPr/>
        </p:nvSpPr>
        <p:spPr>
          <a:xfrm>
            <a:off x="1422400" y="1497918"/>
            <a:ext cx="1524000" cy="233910"/>
          </a:xfrm>
          <a:prstGeom prst="rect">
            <a:avLst/>
          </a:prstGeom>
        </p:spPr>
        <p:txBody>
          <a:bodyPr wrap="square" lIns="0" tIns="0" rIns="0" bIns="0" rtlCol="0" anchor="t">
            <a:spAutoFit/>
          </a:bodyPr>
          <a:lstStyle/>
          <a:p>
            <a:pPr algn="ctr">
              <a:lnSpc>
                <a:spcPts val="1992"/>
              </a:lnSpc>
            </a:pPr>
            <a:r>
              <a:rPr lang="en-US" sz="1423" dirty="0">
                <a:solidFill>
                  <a:srgbClr val="000000"/>
                </a:solidFill>
                <a:latin typeface="Canva Sans Bold"/>
              </a:rPr>
              <a:t>Data Engineering</a:t>
            </a:r>
          </a:p>
        </p:txBody>
      </p:sp>
      <p:pic>
        <p:nvPicPr>
          <p:cNvPr id="9" name="Picture 9"/>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a:fillRect/>
          </a:stretch>
        </p:blipFill>
        <p:spPr>
          <a:xfrm>
            <a:off x="4251328" y="1737929"/>
            <a:ext cx="2156827" cy="1054149"/>
          </a:xfrm>
          <a:prstGeom prst="rect">
            <a:avLst/>
          </a:prstGeom>
        </p:spPr>
      </p:pic>
      <p:sp>
        <p:nvSpPr>
          <p:cNvPr id="10" name="TextBox 10"/>
          <p:cNvSpPr txBox="1"/>
          <p:nvPr/>
        </p:nvSpPr>
        <p:spPr>
          <a:xfrm>
            <a:off x="4646901" y="2125299"/>
            <a:ext cx="1365682" cy="246221"/>
          </a:xfrm>
          <a:prstGeom prst="rect">
            <a:avLst/>
          </a:prstGeom>
        </p:spPr>
        <p:txBody>
          <a:bodyPr lIns="0" tIns="0" rIns="0" bIns="0" rtlCol="0" anchor="t">
            <a:spAutoFit/>
          </a:bodyPr>
          <a:lstStyle/>
          <a:p>
            <a:pPr algn="ctr">
              <a:lnSpc>
                <a:spcPts val="2122"/>
              </a:lnSpc>
            </a:pPr>
            <a:r>
              <a:rPr lang="en-US" sz="1515">
                <a:solidFill>
                  <a:srgbClr val="000000"/>
                </a:solidFill>
                <a:latin typeface="Canva Sans Bold"/>
              </a:rPr>
              <a:t>Data Analytics</a:t>
            </a:r>
          </a:p>
        </p:txBody>
      </p:sp>
      <p:pic>
        <p:nvPicPr>
          <p:cNvPr id="11" name="Picture 11"/>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a:stretch>
        </p:blipFill>
        <p:spPr>
          <a:xfrm>
            <a:off x="7475519" y="2760727"/>
            <a:ext cx="2124498" cy="1038348"/>
          </a:xfrm>
          <a:prstGeom prst="rect">
            <a:avLst/>
          </a:prstGeom>
        </p:spPr>
      </p:pic>
      <p:sp>
        <p:nvSpPr>
          <p:cNvPr id="12" name="TextBox 12"/>
          <p:cNvSpPr txBox="1"/>
          <p:nvPr/>
        </p:nvSpPr>
        <p:spPr>
          <a:xfrm>
            <a:off x="7721600" y="3135560"/>
            <a:ext cx="1419885" cy="245580"/>
          </a:xfrm>
          <a:prstGeom prst="rect">
            <a:avLst/>
          </a:prstGeom>
        </p:spPr>
        <p:txBody>
          <a:bodyPr wrap="square" lIns="0" tIns="0" rIns="0" bIns="0" rtlCol="0" anchor="t">
            <a:spAutoFit/>
          </a:bodyPr>
          <a:lstStyle/>
          <a:p>
            <a:pPr algn="ctr">
              <a:lnSpc>
                <a:spcPts val="2090"/>
              </a:lnSpc>
            </a:pPr>
            <a:r>
              <a:rPr lang="en-US" sz="1493" dirty="0">
                <a:solidFill>
                  <a:srgbClr val="000000"/>
                </a:solidFill>
                <a:latin typeface="Canva Sans Bold"/>
              </a:rPr>
              <a:t>Data Science</a:t>
            </a:r>
          </a:p>
        </p:txBody>
      </p:sp>
      <p:sp>
        <p:nvSpPr>
          <p:cNvPr id="13" name="TextBox 13"/>
          <p:cNvSpPr txBox="1"/>
          <p:nvPr/>
        </p:nvSpPr>
        <p:spPr>
          <a:xfrm>
            <a:off x="1138442" y="2372687"/>
            <a:ext cx="2221664" cy="2867323"/>
          </a:xfrm>
          <a:prstGeom prst="rect">
            <a:avLst/>
          </a:prstGeom>
        </p:spPr>
        <p:txBody>
          <a:bodyPr lIns="0" tIns="0" rIns="0" bIns="0" rtlCol="0" anchor="t">
            <a:spAutoFit/>
          </a:bodyPr>
          <a:lstStyle/>
          <a:p>
            <a:pPr>
              <a:lnSpc>
                <a:spcPts val="1693"/>
              </a:lnSpc>
            </a:pPr>
            <a:r>
              <a:rPr lang="en-US" sz="1209">
                <a:solidFill>
                  <a:srgbClr val="000000"/>
                </a:solidFill>
                <a:latin typeface="Canva Sans Bold"/>
              </a:rPr>
              <a:t>Roles</a:t>
            </a:r>
          </a:p>
          <a:p>
            <a:pPr marL="245797" lvl="1" indent="-122899">
              <a:lnSpc>
                <a:spcPts val="1593"/>
              </a:lnSpc>
              <a:buFont typeface="Arial"/>
              <a:buChar char="•"/>
            </a:pPr>
            <a:r>
              <a:rPr lang="en-US" sz="1138">
                <a:solidFill>
                  <a:srgbClr val="000000"/>
                </a:solidFill>
                <a:latin typeface="Canva Sans"/>
              </a:rPr>
              <a:t>Data architecture</a:t>
            </a:r>
          </a:p>
          <a:p>
            <a:pPr marL="245797" lvl="1" indent="-122899">
              <a:lnSpc>
                <a:spcPts val="1593"/>
              </a:lnSpc>
              <a:buFont typeface="Arial"/>
              <a:buChar char="•"/>
            </a:pPr>
            <a:r>
              <a:rPr lang="en-US" sz="1138">
                <a:solidFill>
                  <a:srgbClr val="000000"/>
                </a:solidFill>
                <a:latin typeface="Canva Sans"/>
              </a:rPr>
              <a:t>Design, store, manage data in data repository</a:t>
            </a:r>
          </a:p>
          <a:p>
            <a:pPr marL="245797" lvl="1" indent="-122899">
              <a:lnSpc>
                <a:spcPts val="1593"/>
              </a:lnSpc>
              <a:buFont typeface="Arial"/>
              <a:buChar char="•"/>
            </a:pPr>
            <a:r>
              <a:rPr lang="en-US" sz="1138">
                <a:solidFill>
                  <a:srgbClr val="000000"/>
                </a:solidFill>
                <a:latin typeface="Canva Sans"/>
              </a:rPr>
              <a:t>ETL data from sources</a:t>
            </a:r>
          </a:p>
          <a:p>
            <a:pPr>
              <a:lnSpc>
                <a:spcPts val="1593"/>
              </a:lnSpc>
            </a:pPr>
            <a:endParaRPr lang="en-US" sz="1138">
              <a:solidFill>
                <a:srgbClr val="000000"/>
              </a:solidFill>
              <a:latin typeface="Canva Sans"/>
            </a:endParaRPr>
          </a:p>
          <a:p>
            <a:pPr>
              <a:lnSpc>
                <a:spcPts val="1593"/>
              </a:lnSpc>
            </a:pPr>
            <a:r>
              <a:rPr lang="en-US" sz="1138">
                <a:solidFill>
                  <a:srgbClr val="000000"/>
                </a:solidFill>
                <a:latin typeface="Canva Sans Bold"/>
              </a:rPr>
              <a:t>Skills</a:t>
            </a:r>
          </a:p>
          <a:p>
            <a:pPr marL="245797" lvl="1" indent="-122899">
              <a:lnSpc>
                <a:spcPts val="1593"/>
              </a:lnSpc>
              <a:buFont typeface="Arial"/>
              <a:buChar char="•"/>
            </a:pPr>
            <a:r>
              <a:rPr lang="en-US" sz="1138">
                <a:solidFill>
                  <a:srgbClr val="000000"/>
                </a:solidFill>
                <a:latin typeface="Canva Sans"/>
              </a:rPr>
              <a:t>Good knowledge of programming, systems, and technology architecture</a:t>
            </a:r>
          </a:p>
          <a:p>
            <a:pPr marL="245797" lvl="1" indent="-122899">
              <a:lnSpc>
                <a:spcPts val="1593"/>
              </a:lnSpc>
              <a:buFont typeface="Arial"/>
              <a:buChar char="•"/>
            </a:pPr>
            <a:r>
              <a:rPr lang="en-US" sz="1138">
                <a:solidFill>
                  <a:srgbClr val="000000"/>
                </a:solidFill>
                <a:latin typeface="Canva Sans"/>
              </a:rPr>
              <a:t>In-depth understanding of relational database and non-relational data stores</a:t>
            </a:r>
          </a:p>
          <a:p>
            <a:pPr>
              <a:lnSpc>
                <a:spcPts val="1593"/>
              </a:lnSpc>
            </a:pPr>
            <a:endParaRPr lang="en-US" sz="1138">
              <a:solidFill>
                <a:srgbClr val="000000"/>
              </a:solidFill>
              <a:latin typeface="Canva Sans"/>
            </a:endParaRPr>
          </a:p>
        </p:txBody>
      </p:sp>
      <p:sp>
        <p:nvSpPr>
          <p:cNvPr id="14" name="TextBox 14"/>
          <p:cNvSpPr txBox="1"/>
          <p:nvPr/>
        </p:nvSpPr>
        <p:spPr>
          <a:xfrm>
            <a:off x="4146446" y="2933829"/>
            <a:ext cx="2366593" cy="2609817"/>
          </a:xfrm>
          <a:prstGeom prst="rect">
            <a:avLst/>
          </a:prstGeom>
        </p:spPr>
        <p:txBody>
          <a:bodyPr lIns="0" tIns="0" rIns="0" bIns="0" rtlCol="0" anchor="t">
            <a:spAutoFit/>
          </a:bodyPr>
          <a:lstStyle/>
          <a:p>
            <a:pPr>
              <a:lnSpc>
                <a:spcPts val="1803"/>
              </a:lnSpc>
            </a:pPr>
            <a:r>
              <a:rPr lang="en-US" sz="1288">
                <a:solidFill>
                  <a:srgbClr val="000000"/>
                </a:solidFill>
                <a:latin typeface="Canva Sans Bold"/>
              </a:rPr>
              <a:t>Roles</a:t>
            </a:r>
          </a:p>
          <a:p>
            <a:pPr marL="261831" lvl="1" indent="-130916">
              <a:lnSpc>
                <a:spcPts val="1697"/>
              </a:lnSpc>
              <a:buFont typeface="Arial"/>
              <a:buChar char="•"/>
            </a:pPr>
            <a:r>
              <a:rPr lang="en-US" sz="1213">
                <a:solidFill>
                  <a:srgbClr val="000000"/>
                </a:solidFill>
                <a:latin typeface="Canva Sans"/>
              </a:rPr>
              <a:t>Translate data and numbers</a:t>
            </a:r>
          </a:p>
          <a:p>
            <a:pPr marL="261831" lvl="1" indent="-130916">
              <a:lnSpc>
                <a:spcPts val="1697"/>
              </a:lnSpc>
              <a:buFont typeface="Arial"/>
              <a:buChar char="•"/>
            </a:pPr>
            <a:r>
              <a:rPr lang="en-US" sz="1213">
                <a:solidFill>
                  <a:srgbClr val="000000"/>
                </a:solidFill>
                <a:latin typeface="Canva Sans"/>
              </a:rPr>
              <a:t>Inspect and clean data</a:t>
            </a:r>
          </a:p>
          <a:p>
            <a:pPr marL="261831" lvl="1" indent="-130916">
              <a:lnSpc>
                <a:spcPts val="1697"/>
              </a:lnSpc>
              <a:buFont typeface="Arial"/>
              <a:buChar char="•"/>
            </a:pPr>
            <a:r>
              <a:rPr lang="en-US" sz="1213">
                <a:solidFill>
                  <a:srgbClr val="000000"/>
                </a:solidFill>
                <a:latin typeface="Canva Sans"/>
              </a:rPr>
              <a:t>Apply statistics to mine data, and identify patterns</a:t>
            </a:r>
          </a:p>
          <a:p>
            <a:pPr marL="261831" lvl="1" indent="-130916">
              <a:lnSpc>
                <a:spcPts val="1697"/>
              </a:lnSpc>
              <a:buFont typeface="Arial"/>
              <a:buChar char="•"/>
            </a:pPr>
            <a:r>
              <a:rPr lang="en-US" sz="1213">
                <a:solidFill>
                  <a:srgbClr val="000000"/>
                </a:solidFill>
                <a:latin typeface="Canva Sans"/>
              </a:rPr>
              <a:t>Visualize data and present finds</a:t>
            </a:r>
          </a:p>
          <a:p>
            <a:pPr>
              <a:lnSpc>
                <a:spcPts val="1697"/>
              </a:lnSpc>
            </a:pPr>
            <a:endParaRPr lang="en-US" sz="1213">
              <a:solidFill>
                <a:srgbClr val="000000"/>
              </a:solidFill>
              <a:latin typeface="Canva Sans"/>
            </a:endParaRPr>
          </a:p>
          <a:p>
            <a:pPr>
              <a:lnSpc>
                <a:spcPts val="1697"/>
              </a:lnSpc>
            </a:pPr>
            <a:r>
              <a:rPr lang="en-US" sz="1213">
                <a:solidFill>
                  <a:srgbClr val="000000"/>
                </a:solidFill>
                <a:latin typeface="Canva Sans Bold"/>
              </a:rPr>
              <a:t>Skills</a:t>
            </a:r>
          </a:p>
          <a:p>
            <a:pPr marL="261831" lvl="1" indent="-130916">
              <a:lnSpc>
                <a:spcPts val="1697"/>
              </a:lnSpc>
              <a:buFont typeface="Arial"/>
              <a:buChar char="•"/>
            </a:pPr>
            <a:r>
              <a:rPr lang="en-US" sz="1213">
                <a:solidFill>
                  <a:srgbClr val="000000"/>
                </a:solidFill>
                <a:latin typeface="Canva Sans"/>
              </a:rPr>
              <a:t>Spreadsheet, Writing queries, statistical tools, visualization</a:t>
            </a:r>
          </a:p>
          <a:p>
            <a:pPr marL="261831" lvl="1" indent="-130916">
              <a:lnSpc>
                <a:spcPts val="1697"/>
              </a:lnSpc>
              <a:buFont typeface="Arial"/>
              <a:buChar char="•"/>
            </a:pPr>
            <a:r>
              <a:rPr lang="en-US" sz="1213">
                <a:solidFill>
                  <a:srgbClr val="000000"/>
                </a:solidFill>
                <a:latin typeface="Canva Sans"/>
              </a:rPr>
              <a:t>Some programming skill</a:t>
            </a:r>
          </a:p>
        </p:txBody>
      </p:sp>
      <p:sp>
        <p:nvSpPr>
          <p:cNvPr id="15" name="TextBox 15"/>
          <p:cNvSpPr txBox="1"/>
          <p:nvPr/>
        </p:nvSpPr>
        <p:spPr>
          <a:xfrm>
            <a:off x="7475519" y="3956229"/>
            <a:ext cx="2743200" cy="2391296"/>
          </a:xfrm>
          <a:prstGeom prst="rect">
            <a:avLst/>
          </a:prstGeom>
        </p:spPr>
        <p:txBody>
          <a:bodyPr wrap="square" lIns="0" tIns="0" rIns="0" bIns="0" rtlCol="0" anchor="t">
            <a:spAutoFit/>
          </a:bodyPr>
          <a:lstStyle/>
          <a:p>
            <a:pPr>
              <a:lnSpc>
                <a:spcPts val="1777"/>
              </a:lnSpc>
            </a:pPr>
            <a:r>
              <a:rPr lang="en-US" sz="1269" dirty="0">
                <a:solidFill>
                  <a:srgbClr val="000000"/>
                </a:solidFill>
                <a:latin typeface="Canva Sans Bold"/>
              </a:rPr>
              <a:t>Roles</a:t>
            </a:r>
          </a:p>
          <a:p>
            <a:pPr marL="257907" lvl="1" indent="-128953">
              <a:lnSpc>
                <a:spcPts val="1672"/>
              </a:lnSpc>
              <a:buFont typeface="Arial"/>
              <a:buChar char="•"/>
            </a:pPr>
            <a:r>
              <a:rPr lang="en-US" sz="1194" dirty="0">
                <a:solidFill>
                  <a:srgbClr val="000000"/>
                </a:solidFill>
                <a:latin typeface="Canva Sans"/>
              </a:rPr>
              <a:t>Analyze data for actionable insights</a:t>
            </a:r>
          </a:p>
          <a:p>
            <a:pPr marL="257907" lvl="1" indent="-128953">
              <a:lnSpc>
                <a:spcPts val="1672"/>
              </a:lnSpc>
              <a:buFont typeface="Arial"/>
              <a:buChar char="•"/>
            </a:pPr>
            <a:r>
              <a:rPr lang="en-US" sz="1194" dirty="0">
                <a:solidFill>
                  <a:srgbClr val="000000"/>
                </a:solidFill>
                <a:latin typeface="Canva Sans"/>
              </a:rPr>
              <a:t>Create predictive models by training on past data using machine learning and deep learning</a:t>
            </a:r>
          </a:p>
          <a:p>
            <a:pPr>
              <a:lnSpc>
                <a:spcPts val="1672"/>
              </a:lnSpc>
            </a:pPr>
            <a:endParaRPr lang="en-US" sz="1194" dirty="0">
              <a:solidFill>
                <a:srgbClr val="000000"/>
              </a:solidFill>
              <a:latin typeface="Canva Sans"/>
            </a:endParaRPr>
          </a:p>
          <a:p>
            <a:pPr>
              <a:lnSpc>
                <a:spcPts val="1672"/>
              </a:lnSpc>
            </a:pPr>
            <a:r>
              <a:rPr lang="en-US" sz="1194" dirty="0">
                <a:solidFill>
                  <a:srgbClr val="000000"/>
                </a:solidFill>
                <a:latin typeface="Canva Sans Bold"/>
              </a:rPr>
              <a:t>Skills</a:t>
            </a:r>
          </a:p>
          <a:p>
            <a:pPr marL="257907" lvl="1" indent="-128953">
              <a:lnSpc>
                <a:spcPts val="1672"/>
              </a:lnSpc>
              <a:buFont typeface="Arial"/>
              <a:buChar char="•"/>
            </a:pPr>
            <a:r>
              <a:rPr lang="en-US" sz="1194" dirty="0">
                <a:solidFill>
                  <a:srgbClr val="000000"/>
                </a:solidFill>
                <a:latin typeface="Canva Sans"/>
              </a:rPr>
              <a:t>Mathematics and Statistics</a:t>
            </a:r>
          </a:p>
          <a:p>
            <a:pPr marL="257907" lvl="1" indent="-128953">
              <a:lnSpc>
                <a:spcPts val="1672"/>
              </a:lnSpc>
              <a:buFont typeface="Arial"/>
              <a:buChar char="•"/>
            </a:pPr>
            <a:r>
              <a:rPr lang="en-US" sz="1194" dirty="0">
                <a:solidFill>
                  <a:srgbClr val="000000"/>
                </a:solidFill>
                <a:latin typeface="Canva Sans"/>
              </a:rPr>
              <a:t>programming language, databases, building data models</a:t>
            </a:r>
          </a:p>
          <a:p>
            <a:pPr marL="257907" lvl="1" indent="-128953">
              <a:lnSpc>
                <a:spcPts val="1672"/>
              </a:lnSpc>
              <a:buFont typeface="Arial"/>
              <a:buChar char="•"/>
            </a:pPr>
            <a:r>
              <a:rPr lang="en-US" sz="1194" dirty="0">
                <a:solidFill>
                  <a:srgbClr val="000000"/>
                </a:solidFill>
                <a:latin typeface="Canva Sans"/>
              </a:rPr>
              <a:t>Domain Knowledge</a:t>
            </a:r>
          </a:p>
        </p:txBody>
      </p:sp>
      <p:sp>
        <p:nvSpPr>
          <p:cNvPr id="16" name="TextBox 16"/>
          <p:cNvSpPr txBox="1"/>
          <p:nvPr/>
        </p:nvSpPr>
        <p:spPr>
          <a:xfrm>
            <a:off x="3740776" y="180590"/>
            <a:ext cx="3638550" cy="572464"/>
          </a:xfrm>
          <a:prstGeom prst="rect">
            <a:avLst/>
          </a:prstGeom>
        </p:spPr>
        <p:txBody>
          <a:bodyPr lIns="0" tIns="0" rIns="0" bIns="0" rtlCol="0" anchor="t">
            <a:spAutoFit/>
          </a:bodyPr>
          <a:lstStyle/>
          <a:p>
            <a:pPr algn="ctr">
              <a:lnSpc>
                <a:spcPts val="4853"/>
              </a:lnSpc>
            </a:pPr>
            <a:r>
              <a:rPr lang="en-US" sz="3466">
                <a:solidFill>
                  <a:srgbClr val="000000"/>
                </a:solidFill>
                <a:latin typeface="Canva Sans Bold"/>
              </a:rPr>
              <a:t>Data Professions</a:t>
            </a:r>
          </a:p>
        </p:txBody>
      </p:sp>
    </p:spTree>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2"/>
          <a:srcRect/>
          <a:stretch>
            <a:fillRect/>
          </a:stretch>
        </p:blipFill>
        <p:spPr>
          <a:xfrm>
            <a:off x="8641078" y="0"/>
            <a:ext cx="3550922" cy="1016077"/>
          </a:xfrm>
          <a:prstGeom prst="rect">
            <a:avLst/>
          </a:prstGeom>
        </p:spPr>
      </p:pic>
      <p:pic>
        <p:nvPicPr>
          <p:cNvPr id="3" name="Picture 3"/>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p:blipFill>
        <p:spPr>
          <a:xfrm rot="5400000">
            <a:off x="8421485" y="6971251"/>
            <a:ext cx="4876800" cy="886691"/>
          </a:xfrm>
          <a:prstGeom prst="rect">
            <a:avLst/>
          </a:prstGeom>
        </p:spPr>
      </p:pic>
      <p:pic>
        <p:nvPicPr>
          <p:cNvPr id="4" name="Picture 4"/>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p:blipFill>
        <p:spPr>
          <a:xfrm rot="5400000">
            <a:off x="-1455887" y="-1415239"/>
            <a:ext cx="4876800" cy="886691"/>
          </a:xfrm>
          <a:prstGeom prst="rect">
            <a:avLst/>
          </a:prstGeom>
        </p:spPr>
      </p:pic>
      <p:pic>
        <p:nvPicPr>
          <p:cNvPr id="5" name="Picture 5"/>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a:off x="1103248" y="2117036"/>
            <a:ext cx="3780134" cy="3780134"/>
          </a:xfrm>
          <a:prstGeom prst="rect">
            <a:avLst/>
          </a:prstGeom>
        </p:spPr>
      </p:pic>
      <p:pic>
        <p:nvPicPr>
          <p:cNvPr id="6" name="Picture 6"/>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a:off x="6096000" y="2117036"/>
            <a:ext cx="3780134" cy="3780134"/>
          </a:xfrm>
          <a:prstGeom prst="rect">
            <a:avLst/>
          </a:prstGeom>
        </p:spPr>
      </p:pic>
      <p:sp>
        <p:nvSpPr>
          <p:cNvPr id="7" name="TextBox 7"/>
          <p:cNvSpPr txBox="1"/>
          <p:nvPr/>
        </p:nvSpPr>
        <p:spPr>
          <a:xfrm>
            <a:off x="1227488" y="2305433"/>
            <a:ext cx="3531653" cy="3539430"/>
          </a:xfrm>
          <a:prstGeom prst="rect">
            <a:avLst/>
          </a:prstGeom>
        </p:spPr>
        <p:txBody>
          <a:bodyPr lIns="0" tIns="0" rIns="0" bIns="0" rtlCol="0" anchor="t">
            <a:spAutoFit/>
          </a:bodyPr>
          <a:lstStyle/>
          <a:p>
            <a:pPr>
              <a:lnSpc>
                <a:spcPts val="2613"/>
              </a:lnSpc>
            </a:pPr>
            <a:r>
              <a:rPr lang="en-US" sz="1866" dirty="0">
                <a:solidFill>
                  <a:srgbClr val="000000"/>
                </a:solidFill>
                <a:latin typeface="Canva Sans Bold"/>
              </a:rPr>
              <a:t>Languages</a:t>
            </a:r>
          </a:p>
          <a:p>
            <a:pPr>
              <a:lnSpc>
                <a:spcPts val="2239"/>
              </a:lnSpc>
            </a:pPr>
            <a:r>
              <a:rPr lang="en-US" sz="1600" dirty="0">
                <a:solidFill>
                  <a:srgbClr val="000000"/>
                </a:solidFill>
                <a:latin typeface="Canva Sans Bold"/>
              </a:rPr>
              <a:t>Querying Languages</a:t>
            </a:r>
            <a:r>
              <a:rPr lang="en-US" sz="1600" dirty="0">
                <a:solidFill>
                  <a:srgbClr val="000000"/>
                </a:solidFill>
                <a:latin typeface="Canva Sans"/>
              </a:rPr>
              <a:t> for accessing and manipulating data in databases – SQL</a:t>
            </a:r>
          </a:p>
          <a:p>
            <a:pPr>
              <a:lnSpc>
                <a:spcPts val="2239"/>
              </a:lnSpc>
            </a:pPr>
            <a:r>
              <a:rPr lang="en-US" sz="1600" dirty="0">
                <a:solidFill>
                  <a:srgbClr val="000000"/>
                </a:solidFill>
                <a:latin typeface="Canva Sans Bold"/>
              </a:rPr>
              <a:t>Programming Languages</a:t>
            </a:r>
            <a:r>
              <a:rPr lang="en-US" sz="1600" dirty="0">
                <a:solidFill>
                  <a:srgbClr val="000000"/>
                </a:solidFill>
                <a:latin typeface="Canva Sans"/>
              </a:rPr>
              <a:t> for developing applications and controlling application behavior – Python, R, Java</a:t>
            </a:r>
          </a:p>
          <a:p>
            <a:pPr>
              <a:lnSpc>
                <a:spcPts val="2239"/>
              </a:lnSpc>
            </a:pPr>
            <a:r>
              <a:rPr lang="en-US" sz="1600" dirty="0">
                <a:solidFill>
                  <a:srgbClr val="000000"/>
                </a:solidFill>
                <a:latin typeface="Canva Sans Bold"/>
              </a:rPr>
              <a:t>Shell and Scripting Languages</a:t>
            </a:r>
            <a:r>
              <a:rPr lang="en-US" sz="1600" dirty="0">
                <a:solidFill>
                  <a:srgbClr val="000000"/>
                </a:solidFill>
                <a:latin typeface="Canva Sans"/>
              </a:rPr>
              <a:t> for repetitive and time-consuming operational tasks –  Unix/Linux, PowerShell</a:t>
            </a:r>
          </a:p>
          <a:p>
            <a:pPr algn="ctr">
              <a:lnSpc>
                <a:spcPts val="1493"/>
              </a:lnSpc>
            </a:pPr>
            <a:endParaRPr lang="en-US" sz="1600" dirty="0">
              <a:solidFill>
                <a:srgbClr val="000000"/>
              </a:solidFill>
              <a:latin typeface="Canva Sans"/>
            </a:endParaRPr>
          </a:p>
          <a:p>
            <a:pPr algn="ctr">
              <a:lnSpc>
                <a:spcPts val="1493"/>
              </a:lnSpc>
            </a:pPr>
            <a:endParaRPr lang="en-US" sz="1600" dirty="0">
              <a:solidFill>
                <a:srgbClr val="000000"/>
              </a:solidFill>
              <a:latin typeface="Canva Sans"/>
            </a:endParaRPr>
          </a:p>
        </p:txBody>
      </p:sp>
      <p:sp>
        <p:nvSpPr>
          <p:cNvPr id="8" name="TextBox 8"/>
          <p:cNvSpPr txBox="1"/>
          <p:nvPr/>
        </p:nvSpPr>
        <p:spPr>
          <a:xfrm>
            <a:off x="6220240" y="2305433"/>
            <a:ext cx="3531653" cy="3695114"/>
          </a:xfrm>
          <a:prstGeom prst="rect">
            <a:avLst/>
          </a:prstGeom>
        </p:spPr>
        <p:txBody>
          <a:bodyPr lIns="0" tIns="0" rIns="0" bIns="0" rtlCol="0" anchor="t">
            <a:spAutoFit/>
          </a:bodyPr>
          <a:lstStyle/>
          <a:p>
            <a:pPr>
              <a:lnSpc>
                <a:spcPts val="2613"/>
              </a:lnSpc>
            </a:pPr>
            <a:r>
              <a:rPr lang="en-US" sz="1866" dirty="0">
                <a:solidFill>
                  <a:srgbClr val="000000"/>
                </a:solidFill>
                <a:latin typeface="Canva Sans Bold"/>
              </a:rPr>
              <a:t>Tools</a:t>
            </a:r>
          </a:p>
          <a:p>
            <a:pPr>
              <a:lnSpc>
                <a:spcPts val="2239"/>
              </a:lnSpc>
            </a:pPr>
            <a:r>
              <a:rPr lang="en-US" sz="1600" dirty="0">
                <a:solidFill>
                  <a:srgbClr val="000000"/>
                </a:solidFill>
                <a:latin typeface="Canva Sans Bold"/>
              </a:rPr>
              <a:t>Data Repository</a:t>
            </a:r>
            <a:r>
              <a:rPr lang="en-US" sz="1600" dirty="0">
                <a:solidFill>
                  <a:srgbClr val="000000"/>
                </a:solidFill>
                <a:latin typeface="Canva Sans"/>
              </a:rPr>
              <a:t> Databases, Data Warehouses, Big Data Stores, Data lakes, Data Pipe</a:t>
            </a:r>
          </a:p>
          <a:p>
            <a:pPr>
              <a:lnSpc>
                <a:spcPts val="2239"/>
              </a:lnSpc>
            </a:pPr>
            <a:r>
              <a:rPr lang="en-US" sz="1600" dirty="0">
                <a:solidFill>
                  <a:srgbClr val="000000"/>
                </a:solidFill>
                <a:latin typeface="Canva Sans Bold"/>
              </a:rPr>
              <a:t>DBMS</a:t>
            </a:r>
            <a:r>
              <a:rPr lang="en-US" sz="1600" dirty="0">
                <a:solidFill>
                  <a:srgbClr val="000000"/>
                </a:solidFill>
                <a:latin typeface="Canva Sans"/>
              </a:rPr>
              <a:t> MySQL, AZURE SQL, </a:t>
            </a:r>
            <a:r>
              <a:rPr lang="en-US" sz="1600" dirty="0" err="1">
                <a:solidFill>
                  <a:srgbClr val="000000"/>
                </a:solidFill>
                <a:latin typeface="Canva Sans"/>
              </a:rPr>
              <a:t>REDis</a:t>
            </a:r>
            <a:r>
              <a:rPr lang="en-US" sz="1600" dirty="0">
                <a:solidFill>
                  <a:srgbClr val="000000"/>
                </a:solidFill>
                <a:latin typeface="Canva Sans"/>
              </a:rPr>
              <a:t>, MongoDB, Cassandra, NEO4J</a:t>
            </a:r>
          </a:p>
          <a:p>
            <a:pPr>
              <a:lnSpc>
                <a:spcPts val="2239"/>
              </a:lnSpc>
            </a:pPr>
            <a:r>
              <a:rPr lang="en-US" sz="1600" dirty="0">
                <a:solidFill>
                  <a:srgbClr val="000000"/>
                </a:solidFill>
                <a:latin typeface="Canva Sans Bold"/>
              </a:rPr>
              <a:t>Spreadsheets</a:t>
            </a:r>
            <a:r>
              <a:rPr lang="en-US" sz="1600" dirty="0">
                <a:solidFill>
                  <a:srgbClr val="000000"/>
                </a:solidFill>
                <a:latin typeface="Canva Sans"/>
              </a:rPr>
              <a:t> MS Excel, Google Sheets</a:t>
            </a:r>
          </a:p>
          <a:p>
            <a:pPr>
              <a:lnSpc>
                <a:spcPts val="2239"/>
              </a:lnSpc>
            </a:pPr>
            <a:r>
              <a:rPr lang="en-US" sz="1600" dirty="0">
                <a:solidFill>
                  <a:srgbClr val="000000"/>
                </a:solidFill>
                <a:latin typeface="Canva Sans Bold"/>
              </a:rPr>
              <a:t>Analysis Tools </a:t>
            </a:r>
            <a:r>
              <a:rPr lang="en-US" sz="1600" dirty="0">
                <a:solidFill>
                  <a:srgbClr val="000000"/>
                </a:solidFill>
                <a:latin typeface="Canva Sans"/>
              </a:rPr>
              <a:t>Jupiter Notebook, Google Notebook, R Studio</a:t>
            </a:r>
          </a:p>
          <a:p>
            <a:pPr>
              <a:lnSpc>
                <a:spcPts val="2239"/>
              </a:lnSpc>
            </a:pPr>
            <a:r>
              <a:rPr lang="en-US" sz="1600" dirty="0">
                <a:solidFill>
                  <a:srgbClr val="000000"/>
                </a:solidFill>
                <a:latin typeface="Canva Sans Bold"/>
              </a:rPr>
              <a:t>Statistical Tools</a:t>
            </a:r>
            <a:r>
              <a:rPr lang="en-US" sz="1600" dirty="0">
                <a:solidFill>
                  <a:srgbClr val="000000"/>
                </a:solidFill>
                <a:latin typeface="Canva Sans"/>
              </a:rPr>
              <a:t> STATA, SPSS</a:t>
            </a:r>
          </a:p>
          <a:p>
            <a:pPr>
              <a:lnSpc>
                <a:spcPts val="2239"/>
              </a:lnSpc>
            </a:pPr>
            <a:r>
              <a:rPr lang="en-US" sz="1600" dirty="0">
                <a:solidFill>
                  <a:srgbClr val="000000"/>
                </a:solidFill>
                <a:latin typeface="Canva Sans Bold"/>
              </a:rPr>
              <a:t>Visualization</a:t>
            </a:r>
            <a:r>
              <a:rPr lang="en-US" sz="1600" dirty="0">
                <a:solidFill>
                  <a:srgbClr val="000000"/>
                </a:solidFill>
                <a:latin typeface="Canva Sans"/>
              </a:rPr>
              <a:t> Power Bi, Tableau</a:t>
            </a:r>
          </a:p>
          <a:p>
            <a:pPr algn="ctr">
              <a:lnSpc>
                <a:spcPts val="2239"/>
              </a:lnSpc>
            </a:pPr>
            <a:endParaRPr lang="en-US" sz="1600" dirty="0">
              <a:solidFill>
                <a:srgbClr val="000000"/>
              </a:solidFill>
              <a:latin typeface="Canva Sans"/>
            </a:endParaRPr>
          </a:p>
        </p:txBody>
      </p:sp>
      <p:sp>
        <p:nvSpPr>
          <p:cNvPr id="9" name="TextBox 9"/>
          <p:cNvSpPr txBox="1"/>
          <p:nvPr/>
        </p:nvSpPr>
        <p:spPr>
          <a:xfrm>
            <a:off x="2325776" y="610104"/>
            <a:ext cx="6137373" cy="1231876"/>
          </a:xfrm>
          <a:prstGeom prst="rect">
            <a:avLst/>
          </a:prstGeom>
        </p:spPr>
        <p:txBody>
          <a:bodyPr lIns="0" tIns="0" rIns="0" bIns="0" rtlCol="0" anchor="t">
            <a:spAutoFit/>
          </a:bodyPr>
          <a:lstStyle/>
          <a:p>
            <a:pPr algn="ctr">
              <a:lnSpc>
                <a:spcPts val="3267"/>
              </a:lnSpc>
            </a:pPr>
            <a:r>
              <a:rPr lang="en-US" sz="2333">
                <a:solidFill>
                  <a:srgbClr val="19375C"/>
                </a:solidFill>
                <a:latin typeface="Canva Sans Bold"/>
              </a:rPr>
              <a:t>Languages and Tools Used by Data Professionals</a:t>
            </a:r>
          </a:p>
          <a:p>
            <a:pPr algn="ctr">
              <a:lnSpc>
                <a:spcPts val="3267"/>
              </a:lnSpc>
            </a:pPr>
            <a:endParaRPr lang="en-US" sz="2333">
              <a:solidFill>
                <a:srgbClr val="19375C"/>
              </a:solidFill>
              <a:latin typeface="Canva Sans Bold"/>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E2C8EFEB6FCC84AB29BECE895CB623F" ma:contentTypeVersion="17" ma:contentTypeDescription="Create a new document." ma:contentTypeScope="" ma:versionID="b72b385b740356e647339f6fe82087f7">
  <xsd:schema xmlns:xsd="http://www.w3.org/2001/XMLSchema" xmlns:xs="http://www.w3.org/2001/XMLSchema" xmlns:p="http://schemas.microsoft.com/office/2006/metadata/properties" xmlns:ns2="b352c0c9-beaa-43f5-b0ab-73385cff9006" xmlns:ns3="a6831b0b-b2df-4026-9152-36e60414d055" targetNamespace="http://schemas.microsoft.com/office/2006/metadata/properties" ma:root="true" ma:fieldsID="28594646d95599c19edb07afa0a28d2c" ns2:_="" ns3:_="">
    <xsd:import namespace="b352c0c9-beaa-43f5-b0ab-73385cff9006"/>
    <xsd:import namespace="a6831b0b-b2df-4026-9152-36e60414d055"/>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Location" minOccurs="0"/>
                <xsd:element ref="ns2:MediaServiceObjectDetectorVersions" minOccurs="0"/>
                <xsd:element ref="ns2:Comment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352c0c9-beaa-43f5-b0ab-73385cff900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584c02cc-3b69-49c3-a05d-5af47158a0d9"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Location" ma:index="20" nillable="true" ma:displayName="Location" ma:indexed="true" ma:internalName="MediaServiceLocation" ma:readOnly="true">
      <xsd:simpleType>
        <xsd:restriction base="dms:Text"/>
      </xsd:simpleType>
    </xsd:element>
    <xsd:element name="MediaServiceObjectDetectorVersions" ma:index="21" nillable="true" ma:displayName="MediaServiceObjectDetectorVersions" ma:description="" ma:hidden="true" ma:indexed="true" ma:internalName="MediaServiceObjectDetectorVersions" ma:readOnly="true">
      <xsd:simpleType>
        <xsd:restriction base="dms:Text"/>
      </xsd:simpleType>
    </xsd:element>
    <xsd:element name="Comments" ma:index="22" nillable="true" ma:displayName="Comments" ma:description="A brief info of file" ma:format="Dropdown" ma:internalName="Comments">
      <xsd:simpleType>
        <xsd:restriction base="dms:Text">
          <xsd:maxLength value="255"/>
        </xsd:restriction>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6831b0b-b2df-4026-9152-36e60414d055"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2e093959-9192-4b03-ab54-db87e8ceea9e}" ma:internalName="TaxCatchAll" ma:showField="CatchAllData" ma:web="a6831b0b-b2df-4026-9152-36e60414d05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a6831b0b-b2df-4026-9152-36e60414d055" xsi:nil="true"/>
    <lcf76f155ced4ddcb4097134ff3c332f xmlns="b352c0c9-beaa-43f5-b0ab-73385cff9006">
      <Terms xmlns="http://schemas.microsoft.com/office/infopath/2007/PartnerControls"/>
    </lcf76f155ced4ddcb4097134ff3c332f>
    <Comments xmlns="b352c0c9-beaa-43f5-b0ab-73385cff9006" xsi:nil="true"/>
  </documentManagement>
</p:properties>
</file>

<file path=customXml/itemProps1.xml><?xml version="1.0" encoding="utf-8"?>
<ds:datastoreItem xmlns:ds="http://schemas.openxmlformats.org/officeDocument/2006/customXml" ds:itemID="{2F05EC4A-0DB7-4961-9DF3-2D810117C1F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352c0c9-beaa-43f5-b0ab-73385cff9006"/>
    <ds:schemaRef ds:uri="a6831b0b-b2df-4026-9152-36e60414d05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F715FE0-556B-426B-93E9-88FBE9FC0ADD}">
  <ds:schemaRefs>
    <ds:schemaRef ds:uri="http://schemas.microsoft.com/sharepoint/v3/contenttype/forms"/>
  </ds:schemaRefs>
</ds:datastoreItem>
</file>

<file path=customXml/itemProps3.xml><?xml version="1.0" encoding="utf-8"?>
<ds:datastoreItem xmlns:ds="http://schemas.openxmlformats.org/officeDocument/2006/customXml" ds:itemID="{46B36154-C4EF-41E2-8A00-1E36E7BE29B5}">
  <ds:schemaRefs>
    <ds:schemaRef ds:uri="b352c0c9-beaa-43f5-b0ab-73385cff9006"/>
    <ds:schemaRef ds:uri="http://purl.org/dc/dcmitype/"/>
    <ds:schemaRef ds:uri="http://schemas.microsoft.com/office/2006/metadata/properties"/>
    <ds:schemaRef ds:uri="http://purl.org/dc/elements/1.1/"/>
    <ds:schemaRef ds:uri="http://schemas.microsoft.com/office/2006/documentManagement/types"/>
    <ds:schemaRef ds:uri="http://www.w3.org/XML/1998/namespace"/>
    <ds:schemaRef ds:uri="a6831b0b-b2df-4026-9152-36e60414d055"/>
    <ds:schemaRef ds:uri="http://purl.org/dc/terms/"/>
    <ds:schemaRef ds:uri="http://schemas.microsoft.com/office/infopath/2007/PartnerControls"/>
    <ds:schemaRef ds:uri="http://schemas.openxmlformats.org/package/2006/metadata/core-properties"/>
  </ds:schemaRefs>
</ds:datastoreItem>
</file>

<file path=docMetadata/LabelInfo.xml><?xml version="1.0" encoding="utf-8"?>
<clbl:labelList xmlns:clbl="http://schemas.microsoft.com/office/2020/mipLabelMetadata">
  <clbl:label id="{5bdc6489-e816-4d5f-a964-770eaacd0870}" enabled="1" method="Standard" siteId="{995c8049-bfb4-4df7-a971-0330afa808c9}" removed="0"/>
</clbl:labelList>
</file>

<file path=docProps/app.xml><?xml version="1.0" encoding="utf-8"?>
<Properties xmlns="http://schemas.openxmlformats.org/officeDocument/2006/extended-properties" xmlns:vt="http://schemas.openxmlformats.org/officeDocument/2006/docPropsVTypes">
  <TotalTime>3726</TotalTime>
  <Words>6322</Words>
  <Application>Microsoft Office PowerPoint</Application>
  <PresentationFormat>Widescreen</PresentationFormat>
  <Paragraphs>945</Paragraphs>
  <Slides>102</Slides>
  <Notes>26</Notes>
  <HiddenSlides>0</HiddenSlides>
  <MMClips>4</MMClips>
  <ScaleCrop>false</ScaleCrop>
  <HeadingPairs>
    <vt:vector size="4" baseType="variant">
      <vt:variant>
        <vt:lpstr>Theme</vt:lpstr>
      </vt:variant>
      <vt:variant>
        <vt:i4>1</vt:i4>
      </vt:variant>
      <vt:variant>
        <vt:lpstr>Slide Titles</vt:lpstr>
      </vt:variant>
      <vt:variant>
        <vt:i4>102</vt:i4>
      </vt:variant>
    </vt:vector>
  </HeadingPairs>
  <TitlesOfParts>
    <vt:vector size="103" baseType="lpstr">
      <vt:lpstr>3_Office Theme</vt:lpstr>
      <vt:lpstr>PowerPoint Presentation</vt:lpstr>
      <vt:lpstr>        Programs vs Project</vt:lpstr>
      <vt:lpstr>Program Planning Involves</vt:lpstr>
      <vt:lpstr>Results Chain or Logical Framework</vt:lpstr>
      <vt:lpstr>Input</vt:lpstr>
      <vt:lpstr>Activities</vt:lpstr>
      <vt:lpstr>Output</vt:lpstr>
      <vt:lpstr>Outcome </vt:lpstr>
      <vt:lpstr>Impact</vt:lpstr>
      <vt:lpstr>PowerPoint Presentation</vt:lpstr>
      <vt:lpstr>What do we mean by M&amp; E</vt:lpstr>
      <vt:lpstr>PowerPoint Presentation</vt:lpstr>
      <vt:lpstr>Monitoring is:</vt:lpstr>
      <vt:lpstr>PowerPoint Presentation</vt:lpstr>
      <vt:lpstr>Evaluation is</vt:lpstr>
      <vt:lpstr>Purposes of M&amp;E</vt:lpstr>
      <vt:lpstr>Differences Between  Monitoring and Evaluation</vt:lpstr>
      <vt:lpstr>PowerPoint Presentation</vt:lpstr>
      <vt:lpstr>PowerPoint Presentation</vt:lpstr>
      <vt:lpstr>PowerPoint Presentation</vt:lpstr>
      <vt:lpstr>Overall On-Site patient/Data Flow</vt:lpstr>
      <vt:lpstr>PowerPoint Presentation</vt:lpstr>
      <vt:lpstr>PowerPoint Presentation</vt:lpstr>
      <vt:lpstr>Version of DCTs</vt:lpstr>
      <vt:lpstr>PowerPoint Presentation</vt:lpstr>
      <vt:lpstr>PowerPoint Presentation</vt:lpstr>
      <vt:lpstr>PowerPoint Presentation</vt:lpstr>
      <vt:lpstr>PowerPoint Presentation</vt:lpstr>
      <vt:lpstr>PowerPoint Presentation</vt:lpstr>
      <vt:lpstr>DSD Assessment and Acceptance form</vt:lpstr>
      <vt:lpstr>DSD Registers</vt:lpstr>
      <vt:lpstr>EAC Register</vt:lpstr>
      <vt:lpstr>PowerPoint Presentation</vt:lpstr>
      <vt:lpstr>PowerPoint Presentation</vt:lpstr>
      <vt:lpstr>Benefit of proper filling of DCTs in HIV Program</vt:lpstr>
      <vt:lpstr>PowerPoint Presentation</vt:lpstr>
      <vt:lpstr>Overview of the MER indicator reference guide</vt:lpstr>
      <vt:lpstr>PowerPoint Presentation</vt:lpstr>
      <vt:lpstr>PowerPoint Presentation</vt:lpstr>
      <vt:lpstr>Key Updates and Changes: MER v2.6.1 to MER v2.7</vt:lpstr>
      <vt:lpstr>Indicator Definition Clarifications</vt:lpstr>
      <vt:lpstr>Retired Disaggregations/Indicators</vt:lpstr>
      <vt:lpstr>PowerPoint Presentation</vt:lpstr>
      <vt:lpstr>PowerPoint Presentation</vt:lpstr>
      <vt:lpstr>PowerPoint Presentation</vt:lpstr>
      <vt:lpstr>PowerPoint Presentation</vt:lpstr>
      <vt:lpstr>PowerPoint Presentation</vt:lpstr>
      <vt:lpstr>PowerPoint Presentation</vt:lpstr>
      <vt:lpstr>HTS Cascade &amp; Key Indicators</vt:lpstr>
      <vt:lpstr>What is HTS?</vt:lpstr>
      <vt:lpstr>HTS 95 Target</vt:lpstr>
      <vt:lpstr>Guiding Principles of HTS: The 5Cs</vt:lpstr>
      <vt:lpstr>HTS Service Flow and Documentation </vt:lpstr>
      <vt:lpstr>Nigeria HIV Rapid Testing Algorithm</vt:lpstr>
      <vt:lpstr>Recent Infection Testing Algorithm</vt:lpstr>
      <vt:lpstr>Index Testing Cascade</vt:lpstr>
      <vt:lpstr>MER Indicators: HTS_TST</vt:lpstr>
      <vt:lpstr>MER Indicators: HTS_TST (2)</vt:lpstr>
      <vt:lpstr>MER Indicators: HTS_INDEX</vt:lpstr>
      <vt:lpstr>MER Indicators: HTS_RECENT</vt:lpstr>
      <vt:lpstr>MER Indicators: HTS_SELF</vt:lpstr>
      <vt:lpstr>Summary of HTS M&amp;E Tool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MTCT Key Indicators</vt:lpstr>
      <vt:lpstr>PMTCT_STAT</vt:lpstr>
      <vt:lpstr>PMTCT_STAT</vt:lpstr>
      <vt:lpstr>PMTCT_ART</vt:lpstr>
      <vt:lpstr>PMTCT_ART</vt:lpstr>
      <vt:lpstr>PMTCT_EID</vt:lpstr>
      <vt:lpstr>PMTCT_EID</vt:lpstr>
      <vt:lpstr>PMTCT_HEI_POS</vt:lpstr>
      <vt:lpstr>PMTCT_HEI_POS</vt:lpstr>
      <vt:lpstr>PMTCT_FO</vt:lpstr>
      <vt:lpstr>PMTCT_F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lexander Yargawa Nitaranda</dc:creator>
  <cp:lastModifiedBy>Alexander Yargawa Nitaranda</cp:lastModifiedBy>
  <cp:revision>5</cp:revision>
  <dcterms:created xsi:type="dcterms:W3CDTF">2024-09-06T10:10:53Z</dcterms:created>
  <dcterms:modified xsi:type="dcterms:W3CDTF">2024-09-23T07:06: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E2C8EFEB6FCC84AB29BECE895CB623F</vt:lpwstr>
  </property>
  <property fmtid="{D5CDD505-2E9C-101B-9397-08002B2CF9AE}" pid="3" name="MediaServiceImageTags">
    <vt:lpwstr/>
  </property>
</Properties>
</file>